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4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5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6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7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8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1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2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3.xml" ContentType="application/vnd.openxmlformats-officedocument.presentationml.notesSlide+xml"/>
  <Override PartName="/ppt/tags/tag61.xml" ContentType="application/vnd.openxmlformats-officedocument.presentationml.tags+xml"/>
  <Override PartName="/ppt/notesSlides/notesSlide14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15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16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7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20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21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26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8"/>
  </p:sldMasterIdLst>
  <p:notesMasterIdLst>
    <p:notesMasterId r:id="rId46"/>
  </p:notesMasterIdLst>
  <p:handoutMasterIdLst>
    <p:handoutMasterId r:id="rId47"/>
  </p:handoutMasterIdLst>
  <p:sldIdLst>
    <p:sldId id="6340" r:id="rId19"/>
    <p:sldId id="6328" r:id="rId20"/>
    <p:sldId id="6329" r:id="rId21"/>
    <p:sldId id="4113" r:id="rId22"/>
    <p:sldId id="6336" r:id="rId23"/>
    <p:sldId id="1132" r:id="rId24"/>
    <p:sldId id="6311" r:id="rId25"/>
    <p:sldId id="6349" r:id="rId26"/>
    <p:sldId id="6334" r:id="rId27"/>
    <p:sldId id="6327" r:id="rId28"/>
    <p:sldId id="6313" r:id="rId29"/>
    <p:sldId id="6293" r:id="rId30"/>
    <p:sldId id="6341" r:id="rId31"/>
    <p:sldId id="8688" r:id="rId32"/>
    <p:sldId id="6325" r:id="rId33"/>
    <p:sldId id="6347" r:id="rId34"/>
    <p:sldId id="6331" r:id="rId35"/>
    <p:sldId id="1929" r:id="rId36"/>
    <p:sldId id="402" r:id="rId37"/>
    <p:sldId id="8687" r:id="rId38"/>
    <p:sldId id="6342" r:id="rId39"/>
    <p:sldId id="6326" r:id="rId40"/>
    <p:sldId id="6323" r:id="rId41"/>
    <p:sldId id="6322" r:id="rId42"/>
    <p:sldId id="1051" r:id="rId43"/>
    <p:sldId id="1920" r:id="rId44"/>
    <p:sldId id="978" r:id="rId45"/>
  </p:sldIdLst>
  <p:sldSz cx="12198350" cy="6858000"/>
  <p:notesSz cx="6858000" cy="9686925"/>
  <p:custDataLst>
    <p:custData r:id="rId14"/>
    <p:tags r:id="rId48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3900" userDrawn="1">
          <p15:clr>
            <a:srgbClr val="A4A3A4"/>
          </p15:clr>
        </p15:guide>
        <p15:guide id="13" orient="horz" pos="654">
          <p15:clr>
            <a:srgbClr val="A4A3A4"/>
          </p15:clr>
        </p15:guide>
        <p15:guide id="14" orient="horz" pos="2451" userDrawn="1">
          <p15:clr>
            <a:srgbClr val="A4A3A4"/>
          </p15:clr>
        </p15:guide>
        <p15:guide id="15" orient="horz" pos="2358" userDrawn="1">
          <p15:clr>
            <a:srgbClr val="A4A3A4"/>
          </p15:clr>
        </p15:guide>
        <p15:guide id="16" orient="horz" pos="908" userDrawn="1">
          <p15:clr>
            <a:srgbClr val="A4A3A4"/>
          </p15:clr>
        </p15:guide>
        <p15:guide id="17" pos="213" userDrawn="1">
          <p15:clr>
            <a:srgbClr val="A4A3A4"/>
          </p15:clr>
        </p15:guide>
        <p15:guide id="18" pos="60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orient="horz" pos="3051">
          <p15:clr>
            <a:srgbClr val="A4A3A4"/>
          </p15:clr>
        </p15:guide>
        <p15:guide id="4" pos="2160">
          <p15:clr>
            <a:srgbClr val="A4A3A4"/>
          </p15:clr>
        </p15:guide>
        <p15:guide id="5" orient="horz" pos="2870">
          <p15:clr>
            <a:srgbClr val="A4A3A4"/>
          </p15:clr>
        </p15:guide>
        <p15:guide id="6" orient="horz" pos="465">
          <p15:clr>
            <a:srgbClr val="A4A3A4"/>
          </p15:clr>
        </p15:guide>
        <p15:guide id="7" orient="horz" pos="2733">
          <p15:clr>
            <a:srgbClr val="A4A3A4"/>
          </p15:clr>
        </p15:guide>
        <p15:guide id="8" orient="horz" pos="5637">
          <p15:clr>
            <a:srgbClr val="A4A3A4"/>
          </p15:clr>
        </p15:guide>
        <p15:guide id="9" pos="4156">
          <p15:clr>
            <a:srgbClr val="A4A3A4"/>
          </p15:clr>
        </p15:guide>
        <p15:guide id="10" pos="16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elp, Peter (SFS COF W RU-DE)" initials="WP(CWR" lastIdx="1" clrIdx="0">
    <p:extLst>
      <p:ext uri="{19B8F6BF-5375-455C-9EA6-DF929625EA0E}">
        <p15:presenceInfo xmlns:p15="http://schemas.microsoft.com/office/powerpoint/2012/main" userId="S::peter.welp@siemens.com::05a1d2cf-0edf-42fb-a3d8-bb8551af0ab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5E1E1"/>
    <a:srgbClr val="FFFFFF"/>
    <a:srgbClr val="92A9B3"/>
    <a:srgbClr val="26A8C1"/>
    <a:srgbClr val="31ADAD"/>
    <a:srgbClr val="BECDD7"/>
    <a:srgbClr val="AAB414"/>
    <a:srgbClr val="B6C8D1"/>
    <a:srgbClr val="00646E"/>
    <a:srgbClr val="FDFD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7845" autoAdjust="0"/>
    <p:restoredTop sz="97744" autoAdjust="0"/>
  </p:normalViewPr>
  <p:slideViewPr>
    <p:cSldViewPr snapToObjects="1" showGuides="1">
      <p:cViewPr>
        <p:scale>
          <a:sx n="100" d="100"/>
          <a:sy n="100" d="100"/>
        </p:scale>
        <p:origin x="756" y="1674"/>
      </p:cViewPr>
      <p:guideLst>
        <p:guide orient="horz" pos="210"/>
        <p:guide pos="395"/>
        <p:guide pos="3842"/>
        <p:guide pos="3933"/>
        <p:guide pos="7380"/>
        <p:guide pos="5566"/>
        <p:guide orient="horz" pos="3900"/>
        <p:guide orient="horz" pos="654"/>
        <p:guide orient="horz" pos="2451"/>
        <p:guide orient="horz" pos="2358"/>
        <p:guide orient="horz" pos="908"/>
        <p:guide pos="213"/>
        <p:guide pos="604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>
        <p:scale>
          <a:sx n="60" d="100"/>
          <a:sy n="60" d="100"/>
        </p:scale>
        <p:origin x="-3654" y="-342"/>
      </p:cViewPr>
      <p:guideLst>
        <p:guide orient="horz" pos="3224"/>
        <p:guide pos="2236"/>
        <p:guide orient="horz" pos="3051"/>
        <p:guide pos="2160"/>
        <p:guide orient="horz" pos="2870"/>
        <p:guide orient="horz" pos="465"/>
        <p:guide orient="horz" pos="2733"/>
        <p:guide orient="horz" pos="5637"/>
        <p:guide pos="4156"/>
        <p:guide pos="164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slideMaster" Target="slideMasters/slideMaster1.xml"/><Relationship Id="rId26" Type="http://schemas.openxmlformats.org/officeDocument/2006/relationships/slide" Target="slides/slide8.xml"/><Relationship Id="rId39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3.xml"/><Relationship Id="rId34" Type="http://schemas.openxmlformats.org/officeDocument/2006/relationships/slide" Target="slides/slide16.xml"/><Relationship Id="rId42" Type="http://schemas.openxmlformats.org/officeDocument/2006/relationships/slide" Target="slides/slide24.xml"/><Relationship Id="rId47" Type="http://schemas.openxmlformats.org/officeDocument/2006/relationships/handoutMaster" Target="handoutMasters/handoutMaster1.xml"/><Relationship Id="rId50" Type="http://schemas.openxmlformats.org/officeDocument/2006/relationships/presProps" Target="presProp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7.xml"/><Relationship Id="rId33" Type="http://schemas.openxmlformats.org/officeDocument/2006/relationships/slide" Target="slides/slide15.xml"/><Relationship Id="rId38" Type="http://schemas.openxmlformats.org/officeDocument/2006/relationships/slide" Target="slides/slide20.xml"/><Relationship Id="rId46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2.xml"/><Relationship Id="rId29" Type="http://schemas.openxmlformats.org/officeDocument/2006/relationships/slide" Target="slides/slide11.xml"/><Relationship Id="rId41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6.xml"/><Relationship Id="rId32" Type="http://schemas.openxmlformats.org/officeDocument/2006/relationships/slide" Target="slides/slide14.xml"/><Relationship Id="rId37" Type="http://schemas.openxmlformats.org/officeDocument/2006/relationships/slide" Target="slides/slide19.xml"/><Relationship Id="rId40" Type="http://schemas.openxmlformats.org/officeDocument/2006/relationships/slide" Target="slides/slide22.xml"/><Relationship Id="rId45" Type="http://schemas.openxmlformats.org/officeDocument/2006/relationships/slide" Target="slides/slide27.xml"/><Relationship Id="rId53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36" Type="http://schemas.openxmlformats.org/officeDocument/2006/relationships/slide" Target="slides/slide18.xml"/><Relationship Id="rId49" Type="http://schemas.openxmlformats.org/officeDocument/2006/relationships/commentAuthors" Target="commentAuthors.xml"/><Relationship Id="rId10" Type="http://schemas.openxmlformats.org/officeDocument/2006/relationships/customXml" Target="../customXml/item10.xml"/><Relationship Id="rId19" Type="http://schemas.openxmlformats.org/officeDocument/2006/relationships/slide" Target="slides/slide1.xml"/><Relationship Id="rId31" Type="http://schemas.openxmlformats.org/officeDocument/2006/relationships/slide" Target="slides/slide13.xml"/><Relationship Id="rId44" Type="http://schemas.openxmlformats.org/officeDocument/2006/relationships/slide" Target="slides/slide26.xml"/><Relationship Id="rId52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slide" Target="slides/slide12.xml"/><Relationship Id="rId35" Type="http://schemas.openxmlformats.org/officeDocument/2006/relationships/slide" Target="slides/slide17.xml"/><Relationship Id="rId43" Type="http://schemas.openxmlformats.org/officeDocument/2006/relationships/slide" Target="slides/slide25.xml"/><Relationship Id="rId48" Type="http://schemas.openxmlformats.org/officeDocument/2006/relationships/tags" Target="tags/tag1.xml"/><Relationship Id="rId8" Type="http://schemas.openxmlformats.org/officeDocument/2006/relationships/customXml" Target="../customXml/item8.xml"/><Relationship Id="rId51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de-DE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18840" y="0"/>
            <a:ext cx="3139160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de-DE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164038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de-DE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18840" y="9164038"/>
            <a:ext cx="3139160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18840" y="0"/>
            <a:ext cx="3137627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0420" y="739006"/>
            <a:ext cx="6338250" cy="3564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/>
          <a:lstStyle/>
          <a:p>
            <a:endParaRPr lang="de-DE" dirty="0"/>
          </a:p>
        </p:txBody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60351" y="4564740"/>
            <a:ext cx="6337299" cy="4321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164038"/>
            <a:ext cx="3139161" cy="52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18840" y="9164038"/>
            <a:ext cx="3137627" cy="52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1pPr>
    <a:lvl2pPr marL="126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2pPr>
    <a:lvl3pPr marL="252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3pPr>
    <a:lvl4pPr marL="378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4pPr>
    <a:lvl5pPr marL="504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5pPr>
    <a:lvl6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0825" y="739775"/>
            <a:ext cx="6337300" cy="35639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dirty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4290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0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843053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6838" y="754063"/>
            <a:ext cx="6457950" cy="36322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1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13977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2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05776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3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99243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4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47196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5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437807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0825" y="739775"/>
            <a:ext cx="6337300" cy="35639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dirty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6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79559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7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05898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8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661587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9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58620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6838" y="754063"/>
            <a:ext cx="6457950" cy="36322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13164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0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282751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1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147063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2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347400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0825" y="739775"/>
            <a:ext cx="6337300" cy="3563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3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31933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0825" y="739775"/>
            <a:ext cx="6337300" cy="3563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4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456486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0825" y="739775"/>
            <a:ext cx="6337300" cy="35639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DA52CC-8D58-4ADD-B707-3B10420F9C2B}" type="slidenum">
              <a:rPr lang="de-DE" smtClean="0"/>
              <a:pPr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079440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0825" y="739775"/>
            <a:ext cx="6337300" cy="35639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26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666698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0825" y="739775"/>
            <a:ext cx="6337300" cy="3563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68227">
              <a:defRPr/>
            </a:pPr>
            <a:r>
              <a:rPr lang="en-US" sz="1100">
                <a:solidFill>
                  <a:srgbClr val="000000"/>
                </a:solidFill>
                <a:latin typeface="Arial" pitchFamily="34" charset="0"/>
              </a:rPr>
              <a:t>Notice </a:t>
            </a:r>
            <a:fld id="{AD141568-5488-4AC9-B82D-9F5CE1225E2A}" type="slidenum">
              <a:rPr lang="en-US" sz="1100">
                <a:solidFill>
                  <a:srgbClr val="000000"/>
                </a:solidFill>
                <a:latin typeface="Arial" pitchFamily="34" charset="0"/>
              </a:rPr>
              <a:pPr defTabSz="868227">
                <a:defRPr/>
              </a:pPr>
              <a:t>27</a:t>
            </a:fld>
            <a:endParaRPr lang="en-US" sz="1100" dirty="0">
              <a:solidFill>
                <a:srgbClr val="00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87665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3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41942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4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80417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5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11294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747838" y="192088"/>
            <a:ext cx="3241675" cy="1824037"/>
          </a:xfrm>
        </p:spPr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6</a:t>
            </a:fld>
            <a:endParaRPr lang="de-DE" dirty="0">
              <a:latin typeface="Arial" pitchFamily="34" charset="0"/>
            </a:endParaRPr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26805" y="2242451"/>
            <a:ext cx="6285876" cy="5911619"/>
          </a:xfrm>
        </p:spPr>
        <p:txBody>
          <a:bodyPr/>
          <a:lstStyle/>
          <a:p>
            <a:endParaRPr lang="de-DE" b="1" baseline="0" dirty="0"/>
          </a:p>
        </p:txBody>
      </p:sp>
    </p:spTree>
    <p:extLst>
      <p:ext uri="{BB962C8B-B14F-4D97-AF65-F5344CB8AC3E}">
        <p14:creationId xmlns:p14="http://schemas.microsoft.com/office/powerpoint/2010/main" val="8020395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7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5080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8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33000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9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81030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4.xml"/><Relationship Id="rId4" Type="http://schemas.microsoft.com/office/2007/relationships/hdphoto" Target="../media/hdphoto1.wdp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3.xml"/><Relationship Id="rId4" Type="http://schemas.microsoft.com/office/2007/relationships/hdphoto" Target="../media/hdphoto2.wdp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noProof="0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noProof="0" dirty="0"/>
              <a:t>Bitte URL einfügen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311525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noProof="0" dirty="0"/>
              <a:t>Bitte Schutzvermerk einfügen</a:t>
            </a:r>
          </a:p>
        </p:txBody>
      </p:sp>
      <p:grpSp>
        <p:nvGrpSpPr>
          <p:cNvPr id="87" name="Gruppieren 86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8" name="Gerade Verbindung 87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5" name="Gerade Verbindung 104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6" name="Gerade Verbindung 105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7" name="Gerade Verbindung 106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8" name="Gerade Verbindung 107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9" name="Gerade Verbindung 108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0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2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3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4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8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9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0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1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2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3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4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5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6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7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8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71EB46D0-6A89-4E03-B82B-6D125F4C50E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Blur radius="31"/>
                    </a14:imgEffect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2198096" cy="6858000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grpSp>
        <p:nvGrpSpPr>
          <p:cNvPr id="4" name="Group 33">
            <a:extLst>
              <a:ext uri="{FF2B5EF4-FFF2-40B4-BE49-F238E27FC236}">
                <a16:creationId xmlns:a16="http://schemas.microsoft.com/office/drawing/2014/main" id="{3DA54E3B-D8A8-4E8D-9A1E-9119D74B7E3D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9782178" y="550863"/>
            <a:ext cx="1751013" cy="588963"/>
            <a:chOff x="6162" y="347"/>
            <a:chExt cx="1103" cy="371"/>
          </a:xfrm>
          <a:solidFill>
            <a:schemeClr val="bg1"/>
          </a:solidFill>
        </p:grpSpPr>
        <p:sp>
          <p:nvSpPr>
            <p:cNvPr id="5" name="Freeform 35">
              <a:extLst>
                <a:ext uri="{FF2B5EF4-FFF2-40B4-BE49-F238E27FC236}">
                  <a16:creationId xmlns:a16="http://schemas.microsoft.com/office/drawing/2014/main" id="{1497873B-7808-49B2-A2E9-66B66F12049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6" name="Freeform 36">
              <a:extLst>
                <a:ext uri="{FF2B5EF4-FFF2-40B4-BE49-F238E27FC236}">
                  <a16:creationId xmlns:a16="http://schemas.microsoft.com/office/drawing/2014/main" id="{74102B37-10BF-4730-B030-EFA19064F1A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7" name="Freeform 37">
              <a:extLst>
                <a:ext uri="{FF2B5EF4-FFF2-40B4-BE49-F238E27FC236}">
                  <a16:creationId xmlns:a16="http://schemas.microsoft.com/office/drawing/2014/main" id="{52A5787F-598B-4543-A8F3-7916E94D9E3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8" name="Freeform 38">
              <a:extLst>
                <a:ext uri="{FF2B5EF4-FFF2-40B4-BE49-F238E27FC236}">
                  <a16:creationId xmlns:a16="http://schemas.microsoft.com/office/drawing/2014/main" id="{979F09B6-1EE5-4EB1-90A3-0E815A4E6E5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10" name="Freeform 39">
              <a:extLst>
                <a:ext uri="{FF2B5EF4-FFF2-40B4-BE49-F238E27FC236}">
                  <a16:creationId xmlns:a16="http://schemas.microsoft.com/office/drawing/2014/main" id="{001018C4-1700-4330-B5A4-7DECB2CDB1F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11" name="Freeform 40">
              <a:extLst>
                <a:ext uri="{FF2B5EF4-FFF2-40B4-BE49-F238E27FC236}">
                  <a16:creationId xmlns:a16="http://schemas.microsoft.com/office/drawing/2014/main" id="{4329CAED-FF1C-4060-9765-F49B1D22256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12" name="Freeform 41">
              <a:extLst>
                <a:ext uri="{FF2B5EF4-FFF2-40B4-BE49-F238E27FC236}">
                  <a16:creationId xmlns:a16="http://schemas.microsoft.com/office/drawing/2014/main" id="{F29BF3BD-5D4C-4837-BE32-75B1897AF12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13" name="Freeform 42">
              <a:extLst>
                <a:ext uri="{FF2B5EF4-FFF2-40B4-BE49-F238E27FC236}">
                  <a16:creationId xmlns:a16="http://schemas.microsoft.com/office/drawing/2014/main" id="{4664BFF9-B229-4347-A48C-EEB57F93F91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14" name="Freeform 43">
              <a:extLst>
                <a:ext uri="{FF2B5EF4-FFF2-40B4-BE49-F238E27FC236}">
                  <a16:creationId xmlns:a16="http://schemas.microsoft.com/office/drawing/2014/main" id="{4ADE5A7A-021B-48B6-8DF9-9B229663C73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15" name="Freeform 44">
              <a:extLst>
                <a:ext uri="{FF2B5EF4-FFF2-40B4-BE49-F238E27FC236}">
                  <a16:creationId xmlns:a16="http://schemas.microsoft.com/office/drawing/2014/main" id="{911F6961-7C86-4FAA-B022-3B538D34E44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16" name="Freeform 45">
              <a:extLst>
                <a:ext uri="{FF2B5EF4-FFF2-40B4-BE49-F238E27FC236}">
                  <a16:creationId xmlns:a16="http://schemas.microsoft.com/office/drawing/2014/main" id="{63C98B6D-0A90-4ECA-BC1D-97514DBC905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17" name="Freeform 46">
              <a:extLst>
                <a:ext uri="{FF2B5EF4-FFF2-40B4-BE49-F238E27FC236}">
                  <a16:creationId xmlns:a16="http://schemas.microsoft.com/office/drawing/2014/main" id="{4A2E5EDC-6B4A-49E5-90CD-864194FA6AD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18" name="Freeform 47">
              <a:extLst>
                <a:ext uri="{FF2B5EF4-FFF2-40B4-BE49-F238E27FC236}">
                  <a16:creationId xmlns:a16="http://schemas.microsoft.com/office/drawing/2014/main" id="{8D0D97D2-12BB-4874-ABC0-663828DCCE2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19" name="Freeform 48">
              <a:extLst>
                <a:ext uri="{FF2B5EF4-FFF2-40B4-BE49-F238E27FC236}">
                  <a16:creationId xmlns:a16="http://schemas.microsoft.com/office/drawing/2014/main" id="{408F95BD-FCBC-4F28-811C-7AAE91AF0A4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20" name="Freeform 49">
              <a:extLst>
                <a:ext uri="{FF2B5EF4-FFF2-40B4-BE49-F238E27FC236}">
                  <a16:creationId xmlns:a16="http://schemas.microsoft.com/office/drawing/2014/main" id="{F465A3AD-EDF3-4AD6-8A64-A213C02CDC3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21" name="Freeform 50">
              <a:extLst>
                <a:ext uri="{FF2B5EF4-FFF2-40B4-BE49-F238E27FC236}">
                  <a16:creationId xmlns:a16="http://schemas.microsoft.com/office/drawing/2014/main" id="{839233DA-D550-4369-B312-7BE5AE51BB1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22" name="Freeform 51">
              <a:extLst>
                <a:ext uri="{FF2B5EF4-FFF2-40B4-BE49-F238E27FC236}">
                  <a16:creationId xmlns:a16="http://schemas.microsoft.com/office/drawing/2014/main" id="{60A0C28C-5D52-4AD1-84D7-6BC13018CCE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23" name="Freeform 52">
              <a:extLst>
                <a:ext uri="{FF2B5EF4-FFF2-40B4-BE49-F238E27FC236}">
                  <a16:creationId xmlns:a16="http://schemas.microsoft.com/office/drawing/2014/main" id="{B76B0905-67BC-4174-86A1-FEFFC92FECB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24" name="Freeform 53">
              <a:extLst>
                <a:ext uri="{FF2B5EF4-FFF2-40B4-BE49-F238E27FC236}">
                  <a16:creationId xmlns:a16="http://schemas.microsoft.com/office/drawing/2014/main" id="{2997BB06-4333-498F-911E-06F6D0570F3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25" name="Freeform 54">
              <a:extLst>
                <a:ext uri="{FF2B5EF4-FFF2-40B4-BE49-F238E27FC236}">
                  <a16:creationId xmlns:a16="http://schemas.microsoft.com/office/drawing/2014/main" id="{E3C36894-E185-4CCE-8DE6-0C024CDC1DE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26" name="Freeform 55">
              <a:extLst>
                <a:ext uri="{FF2B5EF4-FFF2-40B4-BE49-F238E27FC236}">
                  <a16:creationId xmlns:a16="http://schemas.microsoft.com/office/drawing/2014/main" id="{53BE7E95-2C24-423B-B9AE-C27FEB41F95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27" name="Freeform 56">
              <a:extLst>
                <a:ext uri="{FF2B5EF4-FFF2-40B4-BE49-F238E27FC236}">
                  <a16:creationId xmlns:a16="http://schemas.microsoft.com/office/drawing/2014/main" id="{2AE700E9-21D4-4AAE-8BCA-FE40E7C638F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28" name="Freeform 57">
              <a:extLst>
                <a:ext uri="{FF2B5EF4-FFF2-40B4-BE49-F238E27FC236}">
                  <a16:creationId xmlns:a16="http://schemas.microsoft.com/office/drawing/2014/main" id="{7178A729-5516-4677-91E1-ABFB1E4F2C0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29" name="Freeform 58">
              <a:extLst>
                <a:ext uri="{FF2B5EF4-FFF2-40B4-BE49-F238E27FC236}">
                  <a16:creationId xmlns:a16="http://schemas.microsoft.com/office/drawing/2014/main" id="{6D4E4F5A-FE6A-4250-8F05-BD416B5C155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30" name="Freeform 59">
              <a:extLst>
                <a:ext uri="{FF2B5EF4-FFF2-40B4-BE49-F238E27FC236}">
                  <a16:creationId xmlns:a16="http://schemas.microsoft.com/office/drawing/2014/main" id="{D660477B-4807-4F94-99A6-9242CA6516D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</p:grpSp>
    </p:spTree>
    <p:custDataLst>
      <p:custData r:id="rId1"/>
    </p:custDataLst>
    <p:extLst>
      <p:ext uri="{BB962C8B-B14F-4D97-AF65-F5344CB8AC3E}">
        <p14:creationId xmlns:p14="http://schemas.microsoft.com/office/powerpoint/2010/main" val="32739779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auto">
          <a:xfrm>
            <a:off x="0" y="0"/>
            <a:ext cx="12198350" cy="170080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 err="1">
              <a:solidFill>
                <a:schemeClr val="tx1"/>
              </a:solidFill>
            </a:endParaRPr>
          </a:p>
        </p:txBody>
      </p:sp>
      <p:sp>
        <p:nvSpPr>
          <p:cNvPr id="31" name="Rechteck 30"/>
          <p:cNvSpPr/>
          <p:nvPr userDrawn="1"/>
        </p:nvSpPr>
        <p:spPr>
          <a:xfrm>
            <a:off x="10886" y="5495460"/>
            <a:ext cx="12168000" cy="134076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22795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pic>
        <p:nvPicPr>
          <p:cNvPr id="4" name="Picture 39" descr="S:\SPEECHES\Subteam_Russwurm_Helmrich\_intern\2016\HELMRICH\Hannover Messe 2016\Angebot_etc_Feedback\7187_Digital-Enterprise-Grafik_Totale_160310-1_0004_Software.jpg">
            <a:extLst>
              <a:ext uri="{FF2B5EF4-FFF2-40B4-BE49-F238E27FC236}">
                <a16:creationId xmlns:a16="http://schemas.microsoft.com/office/drawing/2014/main" id="{E9C2864D-456E-46C0-91FF-E61483E218F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795"/>
            <a:ext cx="12198350" cy="6858006"/>
          </a:xfrm>
          <a:prstGeom prst="rect">
            <a:avLst/>
          </a:prstGeom>
          <a:noFill/>
          <a:ln>
            <a:noFill/>
          </a:ln>
        </p:spPr>
      </p:pic>
    </p:spTree>
    <p:custDataLst>
      <p:custData r:id="rId1"/>
    </p:custDataLst>
    <p:extLst>
      <p:ext uri="{BB962C8B-B14F-4D97-AF65-F5344CB8AC3E}">
        <p14:creationId xmlns:p14="http://schemas.microsoft.com/office/powerpoint/2010/main" val="2686385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masterformat durch Klicken bearbeiten</a:t>
            </a:r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9" name="Gerade Verbindung 8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Gerade Verbindung 28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29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2" name="Grafik 31" descr="Ein Bild, das schwimmend enthält.&#10;&#10;Automatisch generierte Beschreibung">
            <a:extLst>
              <a:ext uri="{FF2B5EF4-FFF2-40B4-BE49-F238E27FC236}">
                <a16:creationId xmlns:a16="http://schemas.microsoft.com/office/drawing/2014/main" id="{EBFE8729-5228-4A67-9184-A09B37F8AA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 amt="7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rcRect t="10631" b="8512"/>
          <a:stretch/>
        </p:blipFill>
        <p:spPr>
          <a:xfrm>
            <a:off x="-1" y="-1"/>
            <a:ext cx="12198349" cy="6858001"/>
          </a:xfrm>
          <a:prstGeom prst="rect">
            <a:avLst/>
          </a:prstGeom>
        </p:spPr>
      </p:pic>
      <p:grpSp>
        <p:nvGrpSpPr>
          <p:cNvPr id="31" name="Group 33">
            <a:extLst>
              <a:ext uri="{FF2B5EF4-FFF2-40B4-BE49-F238E27FC236}">
                <a16:creationId xmlns:a16="http://schemas.microsoft.com/office/drawing/2014/main" id="{3F4BCE64-A07A-404B-80AB-659BF0C009CB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9782178" y="550863"/>
            <a:ext cx="1751013" cy="588963"/>
            <a:chOff x="6162" y="347"/>
            <a:chExt cx="1103" cy="371"/>
          </a:xfrm>
          <a:solidFill>
            <a:schemeClr val="bg1"/>
          </a:solidFill>
        </p:grpSpPr>
        <p:sp>
          <p:nvSpPr>
            <p:cNvPr id="33" name="Freeform 35">
              <a:extLst>
                <a:ext uri="{FF2B5EF4-FFF2-40B4-BE49-F238E27FC236}">
                  <a16:creationId xmlns:a16="http://schemas.microsoft.com/office/drawing/2014/main" id="{CFF92CFE-E374-480F-A6DC-6F4B919109C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34" name="Freeform 36">
              <a:extLst>
                <a:ext uri="{FF2B5EF4-FFF2-40B4-BE49-F238E27FC236}">
                  <a16:creationId xmlns:a16="http://schemas.microsoft.com/office/drawing/2014/main" id="{D1FD925F-86D0-4A3B-9DD5-7B74DE0F9BD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35" name="Freeform 37">
              <a:extLst>
                <a:ext uri="{FF2B5EF4-FFF2-40B4-BE49-F238E27FC236}">
                  <a16:creationId xmlns:a16="http://schemas.microsoft.com/office/drawing/2014/main" id="{3A61FCFA-6511-4617-A03C-3D778166320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36" name="Freeform 38">
              <a:extLst>
                <a:ext uri="{FF2B5EF4-FFF2-40B4-BE49-F238E27FC236}">
                  <a16:creationId xmlns:a16="http://schemas.microsoft.com/office/drawing/2014/main" id="{D569AEC0-D90F-4EBC-A817-4D9E04B56D5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37" name="Freeform 39">
              <a:extLst>
                <a:ext uri="{FF2B5EF4-FFF2-40B4-BE49-F238E27FC236}">
                  <a16:creationId xmlns:a16="http://schemas.microsoft.com/office/drawing/2014/main" id="{23EAFCB6-6BC1-45BA-9C10-659180BCAB4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38" name="Freeform 40">
              <a:extLst>
                <a:ext uri="{FF2B5EF4-FFF2-40B4-BE49-F238E27FC236}">
                  <a16:creationId xmlns:a16="http://schemas.microsoft.com/office/drawing/2014/main" id="{BDACA0C5-FD98-464F-ABCD-90FF55AD4A0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39" name="Freeform 41">
              <a:extLst>
                <a:ext uri="{FF2B5EF4-FFF2-40B4-BE49-F238E27FC236}">
                  <a16:creationId xmlns:a16="http://schemas.microsoft.com/office/drawing/2014/main" id="{07759597-D83C-464D-8883-D440DB5FCC2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40" name="Freeform 42">
              <a:extLst>
                <a:ext uri="{FF2B5EF4-FFF2-40B4-BE49-F238E27FC236}">
                  <a16:creationId xmlns:a16="http://schemas.microsoft.com/office/drawing/2014/main" id="{50E1D45F-DCB4-4AC0-9772-9AF8C02A2E9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41" name="Freeform 43">
              <a:extLst>
                <a:ext uri="{FF2B5EF4-FFF2-40B4-BE49-F238E27FC236}">
                  <a16:creationId xmlns:a16="http://schemas.microsoft.com/office/drawing/2014/main" id="{3ADCC671-FCD9-4789-B1C7-14EBD77AA36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42" name="Freeform 44">
              <a:extLst>
                <a:ext uri="{FF2B5EF4-FFF2-40B4-BE49-F238E27FC236}">
                  <a16:creationId xmlns:a16="http://schemas.microsoft.com/office/drawing/2014/main" id="{DB35C695-1B9D-44E9-B725-570A290C286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43" name="Freeform 45">
              <a:extLst>
                <a:ext uri="{FF2B5EF4-FFF2-40B4-BE49-F238E27FC236}">
                  <a16:creationId xmlns:a16="http://schemas.microsoft.com/office/drawing/2014/main" id="{428C9BC2-69A1-413A-92FE-7EAAE80C098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44" name="Freeform 46">
              <a:extLst>
                <a:ext uri="{FF2B5EF4-FFF2-40B4-BE49-F238E27FC236}">
                  <a16:creationId xmlns:a16="http://schemas.microsoft.com/office/drawing/2014/main" id="{87F3E7A7-C0BB-4A0C-957C-CFCD68CDE0A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45" name="Freeform 47">
              <a:extLst>
                <a:ext uri="{FF2B5EF4-FFF2-40B4-BE49-F238E27FC236}">
                  <a16:creationId xmlns:a16="http://schemas.microsoft.com/office/drawing/2014/main" id="{8884E544-0A8D-4336-898A-C07CC8180DD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46" name="Freeform 48">
              <a:extLst>
                <a:ext uri="{FF2B5EF4-FFF2-40B4-BE49-F238E27FC236}">
                  <a16:creationId xmlns:a16="http://schemas.microsoft.com/office/drawing/2014/main" id="{E66AB241-C70B-4D49-A318-B8EDC694F39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47" name="Freeform 49">
              <a:extLst>
                <a:ext uri="{FF2B5EF4-FFF2-40B4-BE49-F238E27FC236}">
                  <a16:creationId xmlns:a16="http://schemas.microsoft.com/office/drawing/2014/main" id="{4BE2A372-4A99-42B3-B895-6D4F1A5290B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48" name="Freeform 50">
              <a:extLst>
                <a:ext uri="{FF2B5EF4-FFF2-40B4-BE49-F238E27FC236}">
                  <a16:creationId xmlns:a16="http://schemas.microsoft.com/office/drawing/2014/main" id="{05681646-65EE-4984-95B8-E6E52A35998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49" name="Freeform 51">
              <a:extLst>
                <a:ext uri="{FF2B5EF4-FFF2-40B4-BE49-F238E27FC236}">
                  <a16:creationId xmlns:a16="http://schemas.microsoft.com/office/drawing/2014/main" id="{EB43B852-D689-41AF-B626-B7B8312CDFE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50" name="Freeform 52">
              <a:extLst>
                <a:ext uri="{FF2B5EF4-FFF2-40B4-BE49-F238E27FC236}">
                  <a16:creationId xmlns:a16="http://schemas.microsoft.com/office/drawing/2014/main" id="{0886A8A4-CB10-4BB4-B3F7-0EB736DCDC4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51" name="Freeform 53">
              <a:extLst>
                <a:ext uri="{FF2B5EF4-FFF2-40B4-BE49-F238E27FC236}">
                  <a16:creationId xmlns:a16="http://schemas.microsoft.com/office/drawing/2014/main" id="{CF2F739B-70FA-475D-B5E3-0671776AEDB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52" name="Freeform 54">
              <a:extLst>
                <a:ext uri="{FF2B5EF4-FFF2-40B4-BE49-F238E27FC236}">
                  <a16:creationId xmlns:a16="http://schemas.microsoft.com/office/drawing/2014/main" id="{A0869B98-94FB-41B0-A010-ED1D3BD78F9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53" name="Freeform 55">
              <a:extLst>
                <a:ext uri="{FF2B5EF4-FFF2-40B4-BE49-F238E27FC236}">
                  <a16:creationId xmlns:a16="http://schemas.microsoft.com/office/drawing/2014/main" id="{C1992B39-7E91-42AF-B53E-E7AE8D3EC0B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54" name="Freeform 56">
              <a:extLst>
                <a:ext uri="{FF2B5EF4-FFF2-40B4-BE49-F238E27FC236}">
                  <a16:creationId xmlns:a16="http://schemas.microsoft.com/office/drawing/2014/main" id="{59A42336-E6BE-43BD-91C8-B1948BCD4A9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55" name="Freeform 57">
              <a:extLst>
                <a:ext uri="{FF2B5EF4-FFF2-40B4-BE49-F238E27FC236}">
                  <a16:creationId xmlns:a16="http://schemas.microsoft.com/office/drawing/2014/main" id="{C7E2F52F-D651-4217-AC54-369E790BE6B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56" name="Freeform 58">
              <a:extLst>
                <a:ext uri="{FF2B5EF4-FFF2-40B4-BE49-F238E27FC236}">
                  <a16:creationId xmlns:a16="http://schemas.microsoft.com/office/drawing/2014/main" id="{57FE477E-5DF2-4575-8439-D8C95E42D35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57" name="Freeform 59">
              <a:extLst>
                <a:ext uri="{FF2B5EF4-FFF2-40B4-BE49-F238E27FC236}">
                  <a16:creationId xmlns:a16="http://schemas.microsoft.com/office/drawing/2014/main" id="{86AA0D6E-77FB-457F-85BE-58C537233C7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30589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26" Type="http://schemas.openxmlformats.org/officeDocument/2006/relationships/tags" Target="../tags/tag20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5.xml"/><Relationship Id="rId34" Type="http://schemas.openxmlformats.org/officeDocument/2006/relationships/tags" Target="../tags/tag28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tags" Target="../tags/tag19.xml"/><Relationship Id="rId33" Type="http://schemas.openxmlformats.org/officeDocument/2006/relationships/tags" Target="../tags/tag2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29" Type="http://schemas.openxmlformats.org/officeDocument/2006/relationships/tags" Target="../tags/tag23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24" Type="http://schemas.openxmlformats.org/officeDocument/2006/relationships/tags" Target="../tags/tag18.xml"/><Relationship Id="rId32" Type="http://schemas.openxmlformats.org/officeDocument/2006/relationships/tags" Target="../tags/tag26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28" Type="http://schemas.openxmlformats.org/officeDocument/2006/relationships/tags" Target="../tags/tag22.xml"/><Relationship Id="rId36" Type="http://schemas.openxmlformats.org/officeDocument/2006/relationships/image" Target="../media/image1.emf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31" Type="http://schemas.openxmlformats.org/officeDocument/2006/relationships/tags" Target="../tags/tag25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Relationship Id="rId27" Type="http://schemas.openxmlformats.org/officeDocument/2006/relationships/tags" Target="../tags/tag21.xml"/><Relationship Id="rId30" Type="http://schemas.openxmlformats.org/officeDocument/2006/relationships/tags" Target="../tags/tag24.xml"/><Relationship Id="rId35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248ACD2-B79F-424F-A3CA-BD7AEFFB54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199482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4" name="think-cell Folie" r:id="rId35" imgW="338" imgH="338" progId="TCLayout.ActiveDocument.1">
                  <p:embed/>
                </p:oleObj>
              </mc:Choice>
              <mc:Fallback>
                <p:oleObj name="think-cell Folie" r:id="rId3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710D10A2-0D8E-433E-8C9D-06B30E6D3349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marL="0" lvl="0" indent="0"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22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0" y="-1"/>
            <a:ext cx="1219835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338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Titelmasterformat durch Klicken bearbeiten</a:t>
            </a:r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11"/>
            </p:custDataLst>
          </p:nvPr>
        </p:nvSpPr>
        <p:spPr bwMode="auto">
          <a:xfrm>
            <a:off x="627063" y="1441449"/>
            <a:ext cx="8208962" cy="4750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Gruppieren 3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67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68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9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0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1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2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3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4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5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6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7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8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9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0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1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2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3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4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5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6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7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8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9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0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1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2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3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4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21" r:id="rId2"/>
    <p:sldLayoutId id="2147483719" r:id="rId3"/>
    <p:sldLayoutId id="2147483722" r:id="rId4"/>
    <p:sldLayoutId id="2147483723" r:id="rId5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6pPr>
      <a:lvl7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7pPr>
      <a:lvl8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8pPr>
      <a:lvl9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2" userDrawn="1">
          <p15:clr>
            <a:srgbClr val="547EBF"/>
          </p15:clr>
        </p15:guide>
        <p15:guide id="2" pos="3933" userDrawn="1">
          <p15:clr>
            <a:srgbClr val="547EBF"/>
          </p15:clr>
        </p15:guide>
        <p15:guide id="3" pos="7380" userDrawn="1">
          <p15:clr>
            <a:srgbClr val="547EBF"/>
          </p15:clr>
        </p15:guide>
        <p15:guide id="4" pos="395" userDrawn="1">
          <p15:clr>
            <a:srgbClr val="547EBF"/>
          </p15:clr>
        </p15:guide>
        <p15:guide id="5" orient="horz" pos="210" userDrawn="1">
          <p15:clr>
            <a:srgbClr val="547EBF"/>
          </p15:clr>
        </p15:guide>
        <p15:guide id="6" orient="horz" userDrawn="1">
          <p15:clr>
            <a:srgbClr val="547EBF"/>
          </p15:clr>
        </p15:guide>
        <p15:guide id="7" orient="horz" pos="4320" userDrawn="1">
          <p15:clr>
            <a:srgbClr val="547EBF"/>
          </p15:clr>
        </p15:guide>
        <p15:guide id="8" orient="horz" pos="653" userDrawn="1">
          <p15:clr>
            <a:srgbClr val="547EBF"/>
          </p15:clr>
        </p15:guide>
        <p15:guide id="9" orient="horz" pos="908" userDrawn="1">
          <p15:clr>
            <a:srgbClr val="547EBF"/>
          </p15:clr>
        </p15:guide>
        <p15:guide id="10" orient="horz" pos="2358" userDrawn="1">
          <p15:clr>
            <a:srgbClr val="547EBF"/>
          </p15:clr>
        </p15:guide>
        <p15:guide id="11" orient="horz" pos="2451" userDrawn="1">
          <p15:clr>
            <a:srgbClr val="547EBF"/>
          </p15:clr>
        </p15:guide>
        <p15:guide id="12" orient="horz" pos="3900" userDrawn="1">
          <p15:clr>
            <a:srgbClr val="547EBF"/>
          </p15:clr>
        </p15:guide>
        <p15:guide id="13" userDrawn="1">
          <p15:clr>
            <a:srgbClr val="547EBF"/>
          </p15:clr>
        </p15:guide>
        <p15:guide id="14" pos="7684" userDrawn="1">
          <p15:clr>
            <a:srgbClr val="547EBF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1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12.emf"/><Relationship Id="rId2" Type="http://schemas.openxmlformats.org/officeDocument/2006/relationships/tags" Target="../tags/tag5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58.xml"/><Relationship Id="rId7" Type="http://schemas.openxmlformats.org/officeDocument/2006/relationships/image" Target="../media/image6.emf"/><Relationship Id="rId2" Type="http://schemas.openxmlformats.org/officeDocument/2006/relationships/tags" Target="../tags/tag5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2.jp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tags" Target="../tags/tag60.xml"/><Relationship Id="rId7" Type="http://schemas.openxmlformats.org/officeDocument/2006/relationships/image" Target="../media/image6.emf"/><Relationship Id="rId2" Type="http://schemas.openxmlformats.org/officeDocument/2006/relationships/tags" Target="../tags/tag59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1.xml"/><Relationship Id="rId6" Type="http://schemas.openxmlformats.org/officeDocument/2006/relationships/image" Target="../media/image37.wmf"/><Relationship Id="rId5" Type="http://schemas.openxmlformats.org/officeDocument/2006/relationships/image" Target="../media/image36.svg"/><Relationship Id="rId4" Type="http://schemas.openxmlformats.org/officeDocument/2006/relationships/image" Target="../media/image3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emf"/><Relationship Id="rId3" Type="http://schemas.openxmlformats.org/officeDocument/2006/relationships/tags" Target="../tags/tag63.xml"/><Relationship Id="rId7" Type="http://schemas.openxmlformats.org/officeDocument/2006/relationships/oleObject" Target="../embeddings/oleObject11.bin"/><Relationship Id="rId2" Type="http://schemas.openxmlformats.org/officeDocument/2006/relationships/tags" Target="../tags/tag62.xml"/><Relationship Id="rId1" Type="http://schemas.openxmlformats.org/officeDocument/2006/relationships/vmlDrawing" Target="../drawings/vmlDrawing11.v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emf"/><Relationship Id="rId3" Type="http://schemas.openxmlformats.org/officeDocument/2006/relationships/tags" Target="../tags/tag66.xml"/><Relationship Id="rId7" Type="http://schemas.openxmlformats.org/officeDocument/2006/relationships/oleObject" Target="../embeddings/oleObject12.bin"/><Relationship Id="rId2" Type="http://schemas.openxmlformats.org/officeDocument/2006/relationships/tags" Target="../tags/tag65.xml"/><Relationship Id="rId1" Type="http://schemas.openxmlformats.org/officeDocument/2006/relationships/vmlDrawing" Target="../drawings/vmlDrawing12.v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emf"/><Relationship Id="rId3" Type="http://schemas.openxmlformats.org/officeDocument/2006/relationships/tags" Target="../tags/tag69.xml"/><Relationship Id="rId7" Type="http://schemas.openxmlformats.org/officeDocument/2006/relationships/oleObject" Target="../embeddings/oleObject13.bin"/><Relationship Id="rId2" Type="http://schemas.openxmlformats.org/officeDocument/2006/relationships/tags" Target="../tags/tag68.xml"/><Relationship Id="rId1" Type="http://schemas.openxmlformats.org/officeDocument/2006/relationships/vmlDrawing" Target="../drawings/vmlDrawing13.v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image" Target="../media/image39.emf"/><Relationship Id="rId2" Type="http://schemas.openxmlformats.org/officeDocument/2006/relationships/tags" Target="../tags/tag7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2.deloitte.com/de/de/pages/trends/future-of-work.html" TargetMode="External"/><Relationship Id="rId3" Type="http://schemas.openxmlformats.org/officeDocument/2006/relationships/tags" Target="../tags/tag33.xml"/><Relationship Id="rId7" Type="http://schemas.openxmlformats.org/officeDocument/2006/relationships/image" Target="../media/image6.emf"/><Relationship Id="rId2" Type="http://schemas.openxmlformats.org/officeDocument/2006/relationships/tags" Target="../tags/tag3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tags" Target="../tags/tag74.xml"/><Relationship Id="rId7" Type="http://schemas.openxmlformats.org/officeDocument/2006/relationships/image" Target="../media/image6.emf"/><Relationship Id="rId12" Type="http://schemas.openxmlformats.org/officeDocument/2006/relationships/image" Target="../media/image44.jpeg"/><Relationship Id="rId2" Type="http://schemas.openxmlformats.org/officeDocument/2006/relationships/tags" Target="../tags/tag73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11" Type="http://schemas.openxmlformats.org/officeDocument/2006/relationships/image" Target="../media/image43.png"/><Relationship Id="rId5" Type="http://schemas.openxmlformats.org/officeDocument/2006/relationships/notesSlide" Target="../notesSlides/notesSlide20.xml"/><Relationship Id="rId10" Type="http://schemas.openxmlformats.org/officeDocument/2006/relationships/image" Target="../media/image42.jpe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41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tags" Target="../tags/tag76.xml"/><Relationship Id="rId7" Type="http://schemas.openxmlformats.org/officeDocument/2006/relationships/image" Target="../media/image6.emf"/><Relationship Id="rId2" Type="http://schemas.openxmlformats.org/officeDocument/2006/relationships/tags" Target="../tags/tag75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6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g"/><Relationship Id="rId3" Type="http://schemas.openxmlformats.org/officeDocument/2006/relationships/tags" Target="../tags/tag78.xml"/><Relationship Id="rId7" Type="http://schemas.openxmlformats.org/officeDocument/2006/relationships/image" Target="../media/image39.emf"/><Relationship Id="rId2" Type="http://schemas.openxmlformats.org/officeDocument/2006/relationships/tags" Target="../tags/tag77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13" Type="http://schemas.openxmlformats.org/officeDocument/2006/relationships/image" Target="../media/image62.png"/><Relationship Id="rId18" Type="http://schemas.openxmlformats.org/officeDocument/2006/relationships/image" Target="../media/image67.png"/><Relationship Id="rId26" Type="http://schemas.openxmlformats.org/officeDocument/2006/relationships/image" Target="../media/image75.png"/><Relationship Id="rId3" Type="http://schemas.openxmlformats.org/officeDocument/2006/relationships/image" Target="../media/image52.png"/><Relationship Id="rId21" Type="http://schemas.openxmlformats.org/officeDocument/2006/relationships/image" Target="../media/image70.png"/><Relationship Id="rId7" Type="http://schemas.openxmlformats.org/officeDocument/2006/relationships/image" Target="../media/image56.png"/><Relationship Id="rId12" Type="http://schemas.openxmlformats.org/officeDocument/2006/relationships/image" Target="../media/image61.png"/><Relationship Id="rId17" Type="http://schemas.openxmlformats.org/officeDocument/2006/relationships/image" Target="../media/image66.png"/><Relationship Id="rId25" Type="http://schemas.openxmlformats.org/officeDocument/2006/relationships/image" Target="../media/image74.png"/><Relationship Id="rId2" Type="http://schemas.openxmlformats.org/officeDocument/2006/relationships/notesSlide" Target="../notesSlides/notesSlide25.xml"/><Relationship Id="rId16" Type="http://schemas.openxmlformats.org/officeDocument/2006/relationships/image" Target="../media/image65.png"/><Relationship Id="rId20" Type="http://schemas.openxmlformats.org/officeDocument/2006/relationships/image" Target="../media/image69.png"/><Relationship Id="rId29" Type="http://schemas.openxmlformats.org/officeDocument/2006/relationships/image" Target="../media/image78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5.png"/><Relationship Id="rId11" Type="http://schemas.openxmlformats.org/officeDocument/2006/relationships/image" Target="../media/image60.png"/><Relationship Id="rId24" Type="http://schemas.openxmlformats.org/officeDocument/2006/relationships/image" Target="../media/image73.png"/><Relationship Id="rId5" Type="http://schemas.openxmlformats.org/officeDocument/2006/relationships/image" Target="../media/image54.png"/><Relationship Id="rId15" Type="http://schemas.openxmlformats.org/officeDocument/2006/relationships/image" Target="../media/image64.png"/><Relationship Id="rId23" Type="http://schemas.openxmlformats.org/officeDocument/2006/relationships/image" Target="../media/image72.png"/><Relationship Id="rId28" Type="http://schemas.openxmlformats.org/officeDocument/2006/relationships/image" Target="../media/image77.png"/><Relationship Id="rId10" Type="http://schemas.openxmlformats.org/officeDocument/2006/relationships/image" Target="../media/image59.png"/><Relationship Id="rId19" Type="http://schemas.openxmlformats.org/officeDocument/2006/relationships/image" Target="../media/image68.png"/><Relationship Id="rId31" Type="http://schemas.openxmlformats.org/officeDocument/2006/relationships/image" Target="../media/image79.png"/><Relationship Id="rId4" Type="http://schemas.openxmlformats.org/officeDocument/2006/relationships/image" Target="../media/image53.png"/><Relationship Id="rId9" Type="http://schemas.openxmlformats.org/officeDocument/2006/relationships/image" Target="../media/image58.png"/><Relationship Id="rId14" Type="http://schemas.openxmlformats.org/officeDocument/2006/relationships/image" Target="../media/image63.png"/><Relationship Id="rId22" Type="http://schemas.openxmlformats.org/officeDocument/2006/relationships/image" Target="../media/image71.png"/><Relationship Id="rId27" Type="http://schemas.openxmlformats.org/officeDocument/2006/relationships/image" Target="../media/image76.png"/><Relationship Id="rId30" Type="http://schemas.openxmlformats.org/officeDocument/2006/relationships/hyperlink" Target="https://mindsphereworld.de/erfolgreiches-2-financial-summit-der-mindsphere-world-e-v/" TargetMode="Externa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emf"/><Relationship Id="rId3" Type="http://schemas.openxmlformats.org/officeDocument/2006/relationships/tags" Target="../tags/tag80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9.xml"/><Relationship Id="rId1" Type="http://schemas.openxmlformats.org/officeDocument/2006/relationships/vmlDrawing" Target="../drawings/vmlDrawing18.v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81.jpeg"/><Relationship Id="rId4" Type="http://schemas.openxmlformats.org/officeDocument/2006/relationships/tags" Target="../tags/tag81.xml"/><Relationship Id="rId9" Type="http://schemas.openxmlformats.org/officeDocument/2006/relationships/image" Target="../media/image80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jpeg"/><Relationship Id="rId13" Type="http://schemas.openxmlformats.org/officeDocument/2006/relationships/image" Target="../media/image87.jpeg"/><Relationship Id="rId3" Type="http://schemas.openxmlformats.org/officeDocument/2006/relationships/tags" Target="../tags/tag83.xml"/><Relationship Id="rId7" Type="http://schemas.openxmlformats.org/officeDocument/2006/relationships/image" Target="../media/image82.emf"/><Relationship Id="rId12" Type="http://schemas.openxmlformats.org/officeDocument/2006/relationships/hyperlink" Target="https://twitter.com/siemens_sfs" TargetMode="External"/><Relationship Id="rId17" Type="http://schemas.openxmlformats.org/officeDocument/2006/relationships/image" Target="../media/image89.png"/><Relationship Id="rId2" Type="http://schemas.openxmlformats.org/officeDocument/2006/relationships/tags" Target="../tags/tag82.xml"/><Relationship Id="rId16" Type="http://schemas.openxmlformats.org/officeDocument/2006/relationships/hyperlink" Target="https://www.facebook.com/SiemensFinancialServices" TargetMode="Externa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11" Type="http://schemas.openxmlformats.org/officeDocument/2006/relationships/image" Target="../media/image86.jpeg"/><Relationship Id="rId5" Type="http://schemas.openxmlformats.org/officeDocument/2006/relationships/notesSlide" Target="../notesSlides/notesSlide27.xml"/><Relationship Id="rId15" Type="http://schemas.openxmlformats.org/officeDocument/2006/relationships/image" Target="../media/image88.png"/><Relationship Id="rId10" Type="http://schemas.openxmlformats.org/officeDocument/2006/relationships/image" Target="../media/image85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84.wmf"/><Relationship Id="rId14" Type="http://schemas.openxmlformats.org/officeDocument/2006/relationships/hyperlink" Target="https://www.linkedin.com/company/siemens-financial-services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tags" Target="../tags/tag35.xml"/><Relationship Id="rId7" Type="http://schemas.openxmlformats.org/officeDocument/2006/relationships/image" Target="../media/image12.emf"/><Relationship Id="rId2" Type="http://schemas.openxmlformats.org/officeDocument/2006/relationships/tags" Target="../tags/tag3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6.emf"/><Relationship Id="rId2" Type="http://schemas.openxmlformats.org/officeDocument/2006/relationships/tags" Target="../tags/tag3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notesSlide" Target="../notesSlides/notesSlide6.xml"/><Relationship Id="rId18" Type="http://schemas.openxmlformats.org/officeDocument/2006/relationships/image" Target="../media/image18.png"/><Relationship Id="rId3" Type="http://schemas.openxmlformats.org/officeDocument/2006/relationships/tags" Target="../tags/tag40.xml"/><Relationship Id="rId21" Type="http://schemas.openxmlformats.org/officeDocument/2006/relationships/image" Target="../media/image21.png"/><Relationship Id="rId7" Type="http://schemas.openxmlformats.org/officeDocument/2006/relationships/tags" Target="../tags/tag44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17.png"/><Relationship Id="rId2" Type="http://schemas.openxmlformats.org/officeDocument/2006/relationships/tags" Target="../tags/tag39.xml"/><Relationship Id="rId16" Type="http://schemas.openxmlformats.org/officeDocument/2006/relationships/image" Target="../media/image16.png"/><Relationship Id="rId20" Type="http://schemas.openxmlformats.org/officeDocument/2006/relationships/image" Target="../media/image20.png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24" Type="http://schemas.openxmlformats.org/officeDocument/2006/relationships/image" Target="../media/image23.png"/><Relationship Id="rId5" Type="http://schemas.openxmlformats.org/officeDocument/2006/relationships/tags" Target="../tags/tag42.xml"/><Relationship Id="rId15" Type="http://schemas.openxmlformats.org/officeDocument/2006/relationships/image" Target="../media/image15.png"/><Relationship Id="rId23" Type="http://schemas.openxmlformats.org/officeDocument/2006/relationships/image" Target="../media/image22.png"/><Relationship Id="rId10" Type="http://schemas.openxmlformats.org/officeDocument/2006/relationships/tags" Target="../tags/tag47.xml"/><Relationship Id="rId19" Type="http://schemas.openxmlformats.org/officeDocument/2006/relationships/image" Target="../media/image19.png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image" Target="../media/image14.jpeg"/><Relationship Id="rId22" Type="http://schemas.microsoft.com/office/2007/relationships/hdphoto" Target="../media/hdphoto4.wdp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tags" Target="../tags/tag50.xml"/><Relationship Id="rId7" Type="http://schemas.openxmlformats.org/officeDocument/2006/relationships/image" Target="../media/image6.emf"/><Relationship Id="rId2" Type="http://schemas.openxmlformats.org/officeDocument/2006/relationships/tags" Target="../tags/tag4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26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5.jp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13" Type="http://schemas.microsoft.com/office/2007/relationships/hdphoto" Target="../media/hdphoto6.wdp"/><Relationship Id="rId3" Type="http://schemas.openxmlformats.org/officeDocument/2006/relationships/tags" Target="../tags/tag52.xml"/><Relationship Id="rId7" Type="http://schemas.openxmlformats.org/officeDocument/2006/relationships/image" Target="../media/image6.emf"/><Relationship Id="rId12" Type="http://schemas.openxmlformats.org/officeDocument/2006/relationships/image" Target="../media/image29.png"/><Relationship Id="rId2" Type="http://schemas.openxmlformats.org/officeDocument/2006/relationships/tags" Target="../tags/tag5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11" Type="http://schemas.microsoft.com/office/2007/relationships/hdphoto" Target="../media/hdphoto5.wdp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28.png"/><Relationship Id="rId4" Type="http://schemas.openxmlformats.org/officeDocument/2006/relationships/slideLayout" Target="../slideLayouts/slideLayout2.xml"/><Relationship Id="rId9" Type="http://schemas.openxmlformats.org/officeDocument/2006/relationships/hyperlink" Target="https://creativecommons.org/licenses/by-sa/4.0/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image" Target="../media/image6.emf"/><Relationship Id="rId2" Type="http://schemas.openxmlformats.org/officeDocument/2006/relationships/tags" Target="../tags/tag5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 descr="S:\SPEECHES\Subteam_Russwurm_Helmrich\_intern\2016\HELMRICH\Hannover Messe 2016\Angebot_etc_Feedback\7187_Digital-Enterprise-Grafik_Totale_160310-1_0004_Software.jpg">
            <a:extLst>
              <a:ext uri="{FF2B5EF4-FFF2-40B4-BE49-F238E27FC236}">
                <a16:creationId xmlns:a16="http://schemas.microsoft.com/office/drawing/2014/main" id="{94E40C07-F100-47C0-809C-05B6DC2631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-6"/>
            <a:ext cx="12198350" cy="6858006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Textplatzhalter 1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unrestricted</a:t>
            </a:r>
            <a:r>
              <a:rPr lang="de-DE" dirty="0"/>
              <a:t> © Siemens 2020</a:t>
            </a:r>
            <a:endParaRPr lang="de-DE" noProof="0" dirty="0"/>
          </a:p>
        </p:txBody>
      </p:sp>
      <p:grpSp>
        <p:nvGrpSpPr>
          <p:cNvPr id="41" name="Group 33">
            <a:extLst>
              <a:ext uri="{FF2B5EF4-FFF2-40B4-BE49-F238E27FC236}">
                <a16:creationId xmlns:a16="http://schemas.microsoft.com/office/drawing/2014/main" id="{B13741B0-6466-435D-9388-7F16B85387D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782178" y="550863"/>
            <a:ext cx="1751013" cy="588963"/>
            <a:chOff x="6162" y="347"/>
            <a:chExt cx="1103" cy="371"/>
          </a:xfrm>
          <a:solidFill>
            <a:schemeClr val="bg1"/>
          </a:solidFill>
        </p:grpSpPr>
        <p:sp>
          <p:nvSpPr>
            <p:cNvPr id="42" name="Freeform 35">
              <a:extLst>
                <a:ext uri="{FF2B5EF4-FFF2-40B4-BE49-F238E27FC236}">
                  <a16:creationId xmlns:a16="http://schemas.microsoft.com/office/drawing/2014/main" id="{E18E5DCB-4D4E-4765-A17D-7B1A00DA2BF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43" name="Freeform 36">
              <a:extLst>
                <a:ext uri="{FF2B5EF4-FFF2-40B4-BE49-F238E27FC236}">
                  <a16:creationId xmlns:a16="http://schemas.microsoft.com/office/drawing/2014/main" id="{E527F09E-1689-47AE-9C71-5258096499C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44" name="Freeform 37">
              <a:extLst>
                <a:ext uri="{FF2B5EF4-FFF2-40B4-BE49-F238E27FC236}">
                  <a16:creationId xmlns:a16="http://schemas.microsoft.com/office/drawing/2014/main" id="{B42F5C65-9F9B-4E60-A203-E4EC5EF3BD8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45" name="Freeform 38">
              <a:extLst>
                <a:ext uri="{FF2B5EF4-FFF2-40B4-BE49-F238E27FC236}">
                  <a16:creationId xmlns:a16="http://schemas.microsoft.com/office/drawing/2014/main" id="{B91F839A-830F-4B77-8DC3-7FAE8CC9F2F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46" name="Freeform 39">
              <a:extLst>
                <a:ext uri="{FF2B5EF4-FFF2-40B4-BE49-F238E27FC236}">
                  <a16:creationId xmlns:a16="http://schemas.microsoft.com/office/drawing/2014/main" id="{3FF49D78-B2AF-4DD6-B7F4-934E2533408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47" name="Freeform 40">
              <a:extLst>
                <a:ext uri="{FF2B5EF4-FFF2-40B4-BE49-F238E27FC236}">
                  <a16:creationId xmlns:a16="http://schemas.microsoft.com/office/drawing/2014/main" id="{7AAA59F0-9BB7-4AFA-AB48-F4E14376574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2750C5EF-F9AD-42BC-B1E8-B0B551C4F1E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26681128-B1E5-4EF7-AC1C-DA06128AC18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0FA6F024-5081-4483-8E0B-63C42FFD72E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51" name="Freeform 44">
              <a:extLst>
                <a:ext uri="{FF2B5EF4-FFF2-40B4-BE49-F238E27FC236}">
                  <a16:creationId xmlns:a16="http://schemas.microsoft.com/office/drawing/2014/main" id="{BE02EE77-78C9-44A4-AB62-195CA6874D0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52" name="Freeform 45">
              <a:extLst>
                <a:ext uri="{FF2B5EF4-FFF2-40B4-BE49-F238E27FC236}">
                  <a16:creationId xmlns:a16="http://schemas.microsoft.com/office/drawing/2014/main" id="{769117F5-1613-4B90-8F57-C59A88594A9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53" name="Freeform 46">
              <a:extLst>
                <a:ext uri="{FF2B5EF4-FFF2-40B4-BE49-F238E27FC236}">
                  <a16:creationId xmlns:a16="http://schemas.microsoft.com/office/drawing/2014/main" id="{0C77F805-E269-4E4E-B6B2-46A85E7F15D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54" name="Freeform 47">
              <a:extLst>
                <a:ext uri="{FF2B5EF4-FFF2-40B4-BE49-F238E27FC236}">
                  <a16:creationId xmlns:a16="http://schemas.microsoft.com/office/drawing/2014/main" id="{CE4F1C90-FB3D-47A6-9D6A-79F7515A921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55" name="Freeform 48">
              <a:extLst>
                <a:ext uri="{FF2B5EF4-FFF2-40B4-BE49-F238E27FC236}">
                  <a16:creationId xmlns:a16="http://schemas.microsoft.com/office/drawing/2014/main" id="{1753A326-E01E-44BD-96E9-03D838E04F1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56" name="Freeform 49">
              <a:extLst>
                <a:ext uri="{FF2B5EF4-FFF2-40B4-BE49-F238E27FC236}">
                  <a16:creationId xmlns:a16="http://schemas.microsoft.com/office/drawing/2014/main" id="{6E9DEEF8-F397-4AE0-8EF1-2996651D445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57" name="Freeform 50">
              <a:extLst>
                <a:ext uri="{FF2B5EF4-FFF2-40B4-BE49-F238E27FC236}">
                  <a16:creationId xmlns:a16="http://schemas.microsoft.com/office/drawing/2014/main" id="{4394CC6D-342C-48CB-B7C0-11225FD3A7D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58" name="Freeform 51">
              <a:extLst>
                <a:ext uri="{FF2B5EF4-FFF2-40B4-BE49-F238E27FC236}">
                  <a16:creationId xmlns:a16="http://schemas.microsoft.com/office/drawing/2014/main" id="{DF0927A2-F9EF-48F0-9221-1AF2135F88C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59" name="Freeform 52">
              <a:extLst>
                <a:ext uri="{FF2B5EF4-FFF2-40B4-BE49-F238E27FC236}">
                  <a16:creationId xmlns:a16="http://schemas.microsoft.com/office/drawing/2014/main" id="{FD56E435-47B7-49F5-8671-6B5AB6A1B4A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60" name="Freeform 53">
              <a:extLst>
                <a:ext uri="{FF2B5EF4-FFF2-40B4-BE49-F238E27FC236}">
                  <a16:creationId xmlns:a16="http://schemas.microsoft.com/office/drawing/2014/main" id="{DE9FA4D7-44E8-4CF5-A49E-D98FFA1E633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61" name="Freeform 54">
              <a:extLst>
                <a:ext uri="{FF2B5EF4-FFF2-40B4-BE49-F238E27FC236}">
                  <a16:creationId xmlns:a16="http://schemas.microsoft.com/office/drawing/2014/main" id="{30FFAD32-0A35-41FF-8B50-18A14FABD24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62" name="Freeform 55">
              <a:extLst>
                <a:ext uri="{FF2B5EF4-FFF2-40B4-BE49-F238E27FC236}">
                  <a16:creationId xmlns:a16="http://schemas.microsoft.com/office/drawing/2014/main" id="{E375A23C-4E92-4662-8783-9F4651DD138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63" name="Freeform 56">
              <a:extLst>
                <a:ext uri="{FF2B5EF4-FFF2-40B4-BE49-F238E27FC236}">
                  <a16:creationId xmlns:a16="http://schemas.microsoft.com/office/drawing/2014/main" id="{ED29F589-B5D2-4F06-B5DF-96DA23C0B18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64" name="Freeform 57">
              <a:extLst>
                <a:ext uri="{FF2B5EF4-FFF2-40B4-BE49-F238E27FC236}">
                  <a16:creationId xmlns:a16="http://schemas.microsoft.com/office/drawing/2014/main" id="{5C69B386-D6BC-410E-A890-B876A4AD9CC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65" name="Freeform 58">
              <a:extLst>
                <a:ext uri="{FF2B5EF4-FFF2-40B4-BE49-F238E27FC236}">
                  <a16:creationId xmlns:a16="http://schemas.microsoft.com/office/drawing/2014/main" id="{62BA8A16-61CF-4D3E-9BEF-35FCE4451C3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66" name="Freeform 59">
              <a:extLst>
                <a:ext uri="{FF2B5EF4-FFF2-40B4-BE49-F238E27FC236}">
                  <a16:creationId xmlns:a16="http://schemas.microsoft.com/office/drawing/2014/main" id="{7F2D6C24-E6E5-4599-8567-0A91272B887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</p:grpSp>
      <p:sp>
        <p:nvSpPr>
          <p:cNvPr id="3" name="Titel 2">
            <a:extLst>
              <a:ext uri="{FF2B5EF4-FFF2-40B4-BE49-F238E27FC236}">
                <a16:creationId xmlns:a16="http://schemas.microsoft.com/office/drawing/2014/main" id="{F7FB771F-075E-48B4-BCEC-3C500285899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2" y="4197411"/>
            <a:ext cx="9000505" cy="1605084"/>
          </a:xfrm>
        </p:spPr>
        <p:txBody>
          <a:bodyPr/>
          <a:lstStyle/>
          <a:p>
            <a:r>
              <a:rPr lang="de-DE" sz="4000" dirty="0"/>
              <a:t>Nutzenbetrachtung zu Industrie 4.0</a:t>
            </a:r>
            <a:br>
              <a:rPr lang="de-DE" dirty="0"/>
            </a:br>
            <a:br>
              <a:rPr lang="de-DE" sz="2000" b="0" dirty="0"/>
            </a:br>
            <a:r>
              <a:rPr lang="de-DE" sz="2400" b="0" dirty="0"/>
              <a:t>Blick eines Finanzdienstleisters auf das „Gold der Zukunft“</a:t>
            </a:r>
            <a:endParaRPr lang="en-US" sz="2000" dirty="0"/>
          </a:p>
        </p:txBody>
      </p:sp>
      <p:sp>
        <p:nvSpPr>
          <p:cNvPr id="37" name="cdtText Box 17 Id20497">
            <a:extLst>
              <a:ext uri="{FF2B5EF4-FFF2-40B4-BE49-F238E27FC236}">
                <a16:creationId xmlns:a16="http://schemas.microsoft.com/office/drawing/2014/main" id="{E7C87D5B-1890-45FD-8728-BD3BAC31F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7062" y="3429000"/>
            <a:ext cx="1151465" cy="663306"/>
          </a:xfrm>
          <a:prstGeom prst="rect">
            <a:avLst/>
          </a:prstGeom>
          <a:solidFill>
            <a:srgbClr val="AF235F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44000" tIns="0" rIns="0" bIns="163200" anchor="b" anchorCtr="0"/>
          <a:lstStyle/>
          <a:p>
            <a:pPr>
              <a:lnSpc>
                <a:spcPct val="110000"/>
              </a:lnSpc>
            </a:pPr>
            <a:r>
              <a:rPr lang="en-US" sz="1067" b="1" dirty="0">
                <a:solidFill>
                  <a:srgbClr val="FFFFFF"/>
                </a:solidFill>
              </a:rPr>
              <a:t>Powered by MindSphere</a:t>
            </a:r>
          </a:p>
        </p:txBody>
      </p:sp>
      <p:sp>
        <p:nvSpPr>
          <p:cNvPr id="38" name="Textplatzhalter 12">
            <a:extLst>
              <a:ext uri="{FF2B5EF4-FFF2-40B4-BE49-F238E27FC236}">
                <a16:creationId xmlns:a16="http://schemas.microsoft.com/office/drawing/2014/main" id="{27785AE0-2425-4E3F-9934-F8B0BD8A0DE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7062" y="5907600"/>
            <a:ext cx="9000505" cy="324000"/>
          </a:xfrm>
        </p:spPr>
        <p:txBody>
          <a:bodyPr/>
          <a:lstStyle/>
          <a:p>
            <a:r>
              <a:rPr lang="de-DE" dirty="0"/>
              <a:t>siemens.com/finance</a:t>
            </a:r>
            <a:endParaRPr lang="de-DE" noProof="0" dirty="0"/>
          </a:p>
        </p:txBody>
      </p:sp>
      <p:sp>
        <p:nvSpPr>
          <p:cNvPr id="67" name="Textplatzhalter 13">
            <a:extLst>
              <a:ext uri="{FF2B5EF4-FFF2-40B4-BE49-F238E27FC236}">
                <a16:creationId xmlns:a16="http://schemas.microsoft.com/office/drawing/2014/main" id="{EE92BE2F-BB98-4BD0-B289-62F180D94020}"/>
              </a:ext>
            </a:extLst>
          </p:cNvPr>
          <p:cNvSpPr txBox="1">
            <a:spLocks/>
          </p:cNvSpPr>
          <p:nvPr/>
        </p:nvSpPr>
        <p:spPr bwMode="auto">
          <a:xfrm>
            <a:off x="626567" y="5903787"/>
            <a:ext cx="3311525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16000" tIns="90000" rIns="0" bIns="468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sz="1000" b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588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None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800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800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800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72000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72000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72000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kern="0" dirty="0"/>
              <a:t>Frei verwendbar © Siemens 2020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84319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schwimmend enthält.&#10;&#10;Automatisch generierte Beschreibung">
            <a:extLst>
              <a:ext uri="{FF2B5EF4-FFF2-40B4-BE49-F238E27FC236}">
                <a16:creationId xmlns:a16="http://schemas.microsoft.com/office/drawing/2014/main" id="{793D39D6-A6BC-4FA6-9456-4A5E42E3B45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75000"/>
          </a:blip>
          <a:srcRect t="10631" b="8512"/>
          <a:stretch/>
        </p:blipFill>
        <p:spPr>
          <a:xfrm>
            <a:off x="-1" y="-1"/>
            <a:ext cx="12198349" cy="6858001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F924B13C-2D35-4ECA-A80F-9B41E0CB2FC9}"/>
              </a:ext>
            </a:extLst>
          </p:cNvPr>
          <p:cNvSpPr/>
          <p:nvPr/>
        </p:nvSpPr>
        <p:spPr>
          <a:xfrm>
            <a:off x="842591" y="2168860"/>
            <a:ext cx="3815928" cy="2113079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de-DE" sz="2800" dirty="0">
                <a:solidFill>
                  <a:schemeClr val="bg1"/>
                </a:solidFill>
              </a:rPr>
              <a:t>Nur ein Blick in die Glaskugel</a:t>
            </a:r>
            <a:br>
              <a:rPr lang="de-DE" sz="2800" dirty="0">
                <a:solidFill>
                  <a:schemeClr val="bg1"/>
                </a:solidFill>
              </a:rPr>
            </a:br>
            <a:r>
              <a:rPr lang="de-DE" sz="2800" dirty="0">
                <a:solidFill>
                  <a:schemeClr val="bg1"/>
                </a:solidFill>
              </a:rPr>
              <a:t>… oder könnte so die Zukunft aussehen?</a:t>
            </a:r>
            <a:endParaRPr lang="en-US" sz="2800" dirty="0">
              <a:solidFill>
                <a:schemeClr val="bg1"/>
              </a:solidFill>
            </a:endParaRPr>
          </a:p>
        </p:txBody>
      </p:sp>
      <p:grpSp>
        <p:nvGrpSpPr>
          <p:cNvPr id="5" name="Group 33">
            <a:extLst>
              <a:ext uri="{FF2B5EF4-FFF2-40B4-BE49-F238E27FC236}">
                <a16:creationId xmlns:a16="http://schemas.microsoft.com/office/drawing/2014/main" id="{7538A090-D0A1-4510-82FF-9D7EC9569F9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782178" y="550863"/>
            <a:ext cx="1751013" cy="588963"/>
            <a:chOff x="6162" y="347"/>
            <a:chExt cx="1103" cy="371"/>
          </a:xfrm>
          <a:solidFill>
            <a:schemeClr val="bg1"/>
          </a:solidFill>
        </p:grpSpPr>
        <p:sp>
          <p:nvSpPr>
            <p:cNvPr id="7" name="Freeform 35">
              <a:extLst>
                <a:ext uri="{FF2B5EF4-FFF2-40B4-BE49-F238E27FC236}">
                  <a16:creationId xmlns:a16="http://schemas.microsoft.com/office/drawing/2014/main" id="{BD98BA72-9FF5-4636-91AC-7F0AEB66FD4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8" name="Freeform 36">
              <a:extLst>
                <a:ext uri="{FF2B5EF4-FFF2-40B4-BE49-F238E27FC236}">
                  <a16:creationId xmlns:a16="http://schemas.microsoft.com/office/drawing/2014/main" id="{58FE8667-0713-4F0C-A39A-01E0B6B97E3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9" name="Freeform 37">
              <a:extLst>
                <a:ext uri="{FF2B5EF4-FFF2-40B4-BE49-F238E27FC236}">
                  <a16:creationId xmlns:a16="http://schemas.microsoft.com/office/drawing/2014/main" id="{7A6B0B77-B6AC-4F12-A858-C5D4001EC41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10" name="Freeform 38">
              <a:extLst>
                <a:ext uri="{FF2B5EF4-FFF2-40B4-BE49-F238E27FC236}">
                  <a16:creationId xmlns:a16="http://schemas.microsoft.com/office/drawing/2014/main" id="{A7E6A936-CF72-40E4-BE81-2ED43EA6567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11" name="Freeform 39">
              <a:extLst>
                <a:ext uri="{FF2B5EF4-FFF2-40B4-BE49-F238E27FC236}">
                  <a16:creationId xmlns:a16="http://schemas.microsoft.com/office/drawing/2014/main" id="{BF49FF6A-9009-43B1-AB3F-6C5BA38EF7B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12" name="Freeform 40">
              <a:extLst>
                <a:ext uri="{FF2B5EF4-FFF2-40B4-BE49-F238E27FC236}">
                  <a16:creationId xmlns:a16="http://schemas.microsoft.com/office/drawing/2014/main" id="{E02A9A80-F849-4498-8004-A1D8969FA77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13" name="Freeform 41">
              <a:extLst>
                <a:ext uri="{FF2B5EF4-FFF2-40B4-BE49-F238E27FC236}">
                  <a16:creationId xmlns:a16="http://schemas.microsoft.com/office/drawing/2014/main" id="{3E1C287F-B11A-453A-8FC1-312BC905281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14" name="Freeform 42">
              <a:extLst>
                <a:ext uri="{FF2B5EF4-FFF2-40B4-BE49-F238E27FC236}">
                  <a16:creationId xmlns:a16="http://schemas.microsoft.com/office/drawing/2014/main" id="{EAE1F4B7-39D9-401A-8E1E-D6E2EA6CE48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15" name="Freeform 43">
              <a:extLst>
                <a:ext uri="{FF2B5EF4-FFF2-40B4-BE49-F238E27FC236}">
                  <a16:creationId xmlns:a16="http://schemas.microsoft.com/office/drawing/2014/main" id="{19243F4A-ACAD-4A16-BE04-F792C4A0D65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16" name="Freeform 44">
              <a:extLst>
                <a:ext uri="{FF2B5EF4-FFF2-40B4-BE49-F238E27FC236}">
                  <a16:creationId xmlns:a16="http://schemas.microsoft.com/office/drawing/2014/main" id="{7BAC1CB5-014A-4347-BC92-E582CDC2859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17" name="Freeform 45">
              <a:extLst>
                <a:ext uri="{FF2B5EF4-FFF2-40B4-BE49-F238E27FC236}">
                  <a16:creationId xmlns:a16="http://schemas.microsoft.com/office/drawing/2014/main" id="{5A1FAF49-3181-4ABE-BF8D-868F8632189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18" name="Freeform 46">
              <a:extLst>
                <a:ext uri="{FF2B5EF4-FFF2-40B4-BE49-F238E27FC236}">
                  <a16:creationId xmlns:a16="http://schemas.microsoft.com/office/drawing/2014/main" id="{DD264EF6-9031-444D-A827-AABA71B2C54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19" name="Freeform 47">
              <a:extLst>
                <a:ext uri="{FF2B5EF4-FFF2-40B4-BE49-F238E27FC236}">
                  <a16:creationId xmlns:a16="http://schemas.microsoft.com/office/drawing/2014/main" id="{8E847A63-681F-4A61-B965-EDBD97D4E1A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20" name="Freeform 48">
              <a:extLst>
                <a:ext uri="{FF2B5EF4-FFF2-40B4-BE49-F238E27FC236}">
                  <a16:creationId xmlns:a16="http://schemas.microsoft.com/office/drawing/2014/main" id="{3DB95B30-1FA0-4F1A-A996-4B17F39EC73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21" name="Freeform 49">
              <a:extLst>
                <a:ext uri="{FF2B5EF4-FFF2-40B4-BE49-F238E27FC236}">
                  <a16:creationId xmlns:a16="http://schemas.microsoft.com/office/drawing/2014/main" id="{4E32837C-B40E-4710-ADC5-E50400E1F10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22" name="Freeform 50">
              <a:extLst>
                <a:ext uri="{FF2B5EF4-FFF2-40B4-BE49-F238E27FC236}">
                  <a16:creationId xmlns:a16="http://schemas.microsoft.com/office/drawing/2014/main" id="{814F7C43-1DF2-4A5B-8CE2-2A362482574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23" name="Freeform 51">
              <a:extLst>
                <a:ext uri="{FF2B5EF4-FFF2-40B4-BE49-F238E27FC236}">
                  <a16:creationId xmlns:a16="http://schemas.microsoft.com/office/drawing/2014/main" id="{0B0F9C78-9C44-4B6F-BFAF-1D5164B5934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24" name="Freeform 52">
              <a:extLst>
                <a:ext uri="{FF2B5EF4-FFF2-40B4-BE49-F238E27FC236}">
                  <a16:creationId xmlns:a16="http://schemas.microsoft.com/office/drawing/2014/main" id="{2101B64B-916D-4297-8F63-4CD7D2D558A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25" name="Freeform 53">
              <a:extLst>
                <a:ext uri="{FF2B5EF4-FFF2-40B4-BE49-F238E27FC236}">
                  <a16:creationId xmlns:a16="http://schemas.microsoft.com/office/drawing/2014/main" id="{90A20552-AA8F-4626-A8FF-5A5D587C021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26" name="Freeform 54">
              <a:extLst>
                <a:ext uri="{FF2B5EF4-FFF2-40B4-BE49-F238E27FC236}">
                  <a16:creationId xmlns:a16="http://schemas.microsoft.com/office/drawing/2014/main" id="{A7CFBDD2-FDB7-46CE-A8D3-EC707F75A27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27" name="Freeform 55">
              <a:extLst>
                <a:ext uri="{FF2B5EF4-FFF2-40B4-BE49-F238E27FC236}">
                  <a16:creationId xmlns:a16="http://schemas.microsoft.com/office/drawing/2014/main" id="{97C66682-4975-4211-9AE2-C099C16D60B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28" name="Freeform 56">
              <a:extLst>
                <a:ext uri="{FF2B5EF4-FFF2-40B4-BE49-F238E27FC236}">
                  <a16:creationId xmlns:a16="http://schemas.microsoft.com/office/drawing/2014/main" id="{F64DAD6C-83E4-46A6-BE58-9568BD49168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29" name="Freeform 57">
              <a:extLst>
                <a:ext uri="{FF2B5EF4-FFF2-40B4-BE49-F238E27FC236}">
                  <a16:creationId xmlns:a16="http://schemas.microsoft.com/office/drawing/2014/main" id="{45F38415-0BB6-40B2-8BFE-3F8040A3382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30" name="Freeform 58">
              <a:extLst>
                <a:ext uri="{FF2B5EF4-FFF2-40B4-BE49-F238E27FC236}">
                  <a16:creationId xmlns:a16="http://schemas.microsoft.com/office/drawing/2014/main" id="{9C90B5A0-1C11-4B68-BFB8-A4E8ABD1DAE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  <p:sp>
          <p:nvSpPr>
            <p:cNvPr id="31" name="Freeform 59">
              <a:extLst>
                <a:ext uri="{FF2B5EF4-FFF2-40B4-BE49-F238E27FC236}">
                  <a16:creationId xmlns:a16="http://schemas.microsoft.com/office/drawing/2014/main" id="{05427E11-D491-4C56-B116-7273C9E228E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rgbClr val="00646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52221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kt 35" hidden="1">
            <a:extLst>
              <a:ext uri="{FF2B5EF4-FFF2-40B4-BE49-F238E27FC236}">
                <a16:creationId xmlns:a16="http://schemas.microsoft.com/office/drawing/2014/main" id="{1C16E5A5-707C-420B-A831-FBF2F270B0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7" name="think-cell Folie" r:id="rId6" imgW="344" imgH="344" progId="TCLayout.ActiveDocument.1">
                  <p:embed/>
                </p:oleObj>
              </mc:Choice>
              <mc:Fallback>
                <p:oleObj name="think-cell Folie" r:id="rId6" imgW="344" imgH="344" progId="TCLayout.ActiveDocument.1">
                  <p:embed/>
                  <p:pic>
                    <p:nvPicPr>
                      <p:cNvPr id="36" name="Objekt 35" hidden="1">
                        <a:extLst>
                          <a:ext uri="{FF2B5EF4-FFF2-40B4-BE49-F238E27FC236}">
                            <a16:creationId xmlns:a16="http://schemas.microsoft.com/office/drawing/2014/main" id="{1C16E5A5-707C-420B-A831-FBF2F270B0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96E947B5-9851-4264-B1BB-798E523938D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de-DE" sz="2200" b="1" dirty="0">
              <a:solidFill>
                <a:schemeClr val="tx1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2E570729-A0C4-4E86-AC7F-85F117333586}"/>
              </a:ext>
            </a:extLst>
          </p:cNvPr>
          <p:cNvGrpSpPr/>
          <p:nvPr/>
        </p:nvGrpSpPr>
        <p:grpSpPr>
          <a:xfrm>
            <a:off x="-718867" y="908720"/>
            <a:ext cx="1718464" cy="6768578"/>
            <a:chOff x="10475245" y="1677988"/>
            <a:chExt cx="1168546" cy="4424456"/>
          </a:xfrm>
        </p:grpSpPr>
        <p:sp>
          <p:nvSpPr>
            <p:cNvPr id="73" name="Freeform 22">
              <a:extLst>
                <a:ext uri="{FF2B5EF4-FFF2-40B4-BE49-F238E27FC236}">
                  <a16:creationId xmlns:a16="http://schemas.microsoft.com/office/drawing/2014/main" id="{27563488-4443-4461-82CE-E9DAD3DBC8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76044" y="4932360"/>
              <a:ext cx="1166458" cy="1170084"/>
            </a:xfrm>
            <a:custGeom>
              <a:avLst/>
              <a:gdLst/>
              <a:ahLst/>
              <a:cxnLst>
                <a:cxn ang="0">
                  <a:pos x="43" y="519"/>
                </a:cxn>
                <a:cxn ang="0">
                  <a:pos x="688" y="16"/>
                </a:cxn>
                <a:cxn ang="0">
                  <a:pos x="710" y="20"/>
                </a:cxn>
                <a:cxn ang="0">
                  <a:pos x="799" y="22"/>
                </a:cxn>
                <a:cxn ang="0">
                  <a:pos x="581" y="42"/>
                </a:cxn>
                <a:cxn ang="0">
                  <a:pos x="530" y="61"/>
                </a:cxn>
                <a:cxn ang="0">
                  <a:pos x="991" y="49"/>
                </a:cxn>
                <a:cxn ang="0">
                  <a:pos x="372" y="115"/>
                </a:cxn>
                <a:cxn ang="0">
                  <a:pos x="428" y="107"/>
                </a:cxn>
                <a:cxn ang="0">
                  <a:pos x="818" y="92"/>
                </a:cxn>
                <a:cxn ang="0">
                  <a:pos x="1055" y="192"/>
                </a:cxn>
                <a:cxn ang="0">
                  <a:pos x="825" y="120"/>
                </a:cxn>
                <a:cxn ang="0">
                  <a:pos x="386" y="131"/>
                </a:cxn>
                <a:cxn ang="0">
                  <a:pos x="360" y="122"/>
                </a:cxn>
                <a:cxn ang="0">
                  <a:pos x="307" y="157"/>
                </a:cxn>
                <a:cxn ang="0">
                  <a:pos x="1281" y="215"/>
                </a:cxn>
                <a:cxn ang="0">
                  <a:pos x="262" y="197"/>
                </a:cxn>
                <a:cxn ang="0">
                  <a:pos x="342" y="207"/>
                </a:cxn>
                <a:cxn ang="0">
                  <a:pos x="515" y="222"/>
                </a:cxn>
                <a:cxn ang="0">
                  <a:pos x="1092" y="232"/>
                </a:cxn>
                <a:cxn ang="0">
                  <a:pos x="1054" y="395"/>
                </a:cxn>
                <a:cxn ang="0">
                  <a:pos x="286" y="259"/>
                </a:cxn>
                <a:cxn ang="0">
                  <a:pos x="422" y="400"/>
                </a:cxn>
                <a:cxn ang="0">
                  <a:pos x="139" y="360"/>
                </a:cxn>
                <a:cxn ang="0">
                  <a:pos x="735" y="383"/>
                </a:cxn>
                <a:cxn ang="0">
                  <a:pos x="401" y="453"/>
                </a:cxn>
                <a:cxn ang="0">
                  <a:pos x="1275" y="515"/>
                </a:cxn>
                <a:cxn ang="0">
                  <a:pos x="965" y="472"/>
                </a:cxn>
                <a:cxn ang="0">
                  <a:pos x="1457" y="507"/>
                </a:cxn>
                <a:cxn ang="0">
                  <a:pos x="1123" y="716"/>
                </a:cxn>
                <a:cxn ang="0">
                  <a:pos x="1284" y="635"/>
                </a:cxn>
                <a:cxn ang="0">
                  <a:pos x="109" y="683"/>
                </a:cxn>
                <a:cxn ang="0">
                  <a:pos x="320" y="836"/>
                </a:cxn>
                <a:cxn ang="0">
                  <a:pos x="942" y="737"/>
                </a:cxn>
                <a:cxn ang="0">
                  <a:pos x="1520" y="791"/>
                </a:cxn>
                <a:cxn ang="0">
                  <a:pos x="1506" y="837"/>
                </a:cxn>
                <a:cxn ang="0">
                  <a:pos x="1392" y="910"/>
                </a:cxn>
                <a:cxn ang="0">
                  <a:pos x="1322" y="936"/>
                </a:cxn>
                <a:cxn ang="0">
                  <a:pos x="497" y="992"/>
                </a:cxn>
                <a:cxn ang="0">
                  <a:pos x="637" y="1004"/>
                </a:cxn>
                <a:cxn ang="0">
                  <a:pos x="75" y="1026"/>
                </a:cxn>
                <a:cxn ang="0">
                  <a:pos x="155" y="1216"/>
                </a:cxn>
                <a:cxn ang="0">
                  <a:pos x="1376" y="1175"/>
                </a:cxn>
                <a:cxn ang="0">
                  <a:pos x="187" y="1148"/>
                </a:cxn>
                <a:cxn ang="0">
                  <a:pos x="163" y="1223"/>
                </a:cxn>
                <a:cxn ang="0">
                  <a:pos x="363" y="1201"/>
                </a:cxn>
                <a:cxn ang="0">
                  <a:pos x="535" y="1295"/>
                </a:cxn>
                <a:cxn ang="0">
                  <a:pos x="170" y="1239"/>
                </a:cxn>
                <a:cxn ang="0">
                  <a:pos x="195" y="1266"/>
                </a:cxn>
                <a:cxn ang="0">
                  <a:pos x="224" y="1300"/>
                </a:cxn>
                <a:cxn ang="0">
                  <a:pos x="309" y="1356"/>
                </a:cxn>
                <a:cxn ang="0">
                  <a:pos x="1151" y="1402"/>
                </a:cxn>
                <a:cxn ang="0">
                  <a:pos x="618" y="1375"/>
                </a:cxn>
                <a:cxn ang="0">
                  <a:pos x="956" y="1397"/>
                </a:cxn>
                <a:cxn ang="0">
                  <a:pos x="1038" y="1391"/>
                </a:cxn>
                <a:cxn ang="0">
                  <a:pos x="697" y="1413"/>
                </a:cxn>
                <a:cxn ang="0">
                  <a:pos x="987" y="1439"/>
                </a:cxn>
                <a:cxn ang="0">
                  <a:pos x="513" y="1480"/>
                </a:cxn>
                <a:cxn ang="0">
                  <a:pos x="749" y="1462"/>
                </a:cxn>
                <a:cxn ang="0">
                  <a:pos x="975" y="1464"/>
                </a:cxn>
                <a:cxn ang="0">
                  <a:pos x="782" y="1475"/>
                </a:cxn>
                <a:cxn ang="0">
                  <a:pos x="738" y="1484"/>
                </a:cxn>
                <a:cxn ang="0">
                  <a:pos x="845" y="1510"/>
                </a:cxn>
              </a:cxnLst>
              <a:rect l="0" t="0" r="r" b="b"/>
              <a:pathLst>
                <a:path w="1525" h="1529">
                  <a:moveTo>
                    <a:pt x="760" y="11"/>
                  </a:moveTo>
                  <a:cubicBezTo>
                    <a:pt x="764" y="10"/>
                    <a:pt x="762" y="3"/>
                    <a:pt x="767" y="3"/>
                  </a:cubicBezTo>
                  <a:cubicBezTo>
                    <a:pt x="772" y="2"/>
                    <a:pt x="769" y="11"/>
                    <a:pt x="774" y="8"/>
                  </a:cubicBezTo>
                  <a:cubicBezTo>
                    <a:pt x="798" y="0"/>
                    <a:pt x="832" y="6"/>
                    <a:pt x="860" y="10"/>
                  </a:cubicBezTo>
                  <a:cubicBezTo>
                    <a:pt x="920" y="18"/>
                    <a:pt x="979" y="31"/>
                    <a:pt x="1027" y="50"/>
                  </a:cubicBezTo>
                  <a:cubicBezTo>
                    <a:pt x="1077" y="70"/>
                    <a:pt x="1124" y="92"/>
                    <a:pt x="1166" y="119"/>
                  </a:cubicBezTo>
                  <a:cubicBezTo>
                    <a:pt x="1181" y="129"/>
                    <a:pt x="1197" y="136"/>
                    <a:pt x="1209" y="145"/>
                  </a:cubicBezTo>
                  <a:cubicBezTo>
                    <a:pt x="1217" y="151"/>
                    <a:pt x="1224" y="160"/>
                    <a:pt x="1232" y="167"/>
                  </a:cubicBezTo>
                  <a:cubicBezTo>
                    <a:pt x="1281" y="205"/>
                    <a:pt x="1322" y="252"/>
                    <a:pt x="1362" y="301"/>
                  </a:cubicBezTo>
                  <a:cubicBezTo>
                    <a:pt x="1369" y="310"/>
                    <a:pt x="1378" y="316"/>
                    <a:pt x="1383" y="323"/>
                  </a:cubicBezTo>
                  <a:cubicBezTo>
                    <a:pt x="1388" y="331"/>
                    <a:pt x="1392" y="340"/>
                    <a:pt x="1398" y="348"/>
                  </a:cubicBezTo>
                  <a:cubicBezTo>
                    <a:pt x="1468" y="449"/>
                    <a:pt x="1525" y="587"/>
                    <a:pt x="1522" y="761"/>
                  </a:cubicBezTo>
                  <a:cubicBezTo>
                    <a:pt x="1522" y="773"/>
                    <a:pt x="1525" y="784"/>
                    <a:pt x="1524" y="795"/>
                  </a:cubicBezTo>
                  <a:cubicBezTo>
                    <a:pt x="1524" y="805"/>
                    <a:pt x="1520" y="815"/>
                    <a:pt x="1518" y="826"/>
                  </a:cubicBezTo>
                  <a:cubicBezTo>
                    <a:pt x="1515" y="857"/>
                    <a:pt x="1508" y="890"/>
                    <a:pt x="1502" y="919"/>
                  </a:cubicBezTo>
                  <a:cubicBezTo>
                    <a:pt x="1495" y="950"/>
                    <a:pt x="1489" y="979"/>
                    <a:pt x="1481" y="1007"/>
                  </a:cubicBezTo>
                  <a:cubicBezTo>
                    <a:pt x="1478" y="1017"/>
                    <a:pt x="1477" y="1028"/>
                    <a:pt x="1474" y="1037"/>
                  </a:cubicBezTo>
                  <a:cubicBezTo>
                    <a:pt x="1472" y="1045"/>
                    <a:pt x="1468" y="1051"/>
                    <a:pt x="1465" y="1058"/>
                  </a:cubicBezTo>
                  <a:cubicBezTo>
                    <a:pt x="1455" y="1079"/>
                    <a:pt x="1446" y="1102"/>
                    <a:pt x="1436" y="1122"/>
                  </a:cubicBezTo>
                  <a:cubicBezTo>
                    <a:pt x="1414" y="1164"/>
                    <a:pt x="1392" y="1199"/>
                    <a:pt x="1364" y="1233"/>
                  </a:cubicBezTo>
                  <a:cubicBezTo>
                    <a:pt x="1355" y="1245"/>
                    <a:pt x="1347" y="1257"/>
                    <a:pt x="1337" y="1268"/>
                  </a:cubicBezTo>
                  <a:cubicBezTo>
                    <a:pt x="1318" y="1289"/>
                    <a:pt x="1295" y="1305"/>
                    <a:pt x="1274" y="1326"/>
                  </a:cubicBezTo>
                  <a:cubicBezTo>
                    <a:pt x="1232" y="1368"/>
                    <a:pt x="1185" y="1404"/>
                    <a:pt x="1136" y="1434"/>
                  </a:cubicBezTo>
                  <a:cubicBezTo>
                    <a:pt x="1110" y="1450"/>
                    <a:pt x="1082" y="1460"/>
                    <a:pt x="1052" y="1471"/>
                  </a:cubicBezTo>
                  <a:cubicBezTo>
                    <a:pt x="1037" y="1477"/>
                    <a:pt x="1023" y="1484"/>
                    <a:pt x="1008" y="1488"/>
                  </a:cubicBezTo>
                  <a:cubicBezTo>
                    <a:pt x="992" y="1493"/>
                    <a:pt x="976" y="1494"/>
                    <a:pt x="958" y="1499"/>
                  </a:cubicBezTo>
                  <a:cubicBezTo>
                    <a:pt x="948" y="1502"/>
                    <a:pt x="940" y="1508"/>
                    <a:pt x="930" y="1511"/>
                  </a:cubicBezTo>
                  <a:cubicBezTo>
                    <a:pt x="904" y="1518"/>
                    <a:pt x="872" y="1514"/>
                    <a:pt x="846" y="1522"/>
                  </a:cubicBezTo>
                  <a:cubicBezTo>
                    <a:pt x="840" y="1524"/>
                    <a:pt x="835" y="1527"/>
                    <a:pt x="828" y="1528"/>
                  </a:cubicBezTo>
                  <a:cubicBezTo>
                    <a:pt x="823" y="1528"/>
                    <a:pt x="818" y="1526"/>
                    <a:pt x="813" y="1526"/>
                  </a:cubicBezTo>
                  <a:cubicBezTo>
                    <a:pt x="796" y="1525"/>
                    <a:pt x="777" y="1527"/>
                    <a:pt x="758" y="1528"/>
                  </a:cubicBezTo>
                  <a:cubicBezTo>
                    <a:pt x="735" y="1529"/>
                    <a:pt x="713" y="1524"/>
                    <a:pt x="691" y="1523"/>
                  </a:cubicBezTo>
                  <a:cubicBezTo>
                    <a:pt x="683" y="1523"/>
                    <a:pt x="676" y="1525"/>
                    <a:pt x="669" y="1524"/>
                  </a:cubicBezTo>
                  <a:cubicBezTo>
                    <a:pt x="656" y="1523"/>
                    <a:pt x="646" y="1514"/>
                    <a:pt x="635" y="1512"/>
                  </a:cubicBezTo>
                  <a:cubicBezTo>
                    <a:pt x="620" y="1510"/>
                    <a:pt x="607" y="1512"/>
                    <a:pt x="594" y="1511"/>
                  </a:cubicBezTo>
                  <a:cubicBezTo>
                    <a:pt x="571" y="1507"/>
                    <a:pt x="551" y="1496"/>
                    <a:pt x="531" y="1489"/>
                  </a:cubicBezTo>
                  <a:cubicBezTo>
                    <a:pt x="520" y="1486"/>
                    <a:pt x="508" y="1484"/>
                    <a:pt x="497" y="1481"/>
                  </a:cubicBezTo>
                  <a:cubicBezTo>
                    <a:pt x="454" y="1468"/>
                    <a:pt x="414" y="1451"/>
                    <a:pt x="380" y="1429"/>
                  </a:cubicBezTo>
                  <a:cubicBezTo>
                    <a:pt x="363" y="1418"/>
                    <a:pt x="347" y="1404"/>
                    <a:pt x="330" y="1393"/>
                  </a:cubicBezTo>
                  <a:cubicBezTo>
                    <a:pt x="287" y="1366"/>
                    <a:pt x="251" y="1334"/>
                    <a:pt x="216" y="1296"/>
                  </a:cubicBezTo>
                  <a:cubicBezTo>
                    <a:pt x="202" y="1282"/>
                    <a:pt x="187" y="1270"/>
                    <a:pt x="174" y="1252"/>
                  </a:cubicBezTo>
                  <a:cubicBezTo>
                    <a:pt x="169" y="1244"/>
                    <a:pt x="165" y="1234"/>
                    <a:pt x="159" y="1225"/>
                  </a:cubicBezTo>
                  <a:cubicBezTo>
                    <a:pt x="147" y="1209"/>
                    <a:pt x="133" y="1193"/>
                    <a:pt x="123" y="1177"/>
                  </a:cubicBezTo>
                  <a:cubicBezTo>
                    <a:pt x="60" y="1083"/>
                    <a:pt x="16" y="977"/>
                    <a:pt x="6" y="830"/>
                  </a:cubicBezTo>
                  <a:cubicBezTo>
                    <a:pt x="5" y="816"/>
                    <a:pt x="0" y="804"/>
                    <a:pt x="0" y="791"/>
                  </a:cubicBezTo>
                  <a:cubicBezTo>
                    <a:pt x="0" y="782"/>
                    <a:pt x="4" y="772"/>
                    <a:pt x="5" y="762"/>
                  </a:cubicBezTo>
                  <a:cubicBezTo>
                    <a:pt x="11" y="698"/>
                    <a:pt x="14" y="634"/>
                    <a:pt x="27" y="577"/>
                  </a:cubicBezTo>
                  <a:cubicBezTo>
                    <a:pt x="29" y="567"/>
                    <a:pt x="29" y="558"/>
                    <a:pt x="31" y="549"/>
                  </a:cubicBezTo>
                  <a:cubicBezTo>
                    <a:pt x="34" y="539"/>
                    <a:pt x="40" y="529"/>
                    <a:pt x="43" y="519"/>
                  </a:cubicBezTo>
                  <a:cubicBezTo>
                    <a:pt x="65" y="448"/>
                    <a:pt x="100" y="386"/>
                    <a:pt x="137" y="330"/>
                  </a:cubicBezTo>
                  <a:cubicBezTo>
                    <a:pt x="170" y="280"/>
                    <a:pt x="209" y="240"/>
                    <a:pt x="252" y="202"/>
                  </a:cubicBezTo>
                  <a:cubicBezTo>
                    <a:pt x="266" y="190"/>
                    <a:pt x="282" y="179"/>
                    <a:pt x="296" y="166"/>
                  </a:cubicBezTo>
                  <a:cubicBezTo>
                    <a:pt x="303" y="159"/>
                    <a:pt x="307" y="151"/>
                    <a:pt x="315" y="145"/>
                  </a:cubicBezTo>
                  <a:cubicBezTo>
                    <a:pt x="323" y="139"/>
                    <a:pt x="332" y="137"/>
                    <a:pt x="341" y="132"/>
                  </a:cubicBezTo>
                  <a:cubicBezTo>
                    <a:pt x="354" y="124"/>
                    <a:pt x="367" y="114"/>
                    <a:pt x="380" y="106"/>
                  </a:cubicBezTo>
                  <a:cubicBezTo>
                    <a:pt x="419" y="82"/>
                    <a:pt x="466" y="61"/>
                    <a:pt x="514" y="46"/>
                  </a:cubicBezTo>
                  <a:cubicBezTo>
                    <a:pt x="531" y="40"/>
                    <a:pt x="546" y="33"/>
                    <a:pt x="563" y="29"/>
                  </a:cubicBezTo>
                  <a:cubicBezTo>
                    <a:pt x="605" y="19"/>
                    <a:pt x="652" y="8"/>
                    <a:pt x="702" y="5"/>
                  </a:cubicBezTo>
                  <a:cubicBezTo>
                    <a:pt x="711" y="5"/>
                    <a:pt x="721" y="5"/>
                    <a:pt x="731" y="3"/>
                  </a:cubicBezTo>
                  <a:cubicBezTo>
                    <a:pt x="741" y="1"/>
                    <a:pt x="752" y="5"/>
                    <a:pt x="760" y="11"/>
                  </a:cubicBezTo>
                  <a:close/>
                  <a:moveTo>
                    <a:pt x="765" y="11"/>
                  </a:moveTo>
                  <a:cubicBezTo>
                    <a:pt x="767" y="11"/>
                    <a:pt x="769" y="11"/>
                    <a:pt x="770" y="9"/>
                  </a:cubicBezTo>
                  <a:cubicBezTo>
                    <a:pt x="768" y="9"/>
                    <a:pt x="769" y="6"/>
                    <a:pt x="767" y="5"/>
                  </a:cubicBezTo>
                  <a:cubicBezTo>
                    <a:pt x="766" y="7"/>
                    <a:pt x="764" y="8"/>
                    <a:pt x="765" y="11"/>
                  </a:cubicBezTo>
                  <a:close/>
                  <a:moveTo>
                    <a:pt x="737" y="6"/>
                  </a:moveTo>
                  <a:cubicBezTo>
                    <a:pt x="736" y="6"/>
                    <a:pt x="735" y="6"/>
                    <a:pt x="735" y="7"/>
                  </a:cubicBezTo>
                  <a:cubicBezTo>
                    <a:pt x="736" y="7"/>
                    <a:pt x="737" y="7"/>
                    <a:pt x="737" y="6"/>
                  </a:cubicBezTo>
                  <a:close/>
                  <a:moveTo>
                    <a:pt x="800" y="6"/>
                  </a:moveTo>
                  <a:cubicBezTo>
                    <a:pt x="790" y="5"/>
                    <a:pt x="794" y="9"/>
                    <a:pt x="800" y="6"/>
                  </a:cubicBezTo>
                  <a:close/>
                  <a:moveTo>
                    <a:pt x="744" y="7"/>
                  </a:moveTo>
                  <a:cubicBezTo>
                    <a:pt x="742" y="8"/>
                    <a:pt x="738" y="6"/>
                    <a:pt x="738" y="8"/>
                  </a:cubicBezTo>
                  <a:cubicBezTo>
                    <a:pt x="740" y="8"/>
                    <a:pt x="744" y="9"/>
                    <a:pt x="744" y="7"/>
                  </a:cubicBezTo>
                  <a:close/>
                  <a:moveTo>
                    <a:pt x="792" y="7"/>
                  </a:moveTo>
                  <a:cubicBezTo>
                    <a:pt x="790" y="8"/>
                    <a:pt x="785" y="6"/>
                    <a:pt x="785" y="8"/>
                  </a:cubicBezTo>
                  <a:cubicBezTo>
                    <a:pt x="787" y="8"/>
                    <a:pt x="791" y="9"/>
                    <a:pt x="792" y="7"/>
                  </a:cubicBezTo>
                  <a:close/>
                  <a:moveTo>
                    <a:pt x="727" y="8"/>
                  </a:moveTo>
                  <a:cubicBezTo>
                    <a:pt x="726" y="8"/>
                    <a:pt x="725" y="8"/>
                    <a:pt x="725" y="9"/>
                  </a:cubicBezTo>
                  <a:cubicBezTo>
                    <a:pt x="726" y="9"/>
                    <a:pt x="727" y="9"/>
                    <a:pt x="727" y="8"/>
                  </a:cubicBezTo>
                  <a:close/>
                  <a:moveTo>
                    <a:pt x="747" y="8"/>
                  </a:moveTo>
                  <a:cubicBezTo>
                    <a:pt x="746" y="8"/>
                    <a:pt x="745" y="8"/>
                    <a:pt x="745" y="9"/>
                  </a:cubicBezTo>
                  <a:cubicBezTo>
                    <a:pt x="745" y="9"/>
                    <a:pt x="747" y="9"/>
                    <a:pt x="747" y="8"/>
                  </a:cubicBezTo>
                  <a:close/>
                  <a:moveTo>
                    <a:pt x="784" y="8"/>
                  </a:moveTo>
                  <a:cubicBezTo>
                    <a:pt x="783" y="8"/>
                    <a:pt x="781" y="8"/>
                    <a:pt x="781" y="9"/>
                  </a:cubicBezTo>
                  <a:cubicBezTo>
                    <a:pt x="782" y="9"/>
                    <a:pt x="784" y="9"/>
                    <a:pt x="784" y="8"/>
                  </a:cubicBezTo>
                  <a:close/>
                  <a:moveTo>
                    <a:pt x="748" y="10"/>
                  </a:moveTo>
                  <a:cubicBezTo>
                    <a:pt x="747" y="10"/>
                    <a:pt x="748" y="11"/>
                    <a:pt x="748" y="10"/>
                  </a:cubicBezTo>
                  <a:close/>
                  <a:moveTo>
                    <a:pt x="778" y="10"/>
                  </a:moveTo>
                  <a:cubicBezTo>
                    <a:pt x="778" y="10"/>
                    <a:pt x="779" y="11"/>
                    <a:pt x="778" y="10"/>
                  </a:cubicBezTo>
                  <a:close/>
                  <a:moveTo>
                    <a:pt x="688" y="10"/>
                  </a:moveTo>
                  <a:cubicBezTo>
                    <a:pt x="686" y="11"/>
                    <a:pt x="682" y="9"/>
                    <a:pt x="682" y="11"/>
                  </a:cubicBezTo>
                  <a:cubicBezTo>
                    <a:pt x="684" y="10"/>
                    <a:pt x="688" y="12"/>
                    <a:pt x="688" y="10"/>
                  </a:cubicBezTo>
                  <a:close/>
                  <a:moveTo>
                    <a:pt x="841" y="11"/>
                  </a:moveTo>
                  <a:cubicBezTo>
                    <a:pt x="836" y="10"/>
                    <a:pt x="840" y="14"/>
                    <a:pt x="841" y="11"/>
                  </a:cubicBezTo>
                  <a:close/>
                  <a:moveTo>
                    <a:pt x="857" y="12"/>
                  </a:moveTo>
                  <a:cubicBezTo>
                    <a:pt x="856" y="12"/>
                    <a:pt x="854" y="12"/>
                    <a:pt x="854" y="13"/>
                  </a:cubicBezTo>
                  <a:cubicBezTo>
                    <a:pt x="855" y="13"/>
                    <a:pt x="857" y="13"/>
                    <a:pt x="857" y="12"/>
                  </a:cubicBezTo>
                  <a:close/>
                  <a:moveTo>
                    <a:pt x="688" y="16"/>
                  </a:moveTo>
                  <a:cubicBezTo>
                    <a:pt x="680" y="15"/>
                    <a:pt x="684" y="19"/>
                    <a:pt x="688" y="16"/>
                  </a:cubicBezTo>
                  <a:close/>
                  <a:moveTo>
                    <a:pt x="678" y="17"/>
                  </a:moveTo>
                  <a:cubicBezTo>
                    <a:pt x="676" y="17"/>
                    <a:pt x="671" y="16"/>
                    <a:pt x="671" y="18"/>
                  </a:cubicBezTo>
                  <a:cubicBezTo>
                    <a:pt x="673" y="17"/>
                    <a:pt x="677" y="19"/>
                    <a:pt x="678" y="17"/>
                  </a:cubicBezTo>
                  <a:close/>
                  <a:moveTo>
                    <a:pt x="842" y="17"/>
                  </a:moveTo>
                  <a:cubicBezTo>
                    <a:pt x="836" y="16"/>
                    <a:pt x="840" y="20"/>
                    <a:pt x="842" y="17"/>
                  </a:cubicBezTo>
                  <a:close/>
                  <a:moveTo>
                    <a:pt x="664" y="19"/>
                  </a:moveTo>
                  <a:cubicBezTo>
                    <a:pt x="674" y="17"/>
                    <a:pt x="664" y="18"/>
                    <a:pt x="658" y="19"/>
                  </a:cubicBezTo>
                  <a:cubicBezTo>
                    <a:pt x="655" y="19"/>
                    <a:pt x="652" y="18"/>
                    <a:pt x="651" y="21"/>
                  </a:cubicBezTo>
                  <a:cubicBezTo>
                    <a:pt x="656" y="20"/>
                    <a:pt x="660" y="19"/>
                    <a:pt x="664" y="19"/>
                  </a:cubicBezTo>
                  <a:close/>
                  <a:moveTo>
                    <a:pt x="700" y="19"/>
                  </a:moveTo>
                  <a:cubicBezTo>
                    <a:pt x="699" y="18"/>
                    <a:pt x="700" y="19"/>
                    <a:pt x="700" y="19"/>
                  </a:cubicBezTo>
                  <a:close/>
                  <a:moveTo>
                    <a:pt x="698" y="81"/>
                  </a:moveTo>
                  <a:cubicBezTo>
                    <a:pt x="716" y="81"/>
                    <a:pt x="734" y="81"/>
                    <a:pt x="751" y="81"/>
                  </a:cubicBezTo>
                  <a:cubicBezTo>
                    <a:pt x="753" y="60"/>
                    <a:pt x="757" y="36"/>
                    <a:pt x="759" y="18"/>
                  </a:cubicBezTo>
                  <a:cubicBezTo>
                    <a:pt x="733" y="34"/>
                    <a:pt x="714" y="56"/>
                    <a:pt x="698" y="81"/>
                  </a:cubicBezTo>
                  <a:close/>
                  <a:moveTo>
                    <a:pt x="852" y="19"/>
                  </a:moveTo>
                  <a:cubicBezTo>
                    <a:pt x="852" y="19"/>
                    <a:pt x="852" y="19"/>
                    <a:pt x="852" y="20"/>
                  </a:cubicBezTo>
                  <a:cubicBezTo>
                    <a:pt x="870" y="21"/>
                    <a:pt x="885" y="24"/>
                    <a:pt x="901" y="26"/>
                  </a:cubicBezTo>
                  <a:moveTo>
                    <a:pt x="901" y="26"/>
                  </a:moveTo>
                  <a:cubicBezTo>
                    <a:pt x="902" y="29"/>
                    <a:pt x="906" y="25"/>
                    <a:pt x="901" y="26"/>
                  </a:cubicBezTo>
                  <a:moveTo>
                    <a:pt x="901" y="26"/>
                  </a:moveTo>
                  <a:cubicBezTo>
                    <a:pt x="901" y="26"/>
                    <a:pt x="901" y="26"/>
                    <a:pt x="901" y="25"/>
                  </a:cubicBezTo>
                  <a:cubicBezTo>
                    <a:pt x="887" y="21"/>
                    <a:pt x="870" y="20"/>
                    <a:pt x="852" y="19"/>
                  </a:cubicBezTo>
                  <a:moveTo>
                    <a:pt x="852" y="19"/>
                  </a:moveTo>
                  <a:cubicBezTo>
                    <a:pt x="846" y="16"/>
                    <a:pt x="842" y="20"/>
                    <a:pt x="852" y="19"/>
                  </a:cubicBezTo>
                  <a:moveTo>
                    <a:pt x="693" y="19"/>
                  </a:moveTo>
                  <a:cubicBezTo>
                    <a:pt x="683" y="17"/>
                    <a:pt x="687" y="22"/>
                    <a:pt x="693" y="19"/>
                  </a:cubicBezTo>
                  <a:close/>
                  <a:moveTo>
                    <a:pt x="751" y="20"/>
                  </a:moveTo>
                  <a:cubicBezTo>
                    <a:pt x="751" y="19"/>
                    <a:pt x="752" y="20"/>
                    <a:pt x="751" y="20"/>
                  </a:cubicBezTo>
                  <a:close/>
                  <a:moveTo>
                    <a:pt x="754" y="81"/>
                  </a:moveTo>
                  <a:cubicBezTo>
                    <a:pt x="762" y="81"/>
                    <a:pt x="770" y="81"/>
                    <a:pt x="778" y="81"/>
                  </a:cubicBezTo>
                  <a:cubicBezTo>
                    <a:pt x="774" y="59"/>
                    <a:pt x="781" y="26"/>
                    <a:pt x="762" y="19"/>
                  </a:cubicBezTo>
                  <a:cubicBezTo>
                    <a:pt x="759" y="39"/>
                    <a:pt x="756" y="59"/>
                    <a:pt x="754" y="81"/>
                  </a:cubicBezTo>
                  <a:close/>
                  <a:moveTo>
                    <a:pt x="826" y="19"/>
                  </a:moveTo>
                  <a:cubicBezTo>
                    <a:pt x="820" y="18"/>
                    <a:pt x="824" y="22"/>
                    <a:pt x="826" y="19"/>
                  </a:cubicBezTo>
                  <a:close/>
                  <a:moveTo>
                    <a:pt x="641" y="21"/>
                  </a:moveTo>
                  <a:cubicBezTo>
                    <a:pt x="619" y="23"/>
                    <a:pt x="596" y="25"/>
                    <a:pt x="580" y="33"/>
                  </a:cubicBezTo>
                  <a:moveTo>
                    <a:pt x="580" y="33"/>
                  </a:moveTo>
                  <a:cubicBezTo>
                    <a:pt x="576" y="32"/>
                    <a:pt x="579" y="36"/>
                    <a:pt x="580" y="33"/>
                  </a:cubicBezTo>
                  <a:moveTo>
                    <a:pt x="580" y="33"/>
                  </a:moveTo>
                  <a:cubicBezTo>
                    <a:pt x="600" y="29"/>
                    <a:pt x="622" y="26"/>
                    <a:pt x="641" y="21"/>
                  </a:cubicBezTo>
                  <a:moveTo>
                    <a:pt x="641" y="21"/>
                  </a:moveTo>
                  <a:cubicBezTo>
                    <a:pt x="646" y="22"/>
                    <a:pt x="642" y="18"/>
                    <a:pt x="641" y="21"/>
                  </a:cubicBezTo>
                  <a:moveTo>
                    <a:pt x="632" y="29"/>
                  </a:moveTo>
                  <a:cubicBezTo>
                    <a:pt x="649" y="25"/>
                    <a:pt x="668" y="24"/>
                    <a:pt x="684" y="20"/>
                  </a:cubicBezTo>
                  <a:cubicBezTo>
                    <a:pt x="666" y="22"/>
                    <a:pt x="644" y="21"/>
                    <a:pt x="632" y="29"/>
                  </a:cubicBezTo>
                  <a:close/>
                  <a:moveTo>
                    <a:pt x="710" y="20"/>
                  </a:moveTo>
                  <a:cubicBezTo>
                    <a:pt x="709" y="20"/>
                    <a:pt x="707" y="19"/>
                    <a:pt x="707" y="21"/>
                  </a:cubicBezTo>
                  <a:cubicBezTo>
                    <a:pt x="708" y="20"/>
                    <a:pt x="710" y="21"/>
                    <a:pt x="710" y="20"/>
                  </a:cubicBezTo>
                  <a:close/>
                  <a:moveTo>
                    <a:pt x="726" y="21"/>
                  </a:moveTo>
                  <a:cubicBezTo>
                    <a:pt x="725" y="20"/>
                    <a:pt x="726" y="21"/>
                    <a:pt x="726" y="21"/>
                  </a:cubicBezTo>
                  <a:close/>
                  <a:moveTo>
                    <a:pt x="739" y="21"/>
                  </a:moveTo>
                  <a:cubicBezTo>
                    <a:pt x="739" y="20"/>
                    <a:pt x="740" y="21"/>
                    <a:pt x="739" y="21"/>
                  </a:cubicBezTo>
                  <a:close/>
                  <a:moveTo>
                    <a:pt x="749" y="21"/>
                  </a:moveTo>
                  <a:cubicBezTo>
                    <a:pt x="725" y="27"/>
                    <a:pt x="705" y="37"/>
                    <a:pt x="686" y="48"/>
                  </a:cubicBezTo>
                  <a:cubicBezTo>
                    <a:pt x="681" y="59"/>
                    <a:pt x="675" y="70"/>
                    <a:pt x="672" y="82"/>
                  </a:cubicBezTo>
                  <a:cubicBezTo>
                    <a:pt x="679" y="82"/>
                    <a:pt x="686" y="82"/>
                    <a:pt x="693" y="82"/>
                  </a:cubicBezTo>
                  <a:cubicBezTo>
                    <a:pt x="709" y="59"/>
                    <a:pt x="727" y="38"/>
                    <a:pt x="749" y="21"/>
                  </a:cubicBezTo>
                  <a:moveTo>
                    <a:pt x="749" y="21"/>
                  </a:moveTo>
                  <a:cubicBezTo>
                    <a:pt x="753" y="22"/>
                    <a:pt x="749" y="18"/>
                    <a:pt x="749" y="21"/>
                  </a:cubicBezTo>
                  <a:moveTo>
                    <a:pt x="793" y="21"/>
                  </a:moveTo>
                  <a:cubicBezTo>
                    <a:pt x="792" y="20"/>
                    <a:pt x="793" y="21"/>
                    <a:pt x="793" y="21"/>
                  </a:cubicBezTo>
                  <a:close/>
                  <a:moveTo>
                    <a:pt x="810" y="20"/>
                  </a:moveTo>
                  <a:cubicBezTo>
                    <a:pt x="809" y="20"/>
                    <a:pt x="808" y="20"/>
                    <a:pt x="808" y="21"/>
                  </a:cubicBezTo>
                  <a:cubicBezTo>
                    <a:pt x="809" y="20"/>
                    <a:pt x="810" y="21"/>
                    <a:pt x="810" y="20"/>
                  </a:cubicBezTo>
                  <a:close/>
                  <a:moveTo>
                    <a:pt x="837" y="21"/>
                  </a:moveTo>
                  <a:cubicBezTo>
                    <a:pt x="837" y="22"/>
                    <a:pt x="839" y="22"/>
                    <a:pt x="839" y="21"/>
                  </a:cubicBezTo>
                  <a:cubicBezTo>
                    <a:pt x="834" y="18"/>
                    <a:pt x="826" y="21"/>
                    <a:pt x="837" y="21"/>
                  </a:cubicBezTo>
                  <a:close/>
                  <a:moveTo>
                    <a:pt x="699" y="22"/>
                  </a:moveTo>
                  <a:cubicBezTo>
                    <a:pt x="667" y="27"/>
                    <a:pt x="629" y="26"/>
                    <a:pt x="610" y="45"/>
                  </a:cubicBezTo>
                  <a:moveTo>
                    <a:pt x="610" y="45"/>
                  </a:moveTo>
                  <a:cubicBezTo>
                    <a:pt x="606" y="44"/>
                    <a:pt x="610" y="47"/>
                    <a:pt x="610" y="45"/>
                  </a:cubicBezTo>
                  <a:moveTo>
                    <a:pt x="699" y="22"/>
                  </a:moveTo>
                  <a:cubicBezTo>
                    <a:pt x="668" y="28"/>
                    <a:pt x="639" y="36"/>
                    <a:pt x="610" y="45"/>
                  </a:cubicBezTo>
                  <a:moveTo>
                    <a:pt x="699" y="22"/>
                  </a:moveTo>
                  <a:cubicBezTo>
                    <a:pt x="703" y="22"/>
                    <a:pt x="699" y="19"/>
                    <a:pt x="699" y="22"/>
                  </a:cubicBezTo>
                  <a:moveTo>
                    <a:pt x="720" y="22"/>
                  </a:moveTo>
                  <a:cubicBezTo>
                    <a:pt x="713" y="23"/>
                    <a:pt x="705" y="22"/>
                    <a:pt x="702" y="26"/>
                  </a:cubicBezTo>
                  <a:cubicBezTo>
                    <a:pt x="708" y="25"/>
                    <a:pt x="714" y="24"/>
                    <a:pt x="720" y="22"/>
                  </a:cubicBezTo>
                  <a:moveTo>
                    <a:pt x="720" y="22"/>
                  </a:moveTo>
                  <a:cubicBezTo>
                    <a:pt x="725" y="23"/>
                    <a:pt x="721" y="19"/>
                    <a:pt x="720" y="22"/>
                  </a:cubicBezTo>
                  <a:moveTo>
                    <a:pt x="690" y="43"/>
                  </a:moveTo>
                  <a:cubicBezTo>
                    <a:pt x="689" y="43"/>
                    <a:pt x="690" y="44"/>
                    <a:pt x="690" y="43"/>
                  </a:cubicBezTo>
                  <a:moveTo>
                    <a:pt x="690" y="43"/>
                  </a:moveTo>
                  <a:cubicBezTo>
                    <a:pt x="705" y="35"/>
                    <a:pt x="721" y="28"/>
                    <a:pt x="737" y="21"/>
                  </a:cubicBezTo>
                  <a:cubicBezTo>
                    <a:pt x="720" y="26"/>
                    <a:pt x="695" y="25"/>
                    <a:pt x="690" y="43"/>
                  </a:cubicBezTo>
                  <a:moveTo>
                    <a:pt x="812" y="81"/>
                  </a:moveTo>
                  <a:cubicBezTo>
                    <a:pt x="830" y="82"/>
                    <a:pt x="849" y="82"/>
                    <a:pt x="867" y="83"/>
                  </a:cubicBezTo>
                  <a:cubicBezTo>
                    <a:pt x="844" y="58"/>
                    <a:pt x="811" y="35"/>
                    <a:pt x="774" y="21"/>
                  </a:cubicBezTo>
                  <a:cubicBezTo>
                    <a:pt x="788" y="40"/>
                    <a:pt x="803" y="58"/>
                    <a:pt x="812" y="81"/>
                  </a:cubicBezTo>
                  <a:close/>
                  <a:moveTo>
                    <a:pt x="852" y="66"/>
                  </a:moveTo>
                  <a:cubicBezTo>
                    <a:pt x="863" y="75"/>
                    <a:pt x="870" y="86"/>
                    <a:pt x="887" y="84"/>
                  </a:cubicBezTo>
                  <a:cubicBezTo>
                    <a:pt x="882" y="71"/>
                    <a:pt x="874" y="61"/>
                    <a:pt x="867" y="49"/>
                  </a:cubicBezTo>
                  <a:cubicBezTo>
                    <a:pt x="840" y="39"/>
                    <a:pt x="812" y="26"/>
                    <a:pt x="783" y="22"/>
                  </a:cubicBezTo>
                  <a:cubicBezTo>
                    <a:pt x="810" y="32"/>
                    <a:pt x="831" y="48"/>
                    <a:pt x="852" y="66"/>
                  </a:cubicBezTo>
                  <a:close/>
                  <a:moveTo>
                    <a:pt x="799" y="22"/>
                  </a:moveTo>
                  <a:cubicBezTo>
                    <a:pt x="821" y="29"/>
                    <a:pt x="844" y="36"/>
                    <a:pt x="863" y="46"/>
                  </a:cubicBezTo>
                  <a:cubicBezTo>
                    <a:pt x="854" y="26"/>
                    <a:pt x="823" y="27"/>
                    <a:pt x="799" y="22"/>
                  </a:cubicBezTo>
                  <a:moveTo>
                    <a:pt x="799" y="22"/>
                  </a:moveTo>
                  <a:cubicBezTo>
                    <a:pt x="797" y="19"/>
                    <a:pt x="793" y="23"/>
                    <a:pt x="799" y="22"/>
                  </a:cubicBezTo>
                  <a:moveTo>
                    <a:pt x="817" y="21"/>
                  </a:moveTo>
                  <a:cubicBezTo>
                    <a:pt x="811" y="19"/>
                    <a:pt x="815" y="24"/>
                    <a:pt x="817" y="21"/>
                  </a:cubicBezTo>
                  <a:close/>
                  <a:moveTo>
                    <a:pt x="928" y="41"/>
                  </a:moveTo>
                  <a:cubicBezTo>
                    <a:pt x="928" y="44"/>
                    <a:pt x="932" y="40"/>
                    <a:pt x="928" y="41"/>
                  </a:cubicBezTo>
                  <a:moveTo>
                    <a:pt x="928" y="41"/>
                  </a:moveTo>
                  <a:cubicBezTo>
                    <a:pt x="909" y="25"/>
                    <a:pt x="871" y="25"/>
                    <a:pt x="844" y="22"/>
                  </a:cubicBezTo>
                  <a:cubicBezTo>
                    <a:pt x="872" y="28"/>
                    <a:pt x="901" y="33"/>
                    <a:pt x="928" y="41"/>
                  </a:cubicBezTo>
                  <a:moveTo>
                    <a:pt x="901" y="21"/>
                  </a:moveTo>
                  <a:cubicBezTo>
                    <a:pt x="900" y="21"/>
                    <a:pt x="899" y="21"/>
                    <a:pt x="899" y="22"/>
                  </a:cubicBezTo>
                  <a:cubicBezTo>
                    <a:pt x="900" y="21"/>
                    <a:pt x="901" y="22"/>
                    <a:pt x="901" y="21"/>
                  </a:cubicBezTo>
                  <a:close/>
                  <a:moveTo>
                    <a:pt x="847" y="28"/>
                  </a:moveTo>
                  <a:cubicBezTo>
                    <a:pt x="848" y="30"/>
                    <a:pt x="849" y="28"/>
                    <a:pt x="847" y="28"/>
                  </a:cubicBezTo>
                  <a:moveTo>
                    <a:pt x="847" y="28"/>
                  </a:moveTo>
                  <a:cubicBezTo>
                    <a:pt x="842" y="22"/>
                    <a:pt x="827" y="22"/>
                    <a:pt x="818" y="23"/>
                  </a:cubicBezTo>
                  <a:cubicBezTo>
                    <a:pt x="829" y="23"/>
                    <a:pt x="837" y="27"/>
                    <a:pt x="847" y="28"/>
                  </a:cubicBezTo>
                  <a:moveTo>
                    <a:pt x="909" y="22"/>
                  </a:moveTo>
                  <a:cubicBezTo>
                    <a:pt x="904" y="21"/>
                    <a:pt x="908" y="24"/>
                    <a:pt x="909" y="22"/>
                  </a:cubicBezTo>
                  <a:close/>
                  <a:moveTo>
                    <a:pt x="916" y="23"/>
                  </a:moveTo>
                  <a:cubicBezTo>
                    <a:pt x="914" y="23"/>
                    <a:pt x="913" y="22"/>
                    <a:pt x="913" y="23"/>
                  </a:cubicBezTo>
                  <a:cubicBezTo>
                    <a:pt x="914" y="23"/>
                    <a:pt x="915" y="24"/>
                    <a:pt x="916" y="23"/>
                  </a:cubicBezTo>
                  <a:close/>
                  <a:moveTo>
                    <a:pt x="922" y="24"/>
                  </a:moveTo>
                  <a:cubicBezTo>
                    <a:pt x="922" y="25"/>
                    <a:pt x="922" y="25"/>
                    <a:pt x="922" y="25"/>
                  </a:cubicBezTo>
                  <a:cubicBezTo>
                    <a:pt x="927" y="25"/>
                    <a:pt x="928" y="27"/>
                    <a:pt x="932" y="26"/>
                  </a:cubicBezTo>
                  <a:moveTo>
                    <a:pt x="932" y="26"/>
                  </a:moveTo>
                  <a:cubicBezTo>
                    <a:pt x="934" y="29"/>
                    <a:pt x="938" y="25"/>
                    <a:pt x="932" y="26"/>
                  </a:cubicBezTo>
                  <a:moveTo>
                    <a:pt x="932" y="26"/>
                  </a:moveTo>
                  <a:cubicBezTo>
                    <a:pt x="932" y="26"/>
                    <a:pt x="932" y="26"/>
                    <a:pt x="932" y="25"/>
                  </a:cubicBezTo>
                  <a:cubicBezTo>
                    <a:pt x="928" y="26"/>
                    <a:pt x="927" y="24"/>
                    <a:pt x="922" y="24"/>
                  </a:cubicBezTo>
                  <a:moveTo>
                    <a:pt x="922" y="24"/>
                  </a:moveTo>
                  <a:cubicBezTo>
                    <a:pt x="919" y="22"/>
                    <a:pt x="915" y="26"/>
                    <a:pt x="922" y="24"/>
                  </a:cubicBezTo>
                  <a:moveTo>
                    <a:pt x="907" y="25"/>
                  </a:moveTo>
                  <a:cubicBezTo>
                    <a:pt x="907" y="26"/>
                    <a:pt x="907" y="26"/>
                    <a:pt x="907" y="26"/>
                  </a:cubicBezTo>
                  <a:cubicBezTo>
                    <a:pt x="934" y="34"/>
                    <a:pt x="965" y="42"/>
                    <a:pt x="990" y="47"/>
                  </a:cubicBezTo>
                  <a:cubicBezTo>
                    <a:pt x="967" y="36"/>
                    <a:pt x="938" y="29"/>
                    <a:pt x="907" y="25"/>
                  </a:cubicBezTo>
                  <a:moveTo>
                    <a:pt x="907" y="25"/>
                  </a:moveTo>
                  <a:cubicBezTo>
                    <a:pt x="907" y="23"/>
                    <a:pt x="903" y="26"/>
                    <a:pt x="907" y="25"/>
                  </a:cubicBezTo>
                  <a:moveTo>
                    <a:pt x="602" y="50"/>
                  </a:moveTo>
                  <a:cubicBezTo>
                    <a:pt x="598" y="55"/>
                    <a:pt x="592" y="59"/>
                    <a:pt x="587" y="64"/>
                  </a:cubicBezTo>
                  <a:cubicBezTo>
                    <a:pt x="583" y="68"/>
                    <a:pt x="576" y="75"/>
                    <a:pt x="577" y="78"/>
                  </a:cubicBezTo>
                  <a:cubicBezTo>
                    <a:pt x="587" y="77"/>
                    <a:pt x="597" y="71"/>
                    <a:pt x="606" y="66"/>
                  </a:cubicBezTo>
                  <a:cubicBezTo>
                    <a:pt x="631" y="53"/>
                    <a:pt x="656" y="41"/>
                    <a:pt x="683" y="32"/>
                  </a:cubicBezTo>
                  <a:cubicBezTo>
                    <a:pt x="687" y="31"/>
                    <a:pt x="696" y="31"/>
                    <a:pt x="695" y="25"/>
                  </a:cubicBezTo>
                  <a:cubicBezTo>
                    <a:pt x="662" y="32"/>
                    <a:pt x="632" y="41"/>
                    <a:pt x="602" y="50"/>
                  </a:cubicBezTo>
                  <a:close/>
                  <a:moveTo>
                    <a:pt x="530" y="58"/>
                  </a:moveTo>
                  <a:cubicBezTo>
                    <a:pt x="526" y="57"/>
                    <a:pt x="529" y="61"/>
                    <a:pt x="530" y="58"/>
                  </a:cubicBezTo>
                  <a:moveTo>
                    <a:pt x="530" y="58"/>
                  </a:moveTo>
                  <a:cubicBezTo>
                    <a:pt x="546" y="53"/>
                    <a:pt x="563" y="47"/>
                    <a:pt x="581" y="42"/>
                  </a:cubicBezTo>
                  <a:cubicBezTo>
                    <a:pt x="598" y="37"/>
                    <a:pt x="617" y="35"/>
                    <a:pt x="631" y="26"/>
                  </a:cubicBezTo>
                  <a:cubicBezTo>
                    <a:pt x="593" y="33"/>
                    <a:pt x="554" y="38"/>
                    <a:pt x="530" y="58"/>
                  </a:cubicBezTo>
                  <a:moveTo>
                    <a:pt x="969" y="73"/>
                  </a:moveTo>
                  <a:cubicBezTo>
                    <a:pt x="947" y="41"/>
                    <a:pt x="895" y="34"/>
                    <a:pt x="850" y="27"/>
                  </a:cubicBezTo>
                  <a:cubicBezTo>
                    <a:pt x="890" y="42"/>
                    <a:pt x="933" y="54"/>
                    <a:pt x="969" y="73"/>
                  </a:cubicBezTo>
                  <a:close/>
                  <a:moveTo>
                    <a:pt x="939" y="27"/>
                  </a:moveTo>
                  <a:cubicBezTo>
                    <a:pt x="938" y="28"/>
                    <a:pt x="937" y="27"/>
                    <a:pt x="937" y="28"/>
                  </a:cubicBezTo>
                  <a:cubicBezTo>
                    <a:pt x="937" y="28"/>
                    <a:pt x="939" y="28"/>
                    <a:pt x="939" y="27"/>
                  </a:cubicBezTo>
                  <a:close/>
                  <a:moveTo>
                    <a:pt x="574" y="32"/>
                  </a:moveTo>
                  <a:cubicBezTo>
                    <a:pt x="574" y="33"/>
                    <a:pt x="573" y="32"/>
                    <a:pt x="574" y="32"/>
                  </a:cubicBezTo>
                  <a:close/>
                  <a:moveTo>
                    <a:pt x="781" y="81"/>
                  </a:moveTo>
                  <a:cubicBezTo>
                    <a:pt x="790" y="80"/>
                    <a:pt x="801" y="82"/>
                    <a:pt x="808" y="80"/>
                  </a:cubicBezTo>
                  <a:cubicBezTo>
                    <a:pt x="798" y="63"/>
                    <a:pt x="789" y="45"/>
                    <a:pt x="776" y="31"/>
                  </a:cubicBezTo>
                  <a:cubicBezTo>
                    <a:pt x="778" y="48"/>
                    <a:pt x="779" y="65"/>
                    <a:pt x="781" y="81"/>
                  </a:cubicBezTo>
                  <a:close/>
                  <a:moveTo>
                    <a:pt x="526" y="47"/>
                  </a:moveTo>
                  <a:cubicBezTo>
                    <a:pt x="524" y="48"/>
                    <a:pt x="526" y="49"/>
                    <a:pt x="526" y="47"/>
                  </a:cubicBezTo>
                  <a:moveTo>
                    <a:pt x="526" y="47"/>
                  </a:moveTo>
                  <a:cubicBezTo>
                    <a:pt x="543" y="43"/>
                    <a:pt x="560" y="40"/>
                    <a:pt x="573" y="32"/>
                  </a:cubicBezTo>
                  <a:cubicBezTo>
                    <a:pt x="557" y="37"/>
                    <a:pt x="537" y="38"/>
                    <a:pt x="526" y="47"/>
                  </a:cubicBezTo>
                  <a:moveTo>
                    <a:pt x="963" y="32"/>
                  </a:moveTo>
                  <a:cubicBezTo>
                    <a:pt x="962" y="32"/>
                    <a:pt x="961" y="32"/>
                    <a:pt x="961" y="33"/>
                  </a:cubicBezTo>
                  <a:cubicBezTo>
                    <a:pt x="961" y="33"/>
                    <a:pt x="963" y="33"/>
                    <a:pt x="963" y="32"/>
                  </a:cubicBezTo>
                  <a:close/>
                  <a:moveTo>
                    <a:pt x="585" y="80"/>
                  </a:moveTo>
                  <a:cubicBezTo>
                    <a:pt x="601" y="82"/>
                    <a:pt x="616" y="87"/>
                    <a:pt x="632" y="84"/>
                  </a:cubicBezTo>
                  <a:cubicBezTo>
                    <a:pt x="648" y="70"/>
                    <a:pt x="665" y="58"/>
                    <a:pt x="683" y="47"/>
                  </a:cubicBezTo>
                  <a:cubicBezTo>
                    <a:pt x="683" y="42"/>
                    <a:pt x="693" y="36"/>
                    <a:pt x="689" y="33"/>
                  </a:cubicBezTo>
                  <a:cubicBezTo>
                    <a:pt x="652" y="46"/>
                    <a:pt x="617" y="61"/>
                    <a:pt x="585" y="80"/>
                  </a:cubicBezTo>
                  <a:close/>
                  <a:moveTo>
                    <a:pt x="966" y="34"/>
                  </a:moveTo>
                  <a:cubicBezTo>
                    <a:pt x="968" y="37"/>
                    <a:pt x="972" y="33"/>
                    <a:pt x="966" y="34"/>
                  </a:cubicBezTo>
                  <a:moveTo>
                    <a:pt x="966" y="34"/>
                  </a:moveTo>
                  <a:cubicBezTo>
                    <a:pt x="965" y="31"/>
                    <a:pt x="961" y="35"/>
                    <a:pt x="966" y="34"/>
                  </a:cubicBezTo>
                  <a:moveTo>
                    <a:pt x="575" y="35"/>
                  </a:moveTo>
                  <a:cubicBezTo>
                    <a:pt x="574" y="35"/>
                    <a:pt x="575" y="36"/>
                    <a:pt x="575" y="35"/>
                  </a:cubicBezTo>
                  <a:close/>
                  <a:moveTo>
                    <a:pt x="859" y="35"/>
                  </a:moveTo>
                  <a:cubicBezTo>
                    <a:pt x="861" y="40"/>
                    <a:pt x="866" y="43"/>
                    <a:pt x="869" y="48"/>
                  </a:cubicBezTo>
                  <a:cubicBezTo>
                    <a:pt x="878" y="53"/>
                    <a:pt x="889" y="57"/>
                    <a:pt x="900" y="64"/>
                  </a:cubicBezTo>
                  <a:cubicBezTo>
                    <a:pt x="909" y="69"/>
                    <a:pt x="921" y="80"/>
                    <a:pt x="930" y="81"/>
                  </a:cubicBezTo>
                  <a:cubicBezTo>
                    <a:pt x="940" y="82"/>
                    <a:pt x="953" y="76"/>
                    <a:pt x="965" y="73"/>
                  </a:cubicBezTo>
                  <a:cubicBezTo>
                    <a:pt x="931" y="59"/>
                    <a:pt x="898" y="44"/>
                    <a:pt x="859" y="35"/>
                  </a:cubicBezTo>
                  <a:moveTo>
                    <a:pt x="859" y="35"/>
                  </a:moveTo>
                  <a:cubicBezTo>
                    <a:pt x="858" y="34"/>
                    <a:pt x="858" y="35"/>
                    <a:pt x="859" y="35"/>
                  </a:cubicBezTo>
                  <a:moveTo>
                    <a:pt x="993" y="63"/>
                  </a:moveTo>
                  <a:cubicBezTo>
                    <a:pt x="997" y="61"/>
                    <a:pt x="1000" y="59"/>
                    <a:pt x="1001" y="55"/>
                  </a:cubicBezTo>
                  <a:cubicBezTo>
                    <a:pt x="977" y="47"/>
                    <a:pt x="949" y="38"/>
                    <a:pt x="924" y="35"/>
                  </a:cubicBezTo>
                  <a:cubicBezTo>
                    <a:pt x="943" y="48"/>
                    <a:pt x="970" y="54"/>
                    <a:pt x="993" y="63"/>
                  </a:cubicBezTo>
                  <a:close/>
                  <a:moveTo>
                    <a:pt x="973" y="35"/>
                  </a:moveTo>
                  <a:cubicBezTo>
                    <a:pt x="972" y="35"/>
                    <a:pt x="970" y="35"/>
                    <a:pt x="970" y="36"/>
                  </a:cubicBezTo>
                  <a:cubicBezTo>
                    <a:pt x="971" y="36"/>
                    <a:pt x="973" y="36"/>
                    <a:pt x="973" y="35"/>
                  </a:cubicBezTo>
                  <a:close/>
                  <a:moveTo>
                    <a:pt x="530" y="61"/>
                  </a:moveTo>
                  <a:cubicBezTo>
                    <a:pt x="542" y="76"/>
                    <a:pt x="556" y="66"/>
                    <a:pt x="573" y="59"/>
                  </a:cubicBezTo>
                  <a:cubicBezTo>
                    <a:pt x="588" y="53"/>
                    <a:pt x="599" y="49"/>
                    <a:pt x="608" y="42"/>
                  </a:cubicBezTo>
                  <a:cubicBezTo>
                    <a:pt x="611" y="39"/>
                    <a:pt x="617" y="37"/>
                    <a:pt x="614" y="36"/>
                  </a:cubicBezTo>
                  <a:cubicBezTo>
                    <a:pt x="585" y="43"/>
                    <a:pt x="557" y="52"/>
                    <a:pt x="530" y="61"/>
                  </a:cubicBezTo>
                  <a:close/>
                  <a:moveTo>
                    <a:pt x="976" y="36"/>
                  </a:moveTo>
                  <a:cubicBezTo>
                    <a:pt x="975" y="36"/>
                    <a:pt x="974" y="36"/>
                    <a:pt x="974" y="37"/>
                  </a:cubicBezTo>
                  <a:cubicBezTo>
                    <a:pt x="975" y="37"/>
                    <a:pt x="976" y="37"/>
                    <a:pt x="976" y="36"/>
                  </a:cubicBezTo>
                  <a:close/>
                  <a:moveTo>
                    <a:pt x="978" y="38"/>
                  </a:moveTo>
                  <a:cubicBezTo>
                    <a:pt x="978" y="37"/>
                    <a:pt x="979" y="39"/>
                    <a:pt x="978" y="38"/>
                  </a:cubicBezTo>
                  <a:close/>
                  <a:moveTo>
                    <a:pt x="982" y="39"/>
                  </a:moveTo>
                  <a:cubicBezTo>
                    <a:pt x="981" y="38"/>
                    <a:pt x="982" y="39"/>
                    <a:pt x="982" y="39"/>
                  </a:cubicBezTo>
                  <a:close/>
                  <a:moveTo>
                    <a:pt x="931" y="43"/>
                  </a:moveTo>
                  <a:cubicBezTo>
                    <a:pt x="931" y="42"/>
                    <a:pt x="932" y="43"/>
                    <a:pt x="931" y="43"/>
                  </a:cubicBezTo>
                  <a:close/>
                  <a:moveTo>
                    <a:pt x="985" y="43"/>
                  </a:moveTo>
                  <a:cubicBezTo>
                    <a:pt x="984" y="42"/>
                    <a:pt x="985" y="43"/>
                    <a:pt x="985" y="43"/>
                  </a:cubicBezTo>
                  <a:close/>
                  <a:moveTo>
                    <a:pt x="1000" y="48"/>
                  </a:moveTo>
                  <a:cubicBezTo>
                    <a:pt x="997" y="46"/>
                    <a:pt x="991" y="42"/>
                    <a:pt x="987" y="44"/>
                  </a:cubicBezTo>
                  <a:cubicBezTo>
                    <a:pt x="992" y="44"/>
                    <a:pt x="996" y="50"/>
                    <a:pt x="1000" y="48"/>
                  </a:cubicBezTo>
                  <a:close/>
                  <a:moveTo>
                    <a:pt x="489" y="60"/>
                  </a:moveTo>
                  <a:cubicBezTo>
                    <a:pt x="488" y="60"/>
                    <a:pt x="487" y="60"/>
                    <a:pt x="486" y="61"/>
                  </a:cubicBezTo>
                  <a:moveTo>
                    <a:pt x="486" y="61"/>
                  </a:moveTo>
                  <a:cubicBezTo>
                    <a:pt x="485" y="61"/>
                    <a:pt x="485" y="61"/>
                    <a:pt x="485" y="62"/>
                  </a:cubicBezTo>
                  <a:moveTo>
                    <a:pt x="485" y="62"/>
                  </a:moveTo>
                  <a:cubicBezTo>
                    <a:pt x="481" y="61"/>
                    <a:pt x="484" y="65"/>
                    <a:pt x="485" y="62"/>
                  </a:cubicBezTo>
                  <a:moveTo>
                    <a:pt x="485" y="62"/>
                  </a:moveTo>
                  <a:cubicBezTo>
                    <a:pt x="486" y="62"/>
                    <a:pt x="486" y="62"/>
                    <a:pt x="486" y="61"/>
                  </a:cubicBezTo>
                  <a:moveTo>
                    <a:pt x="486" y="61"/>
                  </a:moveTo>
                  <a:cubicBezTo>
                    <a:pt x="488" y="61"/>
                    <a:pt x="489" y="61"/>
                    <a:pt x="489" y="60"/>
                  </a:cubicBezTo>
                  <a:moveTo>
                    <a:pt x="489" y="60"/>
                  </a:moveTo>
                  <a:cubicBezTo>
                    <a:pt x="500" y="55"/>
                    <a:pt x="516" y="55"/>
                    <a:pt x="523" y="46"/>
                  </a:cubicBezTo>
                  <a:cubicBezTo>
                    <a:pt x="511" y="50"/>
                    <a:pt x="500" y="54"/>
                    <a:pt x="489" y="60"/>
                  </a:cubicBezTo>
                  <a:moveTo>
                    <a:pt x="542" y="47"/>
                  </a:moveTo>
                  <a:cubicBezTo>
                    <a:pt x="535" y="47"/>
                    <a:pt x="530" y="50"/>
                    <a:pt x="523" y="51"/>
                  </a:cubicBezTo>
                  <a:cubicBezTo>
                    <a:pt x="523" y="54"/>
                    <a:pt x="523" y="56"/>
                    <a:pt x="524" y="57"/>
                  </a:cubicBezTo>
                  <a:cubicBezTo>
                    <a:pt x="531" y="55"/>
                    <a:pt x="537" y="50"/>
                    <a:pt x="542" y="47"/>
                  </a:cubicBezTo>
                  <a:moveTo>
                    <a:pt x="542" y="47"/>
                  </a:moveTo>
                  <a:cubicBezTo>
                    <a:pt x="546" y="47"/>
                    <a:pt x="542" y="44"/>
                    <a:pt x="542" y="47"/>
                  </a:cubicBezTo>
                  <a:moveTo>
                    <a:pt x="1113" y="98"/>
                  </a:moveTo>
                  <a:cubicBezTo>
                    <a:pt x="1113" y="99"/>
                    <a:pt x="1115" y="99"/>
                    <a:pt x="1115" y="99"/>
                  </a:cubicBezTo>
                  <a:moveTo>
                    <a:pt x="1115" y="99"/>
                  </a:moveTo>
                  <a:cubicBezTo>
                    <a:pt x="1116" y="101"/>
                    <a:pt x="1116" y="99"/>
                    <a:pt x="1115" y="99"/>
                  </a:cubicBezTo>
                  <a:moveTo>
                    <a:pt x="1115" y="99"/>
                  </a:moveTo>
                  <a:cubicBezTo>
                    <a:pt x="1115" y="98"/>
                    <a:pt x="1114" y="99"/>
                    <a:pt x="1113" y="98"/>
                  </a:cubicBezTo>
                  <a:moveTo>
                    <a:pt x="1113" y="98"/>
                  </a:moveTo>
                  <a:cubicBezTo>
                    <a:pt x="1081" y="77"/>
                    <a:pt x="1043" y="57"/>
                    <a:pt x="1002" y="48"/>
                  </a:cubicBezTo>
                  <a:cubicBezTo>
                    <a:pt x="1008" y="57"/>
                    <a:pt x="1020" y="58"/>
                    <a:pt x="1029" y="62"/>
                  </a:cubicBezTo>
                  <a:cubicBezTo>
                    <a:pt x="1057" y="72"/>
                    <a:pt x="1086" y="86"/>
                    <a:pt x="1113" y="98"/>
                  </a:cubicBezTo>
                  <a:moveTo>
                    <a:pt x="991" y="49"/>
                  </a:moveTo>
                  <a:cubicBezTo>
                    <a:pt x="991" y="49"/>
                    <a:pt x="992" y="50"/>
                    <a:pt x="991" y="49"/>
                  </a:cubicBezTo>
                  <a:close/>
                  <a:moveTo>
                    <a:pt x="948" y="50"/>
                  </a:moveTo>
                  <a:cubicBezTo>
                    <a:pt x="957" y="57"/>
                    <a:pt x="965" y="65"/>
                    <a:pt x="974" y="71"/>
                  </a:cubicBezTo>
                  <a:cubicBezTo>
                    <a:pt x="979" y="69"/>
                    <a:pt x="987" y="69"/>
                    <a:pt x="990" y="64"/>
                  </a:cubicBezTo>
                  <a:cubicBezTo>
                    <a:pt x="975" y="60"/>
                    <a:pt x="963" y="54"/>
                    <a:pt x="948" y="50"/>
                  </a:cubicBezTo>
                  <a:moveTo>
                    <a:pt x="948" y="50"/>
                  </a:moveTo>
                  <a:cubicBezTo>
                    <a:pt x="948" y="49"/>
                    <a:pt x="947" y="50"/>
                    <a:pt x="948" y="50"/>
                  </a:cubicBezTo>
                  <a:moveTo>
                    <a:pt x="399" y="114"/>
                  </a:moveTo>
                  <a:cubicBezTo>
                    <a:pt x="405" y="112"/>
                    <a:pt x="411" y="111"/>
                    <a:pt x="416" y="110"/>
                  </a:cubicBezTo>
                  <a:cubicBezTo>
                    <a:pt x="433" y="101"/>
                    <a:pt x="450" y="91"/>
                    <a:pt x="468" y="83"/>
                  </a:cubicBezTo>
                  <a:cubicBezTo>
                    <a:pt x="486" y="75"/>
                    <a:pt x="506" y="70"/>
                    <a:pt x="522" y="58"/>
                  </a:cubicBezTo>
                  <a:cubicBezTo>
                    <a:pt x="520" y="58"/>
                    <a:pt x="520" y="56"/>
                    <a:pt x="520" y="53"/>
                  </a:cubicBezTo>
                  <a:cubicBezTo>
                    <a:pt x="473" y="66"/>
                    <a:pt x="432" y="86"/>
                    <a:pt x="399" y="114"/>
                  </a:cubicBezTo>
                  <a:close/>
                  <a:moveTo>
                    <a:pt x="593" y="54"/>
                  </a:moveTo>
                  <a:cubicBezTo>
                    <a:pt x="578" y="59"/>
                    <a:pt x="564" y="65"/>
                    <a:pt x="550" y="71"/>
                  </a:cubicBezTo>
                  <a:cubicBezTo>
                    <a:pt x="556" y="74"/>
                    <a:pt x="564" y="75"/>
                    <a:pt x="570" y="77"/>
                  </a:cubicBezTo>
                  <a:cubicBezTo>
                    <a:pt x="579" y="71"/>
                    <a:pt x="585" y="62"/>
                    <a:pt x="593" y="54"/>
                  </a:cubicBezTo>
                  <a:moveTo>
                    <a:pt x="593" y="54"/>
                  </a:moveTo>
                  <a:cubicBezTo>
                    <a:pt x="594" y="54"/>
                    <a:pt x="593" y="53"/>
                    <a:pt x="593" y="54"/>
                  </a:cubicBezTo>
                  <a:moveTo>
                    <a:pt x="637" y="84"/>
                  </a:moveTo>
                  <a:cubicBezTo>
                    <a:pt x="647" y="83"/>
                    <a:pt x="659" y="84"/>
                    <a:pt x="668" y="82"/>
                  </a:cubicBezTo>
                  <a:cubicBezTo>
                    <a:pt x="669" y="72"/>
                    <a:pt x="679" y="60"/>
                    <a:pt x="678" y="53"/>
                  </a:cubicBezTo>
                  <a:cubicBezTo>
                    <a:pt x="664" y="64"/>
                    <a:pt x="649" y="72"/>
                    <a:pt x="637" y="84"/>
                  </a:cubicBezTo>
                  <a:close/>
                  <a:moveTo>
                    <a:pt x="890" y="84"/>
                  </a:moveTo>
                  <a:cubicBezTo>
                    <a:pt x="901" y="85"/>
                    <a:pt x="916" y="86"/>
                    <a:pt x="924" y="81"/>
                  </a:cubicBezTo>
                  <a:cubicBezTo>
                    <a:pt x="907" y="73"/>
                    <a:pt x="890" y="59"/>
                    <a:pt x="872" y="54"/>
                  </a:cubicBezTo>
                  <a:cubicBezTo>
                    <a:pt x="879" y="63"/>
                    <a:pt x="885" y="73"/>
                    <a:pt x="890" y="84"/>
                  </a:cubicBezTo>
                  <a:close/>
                  <a:moveTo>
                    <a:pt x="1063" y="94"/>
                  </a:moveTo>
                  <a:cubicBezTo>
                    <a:pt x="1063" y="94"/>
                    <a:pt x="1063" y="94"/>
                    <a:pt x="1063" y="95"/>
                  </a:cubicBezTo>
                  <a:cubicBezTo>
                    <a:pt x="1064" y="95"/>
                    <a:pt x="1065" y="96"/>
                    <a:pt x="1066" y="95"/>
                  </a:cubicBezTo>
                  <a:moveTo>
                    <a:pt x="1066" y="95"/>
                  </a:moveTo>
                  <a:cubicBezTo>
                    <a:pt x="1067" y="97"/>
                    <a:pt x="1067" y="95"/>
                    <a:pt x="1066" y="95"/>
                  </a:cubicBezTo>
                  <a:moveTo>
                    <a:pt x="1066" y="95"/>
                  </a:moveTo>
                  <a:cubicBezTo>
                    <a:pt x="1066" y="94"/>
                    <a:pt x="1065" y="94"/>
                    <a:pt x="1063" y="94"/>
                  </a:cubicBezTo>
                  <a:moveTo>
                    <a:pt x="1063" y="94"/>
                  </a:moveTo>
                  <a:cubicBezTo>
                    <a:pt x="1046" y="79"/>
                    <a:pt x="1027" y="67"/>
                    <a:pt x="1006" y="56"/>
                  </a:cubicBezTo>
                  <a:cubicBezTo>
                    <a:pt x="1001" y="58"/>
                    <a:pt x="1000" y="63"/>
                    <a:pt x="996" y="65"/>
                  </a:cubicBezTo>
                  <a:cubicBezTo>
                    <a:pt x="1020" y="73"/>
                    <a:pt x="1041" y="84"/>
                    <a:pt x="1063" y="94"/>
                  </a:cubicBezTo>
                  <a:moveTo>
                    <a:pt x="482" y="60"/>
                  </a:moveTo>
                  <a:cubicBezTo>
                    <a:pt x="482" y="61"/>
                    <a:pt x="481" y="60"/>
                    <a:pt x="482" y="60"/>
                  </a:cubicBezTo>
                  <a:close/>
                  <a:moveTo>
                    <a:pt x="526" y="60"/>
                  </a:moveTo>
                  <a:cubicBezTo>
                    <a:pt x="526" y="61"/>
                    <a:pt x="525" y="60"/>
                    <a:pt x="526" y="60"/>
                  </a:cubicBezTo>
                  <a:close/>
                  <a:moveTo>
                    <a:pt x="479" y="61"/>
                  </a:moveTo>
                  <a:cubicBezTo>
                    <a:pt x="478" y="61"/>
                    <a:pt x="477" y="61"/>
                    <a:pt x="477" y="62"/>
                  </a:cubicBezTo>
                  <a:moveTo>
                    <a:pt x="477" y="62"/>
                  </a:moveTo>
                  <a:cubicBezTo>
                    <a:pt x="441" y="76"/>
                    <a:pt x="407" y="92"/>
                    <a:pt x="377" y="112"/>
                  </a:cubicBezTo>
                  <a:moveTo>
                    <a:pt x="377" y="112"/>
                  </a:moveTo>
                  <a:cubicBezTo>
                    <a:pt x="375" y="112"/>
                    <a:pt x="375" y="113"/>
                    <a:pt x="374" y="114"/>
                  </a:cubicBezTo>
                  <a:moveTo>
                    <a:pt x="374" y="114"/>
                  </a:moveTo>
                  <a:cubicBezTo>
                    <a:pt x="373" y="114"/>
                    <a:pt x="372" y="114"/>
                    <a:pt x="372" y="115"/>
                  </a:cubicBezTo>
                  <a:moveTo>
                    <a:pt x="372" y="115"/>
                  </a:moveTo>
                  <a:cubicBezTo>
                    <a:pt x="371" y="115"/>
                    <a:pt x="371" y="115"/>
                    <a:pt x="370" y="116"/>
                  </a:cubicBezTo>
                  <a:moveTo>
                    <a:pt x="370" y="116"/>
                  </a:moveTo>
                  <a:cubicBezTo>
                    <a:pt x="370" y="115"/>
                    <a:pt x="369" y="116"/>
                    <a:pt x="369" y="117"/>
                  </a:cubicBezTo>
                  <a:moveTo>
                    <a:pt x="369" y="117"/>
                  </a:moveTo>
                  <a:cubicBezTo>
                    <a:pt x="368" y="116"/>
                    <a:pt x="368" y="117"/>
                    <a:pt x="367" y="118"/>
                  </a:cubicBezTo>
                  <a:moveTo>
                    <a:pt x="367" y="118"/>
                  </a:moveTo>
                  <a:cubicBezTo>
                    <a:pt x="366" y="118"/>
                    <a:pt x="368" y="119"/>
                    <a:pt x="367" y="118"/>
                  </a:cubicBezTo>
                  <a:moveTo>
                    <a:pt x="367" y="118"/>
                  </a:moveTo>
                  <a:cubicBezTo>
                    <a:pt x="369" y="118"/>
                    <a:pt x="369" y="117"/>
                    <a:pt x="369" y="117"/>
                  </a:cubicBezTo>
                  <a:moveTo>
                    <a:pt x="369" y="117"/>
                  </a:moveTo>
                  <a:cubicBezTo>
                    <a:pt x="370" y="117"/>
                    <a:pt x="370" y="116"/>
                    <a:pt x="370" y="116"/>
                  </a:cubicBezTo>
                  <a:moveTo>
                    <a:pt x="370" y="116"/>
                  </a:moveTo>
                  <a:cubicBezTo>
                    <a:pt x="371" y="116"/>
                    <a:pt x="372" y="115"/>
                    <a:pt x="372" y="115"/>
                  </a:cubicBezTo>
                  <a:moveTo>
                    <a:pt x="372" y="115"/>
                  </a:moveTo>
                  <a:cubicBezTo>
                    <a:pt x="373" y="115"/>
                    <a:pt x="374" y="114"/>
                    <a:pt x="374" y="114"/>
                  </a:cubicBezTo>
                  <a:moveTo>
                    <a:pt x="374" y="114"/>
                  </a:moveTo>
                  <a:cubicBezTo>
                    <a:pt x="376" y="114"/>
                    <a:pt x="377" y="113"/>
                    <a:pt x="377" y="112"/>
                  </a:cubicBezTo>
                  <a:moveTo>
                    <a:pt x="377" y="112"/>
                  </a:moveTo>
                  <a:cubicBezTo>
                    <a:pt x="409" y="94"/>
                    <a:pt x="445" y="80"/>
                    <a:pt x="477" y="62"/>
                  </a:cubicBezTo>
                  <a:moveTo>
                    <a:pt x="477" y="62"/>
                  </a:moveTo>
                  <a:cubicBezTo>
                    <a:pt x="478" y="62"/>
                    <a:pt x="479" y="62"/>
                    <a:pt x="479" y="61"/>
                  </a:cubicBezTo>
                  <a:moveTo>
                    <a:pt x="479" y="61"/>
                  </a:moveTo>
                  <a:cubicBezTo>
                    <a:pt x="483" y="62"/>
                    <a:pt x="479" y="58"/>
                    <a:pt x="479" y="61"/>
                  </a:cubicBezTo>
                  <a:moveTo>
                    <a:pt x="481" y="64"/>
                  </a:moveTo>
                  <a:cubicBezTo>
                    <a:pt x="480" y="63"/>
                    <a:pt x="481" y="64"/>
                    <a:pt x="481" y="64"/>
                  </a:cubicBezTo>
                  <a:close/>
                  <a:moveTo>
                    <a:pt x="524" y="63"/>
                  </a:moveTo>
                  <a:cubicBezTo>
                    <a:pt x="510" y="69"/>
                    <a:pt x="495" y="80"/>
                    <a:pt x="484" y="90"/>
                  </a:cubicBezTo>
                  <a:cubicBezTo>
                    <a:pt x="480" y="92"/>
                    <a:pt x="475" y="96"/>
                    <a:pt x="476" y="99"/>
                  </a:cubicBezTo>
                  <a:cubicBezTo>
                    <a:pt x="504" y="96"/>
                    <a:pt x="519" y="80"/>
                    <a:pt x="542" y="71"/>
                  </a:cubicBezTo>
                  <a:cubicBezTo>
                    <a:pt x="535" y="69"/>
                    <a:pt x="530" y="65"/>
                    <a:pt x="524" y="63"/>
                  </a:cubicBezTo>
                  <a:close/>
                  <a:moveTo>
                    <a:pt x="479" y="65"/>
                  </a:moveTo>
                  <a:cubicBezTo>
                    <a:pt x="478" y="64"/>
                    <a:pt x="479" y="65"/>
                    <a:pt x="479" y="65"/>
                  </a:cubicBezTo>
                  <a:close/>
                  <a:moveTo>
                    <a:pt x="1028" y="65"/>
                  </a:moveTo>
                  <a:cubicBezTo>
                    <a:pt x="1048" y="78"/>
                    <a:pt x="1066" y="92"/>
                    <a:pt x="1086" y="106"/>
                  </a:cubicBezTo>
                  <a:cubicBezTo>
                    <a:pt x="1106" y="107"/>
                    <a:pt x="1124" y="115"/>
                    <a:pt x="1141" y="117"/>
                  </a:cubicBezTo>
                  <a:cubicBezTo>
                    <a:pt x="1105" y="97"/>
                    <a:pt x="1069" y="79"/>
                    <a:pt x="1028" y="65"/>
                  </a:cubicBezTo>
                  <a:moveTo>
                    <a:pt x="1028" y="65"/>
                  </a:moveTo>
                  <a:cubicBezTo>
                    <a:pt x="1028" y="62"/>
                    <a:pt x="1024" y="66"/>
                    <a:pt x="1028" y="65"/>
                  </a:cubicBezTo>
                  <a:moveTo>
                    <a:pt x="993" y="66"/>
                  </a:moveTo>
                  <a:cubicBezTo>
                    <a:pt x="989" y="70"/>
                    <a:pt x="981" y="71"/>
                    <a:pt x="975" y="74"/>
                  </a:cubicBezTo>
                  <a:cubicBezTo>
                    <a:pt x="984" y="83"/>
                    <a:pt x="999" y="87"/>
                    <a:pt x="1009" y="95"/>
                  </a:cubicBezTo>
                  <a:cubicBezTo>
                    <a:pt x="1032" y="95"/>
                    <a:pt x="1054" y="102"/>
                    <a:pt x="1074" y="102"/>
                  </a:cubicBezTo>
                  <a:cubicBezTo>
                    <a:pt x="1048" y="89"/>
                    <a:pt x="1021" y="77"/>
                    <a:pt x="993" y="66"/>
                  </a:cubicBezTo>
                  <a:close/>
                  <a:moveTo>
                    <a:pt x="504" y="71"/>
                  </a:moveTo>
                  <a:cubicBezTo>
                    <a:pt x="503" y="71"/>
                    <a:pt x="504" y="72"/>
                    <a:pt x="504" y="71"/>
                  </a:cubicBezTo>
                  <a:close/>
                  <a:moveTo>
                    <a:pt x="502" y="72"/>
                  </a:moveTo>
                  <a:cubicBezTo>
                    <a:pt x="476" y="83"/>
                    <a:pt x="450" y="93"/>
                    <a:pt x="428" y="107"/>
                  </a:cubicBezTo>
                  <a:moveTo>
                    <a:pt x="428" y="107"/>
                  </a:moveTo>
                  <a:cubicBezTo>
                    <a:pt x="424" y="106"/>
                    <a:pt x="428" y="110"/>
                    <a:pt x="428" y="107"/>
                  </a:cubicBezTo>
                  <a:moveTo>
                    <a:pt x="428" y="107"/>
                  </a:moveTo>
                  <a:cubicBezTo>
                    <a:pt x="442" y="105"/>
                    <a:pt x="455" y="103"/>
                    <a:pt x="468" y="100"/>
                  </a:cubicBezTo>
                  <a:cubicBezTo>
                    <a:pt x="479" y="91"/>
                    <a:pt x="490" y="82"/>
                    <a:pt x="502" y="72"/>
                  </a:cubicBezTo>
                  <a:moveTo>
                    <a:pt x="502" y="72"/>
                  </a:moveTo>
                  <a:cubicBezTo>
                    <a:pt x="503" y="72"/>
                    <a:pt x="502" y="71"/>
                    <a:pt x="502" y="72"/>
                  </a:cubicBezTo>
                  <a:moveTo>
                    <a:pt x="544" y="73"/>
                  </a:moveTo>
                  <a:cubicBezTo>
                    <a:pt x="530" y="79"/>
                    <a:pt x="513" y="89"/>
                    <a:pt x="501" y="95"/>
                  </a:cubicBezTo>
                  <a:cubicBezTo>
                    <a:pt x="522" y="94"/>
                    <a:pt x="540" y="90"/>
                    <a:pt x="561" y="90"/>
                  </a:cubicBezTo>
                  <a:cubicBezTo>
                    <a:pt x="565" y="87"/>
                    <a:pt x="567" y="83"/>
                    <a:pt x="570" y="79"/>
                  </a:cubicBezTo>
                  <a:cubicBezTo>
                    <a:pt x="561" y="81"/>
                    <a:pt x="551" y="71"/>
                    <a:pt x="544" y="73"/>
                  </a:cubicBezTo>
                  <a:close/>
                  <a:moveTo>
                    <a:pt x="933" y="85"/>
                  </a:moveTo>
                  <a:cubicBezTo>
                    <a:pt x="948" y="90"/>
                    <a:pt x="970" y="89"/>
                    <a:pt x="988" y="92"/>
                  </a:cubicBezTo>
                  <a:cubicBezTo>
                    <a:pt x="981" y="71"/>
                    <a:pt x="952" y="78"/>
                    <a:pt x="933" y="85"/>
                  </a:cubicBezTo>
                  <a:close/>
                  <a:moveTo>
                    <a:pt x="569" y="86"/>
                  </a:moveTo>
                  <a:cubicBezTo>
                    <a:pt x="568" y="86"/>
                    <a:pt x="569" y="87"/>
                    <a:pt x="569" y="86"/>
                  </a:cubicBezTo>
                  <a:moveTo>
                    <a:pt x="569" y="86"/>
                  </a:moveTo>
                  <a:cubicBezTo>
                    <a:pt x="572" y="85"/>
                    <a:pt x="575" y="84"/>
                    <a:pt x="577" y="81"/>
                  </a:cubicBezTo>
                  <a:cubicBezTo>
                    <a:pt x="574" y="81"/>
                    <a:pt x="575" y="79"/>
                    <a:pt x="572" y="80"/>
                  </a:cubicBezTo>
                  <a:cubicBezTo>
                    <a:pt x="572" y="84"/>
                    <a:pt x="569" y="82"/>
                    <a:pt x="569" y="86"/>
                  </a:cubicBezTo>
                  <a:moveTo>
                    <a:pt x="573" y="88"/>
                  </a:moveTo>
                  <a:cubicBezTo>
                    <a:pt x="569" y="87"/>
                    <a:pt x="573" y="91"/>
                    <a:pt x="573" y="88"/>
                  </a:cubicBezTo>
                  <a:moveTo>
                    <a:pt x="573" y="88"/>
                  </a:moveTo>
                  <a:cubicBezTo>
                    <a:pt x="583" y="87"/>
                    <a:pt x="594" y="88"/>
                    <a:pt x="602" y="85"/>
                  </a:cubicBezTo>
                  <a:cubicBezTo>
                    <a:pt x="590" y="84"/>
                    <a:pt x="579" y="79"/>
                    <a:pt x="573" y="88"/>
                  </a:cubicBezTo>
                  <a:moveTo>
                    <a:pt x="1092" y="83"/>
                  </a:moveTo>
                  <a:cubicBezTo>
                    <a:pt x="1092" y="83"/>
                    <a:pt x="1093" y="84"/>
                    <a:pt x="1092" y="83"/>
                  </a:cubicBezTo>
                  <a:close/>
                  <a:moveTo>
                    <a:pt x="695" y="84"/>
                  </a:moveTo>
                  <a:cubicBezTo>
                    <a:pt x="694" y="87"/>
                    <a:pt x="692" y="89"/>
                    <a:pt x="690" y="92"/>
                  </a:cubicBezTo>
                  <a:cubicBezTo>
                    <a:pt x="710" y="92"/>
                    <a:pt x="729" y="93"/>
                    <a:pt x="750" y="93"/>
                  </a:cubicBezTo>
                  <a:cubicBezTo>
                    <a:pt x="750" y="88"/>
                    <a:pt x="752" y="87"/>
                    <a:pt x="751" y="83"/>
                  </a:cubicBezTo>
                  <a:cubicBezTo>
                    <a:pt x="732" y="82"/>
                    <a:pt x="715" y="85"/>
                    <a:pt x="695" y="84"/>
                  </a:cubicBezTo>
                  <a:close/>
                  <a:moveTo>
                    <a:pt x="753" y="94"/>
                  </a:moveTo>
                  <a:cubicBezTo>
                    <a:pt x="763" y="94"/>
                    <a:pt x="770" y="92"/>
                    <a:pt x="779" y="93"/>
                  </a:cubicBezTo>
                  <a:cubicBezTo>
                    <a:pt x="780" y="89"/>
                    <a:pt x="778" y="87"/>
                    <a:pt x="778" y="83"/>
                  </a:cubicBezTo>
                  <a:cubicBezTo>
                    <a:pt x="768" y="84"/>
                    <a:pt x="749" y="77"/>
                    <a:pt x="753" y="94"/>
                  </a:cubicBezTo>
                  <a:close/>
                  <a:moveTo>
                    <a:pt x="781" y="93"/>
                  </a:moveTo>
                  <a:cubicBezTo>
                    <a:pt x="792" y="92"/>
                    <a:pt x="805" y="94"/>
                    <a:pt x="814" y="92"/>
                  </a:cubicBezTo>
                  <a:cubicBezTo>
                    <a:pt x="812" y="90"/>
                    <a:pt x="811" y="87"/>
                    <a:pt x="810" y="84"/>
                  </a:cubicBezTo>
                  <a:cubicBezTo>
                    <a:pt x="800" y="84"/>
                    <a:pt x="792" y="82"/>
                    <a:pt x="781" y="83"/>
                  </a:cubicBezTo>
                  <a:cubicBezTo>
                    <a:pt x="781" y="86"/>
                    <a:pt x="781" y="89"/>
                    <a:pt x="781" y="93"/>
                  </a:cubicBezTo>
                  <a:close/>
                  <a:moveTo>
                    <a:pt x="1094" y="84"/>
                  </a:moveTo>
                  <a:cubicBezTo>
                    <a:pt x="1095" y="85"/>
                    <a:pt x="1094" y="84"/>
                    <a:pt x="1094" y="84"/>
                  </a:cubicBezTo>
                  <a:close/>
                  <a:moveTo>
                    <a:pt x="670" y="85"/>
                  </a:moveTo>
                  <a:cubicBezTo>
                    <a:pt x="671" y="88"/>
                    <a:pt x="668" y="87"/>
                    <a:pt x="669" y="90"/>
                  </a:cubicBezTo>
                  <a:cubicBezTo>
                    <a:pt x="675" y="90"/>
                    <a:pt x="681" y="91"/>
                    <a:pt x="688" y="91"/>
                  </a:cubicBezTo>
                  <a:cubicBezTo>
                    <a:pt x="688" y="88"/>
                    <a:pt x="691" y="86"/>
                    <a:pt x="692" y="84"/>
                  </a:cubicBezTo>
                  <a:cubicBezTo>
                    <a:pt x="685" y="84"/>
                    <a:pt x="678" y="85"/>
                    <a:pt x="670" y="85"/>
                  </a:cubicBezTo>
                  <a:close/>
                  <a:moveTo>
                    <a:pt x="818" y="92"/>
                  </a:moveTo>
                  <a:cubicBezTo>
                    <a:pt x="837" y="91"/>
                    <a:pt x="856" y="90"/>
                    <a:pt x="873" y="88"/>
                  </a:cubicBezTo>
                  <a:cubicBezTo>
                    <a:pt x="858" y="83"/>
                    <a:pt x="832" y="84"/>
                    <a:pt x="814" y="85"/>
                  </a:cubicBezTo>
                  <a:cubicBezTo>
                    <a:pt x="816" y="86"/>
                    <a:pt x="816" y="90"/>
                    <a:pt x="818" y="92"/>
                  </a:cubicBezTo>
                  <a:close/>
                  <a:moveTo>
                    <a:pt x="1096" y="85"/>
                  </a:moveTo>
                  <a:cubicBezTo>
                    <a:pt x="1096" y="85"/>
                    <a:pt x="1097" y="86"/>
                    <a:pt x="1096" y="85"/>
                  </a:cubicBezTo>
                  <a:close/>
                  <a:moveTo>
                    <a:pt x="639" y="88"/>
                  </a:moveTo>
                  <a:cubicBezTo>
                    <a:pt x="648" y="88"/>
                    <a:pt x="656" y="89"/>
                    <a:pt x="665" y="90"/>
                  </a:cubicBezTo>
                  <a:cubicBezTo>
                    <a:pt x="664" y="87"/>
                    <a:pt x="666" y="87"/>
                    <a:pt x="666" y="85"/>
                  </a:cubicBezTo>
                  <a:cubicBezTo>
                    <a:pt x="658" y="87"/>
                    <a:pt x="645" y="84"/>
                    <a:pt x="639" y="88"/>
                  </a:cubicBezTo>
                  <a:close/>
                  <a:moveTo>
                    <a:pt x="931" y="86"/>
                  </a:moveTo>
                  <a:cubicBezTo>
                    <a:pt x="930" y="85"/>
                    <a:pt x="923" y="84"/>
                    <a:pt x="922" y="86"/>
                  </a:cubicBezTo>
                  <a:cubicBezTo>
                    <a:pt x="926" y="85"/>
                    <a:pt x="929" y="89"/>
                    <a:pt x="931" y="86"/>
                  </a:cubicBezTo>
                  <a:close/>
                  <a:moveTo>
                    <a:pt x="988" y="86"/>
                  </a:moveTo>
                  <a:cubicBezTo>
                    <a:pt x="988" y="86"/>
                    <a:pt x="988" y="87"/>
                    <a:pt x="988" y="87"/>
                  </a:cubicBezTo>
                  <a:cubicBezTo>
                    <a:pt x="990" y="88"/>
                    <a:pt x="991" y="90"/>
                    <a:pt x="992" y="93"/>
                  </a:cubicBezTo>
                  <a:cubicBezTo>
                    <a:pt x="995" y="93"/>
                    <a:pt x="998" y="93"/>
                    <a:pt x="1000" y="93"/>
                  </a:cubicBezTo>
                  <a:moveTo>
                    <a:pt x="1000" y="93"/>
                  </a:moveTo>
                  <a:cubicBezTo>
                    <a:pt x="1001" y="94"/>
                    <a:pt x="1001" y="93"/>
                    <a:pt x="1000" y="93"/>
                  </a:cubicBezTo>
                  <a:moveTo>
                    <a:pt x="1000" y="93"/>
                  </a:moveTo>
                  <a:cubicBezTo>
                    <a:pt x="996" y="90"/>
                    <a:pt x="993" y="87"/>
                    <a:pt x="988" y="86"/>
                  </a:cubicBezTo>
                  <a:moveTo>
                    <a:pt x="988" y="86"/>
                  </a:moveTo>
                  <a:cubicBezTo>
                    <a:pt x="987" y="84"/>
                    <a:pt x="986" y="86"/>
                    <a:pt x="988" y="86"/>
                  </a:cubicBezTo>
                  <a:moveTo>
                    <a:pt x="1173" y="127"/>
                  </a:moveTo>
                  <a:cubicBezTo>
                    <a:pt x="1173" y="128"/>
                    <a:pt x="1174" y="128"/>
                    <a:pt x="1175" y="128"/>
                  </a:cubicBezTo>
                  <a:moveTo>
                    <a:pt x="1175" y="128"/>
                  </a:moveTo>
                  <a:cubicBezTo>
                    <a:pt x="1175" y="130"/>
                    <a:pt x="1176" y="128"/>
                    <a:pt x="1175" y="128"/>
                  </a:cubicBezTo>
                  <a:moveTo>
                    <a:pt x="1175" y="128"/>
                  </a:moveTo>
                  <a:cubicBezTo>
                    <a:pt x="1175" y="127"/>
                    <a:pt x="1174" y="127"/>
                    <a:pt x="1173" y="127"/>
                  </a:cubicBezTo>
                  <a:moveTo>
                    <a:pt x="1173" y="127"/>
                  </a:moveTo>
                  <a:cubicBezTo>
                    <a:pt x="1150" y="112"/>
                    <a:pt x="1124" y="95"/>
                    <a:pt x="1098" y="86"/>
                  </a:cubicBezTo>
                  <a:cubicBezTo>
                    <a:pt x="1125" y="98"/>
                    <a:pt x="1141" y="120"/>
                    <a:pt x="1173" y="127"/>
                  </a:cubicBezTo>
                  <a:moveTo>
                    <a:pt x="885" y="86"/>
                  </a:moveTo>
                  <a:cubicBezTo>
                    <a:pt x="882" y="86"/>
                    <a:pt x="877" y="85"/>
                    <a:pt x="875" y="87"/>
                  </a:cubicBezTo>
                  <a:cubicBezTo>
                    <a:pt x="877" y="88"/>
                    <a:pt x="885" y="90"/>
                    <a:pt x="885" y="86"/>
                  </a:cubicBezTo>
                  <a:close/>
                  <a:moveTo>
                    <a:pt x="430" y="89"/>
                  </a:moveTo>
                  <a:cubicBezTo>
                    <a:pt x="429" y="88"/>
                    <a:pt x="430" y="89"/>
                    <a:pt x="430" y="89"/>
                  </a:cubicBezTo>
                  <a:close/>
                  <a:moveTo>
                    <a:pt x="564" y="92"/>
                  </a:moveTo>
                  <a:cubicBezTo>
                    <a:pt x="535" y="128"/>
                    <a:pt x="514" y="173"/>
                    <a:pt x="497" y="221"/>
                  </a:cubicBezTo>
                  <a:cubicBezTo>
                    <a:pt x="502" y="220"/>
                    <a:pt x="508" y="220"/>
                    <a:pt x="513" y="219"/>
                  </a:cubicBezTo>
                  <a:cubicBezTo>
                    <a:pt x="545" y="174"/>
                    <a:pt x="578" y="131"/>
                    <a:pt x="619" y="95"/>
                  </a:cubicBezTo>
                  <a:cubicBezTo>
                    <a:pt x="620" y="94"/>
                    <a:pt x="628" y="90"/>
                    <a:pt x="624" y="89"/>
                  </a:cubicBezTo>
                  <a:cubicBezTo>
                    <a:pt x="604" y="86"/>
                    <a:pt x="584" y="91"/>
                    <a:pt x="564" y="92"/>
                  </a:cubicBezTo>
                  <a:close/>
                  <a:moveTo>
                    <a:pt x="1055" y="192"/>
                  </a:moveTo>
                  <a:cubicBezTo>
                    <a:pt x="1019" y="154"/>
                    <a:pt x="980" y="120"/>
                    <a:pt x="937" y="90"/>
                  </a:cubicBezTo>
                  <a:cubicBezTo>
                    <a:pt x="922" y="89"/>
                    <a:pt x="906" y="86"/>
                    <a:pt x="893" y="90"/>
                  </a:cubicBezTo>
                  <a:cubicBezTo>
                    <a:pt x="901" y="111"/>
                    <a:pt x="911" y="126"/>
                    <a:pt x="923" y="142"/>
                  </a:cubicBezTo>
                  <a:cubicBezTo>
                    <a:pt x="942" y="166"/>
                    <a:pt x="959" y="189"/>
                    <a:pt x="973" y="216"/>
                  </a:cubicBezTo>
                  <a:cubicBezTo>
                    <a:pt x="1006" y="219"/>
                    <a:pt x="1038" y="222"/>
                    <a:pt x="1069" y="226"/>
                  </a:cubicBezTo>
                  <a:cubicBezTo>
                    <a:pt x="1065" y="214"/>
                    <a:pt x="1059" y="204"/>
                    <a:pt x="1055" y="192"/>
                  </a:cubicBezTo>
                  <a:close/>
                  <a:moveTo>
                    <a:pt x="366" y="122"/>
                  </a:moveTo>
                  <a:cubicBezTo>
                    <a:pt x="394" y="118"/>
                    <a:pt x="410" y="101"/>
                    <a:pt x="429" y="89"/>
                  </a:cubicBezTo>
                  <a:cubicBezTo>
                    <a:pt x="407" y="99"/>
                    <a:pt x="386" y="110"/>
                    <a:pt x="366" y="122"/>
                  </a:cubicBezTo>
                  <a:close/>
                  <a:moveTo>
                    <a:pt x="631" y="90"/>
                  </a:moveTo>
                  <a:cubicBezTo>
                    <a:pt x="632" y="88"/>
                    <a:pt x="629" y="90"/>
                    <a:pt x="629" y="91"/>
                  </a:cubicBezTo>
                  <a:cubicBezTo>
                    <a:pt x="589" y="125"/>
                    <a:pt x="552" y="168"/>
                    <a:pt x="523" y="212"/>
                  </a:cubicBezTo>
                  <a:cubicBezTo>
                    <a:pt x="522" y="214"/>
                    <a:pt x="517" y="216"/>
                    <a:pt x="519" y="219"/>
                  </a:cubicBezTo>
                  <a:cubicBezTo>
                    <a:pt x="554" y="215"/>
                    <a:pt x="591" y="214"/>
                    <a:pt x="629" y="212"/>
                  </a:cubicBezTo>
                  <a:cubicBezTo>
                    <a:pt x="645" y="177"/>
                    <a:pt x="650" y="130"/>
                    <a:pt x="663" y="93"/>
                  </a:cubicBezTo>
                  <a:cubicBezTo>
                    <a:pt x="653" y="91"/>
                    <a:pt x="643" y="90"/>
                    <a:pt x="631" y="90"/>
                  </a:cubicBezTo>
                  <a:close/>
                  <a:moveTo>
                    <a:pt x="899" y="111"/>
                  </a:moveTo>
                  <a:cubicBezTo>
                    <a:pt x="900" y="112"/>
                    <a:pt x="900" y="111"/>
                    <a:pt x="899" y="111"/>
                  </a:cubicBezTo>
                  <a:moveTo>
                    <a:pt x="899" y="111"/>
                  </a:moveTo>
                  <a:cubicBezTo>
                    <a:pt x="897" y="103"/>
                    <a:pt x="893" y="97"/>
                    <a:pt x="891" y="90"/>
                  </a:cubicBezTo>
                  <a:cubicBezTo>
                    <a:pt x="886" y="90"/>
                    <a:pt x="882" y="89"/>
                    <a:pt x="880" y="92"/>
                  </a:cubicBezTo>
                  <a:cubicBezTo>
                    <a:pt x="887" y="97"/>
                    <a:pt x="892" y="105"/>
                    <a:pt x="899" y="111"/>
                  </a:cubicBezTo>
                  <a:moveTo>
                    <a:pt x="943" y="91"/>
                  </a:moveTo>
                  <a:cubicBezTo>
                    <a:pt x="979" y="114"/>
                    <a:pt x="1013" y="148"/>
                    <a:pt x="1044" y="177"/>
                  </a:cubicBezTo>
                  <a:cubicBezTo>
                    <a:pt x="1045" y="178"/>
                    <a:pt x="1047" y="183"/>
                    <a:pt x="1049" y="180"/>
                  </a:cubicBezTo>
                  <a:cubicBezTo>
                    <a:pt x="1032" y="150"/>
                    <a:pt x="1014" y="120"/>
                    <a:pt x="991" y="95"/>
                  </a:cubicBezTo>
                  <a:cubicBezTo>
                    <a:pt x="975" y="94"/>
                    <a:pt x="961" y="91"/>
                    <a:pt x="943" y="91"/>
                  </a:cubicBezTo>
                  <a:moveTo>
                    <a:pt x="943" y="91"/>
                  </a:moveTo>
                  <a:cubicBezTo>
                    <a:pt x="943" y="88"/>
                    <a:pt x="939" y="92"/>
                    <a:pt x="943" y="91"/>
                  </a:cubicBezTo>
                  <a:moveTo>
                    <a:pt x="904" y="120"/>
                  </a:moveTo>
                  <a:cubicBezTo>
                    <a:pt x="894" y="111"/>
                    <a:pt x="886" y="98"/>
                    <a:pt x="874" y="91"/>
                  </a:cubicBezTo>
                  <a:cubicBezTo>
                    <a:pt x="857" y="93"/>
                    <a:pt x="838" y="94"/>
                    <a:pt x="820" y="95"/>
                  </a:cubicBezTo>
                  <a:cubicBezTo>
                    <a:pt x="835" y="132"/>
                    <a:pt x="849" y="170"/>
                    <a:pt x="860" y="211"/>
                  </a:cubicBezTo>
                  <a:cubicBezTo>
                    <a:pt x="885" y="210"/>
                    <a:pt x="907" y="212"/>
                    <a:pt x="931" y="214"/>
                  </a:cubicBezTo>
                  <a:cubicBezTo>
                    <a:pt x="924" y="180"/>
                    <a:pt x="914" y="150"/>
                    <a:pt x="904" y="120"/>
                  </a:cubicBezTo>
                  <a:close/>
                  <a:moveTo>
                    <a:pt x="558" y="93"/>
                  </a:moveTo>
                  <a:cubicBezTo>
                    <a:pt x="558" y="92"/>
                    <a:pt x="559" y="93"/>
                    <a:pt x="558" y="93"/>
                  </a:cubicBezTo>
                  <a:close/>
                  <a:moveTo>
                    <a:pt x="492" y="99"/>
                  </a:moveTo>
                  <a:cubicBezTo>
                    <a:pt x="485" y="102"/>
                    <a:pt x="476" y="109"/>
                    <a:pt x="468" y="114"/>
                  </a:cubicBezTo>
                  <a:cubicBezTo>
                    <a:pt x="460" y="119"/>
                    <a:pt x="450" y="123"/>
                    <a:pt x="444" y="128"/>
                  </a:cubicBezTo>
                  <a:cubicBezTo>
                    <a:pt x="432" y="139"/>
                    <a:pt x="421" y="155"/>
                    <a:pt x="411" y="169"/>
                  </a:cubicBezTo>
                  <a:cubicBezTo>
                    <a:pt x="400" y="185"/>
                    <a:pt x="389" y="201"/>
                    <a:pt x="382" y="216"/>
                  </a:cubicBezTo>
                  <a:cubicBezTo>
                    <a:pt x="390" y="219"/>
                    <a:pt x="399" y="220"/>
                    <a:pt x="407" y="223"/>
                  </a:cubicBezTo>
                  <a:cubicBezTo>
                    <a:pt x="452" y="175"/>
                    <a:pt x="501" y="130"/>
                    <a:pt x="558" y="93"/>
                  </a:cubicBezTo>
                  <a:cubicBezTo>
                    <a:pt x="533" y="97"/>
                    <a:pt x="512" y="93"/>
                    <a:pt x="492" y="99"/>
                  </a:cubicBezTo>
                  <a:close/>
                  <a:moveTo>
                    <a:pt x="667" y="93"/>
                  </a:moveTo>
                  <a:cubicBezTo>
                    <a:pt x="661" y="115"/>
                    <a:pt x="652" y="139"/>
                    <a:pt x="650" y="163"/>
                  </a:cubicBezTo>
                  <a:cubicBezTo>
                    <a:pt x="660" y="138"/>
                    <a:pt x="673" y="116"/>
                    <a:pt x="685" y="94"/>
                  </a:cubicBezTo>
                  <a:cubicBezTo>
                    <a:pt x="678" y="94"/>
                    <a:pt x="674" y="92"/>
                    <a:pt x="667" y="93"/>
                  </a:cubicBezTo>
                  <a:close/>
                  <a:moveTo>
                    <a:pt x="639" y="211"/>
                  </a:moveTo>
                  <a:cubicBezTo>
                    <a:pt x="674" y="211"/>
                    <a:pt x="707" y="208"/>
                    <a:pt x="743" y="209"/>
                  </a:cubicBezTo>
                  <a:cubicBezTo>
                    <a:pt x="745" y="170"/>
                    <a:pt x="747" y="132"/>
                    <a:pt x="750" y="95"/>
                  </a:cubicBezTo>
                  <a:cubicBezTo>
                    <a:pt x="729" y="96"/>
                    <a:pt x="708" y="95"/>
                    <a:pt x="689" y="94"/>
                  </a:cubicBezTo>
                  <a:cubicBezTo>
                    <a:pt x="669" y="129"/>
                    <a:pt x="646" y="162"/>
                    <a:pt x="639" y="211"/>
                  </a:cubicBezTo>
                  <a:close/>
                  <a:moveTo>
                    <a:pt x="825" y="120"/>
                  </a:moveTo>
                  <a:cubicBezTo>
                    <a:pt x="823" y="113"/>
                    <a:pt x="819" y="96"/>
                    <a:pt x="811" y="95"/>
                  </a:cubicBezTo>
                  <a:cubicBezTo>
                    <a:pt x="803" y="93"/>
                    <a:pt x="791" y="98"/>
                    <a:pt x="782" y="95"/>
                  </a:cubicBezTo>
                  <a:cubicBezTo>
                    <a:pt x="784" y="133"/>
                    <a:pt x="786" y="171"/>
                    <a:pt x="787" y="209"/>
                  </a:cubicBezTo>
                  <a:cubicBezTo>
                    <a:pt x="811" y="208"/>
                    <a:pt x="832" y="210"/>
                    <a:pt x="855" y="210"/>
                  </a:cubicBezTo>
                  <a:cubicBezTo>
                    <a:pt x="848" y="183"/>
                    <a:pt x="836" y="148"/>
                    <a:pt x="825" y="120"/>
                  </a:cubicBezTo>
                  <a:close/>
                  <a:moveTo>
                    <a:pt x="499" y="96"/>
                  </a:moveTo>
                  <a:cubicBezTo>
                    <a:pt x="499" y="96"/>
                    <a:pt x="500" y="97"/>
                    <a:pt x="499" y="96"/>
                  </a:cubicBezTo>
                  <a:close/>
                  <a:moveTo>
                    <a:pt x="752" y="98"/>
                  </a:moveTo>
                  <a:cubicBezTo>
                    <a:pt x="750" y="135"/>
                    <a:pt x="747" y="171"/>
                    <a:pt x="746" y="209"/>
                  </a:cubicBezTo>
                  <a:cubicBezTo>
                    <a:pt x="758" y="209"/>
                    <a:pt x="771" y="209"/>
                    <a:pt x="784" y="209"/>
                  </a:cubicBezTo>
                  <a:cubicBezTo>
                    <a:pt x="783" y="170"/>
                    <a:pt x="781" y="133"/>
                    <a:pt x="779" y="95"/>
                  </a:cubicBezTo>
                  <a:cubicBezTo>
                    <a:pt x="771" y="97"/>
                    <a:pt x="756" y="92"/>
                    <a:pt x="752" y="98"/>
                  </a:cubicBezTo>
                  <a:close/>
                  <a:moveTo>
                    <a:pt x="1056" y="191"/>
                  </a:moveTo>
                  <a:cubicBezTo>
                    <a:pt x="1069" y="202"/>
                    <a:pt x="1077" y="217"/>
                    <a:pt x="1090" y="228"/>
                  </a:cubicBezTo>
                  <a:cubicBezTo>
                    <a:pt x="1115" y="224"/>
                    <a:pt x="1137" y="218"/>
                    <a:pt x="1159" y="212"/>
                  </a:cubicBezTo>
                  <a:cubicBezTo>
                    <a:pt x="1152" y="199"/>
                    <a:pt x="1138" y="190"/>
                    <a:pt x="1126" y="180"/>
                  </a:cubicBezTo>
                  <a:cubicBezTo>
                    <a:pt x="1101" y="159"/>
                    <a:pt x="1078" y="141"/>
                    <a:pt x="1049" y="122"/>
                  </a:cubicBezTo>
                  <a:cubicBezTo>
                    <a:pt x="1032" y="112"/>
                    <a:pt x="1016" y="96"/>
                    <a:pt x="996" y="96"/>
                  </a:cubicBezTo>
                  <a:cubicBezTo>
                    <a:pt x="1020" y="124"/>
                    <a:pt x="1040" y="155"/>
                    <a:pt x="1056" y="191"/>
                  </a:cubicBezTo>
                  <a:close/>
                  <a:moveTo>
                    <a:pt x="1095" y="150"/>
                  </a:moveTo>
                  <a:cubicBezTo>
                    <a:pt x="1112" y="165"/>
                    <a:pt x="1132" y="180"/>
                    <a:pt x="1149" y="195"/>
                  </a:cubicBezTo>
                  <a:cubicBezTo>
                    <a:pt x="1154" y="200"/>
                    <a:pt x="1159" y="209"/>
                    <a:pt x="1167" y="209"/>
                  </a:cubicBezTo>
                  <a:cubicBezTo>
                    <a:pt x="1146" y="171"/>
                    <a:pt x="1113" y="136"/>
                    <a:pt x="1081" y="107"/>
                  </a:cubicBezTo>
                  <a:cubicBezTo>
                    <a:pt x="1060" y="104"/>
                    <a:pt x="1036" y="99"/>
                    <a:pt x="1015" y="98"/>
                  </a:cubicBezTo>
                  <a:cubicBezTo>
                    <a:pt x="1044" y="113"/>
                    <a:pt x="1069" y="132"/>
                    <a:pt x="1095" y="150"/>
                  </a:cubicBezTo>
                  <a:close/>
                  <a:moveTo>
                    <a:pt x="555" y="99"/>
                  </a:moveTo>
                  <a:cubicBezTo>
                    <a:pt x="506" y="130"/>
                    <a:pt x="457" y="172"/>
                    <a:pt x="418" y="216"/>
                  </a:cubicBezTo>
                  <a:cubicBezTo>
                    <a:pt x="417" y="218"/>
                    <a:pt x="411" y="220"/>
                    <a:pt x="414" y="224"/>
                  </a:cubicBezTo>
                  <a:cubicBezTo>
                    <a:pt x="438" y="232"/>
                    <a:pt x="467" y="223"/>
                    <a:pt x="494" y="221"/>
                  </a:cubicBezTo>
                  <a:cubicBezTo>
                    <a:pt x="510" y="176"/>
                    <a:pt x="530" y="135"/>
                    <a:pt x="555" y="99"/>
                  </a:cubicBezTo>
                  <a:moveTo>
                    <a:pt x="555" y="99"/>
                  </a:moveTo>
                  <a:cubicBezTo>
                    <a:pt x="556" y="99"/>
                    <a:pt x="555" y="98"/>
                    <a:pt x="555" y="99"/>
                  </a:cubicBezTo>
                  <a:moveTo>
                    <a:pt x="484" y="101"/>
                  </a:moveTo>
                  <a:cubicBezTo>
                    <a:pt x="483" y="101"/>
                    <a:pt x="484" y="102"/>
                    <a:pt x="484" y="101"/>
                  </a:cubicBezTo>
                  <a:close/>
                  <a:moveTo>
                    <a:pt x="1118" y="101"/>
                  </a:moveTo>
                  <a:cubicBezTo>
                    <a:pt x="1119" y="103"/>
                    <a:pt x="1119" y="101"/>
                    <a:pt x="1118" y="101"/>
                  </a:cubicBezTo>
                  <a:moveTo>
                    <a:pt x="1118" y="101"/>
                  </a:moveTo>
                  <a:cubicBezTo>
                    <a:pt x="1118" y="100"/>
                    <a:pt x="1117" y="101"/>
                    <a:pt x="1118" y="101"/>
                  </a:cubicBezTo>
                  <a:moveTo>
                    <a:pt x="454" y="119"/>
                  </a:moveTo>
                  <a:cubicBezTo>
                    <a:pt x="452" y="119"/>
                    <a:pt x="454" y="120"/>
                    <a:pt x="454" y="119"/>
                  </a:cubicBezTo>
                  <a:moveTo>
                    <a:pt x="454" y="119"/>
                  </a:moveTo>
                  <a:cubicBezTo>
                    <a:pt x="464" y="113"/>
                    <a:pt x="474" y="108"/>
                    <a:pt x="483" y="101"/>
                  </a:cubicBezTo>
                  <a:cubicBezTo>
                    <a:pt x="466" y="100"/>
                    <a:pt x="462" y="111"/>
                    <a:pt x="454" y="119"/>
                  </a:cubicBezTo>
                  <a:moveTo>
                    <a:pt x="1120" y="103"/>
                  </a:moveTo>
                  <a:cubicBezTo>
                    <a:pt x="1120" y="103"/>
                    <a:pt x="1121" y="104"/>
                    <a:pt x="1120" y="103"/>
                  </a:cubicBezTo>
                  <a:close/>
                  <a:moveTo>
                    <a:pt x="1075" y="104"/>
                  </a:moveTo>
                  <a:cubicBezTo>
                    <a:pt x="1075" y="104"/>
                    <a:pt x="1076" y="105"/>
                    <a:pt x="1075" y="104"/>
                  </a:cubicBezTo>
                  <a:close/>
                  <a:moveTo>
                    <a:pt x="417" y="112"/>
                  </a:moveTo>
                  <a:cubicBezTo>
                    <a:pt x="407" y="115"/>
                    <a:pt x="396" y="125"/>
                    <a:pt x="386" y="131"/>
                  </a:cubicBezTo>
                  <a:cubicBezTo>
                    <a:pt x="357" y="148"/>
                    <a:pt x="335" y="165"/>
                    <a:pt x="317" y="191"/>
                  </a:cubicBezTo>
                  <a:cubicBezTo>
                    <a:pt x="325" y="195"/>
                    <a:pt x="332" y="200"/>
                    <a:pt x="342" y="203"/>
                  </a:cubicBezTo>
                  <a:cubicBezTo>
                    <a:pt x="374" y="176"/>
                    <a:pt x="406" y="149"/>
                    <a:pt x="442" y="127"/>
                  </a:cubicBezTo>
                  <a:cubicBezTo>
                    <a:pt x="445" y="123"/>
                    <a:pt x="449" y="119"/>
                    <a:pt x="453" y="115"/>
                  </a:cubicBezTo>
                  <a:cubicBezTo>
                    <a:pt x="455" y="112"/>
                    <a:pt x="466" y="105"/>
                    <a:pt x="461" y="104"/>
                  </a:cubicBezTo>
                  <a:cubicBezTo>
                    <a:pt x="446" y="109"/>
                    <a:pt x="430" y="107"/>
                    <a:pt x="417" y="112"/>
                  </a:cubicBezTo>
                  <a:close/>
                  <a:moveTo>
                    <a:pt x="1210" y="188"/>
                  </a:moveTo>
                  <a:cubicBezTo>
                    <a:pt x="1213" y="187"/>
                    <a:pt x="1214" y="184"/>
                    <a:pt x="1216" y="183"/>
                  </a:cubicBezTo>
                  <a:cubicBezTo>
                    <a:pt x="1210" y="171"/>
                    <a:pt x="1197" y="162"/>
                    <a:pt x="1185" y="152"/>
                  </a:cubicBezTo>
                  <a:cubicBezTo>
                    <a:pt x="1175" y="143"/>
                    <a:pt x="1164" y="130"/>
                    <a:pt x="1151" y="123"/>
                  </a:cubicBezTo>
                  <a:cubicBezTo>
                    <a:pt x="1135" y="116"/>
                    <a:pt x="1116" y="117"/>
                    <a:pt x="1097" y="110"/>
                  </a:cubicBezTo>
                  <a:cubicBezTo>
                    <a:pt x="1096" y="110"/>
                    <a:pt x="1094" y="110"/>
                    <a:pt x="1094" y="111"/>
                  </a:cubicBezTo>
                  <a:cubicBezTo>
                    <a:pt x="1136" y="132"/>
                    <a:pt x="1174" y="163"/>
                    <a:pt x="1210" y="188"/>
                  </a:cubicBezTo>
                  <a:close/>
                  <a:moveTo>
                    <a:pt x="1090" y="112"/>
                  </a:moveTo>
                  <a:cubicBezTo>
                    <a:pt x="1090" y="112"/>
                    <a:pt x="1090" y="113"/>
                    <a:pt x="1090" y="113"/>
                  </a:cubicBezTo>
                  <a:cubicBezTo>
                    <a:pt x="1124" y="138"/>
                    <a:pt x="1146" y="175"/>
                    <a:pt x="1173" y="207"/>
                  </a:cubicBezTo>
                  <a:cubicBezTo>
                    <a:pt x="1185" y="202"/>
                    <a:pt x="1198" y="198"/>
                    <a:pt x="1206" y="190"/>
                  </a:cubicBezTo>
                  <a:cubicBezTo>
                    <a:pt x="1170" y="161"/>
                    <a:pt x="1132" y="134"/>
                    <a:pt x="1090" y="112"/>
                  </a:cubicBezTo>
                  <a:moveTo>
                    <a:pt x="1090" y="112"/>
                  </a:moveTo>
                  <a:cubicBezTo>
                    <a:pt x="1090" y="110"/>
                    <a:pt x="1089" y="112"/>
                    <a:pt x="1090" y="112"/>
                  </a:cubicBezTo>
                  <a:moveTo>
                    <a:pt x="405" y="116"/>
                  </a:moveTo>
                  <a:cubicBezTo>
                    <a:pt x="389" y="116"/>
                    <a:pt x="383" y="126"/>
                    <a:pt x="374" y="134"/>
                  </a:cubicBezTo>
                  <a:moveTo>
                    <a:pt x="374" y="134"/>
                  </a:moveTo>
                  <a:cubicBezTo>
                    <a:pt x="373" y="134"/>
                    <a:pt x="372" y="135"/>
                    <a:pt x="371" y="136"/>
                  </a:cubicBezTo>
                  <a:moveTo>
                    <a:pt x="371" y="136"/>
                  </a:moveTo>
                  <a:cubicBezTo>
                    <a:pt x="370" y="136"/>
                    <a:pt x="370" y="136"/>
                    <a:pt x="370" y="137"/>
                  </a:cubicBezTo>
                  <a:moveTo>
                    <a:pt x="370" y="137"/>
                  </a:moveTo>
                  <a:cubicBezTo>
                    <a:pt x="369" y="137"/>
                    <a:pt x="370" y="138"/>
                    <a:pt x="370" y="137"/>
                  </a:cubicBezTo>
                  <a:moveTo>
                    <a:pt x="370" y="137"/>
                  </a:moveTo>
                  <a:cubicBezTo>
                    <a:pt x="371" y="137"/>
                    <a:pt x="371" y="136"/>
                    <a:pt x="371" y="136"/>
                  </a:cubicBezTo>
                  <a:moveTo>
                    <a:pt x="371" y="136"/>
                  </a:moveTo>
                  <a:cubicBezTo>
                    <a:pt x="373" y="136"/>
                    <a:pt x="374" y="135"/>
                    <a:pt x="374" y="134"/>
                  </a:cubicBezTo>
                  <a:moveTo>
                    <a:pt x="374" y="134"/>
                  </a:moveTo>
                  <a:cubicBezTo>
                    <a:pt x="385" y="129"/>
                    <a:pt x="395" y="122"/>
                    <a:pt x="405" y="116"/>
                  </a:cubicBezTo>
                  <a:moveTo>
                    <a:pt x="405" y="116"/>
                  </a:moveTo>
                  <a:cubicBezTo>
                    <a:pt x="409" y="117"/>
                    <a:pt x="405" y="113"/>
                    <a:pt x="405" y="116"/>
                  </a:cubicBezTo>
                  <a:moveTo>
                    <a:pt x="1142" y="119"/>
                  </a:moveTo>
                  <a:cubicBezTo>
                    <a:pt x="1142" y="118"/>
                    <a:pt x="1143" y="119"/>
                    <a:pt x="1142" y="119"/>
                  </a:cubicBezTo>
                  <a:close/>
                  <a:moveTo>
                    <a:pt x="365" y="119"/>
                  </a:moveTo>
                  <a:cubicBezTo>
                    <a:pt x="364" y="119"/>
                    <a:pt x="365" y="120"/>
                    <a:pt x="365" y="119"/>
                  </a:cubicBezTo>
                  <a:close/>
                  <a:moveTo>
                    <a:pt x="363" y="120"/>
                  </a:moveTo>
                  <a:cubicBezTo>
                    <a:pt x="361" y="121"/>
                    <a:pt x="363" y="122"/>
                    <a:pt x="363" y="120"/>
                  </a:cubicBezTo>
                  <a:moveTo>
                    <a:pt x="363" y="120"/>
                  </a:moveTo>
                  <a:cubicBezTo>
                    <a:pt x="364" y="120"/>
                    <a:pt x="363" y="119"/>
                    <a:pt x="363" y="120"/>
                  </a:cubicBezTo>
                  <a:moveTo>
                    <a:pt x="326" y="147"/>
                  </a:moveTo>
                  <a:cubicBezTo>
                    <a:pt x="312" y="157"/>
                    <a:pt x="291" y="166"/>
                    <a:pt x="308" y="182"/>
                  </a:cubicBezTo>
                  <a:cubicBezTo>
                    <a:pt x="333" y="161"/>
                    <a:pt x="362" y="143"/>
                    <a:pt x="385" y="120"/>
                  </a:cubicBezTo>
                  <a:cubicBezTo>
                    <a:pt x="360" y="124"/>
                    <a:pt x="343" y="136"/>
                    <a:pt x="326" y="147"/>
                  </a:cubicBezTo>
                  <a:close/>
                  <a:moveTo>
                    <a:pt x="360" y="122"/>
                  </a:moveTo>
                  <a:cubicBezTo>
                    <a:pt x="359" y="122"/>
                    <a:pt x="360" y="123"/>
                    <a:pt x="360" y="122"/>
                  </a:cubicBezTo>
                  <a:close/>
                  <a:moveTo>
                    <a:pt x="365" y="123"/>
                  </a:moveTo>
                  <a:cubicBezTo>
                    <a:pt x="364" y="123"/>
                    <a:pt x="365" y="124"/>
                    <a:pt x="365" y="123"/>
                  </a:cubicBezTo>
                  <a:close/>
                  <a:moveTo>
                    <a:pt x="357" y="124"/>
                  </a:moveTo>
                  <a:cubicBezTo>
                    <a:pt x="356" y="124"/>
                    <a:pt x="358" y="125"/>
                    <a:pt x="357" y="124"/>
                  </a:cubicBezTo>
                  <a:close/>
                  <a:moveTo>
                    <a:pt x="354" y="126"/>
                  </a:moveTo>
                  <a:cubicBezTo>
                    <a:pt x="354" y="126"/>
                    <a:pt x="355" y="127"/>
                    <a:pt x="354" y="126"/>
                  </a:cubicBezTo>
                  <a:close/>
                  <a:moveTo>
                    <a:pt x="910" y="129"/>
                  </a:moveTo>
                  <a:cubicBezTo>
                    <a:pt x="919" y="156"/>
                    <a:pt x="927" y="184"/>
                    <a:pt x="934" y="214"/>
                  </a:cubicBezTo>
                  <a:cubicBezTo>
                    <a:pt x="946" y="215"/>
                    <a:pt x="959" y="215"/>
                    <a:pt x="970" y="216"/>
                  </a:cubicBezTo>
                  <a:cubicBezTo>
                    <a:pt x="952" y="185"/>
                    <a:pt x="933" y="155"/>
                    <a:pt x="910" y="129"/>
                  </a:cubicBezTo>
                  <a:moveTo>
                    <a:pt x="910" y="129"/>
                  </a:moveTo>
                  <a:cubicBezTo>
                    <a:pt x="911" y="125"/>
                    <a:pt x="907" y="129"/>
                    <a:pt x="910" y="129"/>
                  </a:cubicBezTo>
                  <a:moveTo>
                    <a:pt x="1166" y="129"/>
                  </a:moveTo>
                  <a:cubicBezTo>
                    <a:pt x="1166" y="129"/>
                    <a:pt x="1167" y="130"/>
                    <a:pt x="1166" y="129"/>
                  </a:cubicBezTo>
                  <a:close/>
                  <a:moveTo>
                    <a:pt x="1222" y="166"/>
                  </a:moveTo>
                  <a:cubicBezTo>
                    <a:pt x="1218" y="155"/>
                    <a:pt x="1206" y="150"/>
                    <a:pt x="1198" y="144"/>
                  </a:cubicBezTo>
                  <a:cubicBezTo>
                    <a:pt x="1189" y="138"/>
                    <a:pt x="1180" y="130"/>
                    <a:pt x="1168" y="130"/>
                  </a:cubicBezTo>
                  <a:cubicBezTo>
                    <a:pt x="1187" y="141"/>
                    <a:pt x="1204" y="154"/>
                    <a:pt x="1222" y="166"/>
                  </a:cubicBezTo>
                  <a:close/>
                  <a:moveTo>
                    <a:pt x="1165" y="132"/>
                  </a:moveTo>
                  <a:cubicBezTo>
                    <a:pt x="1166" y="133"/>
                    <a:pt x="1165" y="132"/>
                    <a:pt x="1165" y="132"/>
                  </a:cubicBezTo>
                  <a:close/>
                  <a:moveTo>
                    <a:pt x="1169" y="134"/>
                  </a:moveTo>
                  <a:cubicBezTo>
                    <a:pt x="1187" y="147"/>
                    <a:pt x="1204" y="167"/>
                    <a:pt x="1220" y="178"/>
                  </a:cubicBezTo>
                  <a:cubicBezTo>
                    <a:pt x="1220" y="175"/>
                    <a:pt x="1223" y="174"/>
                    <a:pt x="1222" y="170"/>
                  </a:cubicBezTo>
                  <a:cubicBezTo>
                    <a:pt x="1206" y="157"/>
                    <a:pt x="1188" y="145"/>
                    <a:pt x="1169" y="134"/>
                  </a:cubicBezTo>
                  <a:moveTo>
                    <a:pt x="1169" y="134"/>
                  </a:moveTo>
                  <a:cubicBezTo>
                    <a:pt x="1168" y="132"/>
                    <a:pt x="1168" y="134"/>
                    <a:pt x="1169" y="134"/>
                  </a:cubicBezTo>
                  <a:moveTo>
                    <a:pt x="434" y="136"/>
                  </a:moveTo>
                  <a:cubicBezTo>
                    <a:pt x="433" y="136"/>
                    <a:pt x="433" y="136"/>
                    <a:pt x="433" y="137"/>
                  </a:cubicBezTo>
                  <a:moveTo>
                    <a:pt x="433" y="137"/>
                  </a:moveTo>
                  <a:cubicBezTo>
                    <a:pt x="401" y="157"/>
                    <a:pt x="372" y="180"/>
                    <a:pt x="345" y="205"/>
                  </a:cubicBezTo>
                  <a:cubicBezTo>
                    <a:pt x="357" y="209"/>
                    <a:pt x="367" y="213"/>
                    <a:pt x="379" y="215"/>
                  </a:cubicBezTo>
                  <a:cubicBezTo>
                    <a:pt x="394" y="187"/>
                    <a:pt x="413" y="162"/>
                    <a:pt x="433" y="137"/>
                  </a:cubicBezTo>
                  <a:moveTo>
                    <a:pt x="433" y="137"/>
                  </a:moveTo>
                  <a:cubicBezTo>
                    <a:pt x="434" y="137"/>
                    <a:pt x="434" y="136"/>
                    <a:pt x="434" y="136"/>
                  </a:cubicBezTo>
                  <a:moveTo>
                    <a:pt x="434" y="136"/>
                  </a:moveTo>
                  <a:cubicBezTo>
                    <a:pt x="435" y="135"/>
                    <a:pt x="434" y="135"/>
                    <a:pt x="434" y="136"/>
                  </a:cubicBezTo>
                  <a:moveTo>
                    <a:pt x="327" y="142"/>
                  </a:moveTo>
                  <a:cubicBezTo>
                    <a:pt x="327" y="141"/>
                    <a:pt x="328" y="142"/>
                    <a:pt x="327" y="142"/>
                  </a:cubicBezTo>
                  <a:close/>
                  <a:moveTo>
                    <a:pt x="325" y="143"/>
                  </a:moveTo>
                  <a:cubicBezTo>
                    <a:pt x="319" y="146"/>
                    <a:pt x="312" y="150"/>
                    <a:pt x="308" y="156"/>
                  </a:cubicBezTo>
                  <a:moveTo>
                    <a:pt x="308" y="156"/>
                  </a:moveTo>
                  <a:cubicBezTo>
                    <a:pt x="307" y="156"/>
                    <a:pt x="307" y="156"/>
                    <a:pt x="307" y="157"/>
                  </a:cubicBezTo>
                  <a:moveTo>
                    <a:pt x="307" y="157"/>
                  </a:moveTo>
                  <a:cubicBezTo>
                    <a:pt x="306" y="157"/>
                    <a:pt x="306" y="157"/>
                    <a:pt x="306" y="158"/>
                  </a:cubicBezTo>
                  <a:moveTo>
                    <a:pt x="306" y="158"/>
                  </a:moveTo>
                  <a:cubicBezTo>
                    <a:pt x="305" y="158"/>
                    <a:pt x="306" y="159"/>
                    <a:pt x="306" y="158"/>
                  </a:cubicBezTo>
                  <a:moveTo>
                    <a:pt x="306" y="158"/>
                  </a:moveTo>
                  <a:cubicBezTo>
                    <a:pt x="307" y="158"/>
                    <a:pt x="307" y="158"/>
                    <a:pt x="307" y="157"/>
                  </a:cubicBezTo>
                  <a:moveTo>
                    <a:pt x="307" y="157"/>
                  </a:moveTo>
                  <a:cubicBezTo>
                    <a:pt x="308" y="157"/>
                    <a:pt x="308" y="157"/>
                    <a:pt x="308" y="156"/>
                  </a:cubicBezTo>
                  <a:moveTo>
                    <a:pt x="308" y="156"/>
                  </a:moveTo>
                  <a:cubicBezTo>
                    <a:pt x="314" y="152"/>
                    <a:pt x="320" y="147"/>
                    <a:pt x="325" y="143"/>
                  </a:cubicBezTo>
                  <a:moveTo>
                    <a:pt x="325" y="143"/>
                  </a:moveTo>
                  <a:cubicBezTo>
                    <a:pt x="327" y="142"/>
                    <a:pt x="325" y="141"/>
                    <a:pt x="325" y="143"/>
                  </a:cubicBezTo>
                  <a:moveTo>
                    <a:pt x="338" y="163"/>
                  </a:moveTo>
                  <a:cubicBezTo>
                    <a:pt x="337" y="163"/>
                    <a:pt x="337" y="163"/>
                    <a:pt x="337" y="164"/>
                  </a:cubicBezTo>
                  <a:moveTo>
                    <a:pt x="337" y="164"/>
                  </a:moveTo>
                  <a:cubicBezTo>
                    <a:pt x="327" y="170"/>
                    <a:pt x="317" y="176"/>
                    <a:pt x="310" y="185"/>
                  </a:cubicBezTo>
                  <a:cubicBezTo>
                    <a:pt x="312" y="185"/>
                    <a:pt x="312" y="188"/>
                    <a:pt x="315" y="188"/>
                  </a:cubicBezTo>
                  <a:cubicBezTo>
                    <a:pt x="322" y="180"/>
                    <a:pt x="330" y="172"/>
                    <a:pt x="337" y="164"/>
                  </a:cubicBezTo>
                  <a:moveTo>
                    <a:pt x="337" y="164"/>
                  </a:moveTo>
                  <a:cubicBezTo>
                    <a:pt x="338" y="164"/>
                    <a:pt x="338" y="163"/>
                    <a:pt x="338" y="163"/>
                  </a:cubicBezTo>
                  <a:moveTo>
                    <a:pt x="338" y="163"/>
                  </a:moveTo>
                  <a:cubicBezTo>
                    <a:pt x="339" y="162"/>
                    <a:pt x="338" y="162"/>
                    <a:pt x="338" y="163"/>
                  </a:cubicBezTo>
                  <a:moveTo>
                    <a:pt x="648" y="165"/>
                  </a:moveTo>
                  <a:cubicBezTo>
                    <a:pt x="647" y="164"/>
                    <a:pt x="648" y="165"/>
                    <a:pt x="648" y="165"/>
                  </a:cubicBezTo>
                  <a:close/>
                  <a:moveTo>
                    <a:pt x="1279" y="213"/>
                  </a:moveTo>
                  <a:cubicBezTo>
                    <a:pt x="1279" y="213"/>
                    <a:pt x="1280" y="214"/>
                    <a:pt x="1280" y="214"/>
                  </a:cubicBezTo>
                  <a:moveTo>
                    <a:pt x="1280" y="214"/>
                  </a:moveTo>
                  <a:cubicBezTo>
                    <a:pt x="1280" y="214"/>
                    <a:pt x="1281" y="214"/>
                    <a:pt x="1281" y="215"/>
                  </a:cubicBezTo>
                  <a:moveTo>
                    <a:pt x="1281" y="215"/>
                  </a:moveTo>
                  <a:cubicBezTo>
                    <a:pt x="1281" y="215"/>
                    <a:pt x="1282" y="215"/>
                    <a:pt x="1282" y="215"/>
                  </a:cubicBezTo>
                  <a:moveTo>
                    <a:pt x="1282" y="215"/>
                  </a:moveTo>
                  <a:cubicBezTo>
                    <a:pt x="1282" y="216"/>
                    <a:pt x="1283" y="216"/>
                    <a:pt x="1283" y="216"/>
                  </a:cubicBezTo>
                  <a:moveTo>
                    <a:pt x="1283" y="216"/>
                  </a:moveTo>
                  <a:cubicBezTo>
                    <a:pt x="1283" y="217"/>
                    <a:pt x="1284" y="217"/>
                    <a:pt x="1284" y="217"/>
                  </a:cubicBezTo>
                  <a:moveTo>
                    <a:pt x="1284" y="217"/>
                  </a:moveTo>
                  <a:cubicBezTo>
                    <a:pt x="1284" y="218"/>
                    <a:pt x="1285" y="218"/>
                    <a:pt x="1285" y="218"/>
                  </a:cubicBezTo>
                  <a:moveTo>
                    <a:pt x="1285" y="218"/>
                  </a:moveTo>
                  <a:cubicBezTo>
                    <a:pt x="1285" y="219"/>
                    <a:pt x="1286" y="219"/>
                    <a:pt x="1286" y="219"/>
                  </a:cubicBezTo>
                  <a:moveTo>
                    <a:pt x="1286" y="219"/>
                  </a:moveTo>
                  <a:cubicBezTo>
                    <a:pt x="1286" y="220"/>
                    <a:pt x="1287" y="220"/>
                    <a:pt x="1287" y="220"/>
                  </a:cubicBezTo>
                  <a:moveTo>
                    <a:pt x="1287" y="220"/>
                  </a:moveTo>
                  <a:cubicBezTo>
                    <a:pt x="1288" y="222"/>
                    <a:pt x="1288" y="220"/>
                    <a:pt x="1287" y="220"/>
                  </a:cubicBezTo>
                  <a:moveTo>
                    <a:pt x="1287" y="220"/>
                  </a:moveTo>
                  <a:cubicBezTo>
                    <a:pt x="1287" y="219"/>
                    <a:pt x="1287" y="219"/>
                    <a:pt x="1286" y="219"/>
                  </a:cubicBezTo>
                  <a:moveTo>
                    <a:pt x="1286" y="219"/>
                  </a:moveTo>
                  <a:cubicBezTo>
                    <a:pt x="1286" y="219"/>
                    <a:pt x="1286" y="218"/>
                    <a:pt x="1285" y="218"/>
                  </a:cubicBezTo>
                  <a:moveTo>
                    <a:pt x="1285" y="218"/>
                  </a:moveTo>
                  <a:cubicBezTo>
                    <a:pt x="1285" y="218"/>
                    <a:pt x="1285" y="217"/>
                    <a:pt x="1284" y="217"/>
                  </a:cubicBezTo>
                  <a:moveTo>
                    <a:pt x="1284" y="217"/>
                  </a:moveTo>
                  <a:cubicBezTo>
                    <a:pt x="1284" y="217"/>
                    <a:pt x="1284" y="216"/>
                    <a:pt x="1283" y="216"/>
                  </a:cubicBezTo>
                  <a:moveTo>
                    <a:pt x="1283" y="216"/>
                  </a:moveTo>
                  <a:cubicBezTo>
                    <a:pt x="1283" y="216"/>
                    <a:pt x="1283" y="216"/>
                    <a:pt x="1282" y="215"/>
                  </a:cubicBezTo>
                  <a:moveTo>
                    <a:pt x="1282" y="215"/>
                  </a:moveTo>
                  <a:cubicBezTo>
                    <a:pt x="1283" y="215"/>
                    <a:pt x="1282" y="215"/>
                    <a:pt x="1281" y="215"/>
                  </a:cubicBezTo>
                  <a:moveTo>
                    <a:pt x="1281" y="215"/>
                  </a:moveTo>
                  <a:cubicBezTo>
                    <a:pt x="1282" y="214"/>
                    <a:pt x="1281" y="214"/>
                    <a:pt x="1280" y="214"/>
                  </a:cubicBezTo>
                  <a:moveTo>
                    <a:pt x="1280" y="214"/>
                  </a:moveTo>
                  <a:cubicBezTo>
                    <a:pt x="1281" y="213"/>
                    <a:pt x="1280" y="213"/>
                    <a:pt x="1279" y="213"/>
                  </a:cubicBezTo>
                  <a:moveTo>
                    <a:pt x="1279" y="213"/>
                  </a:moveTo>
                  <a:cubicBezTo>
                    <a:pt x="1262" y="195"/>
                    <a:pt x="1245" y="179"/>
                    <a:pt x="1225" y="165"/>
                  </a:cubicBezTo>
                  <a:cubicBezTo>
                    <a:pt x="1226" y="171"/>
                    <a:pt x="1233" y="175"/>
                    <a:pt x="1237" y="178"/>
                  </a:cubicBezTo>
                  <a:cubicBezTo>
                    <a:pt x="1251" y="189"/>
                    <a:pt x="1265" y="201"/>
                    <a:pt x="1279" y="213"/>
                  </a:cubicBezTo>
                  <a:moveTo>
                    <a:pt x="188" y="288"/>
                  </a:moveTo>
                  <a:cubicBezTo>
                    <a:pt x="205" y="283"/>
                    <a:pt x="212" y="269"/>
                    <a:pt x="223" y="257"/>
                  </a:cubicBezTo>
                  <a:cubicBezTo>
                    <a:pt x="250" y="230"/>
                    <a:pt x="277" y="206"/>
                    <a:pt x="305" y="183"/>
                  </a:cubicBezTo>
                  <a:cubicBezTo>
                    <a:pt x="301" y="179"/>
                    <a:pt x="300" y="173"/>
                    <a:pt x="298" y="167"/>
                  </a:cubicBezTo>
                  <a:cubicBezTo>
                    <a:pt x="257" y="204"/>
                    <a:pt x="219" y="243"/>
                    <a:pt x="188" y="288"/>
                  </a:cubicBezTo>
                  <a:close/>
                  <a:moveTo>
                    <a:pt x="1351" y="296"/>
                  </a:moveTo>
                  <a:cubicBezTo>
                    <a:pt x="1351" y="297"/>
                    <a:pt x="1352" y="297"/>
                    <a:pt x="1352" y="297"/>
                  </a:cubicBezTo>
                  <a:moveTo>
                    <a:pt x="1352" y="297"/>
                  </a:moveTo>
                  <a:cubicBezTo>
                    <a:pt x="1353" y="298"/>
                    <a:pt x="1354" y="297"/>
                    <a:pt x="1352" y="297"/>
                  </a:cubicBezTo>
                  <a:moveTo>
                    <a:pt x="1352" y="297"/>
                  </a:moveTo>
                  <a:cubicBezTo>
                    <a:pt x="1353" y="296"/>
                    <a:pt x="1352" y="296"/>
                    <a:pt x="1351" y="296"/>
                  </a:cubicBezTo>
                  <a:moveTo>
                    <a:pt x="1351" y="296"/>
                  </a:moveTo>
                  <a:cubicBezTo>
                    <a:pt x="1351" y="295"/>
                    <a:pt x="1351" y="293"/>
                    <a:pt x="1350" y="293"/>
                  </a:cubicBezTo>
                  <a:cubicBezTo>
                    <a:pt x="1320" y="252"/>
                    <a:pt x="1281" y="217"/>
                    <a:pt x="1241" y="185"/>
                  </a:cubicBezTo>
                  <a:cubicBezTo>
                    <a:pt x="1236" y="181"/>
                    <a:pt x="1231" y="174"/>
                    <a:pt x="1224" y="173"/>
                  </a:cubicBezTo>
                  <a:cubicBezTo>
                    <a:pt x="1218" y="183"/>
                    <a:pt x="1228" y="188"/>
                    <a:pt x="1233" y="194"/>
                  </a:cubicBezTo>
                  <a:cubicBezTo>
                    <a:pt x="1239" y="201"/>
                    <a:pt x="1244" y="208"/>
                    <a:pt x="1250" y="214"/>
                  </a:cubicBezTo>
                  <a:cubicBezTo>
                    <a:pt x="1267" y="233"/>
                    <a:pt x="1280" y="256"/>
                    <a:pt x="1300" y="274"/>
                  </a:cubicBezTo>
                  <a:cubicBezTo>
                    <a:pt x="1319" y="279"/>
                    <a:pt x="1335" y="288"/>
                    <a:pt x="1351" y="296"/>
                  </a:cubicBezTo>
                  <a:moveTo>
                    <a:pt x="1218" y="184"/>
                  </a:moveTo>
                  <a:cubicBezTo>
                    <a:pt x="1217" y="187"/>
                    <a:pt x="1213" y="188"/>
                    <a:pt x="1211" y="191"/>
                  </a:cubicBezTo>
                  <a:cubicBezTo>
                    <a:pt x="1231" y="205"/>
                    <a:pt x="1249" y="226"/>
                    <a:pt x="1267" y="239"/>
                  </a:cubicBezTo>
                  <a:cubicBezTo>
                    <a:pt x="1250" y="220"/>
                    <a:pt x="1237" y="199"/>
                    <a:pt x="1218" y="184"/>
                  </a:cubicBezTo>
                  <a:close/>
                  <a:moveTo>
                    <a:pt x="207" y="280"/>
                  </a:moveTo>
                  <a:cubicBezTo>
                    <a:pt x="206" y="280"/>
                    <a:pt x="207" y="281"/>
                    <a:pt x="207" y="280"/>
                  </a:cubicBezTo>
                  <a:moveTo>
                    <a:pt x="207" y="280"/>
                  </a:moveTo>
                  <a:cubicBezTo>
                    <a:pt x="225" y="274"/>
                    <a:pt x="241" y="267"/>
                    <a:pt x="260" y="263"/>
                  </a:cubicBezTo>
                  <a:cubicBezTo>
                    <a:pt x="272" y="244"/>
                    <a:pt x="285" y="224"/>
                    <a:pt x="299" y="206"/>
                  </a:cubicBezTo>
                  <a:cubicBezTo>
                    <a:pt x="304" y="200"/>
                    <a:pt x="311" y="196"/>
                    <a:pt x="312" y="189"/>
                  </a:cubicBezTo>
                  <a:cubicBezTo>
                    <a:pt x="306" y="183"/>
                    <a:pt x="301" y="190"/>
                    <a:pt x="297" y="193"/>
                  </a:cubicBezTo>
                  <a:cubicBezTo>
                    <a:pt x="268" y="218"/>
                    <a:pt x="231" y="250"/>
                    <a:pt x="207" y="280"/>
                  </a:cubicBezTo>
                  <a:moveTo>
                    <a:pt x="267" y="192"/>
                  </a:moveTo>
                  <a:cubicBezTo>
                    <a:pt x="266" y="192"/>
                    <a:pt x="266" y="193"/>
                    <a:pt x="266" y="193"/>
                  </a:cubicBezTo>
                  <a:moveTo>
                    <a:pt x="266" y="193"/>
                  </a:moveTo>
                  <a:cubicBezTo>
                    <a:pt x="265" y="193"/>
                    <a:pt x="265" y="194"/>
                    <a:pt x="265" y="194"/>
                  </a:cubicBezTo>
                  <a:moveTo>
                    <a:pt x="265" y="194"/>
                  </a:moveTo>
                  <a:cubicBezTo>
                    <a:pt x="264" y="194"/>
                    <a:pt x="264" y="195"/>
                    <a:pt x="264" y="195"/>
                  </a:cubicBezTo>
                  <a:moveTo>
                    <a:pt x="264" y="195"/>
                  </a:moveTo>
                  <a:cubicBezTo>
                    <a:pt x="263" y="195"/>
                    <a:pt x="263" y="196"/>
                    <a:pt x="263" y="196"/>
                  </a:cubicBezTo>
                  <a:moveTo>
                    <a:pt x="263" y="196"/>
                  </a:moveTo>
                  <a:cubicBezTo>
                    <a:pt x="262" y="196"/>
                    <a:pt x="262" y="197"/>
                    <a:pt x="262" y="197"/>
                  </a:cubicBezTo>
                  <a:moveTo>
                    <a:pt x="262" y="197"/>
                  </a:moveTo>
                  <a:cubicBezTo>
                    <a:pt x="261" y="197"/>
                    <a:pt x="261" y="198"/>
                    <a:pt x="261" y="198"/>
                  </a:cubicBezTo>
                  <a:moveTo>
                    <a:pt x="261" y="198"/>
                  </a:moveTo>
                  <a:cubicBezTo>
                    <a:pt x="222" y="229"/>
                    <a:pt x="189" y="265"/>
                    <a:pt x="159" y="305"/>
                  </a:cubicBezTo>
                  <a:moveTo>
                    <a:pt x="159" y="305"/>
                  </a:moveTo>
                  <a:cubicBezTo>
                    <a:pt x="158" y="305"/>
                    <a:pt x="158" y="305"/>
                    <a:pt x="158" y="306"/>
                  </a:cubicBezTo>
                  <a:moveTo>
                    <a:pt x="158" y="306"/>
                  </a:moveTo>
                  <a:cubicBezTo>
                    <a:pt x="157" y="306"/>
                    <a:pt x="158" y="307"/>
                    <a:pt x="158" y="306"/>
                  </a:cubicBezTo>
                  <a:moveTo>
                    <a:pt x="158" y="306"/>
                  </a:moveTo>
                  <a:cubicBezTo>
                    <a:pt x="159" y="306"/>
                    <a:pt x="159" y="305"/>
                    <a:pt x="159" y="305"/>
                  </a:cubicBezTo>
                  <a:moveTo>
                    <a:pt x="159" y="305"/>
                  </a:moveTo>
                  <a:cubicBezTo>
                    <a:pt x="167" y="301"/>
                    <a:pt x="173" y="295"/>
                    <a:pt x="182" y="292"/>
                  </a:cubicBezTo>
                  <a:cubicBezTo>
                    <a:pt x="205" y="258"/>
                    <a:pt x="232" y="227"/>
                    <a:pt x="261" y="198"/>
                  </a:cubicBezTo>
                  <a:moveTo>
                    <a:pt x="261" y="198"/>
                  </a:moveTo>
                  <a:cubicBezTo>
                    <a:pt x="262" y="198"/>
                    <a:pt x="262" y="198"/>
                    <a:pt x="262" y="197"/>
                  </a:cubicBezTo>
                  <a:moveTo>
                    <a:pt x="262" y="197"/>
                  </a:moveTo>
                  <a:cubicBezTo>
                    <a:pt x="263" y="197"/>
                    <a:pt x="263" y="197"/>
                    <a:pt x="263" y="196"/>
                  </a:cubicBezTo>
                  <a:moveTo>
                    <a:pt x="263" y="196"/>
                  </a:moveTo>
                  <a:cubicBezTo>
                    <a:pt x="264" y="196"/>
                    <a:pt x="264" y="196"/>
                    <a:pt x="264" y="195"/>
                  </a:cubicBezTo>
                  <a:moveTo>
                    <a:pt x="264" y="195"/>
                  </a:moveTo>
                  <a:cubicBezTo>
                    <a:pt x="265" y="195"/>
                    <a:pt x="265" y="195"/>
                    <a:pt x="265" y="194"/>
                  </a:cubicBezTo>
                  <a:moveTo>
                    <a:pt x="265" y="194"/>
                  </a:moveTo>
                  <a:cubicBezTo>
                    <a:pt x="266" y="195"/>
                    <a:pt x="266" y="194"/>
                    <a:pt x="266" y="193"/>
                  </a:cubicBezTo>
                  <a:moveTo>
                    <a:pt x="266" y="193"/>
                  </a:moveTo>
                  <a:cubicBezTo>
                    <a:pt x="266" y="194"/>
                    <a:pt x="267" y="193"/>
                    <a:pt x="267" y="192"/>
                  </a:cubicBezTo>
                  <a:moveTo>
                    <a:pt x="267" y="192"/>
                  </a:moveTo>
                  <a:cubicBezTo>
                    <a:pt x="268" y="192"/>
                    <a:pt x="267" y="191"/>
                    <a:pt x="267" y="192"/>
                  </a:cubicBezTo>
                  <a:moveTo>
                    <a:pt x="265" y="261"/>
                  </a:moveTo>
                  <a:cubicBezTo>
                    <a:pt x="263" y="261"/>
                    <a:pt x="265" y="262"/>
                    <a:pt x="265" y="261"/>
                  </a:cubicBezTo>
                  <a:moveTo>
                    <a:pt x="265" y="261"/>
                  </a:moveTo>
                  <a:cubicBezTo>
                    <a:pt x="274" y="259"/>
                    <a:pt x="281" y="256"/>
                    <a:pt x="291" y="255"/>
                  </a:cubicBezTo>
                  <a:cubicBezTo>
                    <a:pt x="305" y="236"/>
                    <a:pt x="324" y="222"/>
                    <a:pt x="340" y="205"/>
                  </a:cubicBezTo>
                  <a:cubicBezTo>
                    <a:pt x="330" y="202"/>
                    <a:pt x="323" y="196"/>
                    <a:pt x="315" y="192"/>
                  </a:cubicBezTo>
                  <a:cubicBezTo>
                    <a:pt x="296" y="214"/>
                    <a:pt x="279" y="236"/>
                    <a:pt x="265" y="261"/>
                  </a:cubicBezTo>
                  <a:moveTo>
                    <a:pt x="1208" y="192"/>
                  </a:moveTo>
                  <a:cubicBezTo>
                    <a:pt x="1198" y="200"/>
                    <a:pt x="1184" y="204"/>
                    <a:pt x="1173" y="211"/>
                  </a:cubicBezTo>
                  <a:cubicBezTo>
                    <a:pt x="1184" y="223"/>
                    <a:pt x="1187" y="240"/>
                    <a:pt x="1203" y="247"/>
                  </a:cubicBezTo>
                  <a:cubicBezTo>
                    <a:pt x="1215" y="253"/>
                    <a:pt x="1231" y="253"/>
                    <a:pt x="1246" y="257"/>
                  </a:cubicBezTo>
                  <a:cubicBezTo>
                    <a:pt x="1260" y="261"/>
                    <a:pt x="1274" y="266"/>
                    <a:pt x="1287" y="269"/>
                  </a:cubicBezTo>
                  <a:cubicBezTo>
                    <a:pt x="1267" y="238"/>
                    <a:pt x="1237" y="216"/>
                    <a:pt x="1208" y="192"/>
                  </a:cubicBezTo>
                  <a:close/>
                  <a:moveTo>
                    <a:pt x="637" y="198"/>
                  </a:moveTo>
                  <a:cubicBezTo>
                    <a:pt x="636" y="202"/>
                    <a:pt x="630" y="210"/>
                    <a:pt x="633" y="212"/>
                  </a:cubicBezTo>
                  <a:cubicBezTo>
                    <a:pt x="638" y="210"/>
                    <a:pt x="636" y="203"/>
                    <a:pt x="637" y="198"/>
                  </a:cubicBezTo>
                  <a:moveTo>
                    <a:pt x="637" y="198"/>
                  </a:moveTo>
                  <a:cubicBezTo>
                    <a:pt x="640" y="198"/>
                    <a:pt x="636" y="194"/>
                    <a:pt x="637" y="198"/>
                  </a:cubicBezTo>
                  <a:moveTo>
                    <a:pt x="1072" y="226"/>
                  </a:moveTo>
                  <a:cubicBezTo>
                    <a:pt x="1076" y="226"/>
                    <a:pt x="1083" y="228"/>
                    <a:pt x="1085" y="227"/>
                  </a:cubicBezTo>
                  <a:cubicBezTo>
                    <a:pt x="1077" y="219"/>
                    <a:pt x="1070" y="209"/>
                    <a:pt x="1062" y="201"/>
                  </a:cubicBezTo>
                  <a:cubicBezTo>
                    <a:pt x="1065" y="210"/>
                    <a:pt x="1069" y="217"/>
                    <a:pt x="1072" y="226"/>
                  </a:cubicBezTo>
                  <a:close/>
                  <a:moveTo>
                    <a:pt x="342" y="207"/>
                  </a:moveTo>
                  <a:cubicBezTo>
                    <a:pt x="327" y="222"/>
                    <a:pt x="310" y="236"/>
                    <a:pt x="296" y="253"/>
                  </a:cubicBezTo>
                  <a:cubicBezTo>
                    <a:pt x="319" y="247"/>
                    <a:pt x="343" y="243"/>
                    <a:pt x="366" y="239"/>
                  </a:cubicBezTo>
                  <a:cubicBezTo>
                    <a:pt x="370" y="231"/>
                    <a:pt x="374" y="225"/>
                    <a:pt x="377" y="217"/>
                  </a:cubicBezTo>
                  <a:cubicBezTo>
                    <a:pt x="364" y="215"/>
                    <a:pt x="354" y="210"/>
                    <a:pt x="342" y="207"/>
                  </a:cubicBezTo>
                  <a:close/>
                  <a:moveTo>
                    <a:pt x="745" y="212"/>
                  </a:moveTo>
                  <a:cubicBezTo>
                    <a:pt x="745" y="226"/>
                    <a:pt x="744" y="240"/>
                    <a:pt x="743" y="254"/>
                  </a:cubicBezTo>
                  <a:cubicBezTo>
                    <a:pt x="757" y="253"/>
                    <a:pt x="774" y="255"/>
                    <a:pt x="786" y="253"/>
                  </a:cubicBezTo>
                  <a:cubicBezTo>
                    <a:pt x="784" y="241"/>
                    <a:pt x="786" y="224"/>
                    <a:pt x="784" y="212"/>
                  </a:cubicBezTo>
                  <a:cubicBezTo>
                    <a:pt x="773" y="210"/>
                    <a:pt x="756" y="210"/>
                    <a:pt x="745" y="212"/>
                  </a:cubicBezTo>
                  <a:close/>
                  <a:moveTo>
                    <a:pt x="1176" y="220"/>
                  </a:moveTo>
                  <a:cubicBezTo>
                    <a:pt x="1176" y="221"/>
                    <a:pt x="1176" y="221"/>
                    <a:pt x="1177" y="221"/>
                  </a:cubicBezTo>
                  <a:moveTo>
                    <a:pt x="1177" y="221"/>
                  </a:moveTo>
                  <a:cubicBezTo>
                    <a:pt x="1177" y="223"/>
                    <a:pt x="1178" y="221"/>
                    <a:pt x="1177" y="221"/>
                  </a:cubicBezTo>
                  <a:moveTo>
                    <a:pt x="1177" y="221"/>
                  </a:moveTo>
                  <a:cubicBezTo>
                    <a:pt x="1177" y="220"/>
                    <a:pt x="1176" y="220"/>
                    <a:pt x="1176" y="220"/>
                  </a:cubicBezTo>
                  <a:moveTo>
                    <a:pt x="1176" y="220"/>
                  </a:moveTo>
                  <a:cubicBezTo>
                    <a:pt x="1174" y="216"/>
                    <a:pt x="1171" y="207"/>
                    <a:pt x="1166" y="213"/>
                  </a:cubicBezTo>
                  <a:cubicBezTo>
                    <a:pt x="1170" y="214"/>
                    <a:pt x="1172" y="218"/>
                    <a:pt x="1176" y="220"/>
                  </a:cubicBezTo>
                  <a:moveTo>
                    <a:pt x="639" y="214"/>
                  </a:moveTo>
                  <a:cubicBezTo>
                    <a:pt x="637" y="225"/>
                    <a:pt x="635" y="238"/>
                    <a:pt x="633" y="251"/>
                  </a:cubicBezTo>
                  <a:cubicBezTo>
                    <a:pt x="669" y="252"/>
                    <a:pt x="704" y="254"/>
                    <a:pt x="741" y="254"/>
                  </a:cubicBezTo>
                  <a:cubicBezTo>
                    <a:pt x="741" y="239"/>
                    <a:pt x="742" y="225"/>
                    <a:pt x="743" y="212"/>
                  </a:cubicBezTo>
                  <a:cubicBezTo>
                    <a:pt x="707" y="211"/>
                    <a:pt x="673" y="213"/>
                    <a:pt x="639" y="214"/>
                  </a:cubicBezTo>
                  <a:close/>
                  <a:moveTo>
                    <a:pt x="787" y="212"/>
                  </a:moveTo>
                  <a:cubicBezTo>
                    <a:pt x="786" y="227"/>
                    <a:pt x="789" y="239"/>
                    <a:pt x="788" y="254"/>
                  </a:cubicBezTo>
                  <a:cubicBezTo>
                    <a:pt x="815" y="254"/>
                    <a:pt x="840" y="252"/>
                    <a:pt x="867" y="252"/>
                  </a:cubicBezTo>
                  <a:cubicBezTo>
                    <a:pt x="863" y="238"/>
                    <a:pt x="860" y="225"/>
                    <a:pt x="856" y="213"/>
                  </a:cubicBezTo>
                  <a:cubicBezTo>
                    <a:pt x="834" y="212"/>
                    <a:pt x="811" y="211"/>
                    <a:pt x="787" y="212"/>
                  </a:cubicBezTo>
                  <a:close/>
                  <a:moveTo>
                    <a:pt x="870" y="251"/>
                  </a:moveTo>
                  <a:cubicBezTo>
                    <a:pt x="891" y="251"/>
                    <a:pt x="917" y="249"/>
                    <a:pt x="938" y="247"/>
                  </a:cubicBezTo>
                  <a:cubicBezTo>
                    <a:pt x="937" y="236"/>
                    <a:pt x="934" y="227"/>
                    <a:pt x="932" y="216"/>
                  </a:cubicBezTo>
                  <a:cubicBezTo>
                    <a:pt x="909" y="214"/>
                    <a:pt x="884" y="214"/>
                    <a:pt x="861" y="213"/>
                  </a:cubicBezTo>
                  <a:cubicBezTo>
                    <a:pt x="864" y="226"/>
                    <a:pt x="868" y="237"/>
                    <a:pt x="870" y="251"/>
                  </a:cubicBezTo>
                  <a:close/>
                  <a:moveTo>
                    <a:pt x="1190" y="244"/>
                  </a:moveTo>
                  <a:cubicBezTo>
                    <a:pt x="1191" y="246"/>
                    <a:pt x="1191" y="244"/>
                    <a:pt x="1190" y="244"/>
                  </a:cubicBezTo>
                  <a:moveTo>
                    <a:pt x="1190" y="244"/>
                  </a:moveTo>
                  <a:cubicBezTo>
                    <a:pt x="1184" y="231"/>
                    <a:pt x="1173" y="222"/>
                    <a:pt x="1162" y="213"/>
                  </a:cubicBezTo>
                  <a:cubicBezTo>
                    <a:pt x="1143" y="221"/>
                    <a:pt x="1120" y="224"/>
                    <a:pt x="1099" y="230"/>
                  </a:cubicBezTo>
                  <a:cubicBezTo>
                    <a:pt x="1131" y="233"/>
                    <a:pt x="1160" y="239"/>
                    <a:pt x="1190" y="244"/>
                  </a:cubicBezTo>
                  <a:moveTo>
                    <a:pt x="632" y="214"/>
                  </a:moveTo>
                  <a:cubicBezTo>
                    <a:pt x="625" y="223"/>
                    <a:pt x="622" y="237"/>
                    <a:pt x="618" y="250"/>
                  </a:cubicBezTo>
                  <a:cubicBezTo>
                    <a:pt x="622" y="250"/>
                    <a:pt x="626" y="250"/>
                    <a:pt x="630" y="250"/>
                  </a:cubicBezTo>
                  <a:cubicBezTo>
                    <a:pt x="631" y="238"/>
                    <a:pt x="633" y="225"/>
                    <a:pt x="635" y="214"/>
                  </a:cubicBezTo>
                  <a:cubicBezTo>
                    <a:pt x="634" y="214"/>
                    <a:pt x="633" y="214"/>
                    <a:pt x="632" y="214"/>
                  </a:cubicBezTo>
                  <a:close/>
                  <a:moveTo>
                    <a:pt x="515" y="222"/>
                  </a:moveTo>
                  <a:cubicBezTo>
                    <a:pt x="512" y="228"/>
                    <a:pt x="507" y="233"/>
                    <a:pt x="505" y="239"/>
                  </a:cubicBezTo>
                  <a:cubicBezTo>
                    <a:pt x="541" y="243"/>
                    <a:pt x="576" y="248"/>
                    <a:pt x="615" y="249"/>
                  </a:cubicBezTo>
                  <a:cubicBezTo>
                    <a:pt x="619" y="237"/>
                    <a:pt x="623" y="226"/>
                    <a:pt x="628" y="215"/>
                  </a:cubicBezTo>
                  <a:cubicBezTo>
                    <a:pt x="589" y="216"/>
                    <a:pt x="552" y="218"/>
                    <a:pt x="515" y="222"/>
                  </a:cubicBezTo>
                  <a:close/>
                  <a:moveTo>
                    <a:pt x="941" y="247"/>
                  </a:moveTo>
                  <a:cubicBezTo>
                    <a:pt x="956" y="246"/>
                    <a:pt x="972" y="245"/>
                    <a:pt x="986" y="242"/>
                  </a:cubicBezTo>
                  <a:cubicBezTo>
                    <a:pt x="980" y="235"/>
                    <a:pt x="978" y="225"/>
                    <a:pt x="971" y="219"/>
                  </a:cubicBezTo>
                  <a:cubicBezTo>
                    <a:pt x="960" y="218"/>
                    <a:pt x="947" y="217"/>
                    <a:pt x="935" y="216"/>
                  </a:cubicBezTo>
                  <a:cubicBezTo>
                    <a:pt x="936" y="227"/>
                    <a:pt x="939" y="236"/>
                    <a:pt x="941" y="247"/>
                  </a:cubicBezTo>
                  <a:close/>
                  <a:moveTo>
                    <a:pt x="370" y="238"/>
                  </a:moveTo>
                  <a:cubicBezTo>
                    <a:pt x="369" y="238"/>
                    <a:pt x="370" y="239"/>
                    <a:pt x="370" y="238"/>
                  </a:cubicBezTo>
                  <a:moveTo>
                    <a:pt x="370" y="238"/>
                  </a:moveTo>
                  <a:cubicBezTo>
                    <a:pt x="384" y="235"/>
                    <a:pt x="401" y="237"/>
                    <a:pt x="406" y="225"/>
                  </a:cubicBezTo>
                  <a:cubicBezTo>
                    <a:pt x="396" y="224"/>
                    <a:pt x="389" y="220"/>
                    <a:pt x="379" y="219"/>
                  </a:cubicBezTo>
                  <a:cubicBezTo>
                    <a:pt x="377" y="226"/>
                    <a:pt x="372" y="230"/>
                    <a:pt x="370" y="238"/>
                  </a:cubicBezTo>
                  <a:moveTo>
                    <a:pt x="989" y="242"/>
                  </a:moveTo>
                  <a:cubicBezTo>
                    <a:pt x="1017" y="239"/>
                    <a:pt x="1047" y="238"/>
                    <a:pt x="1071" y="230"/>
                  </a:cubicBezTo>
                  <a:cubicBezTo>
                    <a:pt x="1042" y="224"/>
                    <a:pt x="1008" y="222"/>
                    <a:pt x="976" y="219"/>
                  </a:cubicBezTo>
                  <a:cubicBezTo>
                    <a:pt x="980" y="227"/>
                    <a:pt x="984" y="235"/>
                    <a:pt x="989" y="242"/>
                  </a:cubicBezTo>
                  <a:close/>
                  <a:moveTo>
                    <a:pt x="497" y="223"/>
                  </a:moveTo>
                  <a:cubicBezTo>
                    <a:pt x="494" y="227"/>
                    <a:pt x="494" y="233"/>
                    <a:pt x="491" y="238"/>
                  </a:cubicBezTo>
                  <a:cubicBezTo>
                    <a:pt x="495" y="237"/>
                    <a:pt x="497" y="239"/>
                    <a:pt x="502" y="239"/>
                  </a:cubicBezTo>
                  <a:cubicBezTo>
                    <a:pt x="504" y="232"/>
                    <a:pt x="509" y="228"/>
                    <a:pt x="511" y="222"/>
                  </a:cubicBezTo>
                  <a:cubicBezTo>
                    <a:pt x="507" y="223"/>
                    <a:pt x="503" y="224"/>
                    <a:pt x="497" y="223"/>
                  </a:cubicBezTo>
                  <a:close/>
                  <a:moveTo>
                    <a:pt x="1178" y="224"/>
                  </a:moveTo>
                  <a:cubicBezTo>
                    <a:pt x="1177" y="224"/>
                    <a:pt x="1178" y="225"/>
                    <a:pt x="1178" y="224"/>
                  </a:cubicBezTo>
                  <a:close/>
                  <a:moveTo>
                    <a:pt x="445" y="231"/>
                  </a:moveTo>
                  <a:cubicBezTo>
                    <a:pt x="460" y="233"/>
                    <a:pt x="475" y="235"/>
                    <a:pt x="489" y="238"/>
                  </a:cubicBezTo>
                  <a:cubicBezTo>
                    <a:pt x="490" y="232"/>
                    <a:pt x="492" y="229"/>
                    <a:pt x="493" y="224"/>
                  </a:cubicBezTo>
                  <a:cubicBezTo>
                    <a:pt x="477" y="226"/>
                    <a:pt x="459" y="226"/>
                    <a:pt x="445" y="231"/>
                  </a:cubicBezTo>
                  <a:close/>
                  <a:moveTo>
                    <a:pt x="421" y="230"/>
                  </a:moveTo>
                  <a:cubicBezTo>
                    <a:pt x="423" y="230"/>
                    <a:pt x="429" y="229"/>
                    <a:pt x="424" y="229"/>
                  </a:cubicBezTo>
                  <a:cubicBezTo>
                    <a:pt x="419" y="228"/>
                    <a:pt x="414" y="227"/>
                    <a:pt x="409" y="226"/>
                  </a:cubicBezTo>
                  <a:cubicBezTo>
                    <a:pt x="407" y="229"/>
                    <a:pt x="404" y="230"/>
                    <a:pt x="403" y="233"/>
                  </a:cubicBezTo>
                  <a:cubicBezTo>
                    <a:pt x="409" y="232"/>
                    <a:pt x="416" y="231"/>
                    <a:pt x="421" y="230"/>
                  </a:cubicBezTo>
                  <a:close/>
                  <a:moveTo>
                    <a:pt x="1079" y="230"/>
                  </a:moveTo>
                  <a:cubicBezTo>
                    <a:pt x="1078" y="229"/>
                    <a:pt x="1073" y="228"/>
                    <a:pt x="1073" y="230"/>
                  </a:cubicBezTo>
                  <a:cubicBezTo>
                    <a:pt x="1074" y="231"/>
                    <a:pt x="1078" y="232"/>
                    <a:pt x="1079" y="230"/>
                  </a:cubicBezTo>
                  <a:close/>
                  <a:moveTo>
                    <a:pt x="309" y="418"/>
                  </a:moveTo>
                  <a:cubicBezTo>
                    <a:pt x="307" y="419"/>
                    <a:pt x="309" y="419"/>
                    <a:pt x="309" y="418"/>
                  </a:cubicBezTo>
                  <a:moveTo>
                    <a:pt x="309" y="418"/>
                  </a:moveTo>
                  <a:cubicBezTo>
                    <a:pt x="345" y="412"/>
                    <a:pt x="381" y="406"/>
                    <a:pt x="418" y="401"/>
                  </a:cubicBezTo>
                  <a:cubicBezTo>
                    <a:pt x="436" y="359"/>
                    <a:pt x="455" y="318"/>
                    <a:pt x="477" y="281"/>
                  </a:cubicBezTo>
                  <a:cubicBezTo>
                    <a:pt x="479" y="266"/>
                    <a:pt x="484" y="253"/>
                    <a:pt x="488" y="239"/>
                  </a:cubicBezTo>
                  <a:cubicBezTo>
                    <a:pt x="458" y="236"/>
                    <a:pt x="431" y="227"/>
                    <a:pt x="401" y="236"/>
                  </a:cubicBezTo>
                  <a:cubicBezTo>
                    <a:pt x="376" y="263"/>
                    <a:pt x="355" y="294"/>
                    <a:pt x="333" y="324"/>
                  </a:cubicBezTo>
                  <a:cubicBezTo>
                    <a:pt x="324" y="355"/>
                    <a:pt x="314" y="384"/>
                    <a:pt x="309" y="418"/>
                  </a:cubicBezTo>
                  <a:moveTo>
                    <a:pt x="1092" y="232"/>
                  </a:moveTo>
                  <a:cubicBezTo>
                    <a:pt x="1137" y="288"/>
                    <a:pt x="1175" y="350"/>
                    <a:pt x="1208" y="417"/>
                  </a:cubicBezTo>
                  <a:cubicBezTo>
                    <a:pt x="1224" y="419"/>
                    <a:pt x="1240" y="426"/>
                    <a:pt x="1256" y="425"/>
                  </a:cubicBezTo>
                  <a:cubicBezTo>
                    <a:pt x="1244" y="360"/>
                    <a:pt x="1220" y="299"/>
                    <a:pt x="1192" y="247"/>
                  </a:cubicBezTo>
                  <a:cubicBezTo>
                    <a:pt x="1159" y="242"/>
                    <a:pt x="1128" y="235"/>
                    <a:pt x="1092" y="232"/>
                  </a:cubicBezTo>
                  <a:moveTo>
                    <a:pt x="1092" y="232"/>
                  </a:moveTo>
                  <a:cubicBezTo>
                    <a:pt x="1092" y="230"/>
                    <a:pt x="1091" y="232"/>
                    <a:pt x="1092" y="232"/>
                  </a:cubicBezTo>
                  <a:moveTo>
                    <a:pt x="1104" y="252"/>
                  </a:moveTo>
                  <a:cubicBezTo>
                    <a:pt x="1096" y="241"/>
                    <a:pt x="1089" y="225"/>
                    <a:pt x="1075" y="235"/>
                  </a:cubicBezTo>
                  <a:cubicBezTo>
                    <a:pt x="1096" y="285"/>
                    <a:pt x="1109" y="342"/>
                    <a:pt x="1119" y="403"/>
                  </a:cubicBezTo>
                  <a:cubicBezTo>
                    <a:pt x="1148" y="406"/>
                    <a:pt x="1178" y="413"/>
                    <a:pt x="1205" y="415"/>
                  </a:cubicBezTo>
                  <a:cubicBezTo>
                    <a:pt x="1178" y="360"/>
                    <a:pt x="1141" y="300"/>
                    <a:pt x="1104" y="252"/>
                  </a:cubicBezTo>
                  <a:close/>
                  <a:moveTo>
                    <a:pt x="990" y="245"/>
                  </a:moveTo>
                  <a:cubicBezTo>
                    <a:pt x="1015" y="293"/>
                    <a:pt x="1038" y="342"/>
                    <a:pt x="1057" y="395"/>
                  </a:cubicBezTo>
                  <a:cubicBezTo>
                    <a:pt x="1077" y="398"/>
                    <a:pt x="1097" y="399"/>
                    <a:pt x="1116" y="403"/>
                  </a:cubicBezTo>
                  <a:cubicBezTo>
                    <a:pt x="1108" y="349"/>
                    <a:pt x="1096" y="297"/>
                    <a:pt x="1080" y="252"/>
                  </a:cubicBezTo>
                  <a:cubicBezTo>
                    <a:pt x="1078" y="246"/>
                    <a:pt x="1076" y="238"/>
                    <a:pt x="1070" y="235"/>
                  </a:cubicBezTo>
                  <a:cubicBezTo>
                    <a:pt x="1044" y="239"/>
                    <a:pt x="1018" y="243"/>
                    <a:pt x="990" y="245"/>
                  </a:cubicBezTo>
                  <a:close/>
                  <a:moveTo>
                    <a:pt x="368" y="240"/>
                  </a:moveTo>
                  <a:cubicBezTo>
                    <a:pt x="357" y="263"/>
                    <a:pt x="345" y="288"/>
                    <a:pt x="339" y="312"/>
                  </a:cubicBezTo>
                  <a:cubicBezTo>
                    <a:pt x="353" y="289"/>
                    <a:pt x="373" y="265"/>
                    <a:pt x="390" y="245"/>
                  </a:cubicBezTo>
                  <a:cubicBezTo>
                    <a:pt x="392" y="243"/>
                    <a:pt x="395" y="239"/>
                    <a:pt x="394" y="237"/>
                  </a:cubicBezTo>
                  <a:cubicBezTo>
                    <a:pt x="386" y="238"/>
                    <a:pt x="378" y="240"/>
                    <a:pt x="368" y="240"/>
                  </a:cubicBezTo>
                  <a:close/>
                  <a:moveTo>
                    <a:pt x="483" y="268"/>
                  </a:moveTo>
                  <a:cubicBezTo>
                    <a:pt x="480" y="268"/>
                    <a:pt x="484" y="272"/>
                    <a:pt x="483" y="268"/>
                  </a:cubicBezTo>
                  <a:moveTo>
                    <a:pt x="483" y="268"/>
                  </a:moveTo>
                  <a:cubicBezTo>
                    <a:pt x="489" y="260"/>
                    <a:pt x="494" y="251"/>
                    <a:pt x="499" y="241"/>
                  </a:cubicBezTo>
                  <a:cubicBezTo>
                    <a:pt x="496" y="241"/>
                    <a:pt x="494" y="240"/>
                    <a:pt x="490" y="240"/>
                  </a:cubicBezTo>
                  <a:cubicBezTo>
                    <a:pt x="488" y="250"/>
                    <a:pt x="484" y="258"/>
                    <a:pt x="483" y="268"/>
                  </a:cubicBezTo>
                  <a:moveTo>
                    <a:pt x="327" y="249"/>
                  </a:moveTo>
                  <a:cubicBezTo>
                    <a:pt x="315" y="252"/>
                    <a:pt x="301" y="252"/>
                    <a:pt x="294" y="256"/>
                  </a:cubicBezTo>
                  <a:cubicBezTo>
                    <a:pt x="288" y="259"/>
                    <a:pt x="279" y="270"/>
                    <a:pt x="273" y="277"/>
                  </a:cubicBezTo>
                  <a:cubicBezTo>
                    <a:pt x="242" y="313"/>
                    <a:pt x="211" y="348"/>
                    <a:pt x="198" y="402"/>
                  </a:cubicBezTo>
                  <a:cubicBezTo>
                    <a:pt x="222" y="411"/>
                    <a:pt x="245" y="420"/>
                    <a:pt x="271" y="426"/>
                  </a:cubicBezTo>
                  <a:cubicBezTo>
                    <a:pt x="285" y="399"/>
                    <a:pt x="300" y="372"/>
                    <a:pt x="316" y="347"/>
                  </a:cubicBezTo>
                  <a:cubicBezTo>
                    <a:pt x="321" y="339"/>
                    <a:pt x="328" y="330"/>
                    <a:pt x="332" y="322"/>
                  </a:cubicBezTo>
                  <a:cubicBezTo>
                    <a:pt x="344" y="296"/>
                    <a:pt x="348" y="268"/>
                    <a:pt x="365" y="243"/>
                  </a:cubicBezTo>
                  <a:cubicBezTo>
                    <a:pt x="364" y="243"/>
                    <a:pt x="365" y="241"/>
                    <a:pt x="364" y="241"/>
                  </a:cubicBezTo>
                  <a:cubicBezTo>
                    <a:pt x="353" y="243"/>
                    <a:pt x="340" y="246"/>
                    <a:pt x="327" y="249"/>
                  </a:cubicBezTo>
                  <a:close/>
                  <a:moveTo>
                    <a:pt x="504" y="242"/>
                  </a:moveTo>
                  <a:cubicBezTo>
                    <a:pt x="472" y="274"/>
                    <a:pt x="465" y="338"/>
                    <a:pt x="457" y="396"/>
                  </a:cubicBezTo>
                  <a:cubicBezTo>
                    <a:pt x="495" y="392"/>
                    <a:pt x="535" y="389"/>
                    <a:pt x="575" y="385"/>
                  </a:cubicBezTo>
                  <a:cubicBezTo>
                    <a:pt x="587" y="340"/>
                    <a:pt x="599" y="294"/>
                    <a:pt x="614" y="252"/>
                  </a:cubicBezTo>
                  <a:cubicBezTo>
                    <a:pt x="576" y="250"/>
                    <a:pt x="540" y="246"/>
                    <a:pt x="504" y="242"/>
                  </a:cubicBezTo>
                  <a:close/>
                  <a:moveTo>
                    <a:pt x="1194" y="244"/>
                  </a:moveTo>
                  <a:cubicBezTo>
                    <a:pt x="1194" y="245"/>
                    <a:pt x="1194" y="245"/>
                    <a:pt x="1195" y="245"/>
                  </a:cubicBezTo>
                  <a:moveTo>
                    <a:pt x="1195" y="245"/>
                  </a:moveTo>
                  <a:cubicBezTo>
                    <a:pt x="1196" y="247"/>
                    <a:pt x="1196" y="245"/>
                    <a:pt x="1195" y="245"/>
                  </a:cubicBezTo>
                  <a:moveTo>
                    <a:pt x="1195" y="245"/>
                  </a:moveTo>
                  <a:cubicBezTo>
                    <a:pt x="1195" y="244"/>
                    <a:pt x="1195" y="244"/>
                    <a:pt x="1194" y="244"/>
                  </a:cubicBezTo>
                  <a:moveTo>
                    <a:pt x="1194" y="244"/>
                  </a:moveTo>
                  <a:cubicBezTo>
                    <a:pt x="1193" y="243"/>
                    <a:pt x="1193" y="244"/>
                    <a:pt x="1194" y="244"/>
                  </a:cubicBezTo>
                  <a:moveTo>
                    <a:pt x="942" y="250"/>
                  </a:moveTo>
                  <a:cubicBezTo>
                    <a:pt x="949" y="294"/>
                    <a:pt x="955" y="339"/>
                    <a:pt x="960" y="386"/>
                  </a:cubicBezTo>
                  <a:cubicBezTo>
                    <a:pt x="991" y="389"/>
                    <a:pt x="1024" y="391"/>
                    <a:pt x="1054" y="395"/>
                  </a:cubicBezTo>
                  <a:cubicBezTo>
                    <a:pt x="1035" y="342"/>
                    <a:pt x="1013" y="293"/>
                    <a:pt x="988" y="246"/>
                  </a:cubicBezTo>
                  <a:cubicBezTo>
                    <a:pt x="972" y="247"/>
                    <a:pt x="957" y="249"/>
                    <a:pt x="942" y="250"/>
                  </a:cubicBezTo>
                  <a:close/>
                  <a:moveTo>
                    <a:pt x="1259" y="424"/>
                  </a:moveTo>
                  <a:cubicBezTo>
                    <a:pt x="1279" y="419"/>
                    <a:pt x="1296" y="412"/>
                    <a:pt x="1314" y="407"/>
                  </a:cubicBezTo>
                  <a:cubicBezTo>
                    <a:pt x="1282" y="347"/>
                    <a:pt x="1242" y="296"/>
                    <a:pt x="1198" y="249"/>
                  </a:cubicBezTo>
                  <a:cubicBezTo>
                    <a:pt x="1197" y="249"/>
                    <a:pt x="1196" y="249"/>
                    <a:pt x="1196" y="250"/>
                  </a:cubicBezTo>
                  <a:cubicBezTo>
                    <a:pt x="1224" y="301"/>
                    <a:pt x="1245" y="359"/>
                    <a:pt x="1259" y="424"/>
                  </a:cubicBezTo>
                  <a:close/>
                  <a:moveTo>
                    <a:pt x="871" y="255"/>
                  </a:moveTo>
                  <a:cubicBezTo>
                    <a:pt x="883" y="296"/>
                    <a:pt x="891" y="339"/>
                    <a:pt x="899" y="383"/>
                  </a:cubicBezTo>
                  <a:cubicBezTo>
                    <a:pt x="918" y="384"/>
                    <a:pt x="938" y="384"/>
                    <a:pt x="957" y="386"/>
                  </a:cubicBezTo>
                  <a:cubicBezTo>
                    <a:pt x="953" y="345"/>
                    <a:pt x="948" y="301"/>
                    <a:pt x="942" y="264"/>
                  </a:cubicBezTo>
                  <a:cubicBezTo>
                    <a:pt x="941" y="260"/>
                    <a:pt x="941" y="252"/>
                    <a:pt x="936" y="250"/>
                  </a:cubicBezTo>
                  <a:cubicBezTo>
                    <a:pt x="915" y="253"/>
                    <a:pt x="892" y="252"/>
                    <a:pt x="871" y="255"/>
                  </a:cubicBezTo>
                  <a:close/>
                  <a:moveTo>
                    <a:pt x="1317" y="405"/>
                  </a:moveTo>
                  <a:cubicBezTo>
                    <a:pt x="1328" y="400"/>
                    <a:pt x="1340" y="395"/>
                    <a:pt x="1350" y="388"/>
                  </a:cubicBezTo>
                  <a:cubicBezTo>
                    <a:pt x="1332" y="347"/>
                    <a:pt x="1314" y="307"/>
                    <a:pt x="1289" y="273"/>
                  </a:cubicBezTo>
                  <a:cubicBezTo>
                    <a:pt x="1263" y="264"/>
                    <a:pt x="1231" y="255"/>
                    <a:pt x="1204" y="251"/>
                  </a:cubicBezTo>
                  <a:cubicBezTo>
                    <a:pt x="1247" y="297"/>
                    <a:pt x="1284" y="348"/>
                    <a:pt x="1317" y="405"/>
                  </a:cubicBezTo>
                  <a:close/>
                  <a:moveTo>
                    <a:pt x="616" y="253"/>
                  </a:moveTo>
                  <a:cubicBezTo>
                    <a:pt x="602" y="296"/>
                    <a:pt x="589" y="340"/>
                    <a:pt x="578" y="385"/>
                  </a:cubicBezTo>
                  <a:cubicBezTo>
                    <a:pt x="591" y="385"/>
                    <a:pt x="603" y="384"/>
                    <a:pt x="617" y="383"/>
                  </a:cubicBezTo>
                  <a:cubicBezTo>
                    <a:pt x="619" y="338"/>
                    <a:pt x="624" y="295"/>
                    <a:pt x="630" y="253"/>
                  </a:cubicBezTo>
                  <a:cubicBezTo>
                    <a:pt x="625" y="254"/>
                    <a:pt x="618" y="252"/>
                    <a:pt x="616" y="253"/>
                  </a:cubicBezTo>
                  <a:close/>
                  <a:moveTo>
                    <a:pt x="632" y="256"/>
                  </a:moveTo>
                  <a:cubicBezTo>
                    <a:pt x="628" y="298"/>
                    <a:pt x="623" y="339"/>
                    <a:pt x="621" y="383"/>
                  </a:cubicBezTo>
                  <a:cubicBezTo>
                    <a:pt x="658" y="381"/>
                    <a:pt x="697" y="381"/>
                    <a:pt x="735" y="380"/>
                  </a:cubicBezTo>
                  <a:cubicBezTo>
                    <a:pt x="737" y="339"/>
                    <a:pt x="739" y="298"/>
                    <a:pt x="740" y="257"/>
                  </a:cubicBezTo>
                  <a:cubicBezTo>
                    <a:pt x="704" y="257"/>
                    <a:pt x="670" y="255"/>
                    <a:pt x="634" y="254"/>
                  </a:cubicBezTo>
                  <a:cubicBezTo>
                    <a:pt x="634" y="252"/>
                    <a:pt x="632" y="254"/>
                    <a:pt x="632" y="256"/>
                  </a:cubicBezTo>
                  <a:close/>
                  <a:moveTo>
                    <a:pt x="788" y="257"/>
                  </a:moveTo>
                  <a:cubicBezTo>
                    <a:pt x="789" y="297"/>
                    <a:pt x="790" y="338"/>
                    <a:pt x="790" y="380"/>
                  </a:cubicBezTo>
                  <a:cubicBezTo>
                    <a:pt x="825" y="380"/>
                    <a:pt x="860" y="381"/>
                    <a:pt x="894" y="383"/>
                  </a:cubicBezTo>
                  <a:cubicBezTo>
                    <a:pt x="888" y="338"/>
                    <a:pt x="878" y="296"/>
                    <a:pt x="868" y="255"/>
                  </a:cubicBezTo>
                  <a:cubicBezTo>
                    <a:pt x="841" y="255"/>
                    <a:pt x="815" y="257"/>
                    <a:pt x="788" y="257"/>
                  </a:cubicBezTo>
                  <a:close/>
                  <a:moveTo>
                    <a:pt x="744" y="257"/>
                  </a:moveTo>
                  <a:cubicBezTo>
                    <a:pt x="740" y="296"/>
                    <a:pt x="740" y="339"/>
                    <a:pt x="738" y="380"/>
                  </a:cubicBezTo>
                  <a:cubicBezTo>
                    <a:pt x="755" y="380"/>
                    <a:pt x="771" y="380"/>
                    <a:pt x="788" y="380"/>
                  </a:cubicBezTo>
                  <a:cubicBezTo>
                    <a:pt x="788" y="338"/>
                    <a:pt x="786" y="298"/>
                    <a:pt x="786" y="257"/>
                  </a:cubicBezTo>
                  <a:cubicBezTo>
                    <a:pt x="772" y="257"/>
                    <a:pt x="758" y="257"/>
                    <a:pt x="744" y="257"/>
                  </a:cubicBezTo>
                  <a:close/>
                  <a:moveTo>
                    <a:pt x="286" y="259"/>
                  </a:moveTo>
                  <a:cubicBezTo>
                    <a:pt x="277" y="260"/>
                    <a:pt x="270" y="263"/>
                    <a:pt x="262" y="264"/>
                  </a:cubicBezTo>
                  <a:cubicBezTo>
                    <a:pt x="249" y="285"/>
                    <a:pt x="237" y="306"/>
                    <a:pt x="227" y="329"/>
                  </a:cubicBezTo>
                  <a:moveTo>
                    <a:pt x="227" y="329"/>
                  </a:moveTo>
                  <a:cubicBezTo>
                    <a:pt x="226" y="329"/>
                    <a:pt x="227" y="330"/>
                    <a:pt x="226" y="331"/>
                  </a:cubicBezTo>
                  <a:moveTo>
                    <a:pt x="226" y="331"/>
                  </a:moveTo>
                  <a:cubicBezTo>
                    <a:pt x="225" y="331"/>
                    <a:pt x="226" y="332"/>
                    <a:pt x="226" y="331"/>
                  </a:cubicBezTo>
                  <a:moveTo>
                    <a:pt x="226" y="331"/>
                  </a:moveTo>
                  <a:cubicBezTo>
                    <a:pt x="227" y="331"/>
                    <a:pt x="227" y="330"/>
                    <a:pt x="227" y="329"/>
                  </a:cubicBezTo>
                  <a:moveTo>
                    <a:pt x="286" y="259"/>
                  </a:moveTo>
                  <a:cubicBezTo>
                    <a:pt x="266" y="281"/>
                    <a:pt x="246" y="305"/>
                    <a:pt x="227" y="329"/>
                  </a:cubicBezTo>
                  <a:moveTo>
                    <a:pt x="286" y="259"/>
                  </a:moveTo>
                  <a:cubicBezTo>
                    <a:pt x="287" y="258"/>
                    <a:pt x="286" y="258"/>
                    <a:pt x="286" y="259"/>
                  </a:cubicBezTo>
                  <a:moveTo>
                    <a:pt x="257" y="266"/>
                  </a:moveTo>
                  <a:cubicBezTo>
                    <a:pt x="237" y="271"/>
                    <a:pt x="219" y="278"/>
                    <a:pt x="201" y="286"/>
                  </a:cubicBezTo>
                  <a:cubicBezTo>
                    <a:pt x="180" y="309"/>
                    <a:pt x="160" y="334"/>
                    <a:pt x="143" y="361"/>
                  </a:cubicBezTo>
                  <a:cubicBezTo>
                    <a:pt x="152" y="377"/>
                    <a:pt x="168" y="386"/>
                    <a:pt x="184" y="394"/>
                  </a:cubicBezTo>
                  <a:cubicBezTo>
                    <a:pt x="194" y="377"/>
                    <a:pt x="205" y="359"/>
                    <a:pt x="218" y="344"/>
                  </a:cubicBezTo>
                  <a:cubicBezTo>
                    <a:pt x="228" y="316"/>
                    <a:pt x="243" y="291"/>
                    <a:pt x="257" y="266"/>
                  </a:cubicBezTo>
                  <a:moveTo>
                    <a:pt x="257" y="266"/>
                  </a:moveTo>
                  <a:cubicBezTo>
                    <a:pt x="258" y="266"/>
                    <a:pt x="257" y="265"/>
                    <a:pt x="257" y="266"/>
                  </a:cubicBezTo>
                  <a:moveTo>
                    <a:pt x="1292" y="270"/>
                  </a:moveTo>
                  <a:cubicBezTo>
                    <a:pt x="1293" y="272"/>
                    <a:pt x="1293" y="270"/>
                    <a:pt x="1292" y="270"/>
                  </a:cubicBezTo>
                  <a:moveTo>
                    <a:pt x="1292" y="270"/>
                  </a:moveTo>
                  <a:cubicBezTo>
                    <a:pt x="1291" y="269"/>
                    <a:pt x="1291" y="270"/>
                    <a:pt x="1292" y="270"/>
                  </a:cubicBezTo>
                  <a:moveTo>
                    <a:pt x="1295" y="275"/>
                  </a:moveTo>
                  <a:cubicBezTo>
                    <a:pt x="1316" y="310"/>
                    <a:pt x="1336" y="347"/>
                    <a:pt x="1351" y="387"/>
                  </a:cubicBezTo>
                  <a:cubicBezTo>
                    <a:pt x="1360" y="383"/>
                    <a:pt x="1368" y="378"/>
                    <a:pt x="1373" y="371"/>
                  </a:cubicBezTo>
                  <a:cubicBezTo>
                    <a:pt x="1349" y="337"/>
                    <a:pt x="1324" y="306"/>
                    <a:pt x="1298" y="275"/>
                  </a:cubicBezTo>
                  <a:cubicBezTo>
                    <a:pt x="1297" y="275"/>
                    <a:pt x="1296" y="275"/>
                    <a:pt x="1295" y="275"/>
                  </a:cubicBezTo>
                  <a:moveTo>
                    <a:pt x="1295" y="275"/>
                  </a:moveTo>
                  <a:cubicBezTo>
                    <a:pt x="1294" y="274"/>
                    <a:pt x="1294" y="275"/>
                    <a:pt x="1295" y="275"/>
                  </a:cubicBezTo>
                  <a:moveTo>
                    <a:pt x="1375" y="370"/>
                  </a:moveTo>
                  <a:cubicBezTo>
                    <a:pt x="1380" y="364"/>
                    <a:pt x="1385" y="359"/>
                    <a:pt x="1387" y="350"/>
                  </a:cubicBezTo>
                  <a:cubicBezTo>
                    <a:pt x="1378" y="334"/>
                    <a:pt x="1367" y="319"/>
                    <a:pt x="1357" y="303"/>
                  </a:cubicBezTo>
                  <a:cubicBezTo>
                    <a:pt x="1341" y="294"/>
                    <a:pt x="1322" y="283"/>
                    <a:pt x="1303" y="279"/>
                  </a:cubicBezTo>
                  <a:cubicBezTo>
                    <a:pt x="1330" y="307"/>
                    <a:pt x="1352" y="339"/>
                    <a:pt x="1375" y="370"/>
                  </a:cubicBezTo>
                  <a:close/>
                  <a:moveTo>
                    <a:pt x="194" y="289"/>
                  </a:moveTo>
                  <a:cubicBezTo>
                    <a:pt x="177" y="295"/>
                    <a:pt x="173" y="313"/>
                    <a:pt x="164" y="326"/>
                  </a:cubicBezTo>
                  <a:moveTo>
                    <a:pt x="164" y="326"/>
                  </a:moveTo>
                  <a:cubicBezTo>
                    <a:pt x="163" y="326"/>
                    <a:pt x="163" y="326"/>
                    <a:pt x="163" y="327"/>
                  </a:cubicBezTo>
                  <a:moveTo>
                    <a:pt x="163" y="327"/>
                  </a:moveTo>
                  <a:cubicBezTo>
                    <a:pt x="162" y="327"/>
                    <a:pt x="162" y="328"/>
                    <a:pt x="162" y="329"/>
                  </a:cubicBezTo>
                  <a:moveTo>
                    <a:pt x="162" y="329"/>
                  </a:moveTo>
                  <a:cubicBezTo>
                    <a:pt x="161" y="329"/>
                    <a:pt x="162" y="330"/>
                    <a:pt x="162" y="329"/>
                  </a:cubicBezTo>
                  <a:moveTo>
                    <a:pt x="162" y="329"/>
                  </a:moveTo>
                  <a:cubicBezTo>
                    <a:pt x="163" y="329"/>
                    <a:pt x="163" y="328"/>
                    <a:pt x="163" y="327"/>
                  </a:cubicBezTo>
                  <a:moveTo>
                    <a:pt x="163" y="327"/>
                  </a:moveTo>
                  <a:cubicBezTo>
                    <a:pt x="164" y="327"/>
                    <a:pt x="164" y="326"/>
                    <a:pt x="164" y="326"/>
                  </a:cubicBezTo>
                  <a:moveTo>
                    <a:pt x="164" y="326"/>
                  </a:moveTo>
                  <a:cubicBezTo>
                    <a:pt x="174" y="314"/>
                    <a:pt x="184" y="302"/>
                    <a:pt x="194" y="289"/>
                  </a:cubicBezTo>
                  <a:moveTo>
                    <a:pt x="194" y="289"/>
                  </a:moveTo>
                  <a:cubicBezTo>
                    <a:pt x="195" y="289"/>
                    <a:pt x="194" y="288"/>
                    <a:pt x="194" y="289"/>
                  </a:cubicBezTo>
                  <a:moveTo>
                    <a:pt x="472" y="295"/>
                  </a:moveTo>
                  <a:cubicBezTo>
                    <a:pt x="472" y="295"/>
                    <a:pt x="471" y="295"/>
                    <a:pt x="471" y="295"/>
                  </a:cubicBezTo>
                  <a:cubicBezTo>
                    <a:pt x="454" y="329"/>
                    <a:pt x="436" y="362"/>
                    <a:pt x="422" y="400"/>
                  </a:cubicBezTo>
                  <a:moveTo>
                    <a:pt x="422" y="400"/>
                  </a:moveTo>
                  <a:cubicBezTo>
                    <a:pt x="421" y="400"/>
                    <a:pt x="422" y="401"/>
                    <a:pt x="422" y="400"/>
                  </a:cubicBezTo>
                  <a:moveTo>
                    <a:pt x="422" y="400"/>
                  </a:moveTo>
                  <a:cubicBezTo>
                    <a:pt x="434" y="400"/>
                    <a:pt x="442" y="397"/>
                    <a:pt x="454" y="397"/>
                  </a:cubicBezTo>
                  <a:cubicBezTo>
                    <a:pt x="458" y="361"/>
                    <a:pt x="466" y="329"/>
                    <a:pt x="472" y="295"/>
                  </a:cubicBezTo>
                  <a:moveTo>
                    <a:pt x="472" y="295"/>
                  </a:moveTo>
                  <a:cubicBezTo>
                    <a:pt x="475" y="295"/>
                    <a:pt x="471" y="291"/>
                    <a:pt x="472" y="295"/>
                  </a:cubicBezTo>
                  <a:moveTo>
                    <a:pt x="178" y="297"/>
                  </a:moveTo>
                  <a:cubicBezTo>
                    <a:pt x="158" y="308"/>
                    <a:pt x="126" y="328"/>
                    <a:pt x="141" y="359"/>
                  </a:cubicBezTo>
                  <a:cubicBezTo>
                    <a:pt x="153" y="338"/>
                    <a:pt x="165" y="317"/>
                    <a:pt x="178" y="297"/>
                  </a:cubicBezTo>
                  <a:moveTo>
                    <a:pt x="178" y="297"/>
                  </a:moveTo>
                  <a:cubicBezTo>
                    <a:pt x="180" y="296"/>
                    <a:pt x="178" y="296"/>
                    <a:pt x="178" y="297"/>
                  </a:cubicBezTo>
                  <a:moveTo>
                    <a:pt x="1364" y="309"/>
                  </a:moveTo>
                  <a:cubicBezTo>
                    <a:pt x="1364" y="309"/>
                    <a:pt x="1364" y="310"/>
                    <a:pt x="1365" y="310"/>
                  </a:cubicBezTo>
                  <a:moveTo>
                    <a:pt x="1365" y="310"/>
                  </a:moveTo>
                  <a:cubicBezTo>
                    <a:pt x="1365" y="310"/>
                    <a:pt x="1365" y="310"/>
                    <a:pt x="1366" y="311"/>
                  </a:cubicBezTo>
                  <a:moveTo>
                    <a:pt x="1366" y="311"/>
                  </a:moveTo>
                  <a:cubicBezTo>
                    <a:pt x="1366" y="312"/>
                    <a:pt x="1366" y="312"/>
                    <a:pt x="1367" y="312"/>
                  </a:cubicBezTo>
                  <a:moveTo>
                    <a:pt x="1367" y="312"/>
                  </a:moveTo>
                  <a:cubicBezTo>
                    <a:pt x="1367" y="313"/>
                    <a:pt x="1367" y="313"/>
                    <a:pt x="1368" y="313"/>
                  </a:cubicBezTo>
                  <a:moveTo>
                    <a:pt x="1368" y="313"/>
                  </a:moveTo>
                  <a:cubicBezTo>
                    <a:pt x="1374" y="324"/>
                    <a:pt x="1380" y="335"/>
                    <a:pt x="1388" y="345"/>
                  </a:cubicBezTo>
                  <a:cubicBezTo>
                    <a:pt x="1386" y="330"/>
                    <a:pt x="1375" y="324"/>
                    <a:pt x="1368" y="313"/>
                  </a:cubicBezTo>
                  <a:moveTo>
                    <a:pt x="1368" y="313"/>
                  </a:moveTo>
                  <a:cubicBezTo>
                    <a:pt x="1368" y="313"/>
                    <a:pt x="1367" y="312"/>
                    <a:pt x="1367" y="312"/>
                  </a:cubicBezTo>
                  <a:moveTo>
                    <a:pt x="1367" y="312"/>
                  </a:moveTo>
                  <a:cubicBezTo>
                    <a:pt x="1367" y="311"/>
                    <a:pt x="1367" y="311"/>
                    <a:pt x="1366" y="311"/>
                  </a:cubicBezTo>
                  <a:moveTo>
                    <a:pt x="1366" y="311"/>
                  </a:moveTo>
                  <a:cubicBezTo>
                    <a:pt x="1366" y="310"/>
                    <a:pt x="1365" y="310"/>
                    <a:pt x="1365" y="310"/>
                  </a:cubicBezTo>
                  <a:moveTo>
                    <a:pt x="1365" y="310"/>
                  </a:moveTo>
                  <a:cubicBezTo>
                    <a:pt x="1365" y="309"/>
                    <a:pt x="1365" y="309"/>
                    <a:pt x="1364" y="309"/>
                  </a:cubicBezTo>
                  <a:moveTo>
                    <a:pt x="1364" y="309"/>
                  </a:moveTo>
                  <a:cubicBezTo>
                    <a:pt x="1363" y="307"/>
                    <a:pt x="1363" y="309"/>
                    <a:pt x="1364" y="309"/>
                  </a:cubicBezTo>
                  <a:moveTo>
                    <a:pt x="1379" y="323"/>
                  </a:moveTo>
                  <a:cubicBezTo>
                    <a:pt x="1380" y="324"/>
                    <a:pt x="1380" y="323"/>
                    <a:pt x="1379" y="323"/>
                  </a:cubicBezTo>
                  <a:moveTo>
                    <a:pt x="1379" y="323"/>
                  </a:moveTo>
                  <a:cubicBezTo>
                    <a:pt x="1379" y="322"/>
                    <a:pt x="1378" y="323"/>
                    <a:pt x="1379" y="323"/>
                  </a:cubicBezTo>
                  <a:moveTo>
                    <a:pt x="160" y="332"/>
                  </a:moveTo>
                  <a:cubicBezTo>
                    <a:pt x="159" y="332"/>
                    <a:pt x="160" y="333"/>
                    <a:pt x="160" y="332"/>
                  </a:cubicBezTo>
                  <a:moveTo>
                    <a:pt x="160" y="332"/>
                  </a:moveTo>
                  <a:cubicBezTo>
                    <a:pt x="161" y="331"/>
                    <a:pt x="160" y="330"/>
                    <a:pt x="160" y="332"/>
                  </a:cubicBezTo>
                  <a:moveTo>
                    <a:pt x="224" y="334"/>
                  </a:moveTo>
                  <a:cubicBezTo>
                    <a:pt x="224" y="333"/>
                    <a:pt x="225" y="334"/>
                    <a:pt x="224" y="334"/>
                  </a:cubicBezTo>
                  <a:close/>
                  <a:moveTo>
                    <a:pt x="326" y="336"/>
                  </a:moveTo>
                  <a:cubicBezTo>
                    <a:pt x="307" y="364"/>
                    <a:pt x="290" y="395"/>
                    <a:pt x="274" y="426"/>
                  </a:cubicBezTo>
                  <a:cubicBezTo>
                    <a:pt x="285" y="423"/>
                    <a:pt x="296" y="421"/>
                    <a:pt x="306" y="419"/>
                  </a:cubicBezTo>
                  <a:cubicBezTo>
                    <a:pt x="311" y="390"/>
                    <a:pt x="319" y="364"/>
                    <a:pt x="326" y="336"/>
                  </a:cubicBezTo>
                  <a:moveTo>
                    <a:pt x="326" y="336"/>
                  </a:moveTo>
                  <a:cubicBezTo>
                    <a:pt x="329" y="336"/>
                    <a:pt x="325" y="332"/>
                    <a:pt x="326" y="336"/>
                  </a:cubicBezTo>
                  <a:moveTo>
                    <a:pt x="44" y="524"/>
                  </a:moveTo>
                  <a:cubicBezTo>
                    <a:pt x="49" y="523"/>
                    <a:pt x="54" y="514"/>
                    <a:pt x="59" y="510"/>
                  </a:cubicBezTo>
                  <a:cubicBezTo>
                    <a:pt x="80" y="455"/>
                    <a:pt x="109" y="407"/>
                    <a:pt x="139" y="360"/>
                  </a:cubicBezTo>
                  <a:cubicBezTo>
                    <a:pt x="134" y="356"/>
                    <a:pt x="135" y="347"/>
                    <a:pt x="133" y="339"/>
                  </a:cubicBezTo>
                  <a:cubicBezTo>
                    <a:pt x="97" y="394"/>
                    <a:pt x="66" y="454"/>
                    <a:pt x="44" y="524"/>
                  </a:cubicBezTo>
                  <a:close/>
                  <a:moveTo>
                    <a:pt x="1483" y="528"/>
                  </a:moveTo>
                  <a:cubicBezTo>
                    <a:pt x="1482" y="532"/>
                    <a:pt x="1486" y="529"/>
                    <a:pt x="1483" y="528"/>
                  </a:cubicBezTo>
                  <a:moveTo>
                    <a:pt x="1483" y="528"/>
                  </a:moveTo>
                  <a:cubicBezTo>
                    <a:pt x="1460" y="465"/>
                    <a:pt x="1432" y="396"/>
                    <a:pt x="1393" y="347"/>
                  </a:cubicBezTo>
                  <a:cubicBezTo>
                    <a:pt x="1393" y="347"/>
                    <a:pt x="1391" y="343"/>
                    <a:pt x="1390" y="345"/>
                  </a:cubicBezTo>
                  <a:cubicBezTo>
                    <a:pt x="1401" y="371"/>
                    <a:pt x="1415" y="395"/>
                    <a:pt x="1425" y="421"/>
                  </a:cubicBezTo>
                  <a:cubicBezTo>
                    <a:pt x="1436" y="447"/>
                    <a:pt x="1448" y="473"/>
                    <a:pt x="1455" y="503"/>
                  </a:cubicBezTo>
                  <a:cubicBezTo>
                    <a:pt x="1466" y="510"/>
                    <a:pt x="1474" y="519"/>
                    <a:pt x="1483" y="528"/>
                  </a:cubicBezTo>
                  <a:moveTo>
                    <a:pt x="1376" y="374"/>
                  </a:moveTo>
                  <a:cubicBezTo>
                    <a:pt x="1396" y="402"/>
                    <a:pt x="1417" y="437"/>
                    <a:pt x="1432" y="470"/>
                  </a:cubicBezTo>
                  <a:cubicBezTo>
                    <a:pt x="1437" y="481"/>
                    <a:pt x="1440" y="496"/>
                    <a:pt x="1452" y="499"/>
                  </a:cubicBezTo>
                  <a:cubicBezTo>
                    <a:pt x="1435" y="446"/>
                    <a:pt x="1415" y="397"/>
                    <a:pt x="1389" y="354"/>
                  </a:cubicBezTo>
                  <a:cubicBezTo>
                    <a:pt x="1386" y="362"/>
                    <a:pt x="1380" y="367"/>
                    <a:pt x="1376" y="374"/>
                  </a:cubicBezTo>
                  <a:close/>
                  <a:moveTo>
                    <a:pt x="212" y="356"/>
                  </a:moveTo>
                  <a:cubicBezTo>
                    <a:pt x="212" y="355"/>
                    <a:pt x="213" y="356"/>
                    <a:pt x="212" y="356"/>
                  </a:cubicBezTo>
                  <a:close/>
                  <a:moveTo>
                    <a:pt x="211" y="358"/>
                  </a:moveTo>
                  <a:cubicBezTo>
                    <a:pt x="202" y="370"/>
                    <a:pt x="193" y="382"/>
                    <a:pt x="186" y="396"/>
                  </a:cubicBezTo>
                  <a:cubicBezTo>
                    <a:pt x="190" y="396"/>
                    <a:pt x="192" y="399"/>
                    <a:pt x="196" y="400"/>
                  </a:cubicBezTo>
                  <a:cubicBezTo>
                    <a:pt x="201" y="386"/>
                    <a:pt x="206" y="372"/>
                    <a:pt x="211" y="358"/>
                  </a:cubicBezTo>
                  <a:moveTo>
                    <a:pt x="211" y="358"/>
                  </a:moveTo>
                  <a:cubicBezTo>
                    <a:pt x="212" y="357"/>
                    <a:pt x="211" y="356"/>
                    <a:pt x="211" y="358"/>
                  </a:cubicBezTo>
                  <a:moveTo>
                    <a:pt x="94" y="487"/>
                  </a:moveTo>
                  <a:cubicBezTo>
                    <a:pt x="109" y="477"/>
                    <a:pt x="127" y="470"/>
                    <a:pt x="146" y="463"/>
                  </a:cubicBezTo>
                  <a:cubicBezTo>
                    <a:pt x="156" y="439"/>
                    <a:pt x="170" y="418"/>
                    <a:pt x="182" y="396"/>
                  </a:cubicBezTo>
                  <a:cubicBezTo>
                    <a:pt x="166" y="389"/>
                    <a:pt x="152" y="378"/>
                    <a:pt x="141" y="365"/>
                  </a:cubicBezTo>
                  <a:cubicBezTo>
                    <a:pt x="123" y="403"/>
                    <a:pt x="103" y="444"/>
                    <a:pt x="94" y="487"/>
                  </a:cubicBezTo>
                  <a:close/>
                  <a:moveTo>
                    <a:pt x="132" y="376"/>
                  </a:moveTo>
                  <a:cubicBezTo>
                    <a:pt x="132" y="375"/>
                    <a:pt x="133" y="376"/>
                    <a:pt x="132" y="376"/>
                  </a:cubicBezTo>
                  <a:close/>
                  <a:moveTo>
                    <a:pt x="1374" y="375"/>
                  </a:moveTo>
                  <a:cubicBezTo>
                    <a:pt x="1368" y="382"/>
                    <a:pt x="1359" y="386"/>
                    <a:pt x="1352" y="391"/>
                  </a:cubicBezTo>
                  <a:cubicBezTo>
                    <a:pt x="1362" y="413"/>
                    <a:pt x="1369" y="437"/>
                    <a:pt x="1375" y="462"/>
                  </a:cubicBezTo>
                  <a:cubicBezTo>
                    <a:pt x="1398" y="469"/>
                    <a:pt x="1420" y="482"/>
                    <a:pt x="1439" y="490"/>
                  </a:cubicBezTo>
                  <a:cubicBezTo>
                    <a:pt x="1419" y="450"/>
                    <a:pt x="1399" y="409"/>
                    <a:pt x="1374" y="375"/>
                  </a:cubicBezTo>
                  <a:close/>
                  <a:moveTo>
                    <a:pt x="131" y="378"/>
                  </a:moveTo>
                  <a:cubicBezTo>
                    <a:pt x="131" y="378"/>
                    <a:pt x="131" y="378"/>
                    <a:pt x="130" y="378"/>
                  </a:cubicBezTo>
                  <a:cubicBezTo>
                    <a:pt x="106" y="418"/>
                    <a:pt x="82" y="459"/>
                    <a:pt x="64" y="505"/>
                  </a:cubicBezTo>
                  <a:moveTo>
                    <a:pt x="64" y="505"/>
                  </a:moveTo>
                  <a:cubicBezTo>
                    <a:pt x="63" y="506"/>
                    <a:pt x="64" y="507"/>
                    <a:pt x="64" y="505"/>
                  </a:cubicBezTo>
                  <a:moveTo>
                    <a:pt x="64" y="505"/>
                  </a:moveTo>
                  <a:cubicBezTo>
                    <a:pt x="73" y="500"/>
                    <a:pt x="80" y="494"/>
                    <a:pt x="90" y="489"/>
                  </a:cubicBezTo>
                  <a:cubicBezTo>
                    <a:pt x="100" y="448"/>
                    <a:pt x="116" y="413"/>
                    <a:pt x="131" y="378"/>
                  </a:cubicBezTo>
                  <a:moveTo>
                    <a:pt x="131" y="378"/>
                  </a:moveTo>
                  <a:cubicBezTo>
                    <a:pt x="133" y="377"/>
                    <a:pt x="131" y="377"/>
                    <a:pt x="131" y="378"/>
                  </a:cubicBezTo>
                  <a:moveTo>
                    <a:pt x="620" y="385"/>
                  </a:moveTo>
                  <a:cubicBezTo>
                    <a:pt x="619" y="415"/>
                    <a:pt x="617" y="444"/>
                    <a:pt x="616" y="473"/>
                  </a:cubicBezTo>
                  <a:cubicBezTo>
                    <a:pt x="654" y="475"/>
                    <a:pt x="693" y="476"/>
                    <a:pt x="732" y="477"/>
                  </a:cubicBezTo>
                  <a:cubicBezTo>
                    <a:pt x="733" y="445"/>
                    <a:pt x="734" y="414"/>
                    <a:pt x="735" y="383"/>
                  </a:cubicBezTo>
                  <a:cubicBezTo>
                    <a:pt x="695" y="382"/>
                    <a:pt x="658" y="384"/>
                    <a:pt x="620" y="385"/>
                  </a:cubicBezTo>
                  <a:close/>
                  <a:moveTo>
                    <a:pt x="739" y="383"/>
                  </a:moveTo>
                  <a:cubicBezTo>
                    <a:pt x="736" y="412"/>
                    <a:pt x="736" y="445"/>
                    <a:pt x="735" y="477"/>
                  </a:cubicBezTo>
                  <a:cubicBezTo>
                    <a:pt x="753" y="477"/>
                    <a:pt x="771" y="477"/>
                    <a:pt x="789" y="477"/>
                  </a:cubicBezTo>
                  <a:cubicBezTo>
                    <a:pt x="789" y="445"/>
                    <a:pt x="787" y="415"/>
                    <a:pt x="788" y="383"/>
                  </a:cubicBezTo>
                  <a:cubicBezTo>
                    <a:pt x="772" y="383"/>
                    <a:pt x="755" y="383"/>
                    <a:pt x="739" y="383"/>
                  </a:cubicBezTo>
                  <a:close/>
                  <a:moveTo>
                    <a:pt x="792" y="383"/>
                  </a:moveTo>
                  <a:cubicBezTo>
                    <a:pt x="790" y="412"/>
                    <a:pt x="791" y="446"/>
                    <a:pt x="791" y="477"/>
                  </a:cubicBezTo>
                  <a:cubicBezTo>
                    <a:pt x="831" y="476"/>
                    <a:pt x="871" y="475"/>
                    <a:pt x="910" y="473"/>
                  </a:cubicBezTo>
                  <a:cubicBezTo>
                    <a:pt x="905" y="443"/>
                    <a:pt x="901" y="414"/>
                    <a:pt x="895" y="385"/>
                  </a:cubicBezTo>
                  <a:cubicBezTo>
                    <a:pt x="862" y="384"/>
                    <a:pt x="827" y="382"/>
                    <a:pt x="792" y="383"/>
                  </a:cubicBezTo>
                  <a:close/>
                  <a:moveTo>
                    <a:pt x="616" y="385"/>
                  </a:moveTo>
                  <a:cubicBezTo>
                    <a:pt x="616" y="385"/>
                    <a:pt x="615" y="385"/>
                    <a:pt x="615" y="385"/>
                  </a:cubicBezTo>
                  <a:cubicBezTo>
                    <a:pt x="603" y="387"/>
                    <a:pt x="589" y="387"/>
                    <a:pt x="577" y="388"/>
                  </a:cubicBezTo>
                  <a:cubicBezTo>
                    <a:pt x="571" y="416"/>
                    <a:pt x="564" y="441"/>
                    <a:pt x="559" y="470"/>
                  </a:cubicBezTo>
                  <a:cubicBezTo>
                    <a:pt x="578" y="470"/>
                    <a:pt x="595" y="472"/>
                    <a:pt x="613" y="473"/>
                  </a:cubicBezTo>
                  <a:cubicBezTo>
                    <a:pt x="612" y="443"/>
                    <a:pt x="617" y="409"/>
                    <a:pt x="616" y="385"/>
                  </a:cubicBezTo>
                  <a:close/>
                  <a:moveTo>
                    <a:pt x="914" y="473"/>
                  </a:moveTo>
                  <a:cubicBezTo>
                    <a:pt x="930" y="472"/>
                    <a:pt x="946" y="470"/>
                    <a:pt x="963" y="470"/>
                  </a:cubicBezTo>
                  <a:cubicBezTo>
                    <a:pt x="960" y="443"/>
                    <a:pt x="960" y="414"/>
                    <a:pt x="957" y="388"/>
                  </a:cubicBezTo>
                  <a:cubicBezTo>
                    <a:pt x="937" y="388"/>
                    <a:pt x="919" y="386"/>
                    <a:pt x="900" y="385"/>
                  </a:cubicBezTo>
                  <a:cubicBezTo>
                    <a:pt x="904" y="415"/>
                    <a:pt x="910" y="442"/>
                    <a:pt x="914" y="473"/>
                  </a:cubicBezTo>
                  <a:close/>
                  <a:moveTo>
                    <a:pt x="456" y="399"/>
                  </a:moveTo>
                  <a:cubicBezTo>
                    <a:pt x="454" y="419"/>
                    <a:pt x="451" y="438"/>
                    <a:pt x="450" y="459"/>
                  </a:cubicBezTo>
                  <a:cubicBezTo>
                    <a:pt x="486" y="462"/>
                    <a:pt x="520" y="467"/>
                    <a:pt x="557" y="469"/>
                  </a:cubicBezTo>
                  <a:cubicBezTo>
                    <a:pt x="561" y="441"/>
                    <a:pt x="569" y="416"/>
                    <a:pt x="574" y="388"/>
                  </a:cubicBezTo>
                  <a:cubicBezTo>
                    <a:pt x="534" y="391"/>
                    <a:pt x="494" y="394"/>
                    <a:pt x="456" y="399"/>
                  </a:cubicBezTo>
                  <a:close/>
                  <a:moveTo>
                    <a:pt x="960" y="389"/>
                  </a:moveTo>
                  <a:cubicBezTo>
                    <a:pt x="962" y="415"/>
                    <a:pt x="964" y="441"/>
                    <a:pt x="965" y="469"/>
                  </a:cubicBezTo>
                  <a:cubicBezTo>
                    <a:pt x="1003" y="467"/>
                    <a:pt x="1042" y="464"/>
                    <a:pt x="1076" y="457"/>
                  </a:cubicBezTo>
                  <a:cubicBezTo>
                    <a:pt x="1068" y="438"/>
                    <a:pt x="1062" y="417"/>
                    <a:pt x="1055" y="397"/>
                  </a:cubicBezTo>
                  <a:cubicBezTo>
                    <a:pt x="1023" y="395"/>
                    <a:pt x="993" y="391"/>
                    <a:pt x="960" y="389"/>
                  </a:cubicBezTo>
                  <a:close/>
                  <a:moveTo>
                    <a:pt x="1349" y="392"/>
                  </a:moveTo>
                  <a:cubicBezTo>
                    <a:pt x="1340" y="398"/>
                    <a:pt x="1329" y="402"/>
                    <a:pt x="1319" y="407"/>
                  </a:cubicBezTo>
                  <a:cubicBezTo>
                    <a:pt x="1327" y="421"/>
                    <a:pt x="1335" y="436"/>
                    <a:pt x="1343" y="451"/>
                  </a:cubicBezTo>
                  <a:cubicBezTo>
                    <a:pt x="1354" y="453"/>
                    <a:pt x="1362" y="458"/>
                    <a:pt x="1373" y="460"/>
                  </a:cubicBezTo>
                  <a:cubicBezTo>
                    <a:pt x="1366" y="439"/>
                    <a:pt x="1359" y="407"/>
                    <a:pt x="1349" y="392"/>
                  </a:cubicBezTo>
                  <a:close/>
                  <a:moveTo>
                    <a:pt x="184" y="398"/>
                  </a:moveTo>
                  <a:cubicBezTo>
                    <a:pt x="173" y="419"/>
                    <a:pt x="160" y="439"/>
                    <a:pt x="150" y="461"/>
                  </a:cubicBezTo>
                  <a:cubicBezTo>
                    <a:pt x="160" y="458"/>
                    <a:pt x="170" y="454"/>
                    <a:pt x="181" y="451"/>
                  </a:cubicBezTo>
                  <a:cubicBezTo>
                    <a:pt x="185" y="434"/>
                    <a:pt x="190" y="419"/>
                    <a:pt x="195" y="403"/>
                  </a:cubicBezTo>
                  <a:cubicBezTo>
                    <a:pt x="191" y="401"/>
                    <a:pt x="188" y="399"/>
                    <a:pt x="184" y="398"/>
                  </a:cubicBezTo>
                  <a:close/>
                  <a:moveTo>
                    <a:pt x="1079" y="458"/>
                  </a:moveTo>
                  <a:cubicBezTo>
                    <a:pt x="1094" y="457"/>
                    <a:pt x="1108" y="454"/>
                    <a:pt x="1123" y="453"/>
                  </a:cubicBezTo>
                  <a:cubicBezTo>
                    <a:pt x="1122" y="436"/>
                    <a:pt x="1119" y="421"/>
                    <a:pt x="1117" y="405"/>
                  </a:cubicBezTo>
                  <a:cubicBezTo>
                    <a:pt x="1097" y="404"/>
                    <a:pt x="1077" y="398"/>
                    <a:pt x="1058" y="399"/>
                  </a:cubicBezTo>
                  <a:cubicBezTo>
                    <a:pt x="1066" y="417"/>
                    <a:pt x="1071" y="439"/>
                    <a:pt x="1079" y="458"/>
                  </a:cubicBezTo>
                  <a:close/>
                  <a:moveTo>
                    <a:pt x="420" y="403"/>
                  </a:moveTo>
                  <a:cubicBezTo>
                    <a:pt x="414" y="419"/>
                    <a:pt x="407" y="435"/>
                    <a:pt x="401" y="453"/>
                  </a:cubicBezTo>
                  <a:cubicBezTo>
                    <a:pt x="417" y="454"/>
                    <a:pt x="431" y="457"/>
                    <a:pt x="447" y="458"/>
                  </a:cubicBezTo>
                  <a:cubicBezTo>
                    <a:pt x="449" y="438"/>
                    <a:pt x="451" y="418"/>
                    <a:pt x="454" y="399"/>
                  </a:cubicBezTo>
                  <a:cubicBezTo>
                    <a:pt x="453" y="399"/>
                    <a:pt x="453" y="399"/>
                    <a:pt x="452" y="399"/>
                  </a:cubicBezTo>
                  <a:cubicBezTo>
                    <a:pt x="442" y="401"/>
                    <a:pt x="431" y="402"/>
                    <a:pt x="420" y="403"/>
                  </a:cubicBezTo>
                  <a:close/>
                  <a:moveTo>
                    <a:pt x="185" y="450"/>
                  </a:moveTo>
                  <a:cubicBezTo>
                    <a:pt x="210" y="440"/>
                    <a:pt x="240" y="435"/>
                    <a:pt x="266" y="427"/>
                  </a:cubicBezTo>
                  <a:cubicBezTo>
                    <a:pt x="241" y="421"/>
                    <a:pt x="219" y="413"/>
                    <a:pt x="198" y="404"/>
                  </a:cubicBezTo>
                  <a:cubicBezTo>
                    <a:pt x="193" y="418"/>
                    <a:pt x="187" y="436"/>
                    <a:pt x="185" y="450"/>
                  </a:cubicBezTo>
                  <a:close/>
                  <a:moveTo>
                    <a:pt x="308" y="421"/>
                  </a:moveTo>
                  <a:cubicBezTo>
                    <a:pt x="307" y="425"/>
                    <a:pt x="307" y="430"/>
                    <a:pt x="305" y="434"/>
                  </a:cubicBezTo>
                  <a:cubicBezTo>
                    <a:pt x="335" y="441"/>
                    <a:pt x="366" y="447"/>
                    <a:pt x="398" y="452"/>
                  </a:cubicBezTo>
                  <a:cubicBezTo>
                    <a:pt x="401" y="444"/>
                    <a:pt x="405" y="436"/>
                    <a:pt x="408" y="428"/>
                  </a:cubicBezTo>
                  <a:cubicBezTo>
                    <a:pt x="411" y="419"/>
                    <a:pt x="416" y="410"/>
                    <a:pt x="414" y="404"/>
                  </a:cubicBezTo>
                  <a:cubicBezTo>
                    <a:pt x="378" y="409"/>
                    <a:pt x="343" y="415"/>
                    <a:pt x="308" y="421"/>
                  </a:cubicBezTo>
                  <a:close/>
                  <a:moveTo>
                    <a:pt x="1126" y="452"/>
                  </a:moveTo>
                  <a:cubicBezTo>
                    <a:pt x="1156" y="447"/>
                    <a:pt x="1185" y="442"/>
                    <a:pt x="1213" y="435"/>
                  </a:cubicBezTo>
                  <a:cubicBezTo>
                    <a:pt x="1212" y="429"/>
                    <a:pt x="1208" y="425"/>
                    <a:pt x="1206" y="419"/>
                  </a:cubicBezTo>
                  <a:cubicBezTo>
                    <a:pt x="1178" y="415"/>
                    <a:pt x="1148" y="407"/>
                    <a:pt x="1119" y="407"/>
                  </a:cubicBezTo>
                  <a:cubicBezTo>
                    <a:pt x="1123" y="420"/>
                    <a:pt x="1123" y="437"/>
                    <a:pt x="1126" y="452"/>
                  </a:cubicBezTo>
                  <a:close/>
                  <a:moveTo>
                    <a:pt x="1317" y="408"/>
                  </a:moveTo>
                  <a:cubicBezTo>
                    <a:pt x="1298" y="416"/>
                    <a:pt x="1277" y="420"/>
                    <a:pt x="1260" y="429"/>
                  </a:cubicBezTo>
                  <a:cubicBezTo>
                    <a:pt x="1288" y="434"/>
                    <a:pt x="1313" y="441"/>
                    <a:pt x="1338" y="449"/>
                  </a:cubicBezTo>
                  <a:cubicBezTo>
                    <a:pt x="1332" y="434"/>
                    <a:pt x="1323" y="423"/>
                    <a:pt x="1317" y="408"/>
                  </a:cubicBezTo>
                  <a:close/>
                  <a:moveTo>
                    <a:pt x="1216" y="434"/>
                  </a:moveTo>
                  <a:cubicBezTo>
                    <a:pt x="1226" y="433"/>
                    <a:pt x="1237" y="431"/>
                    <a:pt x="1245" y="427"/>
                  </a:cubicBezTo>
                  <a:cubicBezTo>
                    <a:pt x="1232" y="426"/>
                    <a:pt x="1220" y="420"/>
                    <a:pt x="1209" y="421"/>
                  </a:cubicBezTo>
                  <a:cubicBezTo>
                    <a:pt x="1213" y="424"/>
                    <a:pt x="1214" y="430"/>
                    <a:pt x="1216" y="434"/>
                  </a:cubicBezTo>
                  <a:close/>
                  <a:moveTo>
                    <a:pt x="279" y="427"/>
                  </a:moveTo>
                  <a:cubicBezTo>
                    <a:pt x="285" y="431"/>
                    <a:pt x="295" y="431"/>
                    <a:pt x="303" y="433"/>
                  </a:cubicBezTo>
                  <a:cubicBezTo>
                    <a:pt x="303" y="429"/>
                    <a:pt x="305" y="426"/>
                    <a:pt x="305" y="422"/>
                  </a:cubicBezTo>
                  <a:cubicBezTo>
                    <a:pt x="296" y="423"/>
                    <a:pt x="289" y="426"/>
                    <a:pt x="279" y="427"/>
                  </a:cubicBezTo>
                  <a:close/>
                  <a:moveTo>
                    <a:pt x="1218" y="437"/>
                  </a:moveTo>
                  <a:cubicBezTo>
                    <a:pt x="1240" y="486"/>
                    <a:pt x="1259" y="538"/>
                    <a:pt x="1277" y="593"/>
                  </a:cubicBezTo>
                  <a:cubicBezTo>
                    <a:pt x="1275" y="533"/>
                    <a:pt x="1270" y="478"/>
                    <a:pt x="1257" y="430"/>
                  </a:cubicBezTo>
                  <a:cubicBezTo>
                    <a:pt x="1244" y="429"/>
                    <a:pt x="1232" y="435"/>
                    <a:pt x="1218" y="437"/>
                  </a:cubicBezTo>
                  <a:close/>
                  <a:moveTo>
                    <a:pt x="183" y="453"/>
                  </a:moveTo>
                  <a:cubicBezTo>
                    <a:pt x="169" y="514"/>
                    <a:pt x="159" y="583"/>
                    <a:pt x="163" y="659"/>
                  </a:cubicBezTo>
                  <a:cubicBezTo>
                    <a:pt x="171" y="655"/>
                    <a:pt x="179" y="652"/>
                    <a:pt x="188" y="650"/>
                  </a:cubicBezTo>
                  <a:cubicBezTo>
                    <a:pt x="208" y="570"/>
                    <a:pt x="235" y="496"/>
                    <a:pt x="270" y="430"/>
                  </a:cubicBezTo>
                  <a:cubicBezTo>
                    <a:pt x="269" y="430"/>
                    <a:pt x="268" y="430"/>
                    <a:pt x="268" y="430"/>
                  </a:cubicBezTo>
                  <a:cubicBezTo>
                    <a:pt x="239" y="437"/>
                    <a:pt x="210" y="444"/>
                    <a:pt x="183" y="453"/>
                  </a:cubicBezTo>
                  <a:close/>
                  <a:moveTo>
                    <a:pt x="192" y="648"/>
                  </a:moveTo>
                  <a:cubicBezTo>
                    <a:pt x="190" y="649"/>
                    <a:pt x="192" y="650"/>
                    <a:pt x="192" y="648"/>
                  </a:cubicBezTo>
                  <a:moveTo>
                    <a:pt x="192" y="648"/>
                  </a:moveTo>
                  <a:cubicBezTo>
                    <a:pt x="223" y="640"/>
                    <a:pt x="254" y="630"/>
                    <a:pt x="289" y="623"/>
                  </a:cubicBezTo>
                  <a:cubicBezTo>
                    <a:pt x="287" y="555"/>
                    <a:pt x="293" y="494"/>
                    <a:pt x="302" y="436"/>
                  </a:cubicBezTo>
                  <a:cubicBezTo>
                    <a:pt x="292" y="434"/>
                    <a:pt x="283" y="431"/>
                    <a:pt x="272" y="430"/>
                  </a:cubicBezTo>
                  <a:cubicBezTo>
                    <a:pt x="239" y="496"/>
                    <a:pt x="211" y="568"/>
                    <a:pt x="192" y="648"/>
                  </a:cubicBezTo>
                  <a:moveTo>
                    <a:pt x="1275" y="515"/>
                  </a:moveTo>
                  <a:cubicBezTo>
                    <a:pt x="1279" y="557"/>
                    <a:pt x="1276" y="605"/>
                    <a:pt x="1288" y="636"/>
                  </a:cubicBezTo>
                  <a:cubicBezTo>
                    <a:pt x="1316" y="643"/>
                    <a:pt x="1341" y="652"/>
                    <a:pt x="1367" y="660"/>
                  </a:cubicBezTo>
                  <a:cubicBezTo>
                    <a:pt x="1377" y="657"/>
                    <a:pt x="1386" y="652"/>
                    <a:pt x="1397" y="648"/>
                  </a:cubicBezTo>
                  <a:cubicBezTo>
                    <a:pt x="1395" y="622"/>
                    <a:pt x="1398" y="600"/>
                    <a:pt x="1394" y="577"/>
                  </a:cubicBezTo>
                  <a:cubicBezTo>
                    <a:pt x="1392" y="567"/>
                    <a:pt x="1386" y="555"/>
                    <a:pt x="1382" y="545"/>
                  </a:cubicBezTo>
                  <a:cubicBezTo>
                    <a:pt x="1370" y="512"/>
                    <a:pt x="1354" y="481"/>
                    <a:pt x="1340" y="452"/>
                  </a:cubicBezTo>
                  <a:cubicBezTo>
                    <a:pt x="1314" y="444"/>
                    <a:pt x="1288" y="437"/>
                    <a:pt x="1261" y="431"/>
                  </a:cubicBezTo>
                  <a:cubicBezTo>
                    <a:pt x="1266" y="456"/>
                    <a:pt x="1272" y="485"/>
                    <a:pt x="1275" y="515"/>
                  </a:cubicBezTo>
                  <a:close/>
                  <a:moveTo>
                    <a:pt x="305" y="437"/>
                  </a:moveTo>
                  <a:cubicBezTo>
                    <a:pt x="295" y="493"/>
                    <a:pt x="288" y="559"/>
                    <a:pt x="293" y="623"/>
                  </a:cubicBezTo>
                  <a:cubicBezTo>
                    <a:pt x="311" y="617"/>
                    <a:pt x="332" y="615"/>
                    <a:pt x="351" y="610"/>
                  </a:cubicBezTo>
                  <a:cubicBezTo>
                    <a:pt x="364" y="556"/>
                    <a:pt x="379" y="504"/>
                    <a:pt x="397" y="455"/>
                  </a:cubicBezTo>
                  <a:cubicBezTo>
                    <a:pt x="366" y="449"/>
                    <a:pt x="335" y="444"/>
                    <a:pt x="305" y="437"/>
                  </a:cubicBezTo>
                  <a:close/>
                  <a:moveTo>
                    <a:pt x="1126" y="455"/>
                  </a:moveTo>
                  <a:cubicBezTo>
                    <a:pt x="1131" y="501"/>
                    <a:pt x="1133" y="551"/>
                    <a:pt x="1133" y="603"/>
                  </a:cubicBezTo>
                  <a:cubicBezTo>
                    <a:pt x="1182" y="612"/>
                    <a:pt x="1231" y="620"/>
                    <a:pt x="1277" y="633"/>
                  </a:cubicBezTo>
                  <a:cubicBezTo>
                    <a:pt x="1279" y="602"/>
                    <a:pt x="1270" y="583"/>
                    <a:pt x="1263" y="561"/>
                  </a:cubicBezTo>
                  <a:cubicBezTo>
                    <a:pt x="1248" y="517"/>
                    <a:pt x="1234" y="477"/>
                    <a:pt x="1215" y="438"/>
                  </a:cubicBezTo>
                  <a:cubicBezTo>
                    <a:pt x="1214" y="438"/>
                    <a:pt x="1214" y="438"/>
                    <a:pt x="1213" y="438"/>
                  </a:cubicBezTo>
                  <a:cubicBezTo>
                    <a:pt x="1185" y="445"/>
                    <a:pt x="1156" y="450"/>
                    <a:pt x="1126" y="455"/>
                  </a:cubicBezTo>
                  <a:close/>
                  <a:moveTo>
                    <a:pt x="179" y="454"/>
                  </a:moveTo>
                  <a:cubicBezTo>
                    <a:pt x="168" y="457"/>
                    <a:pt x="158" y="461"/>
                    <a:pt x="147" y="465"/>
                  </a:cubicBezTo>
                  <a:cubicBezTo>
                    <a:pt x="123" y="516"/>
                    <a:pt x="101" y="568"/>
                    <a:pt x="85" y="627"/>
                  </a:cubicBezTo>
                  <a:cubicBezTo>
                    <a:pt x="108" y="640"/>
                    <a:pt x="131" y="652"/>
                    <a:pt x="159" y="660"/>
                  </a:cubicBezTo>
                  <a:cubicBezTo>
                    <a:pt x="157" y="583"/>
                    <a:pt x="168" y="513"/>
                    <a:pt x="179" y="454"/>
                  </a:cubicBezTo>
                  <a:close/>
                  <a:moveTo>
                    <a:pt x="1392" y="564"/>
                  </a:moveTo>
                  <a:cubicBezTo>
                    <a:pt x="1388" y="528"/>
                    <a:pt x="1381" y="495"/>
                    <a:pt x="1374" y="463"/>
                  </a:cubicBezTo>
                  <a:cubicBezTo>
                    <a:pt x="1363" y="461"/>
                    <a:pt x="1354" y="457"/>
                    <a:pt x="1345" y="454"/>
                  </a:cubicBezTo>
                  <a:cubicBezTo>
                    <a:pt x="1362" y="489"/>
                    <a:pt x="1378" y="525"/>
                    <a:pt x="1392" y="564"/>
                  </a:cubicBezTo>
                  <a:close/>
                  <a:moveTo>
                    <a:pt x="401" y="455"/>
                  </a:moveTo>
                  <a:cubicBezTo>
                    <a:pt x="382" y="503"/>
                    <a:pt x="367" y="556"/>
                    <a:pt x="354" y="610"/>
                  </a:cubicBezTo>
                  <a:cubicBezTo>
                    <a:pt x="383" y="605"/>
                    <a:pt x="412" y="600"/>
                    <a:pt x="442" y="597"/>
                  </a:cubicBezTo>
                  <a:cubicBezTo>
                    <a:pt x="442" y="550"/>
                    <a:pt x="443" y="504"/>
                    <a:pt x="447" y="461"/>
                  </a:cubicBezTo>
                  <a:cubicBezTo>
                    <a:pt x="432" y="459"/>
                    <a:pt x="415" y="458"/>
                    <a:pt x="401" y="455"/>
                  </a:cubicBezTo>
                  <a:close/>
                  <a:moveTo>
                    <a:pt x="1080" y="461"/>
                  </a:moveTo>
                  <a:cubicBezTo>
                    <a:pt x="1093" y="507"/>
                    <a:pt x="1106" y="553"/>
                    <a:pt x="1116" y="601"/>
                  </a:cubicBezTo>
                  <a:cubicBezTo>
                    <a:pt x="1121" y="602"/>
                    <a:pt x="1125" y="602"/>
                    <a:pt x="1130" y="603"/>
                  </a:cubicBezTo>
                  <a:cubicBezTo>
                    <a:pt x="1130" y="551"/>
                    <a:pt x="1129" y="501"/>
                    <a:pt x="1123" y="455"/>
                  </a:cubicBezTo>
                  <a:cubicBezTo>
                    <a:pt x="1108" y="457"/>
                    <a:pt x="1094" y="459"/>
                    <a:pt x="1080" y="461"/>
                  </a:cubicBezTo>
                  <a:close/>
                  <a:moveTo>
                    <a:pt x="445" y="596"/>
                  </a:moveTo>
                  <a:cubicBezTo>
                    <a:pt x="475" y="592"/>
                    <a:pt x="505" y="589"/>
                    <a:pt x="535" y="586"/>
                  </a:cubicBezTo>
                  <a:cubicBezTo>
                    <a:pt x="542" y="548"/>
                    <a:pt x="548" y="509"/>
                    <a:pt x="556" y="472"/>
                  </a:cubicBezTo>
                  <a:cubicBezTo>
                    <a:pt x="519" y="469"/>
                    <a:pt x="483" y="466"/>
                    <a:pt x="449" y="461"/>
                  </a:cubicBezTo>
                  <a:cubicBezTo>
                    <a:pt x="446" y="504"/>
                    <a:pt x="444" y="549"/>
                    <a:pt x="445" y="596"/>
                  </a:cubicBezTo>
                  <a:close/>
                  <a:moveTo>
                    <a:pt x="965" y="472"/>
                  </a:moveTo>
                  <a:cubicBezTo>
                    <a:pt x="967" y="507"/>
                    <a:pt x="966" y="546"/>
                    <a:pt x="966" y="584"/>
                  </a:cubicBezTo>
                  <a:cubicBezTo>
                    <a:pt x="1016" y="589"/>
                    <a:pt x="1065" y="594"/>
                    <a:pt x="1113" y="600"/>
                  </a:cubicBezTo>
                  <a:cubicBezTo>
                    <a:pt x="1102" y="553"/>
                    <a:pt x="1092" y="503"/>
                    <a:pt x="1075" y="461"/>
                  </a:cubicBezTo>
                  <a:cubicBezTo>
                    <a:pt x="1039" y="466"/>
                    <a:pt x="1003" y="470"/>
                    <a:pt x="965" y="472"/>
                  </a:cubicBezTo>
                  <a:close/>
                  <a:moveTo>
                    <a:pt x="1388" y="521"/>
                  </a:moveTo>
                  <a:cubicBezTo>
                    <a:pt x="1391" y="540"/>
                    <a:pt x="1392" y="559"/>
                    <a:pt x="1396" y="577"/>
                  </a:cubicBezTo>
                  <a:cubicBezTo>
                    <a:pt x="1400" y="600"/>
                    <a:pt x="1412" y="620"/>
                    <a:pt x="1416" y="640"/>
                  </a:cubicBezTo>
                  <a:cubicBezTo>
                    <a:pt x="1437" y="628"/>
                    <a:pt x="1459" y="617"/>
                    <a:pt x="1473" y="599"/>
                  </a:cubicBezTo>
                  <a:cubicBezTo>
                    <a:pt x="1470" y="557"/>
                    <a:pt x="1454" y="529"/>
                    <a:pt x="1442" y="496"/>
                  </a:cubicBezTo>
                  <a:cubicBezTo>
                    <a:pt x="1421" y="484"/>
                    <a:pt x="1400" y="473"/>
                    <a:pt x="1376" y="465"/>
                  </a:cubicBezTo>
                  <a:cubicBezTo>
                    <a:pt x="1381" y="483"/>
                    <a:pt x="1385" y="502"/>
                    <a:pt x="1388" y="521"/>
                  </a:cubicBezTo>
                  <a:close/>
                  <a:moveTo>
                    <a:pt x="91" y="491"/>
                  </a:moveTo>
                  <a:cubicBezTo>
                    <a:pt x="82" y="531"/>
                    <a:pt x="72" y="570"/>
                    <a:pt x="69" y="616"/>
                  </a:cubicBezTo>
                  <a:cubicBezTo>
                    <a:pt x="73" y="619"/>
                    <a:pt x="78" y="623"/>
                    <a:pt x="83" y="625"/>
                  </a:cubicBezTo>
                  <a:cubicBezTo>
                    <a:pt x="98" y="568"/>
                    <a:pt x="121" y="515"/>
                    <a:pt x="142" y="467"/>
                  </a:cubicBezTo>
                  <a:cubicBezTo>
                    <a:pt x="124" y="474"/>
                    <a:pt x="107" y="482"/>
                    <a:pt x="91" y="491"/>
                  </a:cubicBezTo>
                  <a:close/>
                  <a:moveTo>
                    <a:pt x="558" y="472"/>
                  </a:moveTo>
                  <a:cubicBezTo>
                    <a:pt x="551" y="509"/>
                    <a:pt x="545" y="548"/>
                    <a:pt x="538" y="586"/>
                  </a:cubicBezTo>
                  <a:cubicBezTo>
                    <a:pt x="562" y="584"/>
                    <a:pt x="586" y="582"/>
                    <a:pt x="611" y="581"/>
                  </a:cubicBezTo>
                  <a:cubicBezTo>
                    <a:pt x="611" y="545"/>
                    <a:pt x="613" y="511"/>
                    <a:pt x="612" y="476"/>
                  </a:cubicBezTo>
                  <a:cubicBezTo>
                    <a:pt x="594" y="474"/>
                    <a:pt x="576" y="474"/>
                    <a:pt x="558" y="472"/>
                  </a:cubicBezTo>
                  <a:close/>
                  <a:moveTo>
                    <a:pt x="915" y="476"/>
                  </a:moveTo>
                  <a:cubicBezTo>
                    <a:pt x="919" y="511"/>
                    <a:pt x="925" y="546"/>
                    <a:pt x="928" y="582"/>
                  </a:cubicBezTo>
                  <a:cubicBezTo>
                    <a:pt x="941" y="582"/>
                    <a:pt x="952" y="584"/>
                    <a:pt x="965" y="584"/>
                  </a:cubicBezTo>
                  <a:cubicBezTo>
                    <a:pt x="965" y="546"/>
                    <a:pt x="963" y="510"/>
                    <a:pt x="963" y="473"/>
                  </a:cubicBezTo>
                  <a:cubicBezTo>
                    <a:pt x="946" y="473"/>
                    <a:pt x="930" y="474"/>
                    <a:pt x="915" y="476"/>
                  </a:cubicBezTo>
                  <a:close/>
                  <a:moveTo>
                    <a:pt x="617" y="476"/>
                  </a:moveTo>
                  <a:cubicBezTo>
                    <a:pt x="614" y="508"/>
                    <a:pt x="615" y="545"/>
                    <a:pt x="615" y="580"/>
                  </a:cubicBezTo>
                  <a:cubicBezTo>
                    <a:pt x="653" y="579"/>
                    <a:pt x="691" y="577"/>
                    <a:pt x="729" y="576"/>
                  </a:cubicBezTo>
                  <a:cubicBezTo>
                    <a:pt x="731" y="545"/>
                    <a:pt x="731" y="511"/>
                    <a:pt x="732" y="479"/>
                  </a:cubicBezTo>
                  <a:cubicBezTo>
                    <a:pt x="693" y="479"/>
                    <a:pt x="654" y="478"/>
                    <a:pt x="617" y="476"/>
                  </a:cubicBezTo>
                  <a:close/>
                  <a:moveTo>
                    <a:pt x="791" y="479"/>
                  </a:moveTo>
                  <a:cubicBezTo>
                    <a:pt x="791" y="513"/>
                    <a:pt x="791" y="544"/>
                    <a:pt x="791" y="576"/>
                  </a:cubicBezTo>
                  <a:cubicBezTo>
                    <a:pt x="836" y="577"/>
                    <a:pt x="881" y="579"/>
                    <a:pt x="924" y="581"/>
                  </a:cubicBezTo>
                  <a:cubicBezTo>
                    <a:pt x="920" y="546"/>
                    <a:pt x="915" y="511"/>
                    <a:pt x="911" y="476"/>
                  </a:cubicBezTo>
                  <a:cubicBezTo>
                    <a:pt x="872" y="478"/>
                    <a:pt x="831" y="479"/>
                    <a:pt x="791" y="479"/>
                  </a:cubicBezTo>
                  <a:close/>
                  <a:moveTo>
                    <a:pt x="736" y="479"/>
                  </a:moveTo>
                  <a:cubicBezTo>
                    <a:pt x="732" y="509"/>
                    <a:pt x="734" y="545"/>
                    <a:pt x="732" y="576"/>
                  </a:cubicBezTo>
                  <a:cubicBezTo>
                    <a:pt x="751" y="576"/>
                    <a:pt x="770" y="576"/>
                    <a:pt x="789" y="576"/>
                  </a:cubicBezTo>
                  <a:cubicBezTo>
                    <a:pt x="789" y="544"/>
                    <a:pt x="789" y="512"/>
                    <a:pt x="789" y="479"/>
                  </a:cubicBezTo>
                  <a:cubicBezTo>
                    <a:pt x="771" y="479"/>
                    <a:pt x="754" y="479"/>
                    <a:pt x="736" y="479"/>
                  </a:cubicBezTo>
                  <a:close/>
                  <a:moveTo>
                    <a:pt x="60" y="512"/>
                  </a:moveTo>
                  <a:cubicBezTo>
                    <a:pt x="53" y="535"/>
                    <a:pt x="44" y="556"/>
                    <a:pt x="37" y="580"/>
                  </a:cubicBezTo>
                  <a:cubicBezTo>
                    <a:pt x="45" y="593"/>
                    <a:pt x="53" y="606"/>
                    <a:pt x="67" y="613"/>
                  </a:cubicBezTo>
                  <a:cubicBezTo>
                    <a:pt x="69" y="569"/>
                    <a:pt x="81" y="529"/>
                    <a:pt x="87" y="493"/>
                  </a:cubicBezTo>
                  <a:cubicBezTo>
                    <a:pt x="78" y="499"/>
                    <a:pt x="69" y="505"/>
                    <a:pt x="60" y="512"/>
                  </a:cubicBezTo>
                  <a:close/>
                  <a:moveTo>
                    <a:pt x="1462" y="539"/>
                  </a:moveTo>
                  <a:cubicBezTo>
                    <a:pt x="1461" y="543"/>
                    <a:pt x="1465" y="539"/>
                    <a:pt x="1462" y="539"/>
                  </a:cubicBezTo>
                  <a:moveTo>
                    <a:pt x="1462" y="539"/>
                  </a:moveTo>
                  <a:cubicBezTo>
                    <a:pt x="1458" y="526"/>
                    <a:pt x="1458" y="502"/>
                    <a:pt x="1446" y="501"/>
                  </a:cubicBezTo>
                  <a:cubicBezTo>
                    <a:pt x="1452" y="512"/>
                    <a:pt x="1456" y="526"/>
                    <a:pt x="1462" y="539"/>
                  </a:cubicBezTo>
                  <a:moveTo>
                    <a:pt x="1480" y="592"/>
                  </a:moveTo>
                  <a:cubicBezTo>
                    <a:pt x="1504" y="563"/>
                    <a:pt x="1482" y="521"/>
                    <a:pt x="1457" y="507"/>
                  </a:cubicBezTo>
                  <a:cubicBezTo>
                    <a:pt x="1465" y="535"/>
                    <a:pt x="1469" y="567"/>
                    <a:pt x="1480" y="592"/>
                  </a:cubicBezTo>
                  <a:close/>
                  <a:moveTo>
                    <a:pt x="36" y="575"/>
                  </a:moveTo>
                  <a:cubicBezTo>
                    <a:pt x="40" y="555"/>
                    <a:pt x="51" y="536"/>
                    <a:pt x="54" y="517"/>
                  </a:cubicBezTo>
                  <a:cubicBezTo>
                    <a:pt x="42" y="529"/>
                    <a:pt x="28" y="553"/>
                    <a:pt x="36" y="575"/>
                  </a:cubicBezTo>
                  <a:close/>
                  <a:moveTo>
                    <a:pt x="1463" y="544"/>
                  </a:moveTo>
                  <a:cubicBezTo>
                    <a:pt x="1462" y="543"/>
                    <a:pt x="1463" y="544"/>
                    <a:pt x="1463" y="544"/>
                  </a:cubicBezTo>
                  <a:close/>
                  <a:moveTo>
                    <a:pt x="1480" y="597"/>
                  </a:moveTo>
                  <a:cubicBezTo>
                    <a:pt x="1494" y="642"/>
                    <a:pt x="1503" y="692"/>
                    <a:pt x="1508" y="747"/>
                  </a:cubicBezTo>
                  <a:cubicBezTo>
                    <a:pt x="1512" y="753"/>
                    <a:pt x="1516" y="760"/>
                    <a:pt x="1519" y="767"/>
                  </a:cubicBezTo>
                  <a:cubicBezTo>
                    <a:pt x="1521" y="690"/>
                    <a:pt x="1511" y="622"/>
                    <a:pt x="1494" y="563"/>
                  </a:cubicBezTo>
                  <a:cubicBezTo>
                    <a:pt x="1493" y="578"/>
                    <a:pt x="1486" y="587"/>
                    <a:pt x="1480" y="597"/>
                  </a:cubicBezTo>
                  <a:close/>
                  <a:moveTo>
                    <a:pt x="17" y="654"/>
                  </a:moveTo>
                  <a:cubicBezTo>
                    <a:pt x="21" y="628"/>
                    <a:pt x="28" y="604"/>
                    <a:pt x="34" y="580"/>
                  </a:cubicBezTo>
                  <a:cubicBezTo>
                    <a:pt x="33" y="577"/>
                    <a:pt x="32" y="573"/>
                    <a:pt x="30" y="570"/>
                  </a:cubicBezTo>
                  <a:cubicBezTo>
                    <a:pt x="26" y="597"/>
                    <a:pt x="18" y="626"/>
                    <a:pt x="17" y="654"/>
                  </a:cubicBezTo>
                  <a:close/>
                  <a:moveTo>
                    <a:pt x="615" y="583"/>
                  </a:moveTo>
                  <a:cubicBezTo>
                    <a:pt x="616" y="635"/>
                    <a:pt x="617" y="686"/>
                    <a:pt x="620" y="736"/>
                  </a:cubicBezTo>
                  <a:cubicBezTo>
                    <a:pt x="655" y="737"/>
                    <a:pt x="690" y="739"/>
                    <a:pt x="726" y="739"/>
                  </a:cubicBezTo>
                  <a:cubicBezTo>
                    <a:pt x="728" y="686"/>
                    <a:pt x="729" y="633"/>
                    <a:pt x="729" y="579"/>
                  </a:cubicBezTo>
                  <a:cubicBezTo>
                    <a:pt x="690" y="580"/>
                    <a:pt x="652" y="581"/>
                    <a:pt x="615" y="583"/>
                  </a:cubicBezTo>
                  <a:close/>
                  <a:moveTo>
                    <a:pt x="729" y="739"/>
                  </a:moveTo>
                  <a:cubicBezTo>
                    <a:pt x="750" y="738"/>
                    <a:pt x="769" y="740"/>
                    <a:pt x="788" y="739"/>
                  </a:cubicBezTo>
                  <a:cubicBezTo>
                    <a:pt x="788" y="685"/>
                    <a:pt x="790" y="633"/>
                    <a:pt x="789" y="579"/>
                  </a:cubicBezTo>
                  <a:cubicBezTo>
                    <a:pt x="770" y="579"/>
                    <a:pt x="752" y="579"/>
                    <a:pt x="733" y="579"/>
                  </a:cubicBezTo>
                  <a:cubicBezTo>
                    <a:pt x="730" y="630"/>
                    <a:pt x="731" y="686"/>
                    <a:pt x="729" y="739"/>
                  </a:cubicBezTo>
                  <a:close/>
                  <a:moveTo>
                    <a:pt x="791" y="582"/>
                  </a:moveTo>
                  <a:cubicBezTo>
                    <a:pt x="791" y="634"/>
                    <a:pt x="791" y="687"/>
                    <a:pt x="791" y="739"/>
                  </a:cubicBezTo>
                  <a:cubicBezTo>
                    <a:pt x="842" y="739"/>
                    <a:pt x="890" y="736"/>
                    <a:pt x="938" y="734"/>
                  </a:cubicBezTo>
                  <a:cubicBezTo>
                    <a:pt x="934" y="683"/>
                    <a:pt x="930" y="633"/>
                    <a:pt x="924" y="584"/>
                  </a:cubicBezTo>
                  <a:cubicBezTo>
                    <a:pt x="881" y="581"/>
                    <a:pt x="837" y="580"/>
                    <a:pt x="792" y="579"/>
                  </a:cubicBezTo>
                  <a:cubicBezTo>
                    <a:pt x="791" y="579"/>
                    <a:pt x="791" y="581"/>
                    <a:pt x="791" y="582"/>
                  </a:cubicBezTo>
                  <a:close/>
                  <a:moveTo>
                    <a:pt x="538" y="588"/>
                  </a:moveTo>
                  <a:cubicBezTo>
                    <a:pt x="531" y="634"/>
                    <a:pt x="526" y="681"/>
                    <a:pt x="521" y="729"/>
                  </a:cubicBezTo>
                  <a:cubicBezTo>
                    <a:pt x="552" y="732"/>
                    <a:pt x="584" y="734"/>
                    <a:pt x="616" y="736"/>
                  </a:cubicBezTo>
                  <a:cubicBezTo>
                    <a:pt x="612" y="686"/>
                    <a:pt x="615" y="630"/>
                    <a:pt x="609" y="583"/>
                  </a:cubicBezTo>
                  <a:cubicBezTo>
                    <a:pt x="586" y="585"/>
                    <a:pt x="562" y="587"/>
                    <a:pt x="538" y="588"/>
                  </a:cubicBezTo>
                  <a:close/>
                  <a:moveTo>
                    <a:pt x="929" y="584"/>
                  </a:moveTo>
                  <a:cubicBezTo>
                    <a:pt x="933" y="634"/>
                    <a:pt x="939" y="682"/>
                    <a:pt x="942" y="734"/>
                  </a:cubicBezTo>
                  <a:cubicBezTo>
                    <a:pt x="946" y="733"/>
                    <a:pt x="953" y="733"/>
                    <a:pt x="959" y="733"/>
                  </a:cubicBezTo>
                  <a:cubicBezTo>
                    <a:pt x="962" y="685"/>
                    <a:pt x="963" y="636"/>
                    <a:pt x="965" y="587"/>
                  </a:cubicBezTo>
                  <a:cubicBezTo>
                    <a:pt x="953" y="585"/>
                    <a:pt x="941" y="585"/>
                    <a:pt x="929" y="584"/>
                  </a:cubicBezTo>
                  <a:close/>
                  <a:moveTo>
                    <a:pt x="13" y="752"/>
                  </a:moveTo>
                  <a:cubicBezTo>
                    <a:pt x="25" y="732"/>
                    <a:pt x="46" y="719"/>
                    <a:pt x="63" y="704"/>
                  </a:cubicBezTo>
                  <a:cubicBezTo>
                    <a:pt x="63" y="674"/>
                    <a:pt x="63" y="645"/>
                    <a:pt x="66" y="618"/>
                  </a:cubicBezTo>
                  <a:cubicBezTo>
                    <a:pt x="54" y="609"/>
                    <a:pt x="45" y="597"/>
                    <a:pt x="35" y="585"/>
                  </a:cubicBezTo>
                  <a:cubicBezTo>
                    <a:pt x="23" y="635"/>
                    <a:pt x="7" y="690"/>
                    <a:pt x="13" y="752"/>
                  </a:cubicBezTo>
                  <a:close/>
                  <a:moveTo>
                    <a:pt x="967" y="587"/>
                  </a:moveTo>
                  <a:cubicBezTo>
                    <a:pt x="965" y="635"/>
                    <a:pt x="965" y="686"/>
                    <a:pt x="961" y="732"/>
                  </a:cubicBezTo>
                  <a:cubicBezTo>
                    <a:pt x="1017" y="729"/>
                    <a:pt x="1071" y="723"/>
                    <a:pt x="1123" y="716"/>
                  </a:cubicBezTo>
                  <a:cubicBezTo>
                    <a:pt x="1132" y="675"/>
                    <a:pt x="1121" y="639"/>
                    <a:pt x="1114" y="603"/>
                  </a:cubicBezTo>
                  <a:cubicBezTo>
                    <a:pt x="1067" y="597"/>
                    <a:pt x="1018" y="591"/>
                    <a:pt x="967" y="587"/>
                  </a:cubicBezTo>
                  <a:close/>
                  <a:moveTo>
                    <a:pt x="1476" y="597"/>
                  </a:moveTo>
                  <a:cubicBezTo>
                    <a:pt x="1478" y="594"/>
                    <a:pt x="1476" y="589"/>
                    <a:pt x="1474" y="587"/>
                  </a:cubicBezTo>
                  <a:cubicBezTo>
                    <a:pt x="1475" y="590"/>
                    <a:pt x="1475" y="594"/>
                    <a:pt x="1476" y="597"/>
                  </a:cubicBezTo>
                  <a:close/>
                  <a:moveTo>
                    <a:pt x="445" y="599"/>
                  </a:moveTo>
                  <a:cubicBezTo>
                    <a:pt x="446" y="641"/>
                    <a:pt x="448" y="683"/>
                    <a:pt x="452" y="722"/>
                  </a:cubicBezTo>
                  <a:cubicBezTo>
                    <a:pt x="474" y="725"/>
                    <a:pt x="496" y="727"/>
                    <a:pt x="518" y="729"/>
                  </a:cubicBezTo>
                  <a:cubicBezTo>
                    <a:pt x="523" y="682"/>
                    <a:pt x="528" y="634"/>
                    <a:pt x="535" y="589"/>
                  </a:cubicBezTo>
                  <a:cubicBezTo>
                    <a:pt x="504" y="591"/>
                    <a:pt x="475" y="595"/>
                    <a:pt x="445" y="599"/>
                  </a:cubicBezTo>
                  <a:close/>
                  <a:moveTo>
                    <a:pt x="1398" y="592"/>
                  </a:moveTo>
                  <a:cubicBezTo>
                    <a:pt x="1398" y="610"/>
                    <a:pt x="1399" y="628"/>
                    <a:pt x="1399" y="647"/>
                  </a:cubicBezTo>
                  <a:cubicBezTo>
                    <a:pt x="1404" y="644"/>
                    <a:pt x="1410" y="644"/>
                    <a:pt x="1412" y="640"/>
                  </a:cubicBezTo>
                  <a:cubicBezTo>
                    <a:pt x="1407" y="624"/>
                    <a:pt x="1403" y="607"/>
                    <a:pt x="1398" y="592"/>
                  </a:cubicBezTo>
                  <a:moveTo>
                    <a:pt x="1398" y="592"/>
                  </a:moveTo>
                  <a:cubicBezTo>
                    <a:pt x="1399" y="587"/>
                    <a:pt x="1395" y="591"/>
                    <a:pt x="1398" y="592"/>
                  </a:cubicBezTo>
                  <a:moveTo>
                    <a:pt x="354" y="612"/>
                  </a:moveTo>
                  <a:cubicBezTo>
                    <a:pt x="346" y="641"/>
                    <a:pt x="341" y="673"/>
                    <a:pt x="335" y="705"/>
                  </a:cubicBezTo>
                  <a:cubicBezTo>
                    <a:pt x="372" y="712"/>
                    <a:pt x="409" y="718"/>
                    <a:pt x="449" y="721"/>
                  </a:cubicBezTo>
                  <a:cubicBezTo>
                    <a:pt x="445" y="682"/>
                    <a:pt x="445" y="639"/>
                    <a:pt x="441" y="599"/>
                  </a:cubicBezTo>
                  <a:cubicBezTo>
                    <a:pt x="412" y="603"/>
                    <a:pt x="383" y="607"/>
                    <a:pt x="354" y="612"/>
                  </a:cubicBezTo>
                  <a:close/>
                  <a:moveTo>
                    <a:pt x="1483" y="721"/>
                  </a:moveTo>
                  <a:cubicBezTo>
                    <a:pt x="1487" y="724"/>
                    <a:pt x="1490" y="729"/>
                    <a:pt x="1494" y="733"/>
                  </a:cubicBezTo>
                  <a:cubicBezTo>
                    <a:pt x="1498" y="736"/>
                    <a:pt x="1504" y="743"/>
                    <a:pt x="1505" y="742"/>
                  </a:cubicBezTo>
                  <a:cubicBezTo>
                    <a:pt x="1499" y="690"/>
                    <a:pt x="1492" y="641"/>
                    <a:pt x="1477" y="599"/>
                  </a:cubicBezTo>
                  <a:cubicBezTo>
                    <a:pt x="1480" y="635"/>
                    <a:pt x="1484" y="678"/>
                    <a:pt x="1483" y="721"/>
                  </a:cubicBezTo>
                  <a:close/>
                  <a:moveTo>
                    <a:pt x="1416" y="642"/>
                  </a:moveTo>
                  <a:cubicBezTo>
                    <a:pt x="1419" y="657"/>
                    <a:pt x="1423" y="671"/>
                    <a:pt x="1425" y="686"/>
                  </a:cubicBezTo>
                  <a:cubicBezTo>
                    <a:pt x="1441" y="692"/>
                    <a:pt x="1456" y="703"/>
                    <a:pt x="1468" y="711"/>
                  </a:cubicBezTo>
                  <a:cubicBezTo>
                    <a:pt x="1472" y="714"/>
                    <a:pt x="1478" y="718"/>
                    <a:pt x="1480" y="718"/>
                  </a:cubicBezTo>
                  <a:cubicBezTo>
                    <a:pt x="1480" y="677"/>
                    <a:pt x="1480" y="637"/>
                    <a:pt x="1473" y="603"/>
                  </a:cubicBezTo>
                  <a:cubicBezTo>
                    <a:pt x="1457" y="619"/>
                    <a:pt x="1438" y="632"/>
                    <a:pt x="1416" y="642"/>
                  </a:cubicBezTo>
                  <a:close/>
                  <a:moveTo>
                    <a:pt x="1128" y="658"/>
                  </a:moveTo>
                  <a:cubicBezTo>
                    <a:pt x="1128" y="640"/>
                    <a:pt x="1129" y="623"/>
                    <a:pt x="1130" y="605"/>
                  </a:cubicBezTo>
                  <a:cubicBezTo>
                    <a:pt x="1124" y="606"/>
                    <a:pt x="1122" y="604"/>
                    <a:pt x="1117" y="604"/>
                  </a:cubicBezTo>
                  <a:cubicBezTo>
                    <a:pt x="1120" y="623"/>
                    <a:pt x="1124" y="640"/>
                    <a:pt x="1128" y="658"/>
                  </a:cubicBezTo>
                  <a:close/>
                  <a:moveTo>
                    <a:pt x="1134" y="606"/>
                  </a:moveTo>
                  <a:cubicBezTo>
                    <a:pt x="1132" y="607"/>
                    <a:pt x="1132" y="607"/>
                    <a:pt x="1132" y="609"/>
                  </a:cubicBezTo>
                  <a:cubicBezTo>
                    <a:pt x="1131" y="648"/>
                    <a:pt x="1128" y="682"/>
                    <a:pt x="1136" y="714"/>
                  </a:cubicBezTo>
                  <a:cubicBezTo>
                    <a:pt x="1184" y="707"/>
                    <a:pt x="1230" y="698"/>
                    <a:pt x="1274" y="688"/>
                  </a:cubicBezTo>
                  <a:cubicBezTo>
                    <a:pt x="1276" y="671"/>
                    <a:pt x="1276" y="653"/>
                    <a:pt x="1277" y="635"/>
                  </a:cubicBezTo>
                  <a:cubicBezTo>
                    <a:pt x="1230" y="624"/>
                    <a:pt x="1183" y="614"/>
                    <a:pt x="1134" y="606"/>
                  </a:cubicBezTo>
                  <a:close/>
                  <a:moveTo>
                    <a:pt x="349" y="613"/>
                  </a:moveTo>
                  <a:cubicBezTo>
                    <a:pt x="330" y="617"/>
                    <a:pt x="311" y="621"/>
                    <a:pt x="292" y="624"/>
                  </a:cubicBezTo>
                  <a:cubicBezTo>
                    <a:pt x="292" y="650"/>
                    <a:pt x="293" y="674"/>
                    <a:pt x="295" y="697"/>
                  </a:cubicBezTo>
                  <a:cubicBezTo>
                    <a:pt x="307" y="700"/>
                    <a:pt x="319" y="703"/>
                    <a:pt x="332" y="704"/>
                  </a:cubicBezTo>
                  <a:cubicBezTo>
                    <a:pt x="337" y="674"/>
                    <a:pt x="345" y="641"/>
                    <a:pt x="349" y="613"/>
                  </a:cubicBezTo>
                  <a:close/>
                  <a:moveTo>
                    <a:pt x="1279" y="634"/>
                  </a:moveTo>
                  <a:cubicBezTo>
                    <a:pt x="1282" y="634"/>
                    <a:pt x="1283" y="634"/>
                    <a:pt x="1284" y="635"/>
                  </a:cubicBezTo>
                  <a:cubicBezTo>
                    <a:pt x="1283" y="628"/>
                    <a:pt x="1282" y="622"/>
                    <a:pt x="1279" y="617"/>
                  </a:cubicBezTo>
                  <a:cubicBezTo>
                    <a:pt x="1279" y="623"/>
                    <a:pt x="1279" y="628"/>
                    <a:pt x="1279" y="634"/>
                  </a:cubicBezTo>
                  <a:close/>
                  <a:moveTo>
                    <a:pt x="67" y="699"/>
                  </a:moveTo>
                  <a:cubicBezTo>
                    <a:pt x="70" y="674"/>
                    <a:pt x="76" y="651"/>
                    <a:pt x="82" y="628"/>
                  </a:cubicBezTo>
                  <a:cubicBezTo>
                    <a:pt x="77" y="626"/>
                    <a:pt x="74" y="621"/>
                    <a:pt x="68" y="620"/>
                  </a:cubicBezTo>
                  <a:cubicBezTo>
                    <a:pt x="67" y="645"/>
                    <a:pt x="64" y="674"/>
                    <a:pt x="67" y="699"/>
                  </a:cubicBezTo>
                  <a:close/>
                  <a:moveTo>
                    <a:pt x="288" y="625"/>
                  </a:moveTo>
                  <a:cubicBezTo>
                    <a:pt x="255" y="634"/>
                    <a:pt x="221" y="642"/>
                    <a:pt x="190" y="652"/>
                  </a:cubicBezTo>
                  <a:cubicBezTo>
                    <a:pt x="189" y="659"/>
                    <a:pt x="188" y="664"/>
                    <a:pt x="186" y="670"/>
                  </a:cubicBezTo>
                  <a:cubicBezTo>
                    <a:pt x="220" y="680"/>
                    <a:pt x="255" y="690"/>
                    <a:pt x="293" y="696"/>
                  </a:cubicBezTo>
                  <a:cubicBezTo>
                    <a:pt x="290" y="673"/>
                    <a:pt x="291" y="648"/>
                    <a:pt x="288" y="625"/>
                  </a:cubicBezTo>
                  <a:close/>
                  <a:moveTo>
                    <a:pt x="69" y="701"/>
                  </a:moveTo>
                  <a:cubicBezTo>
                    <a:pt x="95" y="687"/>
                    <a:pt x="122" y="673"/>
                    <a:pt x="152" y="663"/>
                  </a:cubicBezTo>
                  <a:cubicBezTo>
                    <a:pt x="130" y="651"/>
                    <a:pt x="104" y="643"/>
                    <a:pt x="84" y="629"/>
                  </a:cubicBezTo>
                  <a:cubicBezTo>
                    <a:pt x="79" y="653"/>
                    <a:pt x="73" y="676"/>
                    <a:pt x="69" y="701"/>
                  </a:cubicBezTo>
                  <a:close/>
                  <a:moveTo>
                    <a:pt x="1277" y="687"/>
                  </a:moveTo>
                  <a:cubicBezTo>
                    <a:pt x="1283" y="685"/>
                    <a:pt x="1289" y="684"/>
                    <a:pt x="1296" y="682"/>
                  </a:cubicBezTo>
                  <a:cubicBezTo>
                    <a:pt x="1292" y="667"/>
                    <a:pt x="1290" y="652"/>
                    <a:pt x="1285" y="638"/>
                  </a:cubicBezTo>
                  <a:cubicBezTo>
                    <a:pt x="1284" y="637"/>
                    <a:pt x="1281" y="637"/>
                    <a:pt x="1279" y="636"/>
                  </a:cubicBezTo>
                  <a:cubicBezTo>
                    <a:pt x="1278" y="652"/>
                    <a:pt x="1278" y="670"/>
                    <a:pt x="1277" y="687"/>
                  </a:cubicBezTo>
                  <a:close/>
                  <a:moveTo>
                    <a:pt x="1298" y="681"/>
                  </a:moveTo>
                  <a:cubicBezTo>
                    <a:pt x="1320" y="675"/>
                    <a:pt x="1342" y="670"/>
                    <a:pt x="1362" y="661"/>
                  </a:cubicBezTo>
                  <a:cubicBezTo>
                    <a:pt x="1338" y="654"/>
                    <a:pt x="1315" y="645"/>
                    <a:pt x="1289" y="639"/>
                  </a:cubicBezTo>
                  <a:cubicBezTo>
                    <a:pt x="1291" y="653"/>
                    <a:pt x="1296" y="666"/>
                    <a:pt x="1298" y="681"/>
                  </a:cubicBezTo>
                  <a:close/>
                  <a:moveTo>
                    <a:pt x="1399" y="649"/>
                  </a:moveTo>
                  <a:cubicBezTo>
                    <a:pt x="1399" y="657"/>
                    <a:pt x="1399" y="665"/>
                    <a:pt x="1399" y="673"/>
                  </a:cubicBezTo>
                  <a:cubicBezTo>
                    <a:pt x="1407" y="677"/>
                    <a:pt x="1415" y="680"/>
                    <a:pt x="1422" y="684"/>
                  </a:cubicBezTo>
                  <a:cubicBezTo>
                    <a:pt x="1419" y="671"/>
                    <a:pt x="1418" y="655"/>
                    <a:pt x="1412" y="644"/>
                  </a:cubicBezTo>
                  <a:cubicBezTo>
                    <a:pt x="1409" y="646"/>
                    <a:pt x="1404" y="648"/>
                    <a:pt x="1399" y="649"/>
                  </a:cubicBezTo>
                  <a:close/>
                  <a:moveTo>
                    <a:pt x="1371" y="662"/>
                  </a:moveTo>
                  <a:cubicBezTo>
                    <a:pt x="1379" y="665"/>
                    <a:pt x="1388" y="668"/>
                    <a:pt x="1397" y="672"/>
                  </a:cubicBezTo>
                  <a:cubicBezTo>
                    <a:pt x="1396" y="666"/>
                    <a:pt x="1398" y="656"/>
                    <a:pt x="1396" y="651"/>
                  </a:cubicBezTo>
                  <a:cubicBezTo>
                    <a:pt x="1388" y="655"/>
                    <a:pt x="1379" y="658"/>
                    <a:pt x="1371" y="662"/>
                  </a:cubicBezTo>
                  <a:close/>
                  <a:moveTo>
                    <a:pt x="162" y="662"/>
                  </a:moveTo>
                  <a:cubicBezTo>
                    <a:pt x="169" y="664"/>
                    <a:pt x="175" y="668"/>
                    <a:pt x="184" y="669"/>
                  </a:cubicBezTo>
                  <a:cubicBezTo>
                    <a:pt x="184" y="663"/>
                    <a:pt x="187" y="659"/>
                    <a:pt x="187" y="653"/>
                  </a:cubicBezTo>
                  <a:cubicBezTo>
                    <a:pt x="178" y="656"/>
                    <a:pt x="170" y="658"/>
                    <a:pt x="162" y="662"/>
                  </a:cubicBezTo>
                  <a:close/>
                  <a:moveTo>
                    <a:pt x="109" y="683"/>
                  </a:moveTo>
                  <a:cubicBezTo>
                    <a:pt x="98" y="688"/>
                    <a:pt x="72" y="698"/>
                    <a:pt x="68" y="707"/>
                  </a:cubicBezTo>
                  <a:cubicBezTo>
                    <a:pt x="63" y="717"/>
                    <a:pt x="68" y="742"/>
                    <a:pt x="70" y="755"/>
                  </a:cubicBezTo>
                  <a:cubicBezTo>
                    <a:pt x="76" y="807"/>
                    <a:pt x="83" y="853"/>
                    <a:pt x="96" y="893"/>
                  </a:cubicBezTo>
                  <a:cubicBezTo>
                    <a:pt x="107" y="898"/>
                    <a:pt x="117" y="903"/>
                    <a:pt x="127" y="908"/>
                  </a:cubicBezTo>
                  <a:cubicBezTo>
                    <a:pt x="138" y="901"/>
                    <a:pt x="150" y="898"/>
                    <a:pt x="158" y="889"/>
                  </a:cubicBezTo>
                  <a:cubicBezTo>
                    <a:pt x="157" y="859"/>
                    <a:pt x="160" y="834"/>
                    <a:pt x="162" y="808"/>
                  </a:cubicBezTo>
                  <a:cubicBezTo>
                    <a:pt x="163" y="790"/>
                    <a:pt x="168" y="772"/>
                    <a:pt x="168" y="756"/>
                  </a:cubicBezTo>
                  <a:cubicBezTo>
                    <a:pt x="168" y="741"/>
                    <a:pt x="163" y="727"/>
                    <a:pt x="162" y="712"/>
                  </a:cubicBezTo>
                  <a:cubicBezTo>
                    <a:pt x="161" y="696"/>
                    <a:pt x="161" y="681"/>
                    <a:pt x="159" y="665"/>
                  </a:cubicBezTo>
                  <a:cubicBezTo>
                    <a:pt x="159" y="664"/>
                    <a:pt x="159" y="664"/>
                    <a:pt x="158" y="664"/>
                  </a:cubicBezTo>
                  <a:cubicBezTo>
                    <a:pt x="145" y="667"/>
                    <a:pt x="128" y="674"/>
                    <a:pt x="109" y="683"/>
                  </a:cubicBezTo>
                  <a:close/>
                  <a:moveTo>
                    <a:pt x="1367" y="664"/>
                  </a:moveTo>
                  <a:cubicBezTo>
                    <a:pt x="1347" y="670"/>
                    <a:pt x="1321" y="678"/>
                    <a:pt x="1299" y="685"/>
                  </a:cubicBezTo>
                  <a:cubicBezTo>
                    <a:pt x="1311" y="742"/>
                    <a:pt x="1319" y="805"/>
                    <a:pt x="1322" y="872"/>
                  </a:cubicBezTo>
                  <a:cubicBezTo>
                    <a:pt x="1336" y="877"/>
                    <a:pt x="1347" y="884"/>
                    <a:pt x="1362" y="888"/>
                  </a:cubicBezTo>
                  <a:cubicBezTo>
                    <a:pt x="1380" y="824"/>
                    <a:pt x="1394" y="754"/>
                    <a:pt x="1397" y="674"/>
                  </a:cubicBezTo>
                  <a:cubicBezTo>
                    <a:pt x="1386" y="672"/>
                    <a:pt x="1378" y="666"/>
                    <a:pt x="1367" y="664"/>
                  </a:cubicBezTo>
                  <a:close/>
                  <a:moveTo>
                    <a:pt x="170" y="745"/>
                  </a:moveTo>
                  <a:cubicBezTo>
                    <a:pt x="172" y="719"/>
                    <a:pt x="178" y="695"/>
                    <a:pt x="183" y="671"/>
                  </a:cubicBezTo>
                  <a:cubicBezTo>
                    <a:pt x="175" y="670"/>
                    <a:pt x="169" y="667"/>
                    <a:pt x="162" y="665"/>
                  </a:cubicBezTo>
                  <a:cubicBezTo>
                    <a:pt x="164" y="692"/>
                    <a:pt x="164" y="722"/>
                    <a:pt x="170" y="745"/>
                  </a:cubicBezTo>
                  <a:close/>
                  <a:moveTo>
                    <a:pt x="185" y="672"/>
                  </a:moveTo>
                  <a:cubicBezTo>
                    <a:pt x="185" y="673"/>
                    <a:pt x="185" y="674"/>
                    <a:pt x="185" y="675"/>
                  </a:cubicBezTo>
                  <a:cubicBezTo>
                    <a:pt x="182" y="704"/>
                    <a:pt x="169" y="731"/>
                    <a:pt x="171" y="761"/>
                  </a:cubicBezTo>
                  <a:cubicBezTo>
                    <a:pt x="172" y="801"/>
                    <a:pt x="188" y="839"/>
                    <a:pt x="195" y="875"/>
                  </a:cubicBezTo>
                  <a:cubicBezTo>
                    <a:pt x="232" y="860"/>
                    <a:pt x="272" y="848"/>
                    <a:pt x="314" y="837"/>
                  </a:cubicBezTo>
                  <a:cubicBezTo>
                    <a:pt x="306" y="792"/>
                    <a:pt x="297" y="749"/>
                    <a:pt x="294" y="700"/>
                  </a:cubicBezTo>
                  <a:cubicBezTo>
                    <a:pt x="256" y="692"/>
                    <a:pt x="219" y="683"/>
                    <a:pt x="185" y="672"/>
                  </a:cubicBezTo>
                  <a:close/>
                  <a:moveTo>
                    <a:pt x="1364" y="890"/>
                  </a:moveTo>
                  <a:cubicBezTo>
                    <a:pt x="1375" y="896"/>
                    <a:pt x="1385" y="902"/>
                    <a:pt x="1397" y="908"/>
                  </a:cubicBezTo>
                  <a:cubicBezTo>
                    <a:pt x="1411" y="900"/>
                    <a:pt x="1428" y="894"/>
                    <a:pt x="1441" y="885"/>
                  </a:cubicBezTo>
                  <a:cubicBezTo>
                    <a:pt x="1442" y="811"/>
                    <a:pt x="1435" y="747"/>
                    <a:pt x="1423" y="687"/>
                  </a:cubicBezTo>
                  <a:cubicBezTo>
                    <a:pt x="1415" y="684"/>
                    <a:pt x="1408" y="679"/>
                    <a:pt x="1398" y="676"/>
                  </a:cubicBezTo>
                  <a:cubicBezTo>
                    <a:pt x="1397" y="757"/>
                    <a:pt x="1382" y="826"/>
                    <a:pt x="1364" y="890"/>
                  </a:cubicBezTo>
                  <a:close/>
                  <a:moveTo>
                    <a:pt x="1127" y="716"/>
                  </a:moveTo>
                  <a:cubicBezTo>
                    <a:pt x="1127" y="713"/>
                    <a:pt x="1132" y="715"/>
                    <a:pt x="1134" y="715"/>
                  </a:cubicBezTo>
                  <a:cubicBezTo>
                    <a:pt x="1132" y="705"/>
                    <a:pt x="1131" y="694"/>
                    <a:pt x="1129" y="685"/>
                  </a:cubicBezTo>
                  <a:cubicBezTo>
                    <a:pt x="1128" y="694"/>
                    <a:pt x="1125" y="707"/>
                    <a:pt x="1127" y="716"/>
                  </a:cubicBezTo>
                  <a:close/>
                  <a:moveTo>
                    <a:pt x="1277" y="690"/>
                  </a:moveTo>
                  <a:cubicBezTo>
                    <a:pt x="1272" y="746"/>
                    <a:pt x="1263" y="798"/>
                    <a:pt x="1252" y="848"/>
                  </a:cubicBezTo>
                  <a:cubicBezTo>
                    <a:pt x="1275" y="855"/>
                    <a:pt x="1298" y="862"/>
                    <a:pt x="1319" y="871"/>
                  </a:cubicBezTo>
                  <a:cubicBezTo>
                    <a:pt x="1316" y="804"/>
                    <a:pt x="1310" y="740"/>
                    <a:pt x="1295" y="685"/>
                  </a:cubicBezTo>
                  <a:cubicBezTo>
                    <a:pt x="1289" y="687"/>
                    <a:pt x="1283" y="688"/>
                    <a:pt x="1277" y="690"/>
                  </a:cubicBezTo>
                  <a:close/>
                  <a:moveTo>
                    <a:pt x="1443" y="884"/>
                  </a:moveTo>
                  <a:cubicBezTo>
                    <a:pt x="1447" y="884"/>
                    <a:pt x="1454" y="877"/>
                    <a:pt x="1459" y="875"/>
                  </a:cubicBezTo>
                  <a:cubicBezTo>
                    <a:pt x="1470" y="828"/>
                    <a:pt x="1478" y="779"/>
                    <a:pt x="1480" y="723"/>
                  </a:cubicBezTo>
                  <a:cubicBezTo>
                    <a:pt x="1465" y="709"/>
                    <a:pt x="1446" y="699"/>
                    <a:pt x="1426" y="689"/>
                  </a:cubicBezTo>
                  <a:cubicBezTo>
                    <a:pt x="1437" y="748"/>
                    <a:pt x="1446" y="814"/>
                    <a:pt x="1443" y="884"/>
                  </a:cubicBezTo>
                  <a:close/>
                  <a:moveTo>
                    <a:pt x="1136" y="718"/>
                  </a:moveTo>
                  <a:cubicBezTo>
                    <a:pt x="1142" y="751"/>
                    <a:pt x="1146" y="785"/>
                    <a:pt x="1148" y="822"/>
                  </a:cubicBezTo>
                  <a:cubicBezTo>
                    <a:pt x="1182" y="830"/>
                    <a:pt x="1216" y="838"/>
                    <a:pt x="1249" y="847"/>
                  </a:cubicBezTo>
                  <a:cubicBezTo>
                    <a:pt x="1260" y="798"/>
                    <a:pt x="1269" y="747"/>
                    <a:pt x="1274" y="691"/>
                  </a:cubicBezTo>
                  <a:cubicBezTo>
                    <a:pt x="1273" y="691"/>
                    <a:pt x="1272" y="691"/>
                    <a:pt x="1272" y="691"/>
                  </a:cubicBezTo>
                  <a:cubicBezTo>
                    <a:pt x="1229" y="702"/>
                    <a:pt x="1181" y="708"/>
                    <a:pt x="1136" y="718"/>
                  </a:cubicBezTo>
                  <a:close/>
                  <a:moveTo>
                    <a:pt x="317" y="834"/>
                  </a:moveTo>
                  <a:cubicBezTo>
                    <a:pt x="320" y="790"/>
                    <a:pt x="325" y="747"/>
                    <a:pt x="332" y="707"/>
                  </a:cubicBezTo>
                  <a:cubicBezTo>
                    <a:pt x="319" y="706"/>
                    <a:pt x="307" y="703"/>
                    <a:pt x="295" y="700"/>
                  </a:cubicBezTo>
                  <a:cubicBezTo>
                    <a:pt x="301" y="747"/>
                    <a:pt x="306" y="792"/>
                    <a:pt x="317" y="834"/>
                  </a:cubicBezTo>
                  <a:close/>
                  <a:moveTo>
                    <a:pt x="334" y="708"/>
                  </a:moveTo>
                  <a:cubicBezTo>
                    <a:pt x="329" y="749"/>
                    <a:pt x="320" y="792"/>
                    <a:pt x="320" y="836"/>
                  </a:cubicBezTo>
                  <a:cubicBezTo>
                    <a:pt x="364" y="824"/>
                    <a:pt x="411" y="815"/>
                    <a:pt x="460" y="809"/>
                  </a:cubicBezTo>
                  <a:cubicBezTo>
                    <a:pt x="456" y="781"/>
                    <a:pt x="452" y="754"/>
                    <a:pt x="450" y="724"/>
                  </a:cubicBezTo>
                  <a:cubicBezTo>
                    <a:pt x="410" y="721"/>
                    <a:pt x="372" y="714"/>
                    <a:pt x="334" y="708"/>
                  </a:cubicBezTo>
                  <a:close/>
                  <a:moveTo>
                    <a:pt x="12" y="759"/>
                  </a:moveTo>
                  <a:cubicBezTo>
                    <a:pt x="10" y="769"/>
                    <a:pt x="13" y="784"/>
                    <a:pt x="14" y="796"/>
                  </a:cubicBezTo>
                  <a:cubicBezTo>
                    <a:pt x="15" y="809"/>
                    <a:pt x="15" y="823"/>
                    <a:pt x="18" y="833"/>
                  </a:cubicBezTo>
                  <a:cubicBezTo>
                    <a:pt x="21" y="843"/>
                    <a:pt x="38" y="854"/>
                    <a:pt x="45" y="860"/>
                  </a:cubicBezTo>
                  <a:cubicBezTo>
                    <a:pt x="48" y="862"/>
                    <a:pt x="50" y="867"/>
                    <a:pt x="54" y="865"/>
                  </a:cubicBezTo>
                  <a:cubicBezTo>
                    <a:pt x="52" y="809"/>
                    <a:pt x="59" y="757"/>
                    <a:pt x="63" y="710"/>
                  </a:cubicBezTo>
                  <a:cubicBezTo>
                    <a:pt x="63" y="709"/>
                    <a:pt x="63" y="709"/>
                    <a:pt x="62" y="709"/>
                  </a:cubicBezTo>
                  <a:cubicBezTo>
                    <a:pt x="50" y="719"/>
                    <a:pt x="16" y="741"/>
                    <a:pt x="12" y="759"/>
                  </a:cubicBezTo>
                  <a:close/>
                  <a:moveTo>
                    <a:pt x="1134" y="718"/>
                  </a:moveTo>
                  <a:cubicBezTo>
                    <a:pt x="1133" y="716"/>
                    <a:pt x="1129" y="719"/>
                    <a:pt x="1126" y="718"/>
                  </a:cubicBezTo>
                  <a:cubicBezTo>
                    <a:pt x="1122" y="751"/>
                    <a:pt x="1118" y="785"/>
                    <a:pt x="1112" y="816"/>
                  </a:cubicBezTo>
                  <a:cubicBezTo>
                    <a:pt x="1124" y="818"/>
                    <a:pt x="1134" y="821"/>
                    <a:pt x="1146" y="822"/>
                  </a:cubicBezTo>
                  <a:cubicBezTo>
                    <a:pt x="1143" y="787"/>
                    <a:pt x="1139" y="752"/>
                    <a:pt x="1134" y="718"/>
                  </a:cubicBezTo>
                  <a:close/>
                  <a:moveTo>
                    <a:pt x="961" y="735"/>
                  </a:moveTo>
                  <a:cubicBezTo>
                    <a:pt x="960" y="755"/>
                    <a:pt x="958" y="775"/>
                    <a:pt x="956" y="795"/>
                  </a:cubicBezTo>
                  <a:cubicBezTo>
                    <a:pt x="1009" y="801"/>
                    <a:pt x="1060" y="807"/>
                    <a:pt x="1110" y="815"/>
                  </a:cubicBezTo>
                  <a:cubicBezTo>
                    <a:pt x="1113" y="784"/>
                    <a:pt x="1123" y="748"/>
                    <a:pt x="1121" y="719"/>
                  </a:cubicBezTo>
                  <a:cubicBezTo>
                    <a:pt x="1070" y="726"/>
                    <a:pt x="1016" y="732"/>
                    <a:pt x="961" y="735"/>
                  </a:cubicBezTo>
                  <a:close/>
                  <a:moveTo>
                    <a:pt x="1462" y="872"/>
                  </a:moveTo>
                  <a:cubicBezTo>
                    <a:pt x="1480" y="862"/>
                    <a:pt x="1495" y="848"/>
                    <a:pt x="1507" y="832"/>
                  </a:cubicBezTo>
                  <a:cubicBezTo>
                    <a:pt x="1507" y="814"/>
                    <a:pt x="1508" y="802"/>
                    <a:pt x="1507" y="786"/>
                  </a:cubicBezTo>
                  <a:cubicBezTo>
                    <a:pt x="1506" y="773"/>
                    <a:pt x="1508" y="759"/>
                    <a:pt x="1506" y="750"/>
                  </a:cubicBezTo>
                  <a:cubicBezTo>
                    <a:pt x="1503" y="738"/>
                    <a:pt x="1488" y="733"/>
                    <a:pt x="1482" y="724"/>
                  </a:cubicBezTo>
                  <a:cubicBezTo>
                    <a:pt x="1481" y="779"/>
                    <a:pt x="1472" y="827"/>
                    <a:pt x="1462" y="872"/>
                  </a:cubicBezTo>
                  <a:close/>
                  <a:moveTo>
                    <a:pt x="462" y="808"/>
                  </a:moveTo>
                  <a:cubicBezTo>
                    <a:pt x="479" y="806"/>
                    <a:pt x="496" y="804"/>
                    <a:pt x="512" y="801"/>
                  </a:cubicBezTo>
                  <a:cubicBezTo>
                    <a:pt x="515" y="778"/>
                    <a:pt x="516" y="755"/>
                    <a:pt x="518" y="732"/>
                  </a:cubicBezTo>
                  <a:cubicBezTo>
                    <a:pt x="496" y="729"/>
                    <a:pt x="474" y="727"/>
                    <a:pt x="452" y="725"/>
                  </a:cubicBezTo>
                  <a:cubicBezTo>
                    <a:pt x="455" y="753"/>
                    <a:pt x="458" y="780"/>
                    <a:pt x="462" y="808"/>
                  </a:cubicBezTo>
                  <a:close/>
                  <a:moveTo>
                    <a:pt x="56" y="868"/>
                  </a:moveTo>
                  <a:cubicBezTo>
                    <a:pt x="66" y="877"/>
                    <a:pt x="79" y="884"/>
                    <a:pt x="92" y="890"/>
                  </a:cubicBezTo>
                  <a:cubicBezTo>
                    <a:pt x="79" y="840"/>
                    <a:pt x="69" y="787"/>
                    <a:pt x="64" y="728"/>
                  </a:cubicBezTo>
                  <a:cubicBezTo>
                    <a:pt x="58" y="772"/>
                    <a:pt x="55" y="818"/>
                    <a:pt x="56" y="868"/>
                  </a:cubicBezTo>
                  <a:close/>
                  <a:moveTo>
                    <a:pt x="522" y="732"/>
                  </a:moveTo>
                  <a:cubicBezTo>
                    <a:pt x="518" y="753"/>
                    <a:pt x="518" y="778"/>
                    <a:pt x="515" y="801"/>
                  </a:cubicBezTo>
                  <a:cubicBezTo>
                    <a:pt x="549" y="797"/>
                    <a:pt x="584" y="794"/>
                    <a:pt x="619" y="791"/>
                  </a:cubicBezTo>
                  <a:cubicBezTo>
                    <a:pt x="619" y="773"/>
                    <a:pt x="617" y="756"/>
                    <a:pt x="616" y="739"/>
                  </a:cubicBezTo>
                  <a:cubicBezTo>
                    <a:pt x="585" y="736"/>
                    <a:pt x="553" y="735"/>
                    <a:pt x="522" y="732"/>
                  </a:cubicBezTo>
                  <a:close/>
                  <a:moveTo>
                    <a:pt x="8" y="761"/>
                  </a:moveTo>
                  <a:cubicBezTo>
                    <a:pt x="10" y="754"/>
                    <a:pt x="10" y="740"/>
                    <a:pt x="8" y="733"/>
                  </a:cubicBezTo>
                  <a:cubicBezTo>
                    <a:pt x="10" y="743"/>
                    <a:pt x="6" y="753"/>
                    <a:pt x="8" y="761"/>
                  </a:cubicBezTo>
                  <a:close/>
                  <a:moveTo>
                    <a:pt x="942" y="737"/>
                  </a:moveTo>
                  <a:cubicBezTo>
                    <a:pt x="943" y="757"/>
                    <a:pt x="945" y="775"/>
                    <a:pt x="945" y="795"/>
                  </a:cubicBezTo>
                  <a:cubicBezTo>
                    <a:pt x="948" y="795"/>
                    <a:pt x="950" y="795"/>
                    <a:pt x="953" y="795"/>
                  </a:cubicBezTo>
                  <a:cubicBezTo>
                    <a:pt x="956" y="776"/>
                    <a:pt x="957" y="756"/>
                    <a:pt x="958" y="736"/>
                  </a:cubicBezTo>
                  <a:cubicBezTo>
                    <a:pt x="953" y="736"/>
                    <a:pt x="946" y="735"/>
                    <a:pt x="942" y="737"/>
                  </a:cubicBezTo>
                  <a:close/>
                  <a:moveTo>
                    <a:pt x="790" y="742"/>
                  </a:moveTo>
                  <a:cubicBezTo>
                    <a:pt x="790" y="757"/>
                    <a:pt x="790" y="772"/>
                    <a:pt x="790" y="788"/>
                  </a:cubicBezTo>
                  <a:cubicBezTo>
                    <a:pt x="843" y="788"/>
                    <a:pt x="892" y="791"/>
                    <a:pt x="942" y="794"/>
                  </a:cubicBezTo>
                  <a:cubicBezTo>
                    <a:pt x="940" y="776"/>
                    <a:pt x="940" y="755"/>
                    <a:pt x="938" y="737"/>
                  </a:cubicBezTo>
                  <a:cubicBezTo>
                    <a:pt x="889" y="739"/>
                    <a:pt x="841" y="742"/>
                    <a:pt x="790" y="742"/>
                  </a:cubicBezTo>
                  <a:close/>
                  <a:moveTo>
                    <a:pt x="621" y="739"/>
                  </a:moveTo>
                  <a:cubicBezTo>
                    <a:pt x="619" y="755"/>
                    <a:pt x="623" y="774"/>
                    <a:pt x="623" y="791"/>
                  </a:cubicBezTo>
                  <a:cubicBezTo>
                    <a:pt x="657" y="790"/>
                    <a:pt x="691" y="788"/>
                    <a:pt x="726" y="788"/>
                  </a:cubicBezTo>
                  <a:cubicBezTo>
                    <a:pt x="726" y="772"/>
                    <a:pt x="726" y="757"/>
                    <a:pt x="726" y="742"/>
                  </a:cubicBezTo>
                  <a:cubicBezTo>
                    <a:pt x="690" y="742"/>
                    <a:pt x="656" y="740"/>
                    <a:pt x="621" y="739"/>
                  </a:cubicBezTo>
                  <a:close/>
                  <a:moveTo>
                    <a:pt x="729" y="742"/>
                  </a:moveTo>
                  <a:cubicBezTo>
                    <a:pt x="729" y="757"/>
                    <a:pt x="729" y="772"/>
                    <a:pt x="729" y="788"/>
                  </a:cubicBezTo>
                  <a:cubicBezTo>
                    <a:pt x="749" y="788"/>
                    <a:pt x="768" y="788"/>
                    <a:pt x="787" y="788"/>
                  </a:cubicBezTo>
                  <a:cubicBezTo>
                    <a:pt x="788" y="773"/>
                    <a:pt x="788" y="757"/>
                    <a:pt x="788" y="742"/>
                  </a:cubicBezTo>
                  <a:cubicBezTo>
                    <a:pt x="768" y="742"/>
                    <a:pt x="749" y="742"/>
                    <a:pt x="729" y="742"/>
                  </a:cubicBezTo>
                  <a:close/>
                  <a:moveTo>
                    <a:pt x="1508" y="753"/>
                  </a:moveTo>
                  <a:cubicBezTo>
                    <a:pt x="1508" y="753"/>
                    <a:pt x="1509" y="754"/>
                    <a:pt x="1508" y="753"/>
                  </a:cubicBezTo>
                  <a:close/>
                  <a:moveTo>
                    <a:pt x="1511" y="827"/>
                  </a:moveTo>
                  <a:cubicBezTo>
                    <a:pt x="1520" y="808"/>
                    <a:pt x="1524" y="768"/>
                    <a:pt x="1509" y="754"/>
                  </a:cubicBezTo>
                  <a:cubicBezTo>
                    <a:pt x="1510" y="778"/>
                    <a:pt x="1509" y="804"/>
                    <a:pt x="1511" y="827"/>
                  </a:cubicBezTo>
                  <a:close/>
                  <a:moveTo>
                    <a:pt x="15" y="828"/>
                  </a:moveTo>
                  <a:cubicBezTo>
                    <a:pt x="12" y="808"/>
                    <a:pt x="12" y="784"/>
                    <a:pt x="8" y="765"/>
                  </a:cubicBezTo>
                  <a:cubicBezTo>
                    <a:pt x="6" y="784"/>
                    <a:pt x="4" y="816"/>
                    <a:pt x="15" y="828"/>
                  </a:cubicBezTo>
                  <a:close/>
                  <a:moveTo>
                    <a:pt x="162" y="890"/>
                  </a:moveTo>
                  <a:cubicBezTo>
                    <a:pt x="171" y="884"/>
                    <a:pt x="184" y="881"/>
                    <a:pt x="193" y="875"/>
                  </a:cubicBezTo>
                  <a:cubicBezTo>
                    <a:pt x="182" y="842"/>
                    <a:pt x="176" y="805"/>
                    <a:pt x="169" y="768"/>
                  </a:cubicBezTo>
                  <a:cubicBezTo>
                    <a:pt x="165" y="806"/>
                    <a:pt x="159" y="852"/>
                    <a:pt x="162" y="890"/>
                  </a:cubicBezTo>
                  <a:close/>
                  <a:moveTo>
                    <a:pt x="5" y="797"/>
                  </a:moveTo>
                  <a:cubicBezTo>
                    <a:pt x="5" y="793"/>
                    <a:pt x="5" y="784"/>
                    <a:pt x="4" y="780"/>
                  </a:cubicBezTo>
                  <a:cubicBezTo>
                    <a:pt x="2" y="787"/>
                    <a:pt x="4" y="811"/>
                    <a:pt x="5" y="797"/>
                  </a:cubicBezTo>
                  <a:close/>
                  <a:moveTo>
                    <a:pt x="624" y="794"/>
                  </a:moveTo>
                  <a:cubicBezTo>
                    <a:pt x="627" y="863"/>
                    <a:pt x="635" y="934"/>
                    <a:pt x="643" y="1001"/>
                  </a:cubicBezTo>
                  <a:cubicBezTo>
                    <a:pt x="670" y="999"/>
                    <a:pt x="698" y="998"/>
                    <a:pt x="726" y="997"/>
                  </a:cubicBezTo>
                  <a:cubicBezTo>
                    <a:pt x="726" y="928"/>
                    <a:pt x="725" y="858"/>
                    <a:pt x="726" y="791"/>
                  </a:cubicBezTo>
                  <a:cubicBezTo>
                    <a:pt x="694" y="790"/>
                    <a:pt x="656" y="792"/>
                    <a:pt x="624" y="794"/>
                  </a:cubicBezTo>
                  <a:close/>
                  <a:moveTo>
                    <a:pt x="729" y="792"/>
                  </a:moveTo>
                  <a:cubicBezTo>
                    <a:pt x="727" y="859"/>
                    <a:pt x="729" y="929"/>
                    <a:pt x="728" y="997"/>
                  </a:cubicBezTo>
                  <a:cubicBezTo>
                    <a:pt x="747" y="997"/>
                    <a:pt x="765" y="997"/>
                    <a:pt x="783" y="997"/>
                  </a:cubicBezTo>
                  <a:cubicBezTo>
                    <a:pt x="785" y="929"/>
                    <a:pt x="787" y="860"/>
                    <a:pt x="787" y="790"/>
                  </a:cubicBezTo>
                  <a:cubicBezTo>
                    <a:pt x="768" y="790"/>
                    <a:pt x="749" y="790"/>
                    <a:pt x="730" y="790"/>
                  </a:cubicBezTo>
                  <a:cubicBezTo>
                    <a:pt x="729" y="790"/>
                    <a:pt x="729" y="791"/>
                    <a:pt x="729" y="792"/>
                  </a:cubicBezTo>
                  <a:close/>
                  <a:moveTo>
                    <a:pt x="790" y="792"/>
                  </a:moveTo>
                  <a:cubicBezTo>
                    <a:pt x="789" y="861"/>
                    <a:pt x="788" y="929"/>
                    <a:pt x="786" y="997"/>
                  </a:cubicBezTo>
                  <a:cubicBezTo>
                    <a:pt x="834" y="997"/>
                    <a:pt x="881" y="1003"/>
                    <a:pt x="927" y="998"/>
                  </a:cubicBezTo>
                  <a:cubicBezTo>
                    <a:pt x="937" y="935"/>
                    <a:pt x="950" y="870"/>
                    <a:pt x="942" y="797"/>
                  </a:cubicBezTo>
                  <a:cubicBezTo>
                    <a:pt x="894" y="792"/>
                    <a:pt x="842" y="791"/>
                    <a:pt x="791" y="790"/>
                  </a:cubicBezTo>
                  <a:cubicBezTo>
                    <a:pt x="790" y="790"/>
                    <a:pt x="790" y="791"/>
                    <a:pt x="790" y="792"/>
                  </a:cubicBezTo>
                  <a:close/>
                  <a:moveTo>
                    <a:pt x="1521" y="796"/>
                  </a:moveTo>
                  <a:cubicBezTo>
                    <a:pt x="1521" y="795"/>
                    <a:pt x="1522" y="788"/>
                    <a:pt x="1520" y="791"/>
                  </a:cubicBezTo>
                  <a:cubicBezTo>
                    <a:pt x="1520" y="793"/>
                    <a:pt x="1520" y="799"/>
                    <a:pt x="1521" y="796"/>
                  </a:cubicBezTo>
                  <a:close/>
                  <a:moveTo>
                    <a:pt x="515" y="804"/>
                  </a:moveTo>
                  <a:cubicBezTo>
                    <a:pt x="511" y="864"/>
                    <a:pt x="510" y="926"/>
                    <a:pt x="510" y="991"/>
                  </a:cubicBezTo>
                  <a:cubicBezTo>
                    <a:pt x="552" y="995"/>
                    <a:pt x="598" y="999"/>
                    <a:pt x="640" y="1000"/>
                  </a:cubicBezTo>
                  <a:cubicBezTo>
                    <a:pt x="631" y="934"/>
                    <a:pt x="624" y="865"/>
                    <a:pt x="620" y="794"/>
                  </a:cubicBezTo>
                  <a:cubicBezTo>
                    <a:pt x="584" y="797"/>
                    <a:pt x="549" y="799"/>
                    <a:pt x="515" y="804"/>
                  </a:cubicBezTo>
                  <a:close/>
                  <a:moveTo>
                    <a:pt x="948" y="845"/>
                  </a:moveTo>
                  <a:cubicBezTo>
                    <a:pt x="950" y="830"/>
                    <a:pt x="952" y="814"/>
                    <a:pt x="953" y="798"/>
                  </a:cubicBezTo>
                  <a:cubicBezTo>
                    <a:pt x="950" y="798"/>
                    <a:pt x="949" y="797"/>
                    <a:pt x="945" y="797"/>
                  </a:cubicBezTo>
                  <a:cubicBezTo>
                    <a:pt x="947" y="812"/>
                    <a:pt x="946" y="830"/>
                    <a:pt x="948" y="845"/>
                  </a:cubicBezTo>
                  <a:close/>
                  <a:moveTo>
                    <a:pt x="950" y="997"/>
                  </a:moveTo>
                  <a:cubicBezTo>
                    <a:pt x="991" y="993"/>
                    <a:pt x="1030" y="989"/>
                    <a:pt x="1070" y="985"/>
                  </a:cubicBezTo>
                  <a:cubicBezTo>
                    <a:pt x="1087" y="933"/>
                    <a:pt x="1099" y="877"/>
                    <a:pt x="1110" y="818"/>
                  </a:cubicBezTo>
                  <a:cubicBezTo>
                    <a:pt x="1061" y="809"/>
                    <a:pt x="1009" y="803"/>
                    <a:pt x="957" y="798"/>
                  </a:cubicBezTo>
                  <a:cubicBezTo>
                    <a:pt x="944" y="857"/>
                    <a:pt x="952" y="927"/>
                    <a:pt x="950" y="997"/>
                  </a:cubicBezTo>
                  <a:close/>
                  <a:moveTo>
                    <a:pt x="462" y="811"/>
                  </a:moveTo>
                  <a:cubicBezTo>
                    <a:pt x="470" y="866"/>
                    <a:pt x="483" y="925"/>
                    <a:pt x="495" y="975"/>
                  </a:cubicBezTo>
                  <a:cubicBezTo>
                    <a:pt x="497" y="982"/>
                    <a:pt x="496" y="993"/>
                    <a:pt x="508" y="991"/>
                  </a:cubicBezTo>
                  <a:cubicBezTo>
                    <a:pt x="507" y="935"/>
                    <a:pt x="508" y="873"/>
                    <a:pt x="511" y="820"/>
                  </a:cubicBezTo>
                  <a:cubicBezTo>
                    <a:pt x="512" y="816"/>
                    <a:pt x="515" y="807"/>
                    <a:pt x="510" y="804"/>
                  </a:cubicBezTo>
                  <a:cubicBezTo>
                    <a:pt x="494" y="807"/>
                    <a:pt x="477" y="808"/>
                    <a:pt x="462" y="811"/>
                  </a:cubicBezTo>
                  <a:close/>
                  <a:moveTo>
                    <a:pt x="318" y="839"/>
                  </a:moveTo>
                  <a:cubicBezTo>
                    <a:pt x="326" y="887"/>
                    <a:pt x="341" y="928"/>
                    <a:pt x="354" y="970"/>
                  </a:cubicBezTo>
                  <a:cubicBezTo>
                    <a:pt x="400" y="977"/>
                    <a:pt x="448" y="987"/>
                    <a:pt x="496" y="988"/>
                  </a:cubicBezTo>
                  <a:cubicBezTo>
                    <a:pt x="480" y="933"/>
                    <a:pt x="470" y="871"/>
                    <a:pt x="459" y="811"/>
                  </a:cubicBezTo>
                  <a:cubicBezTo>
                    <a:pt x="411" y="819"/>
                    <a:pt x="363" y="827"/>
                    <a:pt x="318" y="839"/>
                  </a:cubicBezTo>
                  <a:close/>
                  <a:moveTo>
                    <a:pt x="1113" y="819"/>
                  </a:moveTo>
                  <a:cubicBezTo>
                    <a:pt x="1113" y="819"/>
                    <a:pt x="1113" y="818"/>
                    <a:pt x="1112" y="818"/>
                  </a:cubicBezTo>
                  <a:cubicBezTo>
                    <a:pt x="1102" y="876"/>
                    <a:pt x="1089" y="932"/>
                    <a:pt x="1074" y="984"/>
                  </a:cubicBezTo>
                  <a:cubicBezTo>
                    <a:pt x="1100" y="981"/>
                    <a:pt x="1126" y="978"/>
                    <a:pt x="1151" y="973"/>
                  </a:cubicBezTo>
                  <a:cubicBezTo>
                    <a:pt x="1151" y="922"/>
                    <a:pt x="1149" y="873"/>
                    <a:pt x="1146" y="825"/>
                  </a:cubicBezTo>
                  <a:cubicBezTo>
                    <a:pt x="1135" y="823"/>
                    <a:pt x="1125" y="820"/>
                    <a:pt x="1113" y="819"/>
                  </a:cubicBezTo>
                  <a:close/>
                  <a:moveTo>
                    <a:pt x="46" y="1018"/>
                  </a:moveTo>
                  <a:cubicBezTo>
                    <a:pt x="45" y="1002"/>
                    <a:pt x="48" y="990"/>
                    <a:pt x="54" y="980"/>
                  </a:cubicBezTo>
                  <a:cubicBezTo>
                    <a:pt x="37" y="936"/>
                    <a:pt x="24" y="889"/>
                    <a:pt x="17" y="837"/>
                  </a:cubicBezTo>
                  <a:cubicBezTo>
                    <a:pt x="13" y="832"/>
                    <a:pt x="11" y="826"/>
                    <a:pt x="7" y="821"/>
                  </a:cubicBezTo>
                  <a:cubicBezTo>
                    <a:pt x="12" y="895"/>
                    <a:pt x="24" y="961"/>
                    <a:pt x="46" y="1018"/>
                  </a:cubicBezTo>
                  <a:close/>
                  <a:moveTo>
                    <a:pt x="1507" y="887"/>
                  </a:moveTo>
                  <a:cubicBezTo>
                    <a:pt x="1509" y="865"/>
                    <a:pt x="1516" y="844"/>
                    <a:pt x="1515" y="823"/>
                  </a:cubicBezTo>
                  <a:cubicBezTo>
                    <a:pt x="1506" y="838"/>
                    <a:pt x="1508" y="868"/>
                    <a:pt x="1507" y="887"/>
                  </a:cubicBezTo>
                  <a:close/>
                  <a:moveTo>
                    <a:pt x="1149" y="826"/>
                  </a:moveTo>
                  <a:cubicBezTo>
                    <a:pt x="1152" y="873"/>
                    <a:pt x="1154" y="922"/>
                    <a:pt x="1154" y="973"/>
                  </a:cubicBezTo>
                  <a:cubicBezTo>
                    <a:pt x="1174" y="969"/>
                    <a:pt x="1195" y="965"/>
                    <a:pt x="1215" y="961"/>
                  </a:cubicBezTo>
                  <a:cubicBezTo>
                    <a:pt x="1227" y="925"/>
                    <a:pt x="1240" y="889"/>
                    <a:pt x="1248" y="849"/>
                  </a:cubicBezTo>
                  <a:cubicBezTo>
                    <a:pt x="1215" y="841"/>
                    <a:pt x="1184" y="832"/>
                    <a:pt x="1149" y="826"/>
                  </a:cubicBezTo>
                  <a:close/>
                  <a:moveTo>
                    <a:pt x="1461" y="878"/>
                  </a:moveTo>
                  <a:cubicBezTo>
                    <a:pt x="1455" y="899"/>
                    <a:pt x="1449" y="921"/>
                    <a:pt x="1442" y="941"/>
                  </a:cubicBezTo>
                  <a:cubicBezTo>
                    <a:pt x="1456" y="956"/>
                    <a:pt x="1469" y="972"/>
                    <a:pt x="1476" y="993"/>
                  </a:cubicBezTo>
                  <a:cubicBezTo>
                    <a:pt x="1493" y="949"/>
                    <a:pt x="1507" y="896"/>
                    <a:pt x="1506" y="837"/>
                  </a:cubicBezTo>
                  <a:cubicBezTo>
                    <a:pt x="1495" y="854"/>
                    <a:pt x="1476" y="865"/>
                    <a:pt x="1461" y="878"/>
                  </a:cubicBezTo>
                  <a:close/>
                  <a:moveTo>
                    <a:pt x="196" y="877"/>
                  </a:moveTo>
                  <a:cubicBezTo>
                    <a:pt x="201" y="898"/>
                    <a:pt x="208" y="918"/>
                    <a:pt x="215" y="938"/>
                  </a:cubicBezTo>
                  <a:cubicBezTo>
                    <a:pt x="247" y="946"/>
                    <a:pt x="278" y="956"/>
                    <a:pt x="313" y="961"/>
                  </a:cubicBezTo>
                  <a:cubicBezTo>
                    <a:pt x="311" y="919"/>
                    <a:pt x="316" y="878"/>
                    <a:pt x="315" y="839"/>
                  </a:cubicBezTo>
                  <a:cubicBezTo>
                    <a:pt x="314" y="839"/>
                    <a:pt x="313" y="839"/>
                    <a:pt x="313" y="839"/>
                  </a:cubicBezTo>
                  <a:cubicBezTo>
                    <a:pt x="272" y="850"/>
                    <a:pt x="233" y="863"/>
                    <a:pt x="196" y="877"/>
                  </a:cubicBezTo>
                  <a:close/>
                  <a:moveTo>
                    <a:pt x="55" y="977"/>
                  </a:moveTo>
                  <a:cubicBezTo>
                    <a:pt x="56" y="970"/>
                    <a:pt x="61" y="968"/>
                    <a:pt x="63" y="962"/>
                  </a:cubicBezTo>
                  <a:cubicBezTo>
                    <a:pt x="57" y="935"/>
                    <a:pt x="56" y="902"/>
                    <a:pt x="54" y="871"/>
                  </a:cubicBezTo>
                  <a:cubicBezTo>
                    <a:pt x="42" y="861"/>
                    <a:pt x="30" y="852"/>
                    <a:pt x="20" y="840"/>
                  </a:cubicBezTo>
                  <a:cubicBezTo>
                    <a:pt x="27" y="890"/>
                    <a:pt x="39" y="936"/>
                    <a:pt x="55" y="977"/>
                  </a:cubicBezTo>
                  <a:close/>
                  <a:moveTo>
                    <a:pt x="1251" y="851"/>
                  </a:moveTo>
                  <a:cubicBezTo>
                    <a:pt x="1241" y="889"/>
                    <a:pt x="1230" y="925"/>
                    <a:pt x="1218" y="960"/>
                  </a:cubicBezTo>
                  <a:cubicBezTo>
                    <a:pt x="1253" y="953"/>
                    <a:pt x="1288" y="945"/>
                    <a:pt x="1320" y="935"/>
                  </a:cubicBezTo>
                  <a:cubicBezTo>
                    <a:pt x="1320" y="914"/>
                    <a:pt x="1320" y="893"/>
                    <a:pt x="1319" y="873"/>
                  </a:cubicBezTo>
                  <a:cubicBezTo>
                    <a:pt x="1296" y="866"/>
                    <a:pt x="1275" y="857"/>
                    <a:pt x="1251" y="851"/>
                  </a:cubicBezTo>
                  <a:close/>
                  <a:moveTo>
                    <a:pt x="316" y="962"/>
                  </a:moveTo>
                  <a:cubicBezTo>
                    <a:pt x="327" y="965"/>
                    <a:pt x="339" y="967"/>
                    <a:pt x="351" y="969"/>
                  </a:cubicBezTo>
                  <a:cubicBezTo>
                    <a:pt x="338" y="932"/>
                    <a:pt x="328" y="893"/>
                    <a:pt x="318" y="853"/>
                  </a:cubicBezTo>
                  <a:cubicBezTo>
                    <a:pt x="316" y="889"/>
                    <a:pt x="315" y="925"/>
                    <a:pt x="316" y="962"/>
                  </a:cubicBezTo>
                  <a:close/>
                  <a:moveTo>
                    <a:pt x="65" y="959"/>
                  </a:moveTo>
                  <a:cubicBezTo>
                    <a:pt x="75" y="948"/>
                    <a:pt x="90" y="935"/>
                    <a:pt x="102" y="923"/>
                  </a:cubicBezTo>
                  <a:cubicBezTo>
                    <a:pt x="99" y="914"/>
                    <a:pt x="96" y="904"/>
                    <a:pt x="94" y="894"/>
                  </a:cubicBezTo>
                  <a:cubicBezTo>
                    <a:pt x="80" y="889"/>
                    <a:pt x="69" y="880"/>
                    <a:pt x="56" y="873"/>
                  </a:cubicBezTo>
                  <a:cubicBezTo>
                    <a:pt x="59" y="902"/>
                    <a:pt x="60" y="932"/>
                    <a:pt x="65" y="959"/>
                  </a:cubicBezTo>
                  <a:close/>
                  <a:moveTo>
                    <a:pt x="1322" y="934"/>
                  </a:moveTo>
                  <a:cubicBezTo>
                    <a:pt x="1332" y="932"/>
                    <a:pt x="1340" y="928"/>
                    <a:pt x="1350" y="925"/>
                  </a:cubicBezTo>
                  <a:cubicBezTo>
                    <a:pt x="1354" y="914"/>
                    <a:pt x="1357" y="903"/>
                    <a:pt x="1360" y="891"/>
                  </a:cubicBezTo>
                  <a:cubicBezTo>
                    <a:pt x="1347" y="886"/>
                    <a:pt x="1335" y="880"/>
                    <a:pt x="1322" y="875"/>
                  </a:cubicBezTo>
                  <a:cubicBezTo>
                    <a:pt x="1323" y="895"/>
                    <a:pt x="1323" y="913"/>
                    <a:pt x="1322" y="934"/>
                  </a:cubicBezTo>
                  <a:close/>
                  <a:moveTo>
                    <a:pt x="194" y="879"/>
                  </a:moveTo>
                  <a:cubicBezTo>
                    <a:pt x="181" y="882"/>
                    <a:pt x="173" y="889"/>
                    <a:pt x="161" y="892"/>
                  </a:cubicBezTo>
                  <a:cubicBezTo>
                    <a:pt x="161" y="902"/>
                    <a:pt x="161" y="911"/>
                    <a:pt x="161" y="921"/>
                  </a:cubicBezTo>
                  <a:cubicBezTo>
                    <a:pt x="179" y="925"/>
                    <a:pt x="195" y="935"/>
                    <a:pt x="212" y="935"/>
                  </a:cubicBezTo>
                  <a:cubicBezTo>
                    <a:pt x="205" y="917"/>
                    <a:pt x="199" y="899"/>
                    <a:pt x="194" y="879"/>
                  </a:cubicBezTo>
                  <a:close/>
                  <a:moveTo>
                    <a:pt x="1457" y="881"/>
                  </a:moveTo>
                  <a:cubicBezTo>
                    <a:pt x="1457" y="880"/>
                    <a:pt x="1456" y="880"/>
                    <a:pt x="1455" y="880"/>
                  </a:cubicBezTo>
                  <a:cubicBezTo>
                    <a:pt x="1452" y="883"/>
                    <a:pt x="1447" y="885"/>
                    <a:pt x="1443" y="887"/>
                  </a:cubicBezTo>
                  <a:cubicBezTo>
                    <a:pt x="1443" y="905"/>
                    <a:pt x="1440" y="923"/>
                    <a:pt x="1441" y="937"/>
                  </a:cubicBezTo>
                  <a:cubicBezTo>
                    <a:pt x="1443" y="919"/>
                    <a:pt x="1456" y="899"/>
                    <a:pt x="1457" y="881"/>
                  </a:cubicBezTo>
                  <a:close/>
                  <a:moveTo>
                    <a:pt x="1505" y="889"/>
                  </a:moveTo>
                  <a:cubicBezTo>
                    <a:pt x="1506" y="893"/>
                    <a:pt x="1506" y="886"/>
                    <a:pt x="1505" y="889"/>
                  </a:cubicBezTo>
                  <a:close/>
                  <a:moveTo>
                    <a:pt x="1399" y="909"/>
                  </a:moveTo>
                  <a:cubicBezTo>
                    <a:pt x="1411" y="918"/>
                    <a:pt x="1425" y="927"/>
                    <a:pt x="1437" y="936"/>
                  </a:cubicBezTo>
                  <a:cubicBezTo>
                    <a:pt x="1438" y="922"/>
                    <a:pt x="1441" y="904"/>
                    <a:pt x="1439" y="889"/>
                  </a:cubicBezTo>
                  <a:cubicBezTo>
                    <a:pt x="1427" y="897"/>
                    <a:pt x="1413" y="903"/>
                    <a:pt x="1399" y="909"/>
                  </a:cubicBezTo>
                  <a:close/>
                  <a:moveTo>
                    <a:pt x="1354" y="924"/>
                  </a:moveTo>
                  <a:cubicBezTo>
                    <a:pt x="1366" y="919"/>
                    <a:pt x="1379" y="914"/>
                    <a:pt x="1392" y="910"/>
                  </a:cubicBezTo>
                  <a:cubicBezTo>
                    <a:pt x="1384" y="902"/>
                    <a:pt x="1373" y="898"/>
                    <a:pt x="1363" y="893"/>
                  </a:cubicBezTo>
                  <a:cubicBezTo>
                    <a:pt x="1360" y="903"/>
                    <a:pt x="1354" y="915"/>
                    <a:pt x="1354" y="924"/>
                  </a:cubicBezTo>
                  <a:close/>
                  <a:moveTo>
                    <a:pt x="131" y="910"/>
                  </a:moveTo>
                  <a:cubicBezTo>
                    <a:pt x="141" y="912"/>
                    <a:pt x="148" y="917"/>
                    <a:pt x="158" y="919"/>
                  </a:cubicBezTo>
                  <a:cubicBezTo>
                    <a:pt x="158" y="911"/>
                    <a:pt x="159" y="901"/>
                    <a:pt x="157" y="894"/>
                  </a:cubicBezTo>
                  <a:cubicBezTo>
                    <a:pt x="149" y="900"/>
                    <a:pt x="139" y="903"/>
                    <a:pt x="131" y="910"/>
                  </a:cubicBezTo>
                  <a:close/>
                  <a:moveTo>
                    <a:pt x="929" y="998"/>
                  </a:moveTo>
                  <a:cubicBezTo>
                    <a:pt x="936" y="999"/>
                    <a:pt x="939" y="996"/>
                    <a:pt x="945" y="997"/>
                  </a:cubicBezTo>
                  <a:cubicBezTo>
                    <a:pt x="947" y="964"/>
                    <a:pt x="945" y="928"/>
                    <a:pt x="944" y="895"/>
                  </a:cubicBezTo>
                  <a:cubicBezTo>
                    <a:pt x="941" y="931"/>
                    <a:pt x="935" y="964"/>
                    <a:pt x="929" y="998"/>
                  </a:cubicBezTo>
                  <a:close/>
                  <a:moveTo>
                    <a:pt x="98" y="897"/>
                  </a:moveTo>
                  <a:cubicBezTo>
                    <a:pt x="99" y="906"/>
                    <a:pt x="103" y="913"/>
                    <a:pt x="104" y="922"/>
                  </a:cubicBezTo>
                  <a:cubicBezTo>
                    <a:pt x="112" y="918"/>
                    <a:pt x="119" y="915"/>
                    <a:pt x="125" y="909"/>
                  </a:cubicBezTo>
                  <a:cubicBezTo>
                    <a:pt x="115" y="906"/>
                    <a:pt x="107" y="900"/>
                    <a:pt x="98" y="897"/>
                  </a:cubicBezTo>
                  <a:moveTo>
                    <a:pt x="98" y="897"/>
                  </a:moveTo>
                  <a:cubicBezTo>
                    <a:pt x="97" y="896"/>
                    <a:pt x="97" y="897"/>
                    <a:pt x="98" y="897"/>
                  </a:cubicBezTo>
                  <a:moveTo>
                    <a:pt x="128" y="911"/>
                  </a:moveTo>
                  <a:cubicBezTo>
                    <a:pt x="121" y="916"/>
                    <a:pt x="111" y="919"/>
                    <a:pt x="106" y="927"/>
                  </a:cubicBezTo>
                  <a:cubicBezTo>
                    <a:pt x="126" y="981"/>
                    <a:pt x="148" y="1032"/>
                    <a:pt x="176" y="1078"/>
                  </a:cubicBezTo>
                  <a:cubicBezTo>
                    <a:pt x="166" y="1030"/>
                    <a:pt x="160" y="978"/>
                    <a:pt x="158" y="922"/>
                  </a:cubicBezTo>
                  <a:cubicBezTo>
                    <a:pt x="148" y="919"/>
                    <a:pt x="138" y="915"/>
                    <a:pt x="128" y="911"/>
                  </a:cubicBezTo>
                  <a:close/>
                  <a:moveTo>
                    <a:pt x="1396" y="911"/>
                  </a:moveTo>
                  <a:cubicBezTo>
                    <a:pt x="1381" y="916"/>
                    <a:pt x="1367" y="923"/>
                    <a:pt x="1351" y="927"/>
                  </a:cubicBezTo>
                  <a:cubicBezTo>
                    <a:pt x="1341" y="957"/>
                    <a:pt x="1330" y="985"/>
                    <a:pt x="1317" y="1011"/>
                  </a:cubicBezTo>
                  <a:cubicBezTo>
                    <a:pt x="1313" y="1047"/>
                    <a:pt x="1308" y="1080"/>
                    <a:pt x="1301" y="1111"/>
                  </a:cubicBezTo>
                  <a:cubicBezTo>
                    <a:pt x="1314" y="1119"/>
                    <a:pt x="1324" y="1130"/>
                    <a:pt x="1336" y="1139"/>
                  </a:cubicBezTo>
                  <a:cubicBezTo>
                    <a:pt x="1376" y="1079"/>
                    <a:pt x="1414" y="1018"/>
                    <a:pt x="1437" y="941"/>
                  </a:cubicBezTo>
                  <a:cubicBezTo>
                    <a:pt x="1425" y="929"/>
                    <a:pt x="1410" y="920"/>
                    <a:pt x="1396" y="911"/>
                  </a:cubicBezTo>
                  <a:close/>
                  <a:moveTo>
                    <a:pt x="161" y="927"/>
                  </a:moveTo>
                  <a:cubicBezTo>
                    <a:pt x="163" y="985"/>
                    <a:pt x="170" y="1038"/>
                    <a:pt x="181" y="1087"/>
                  </a:cubicBezTo>
                  <a:cubicBezTo>
                    <a:pt x="190" y="1099"/>
                    <a:pt x="197" y="1113"/>
                    <a:pt x="206" y="1125"/>
                  </a:cubicBezTo>
                  <a:cubicBezTo>
                    <a:pt x="227" y="1107"/>
                    <a:pt x="251" y="1093"/>
                    <a:pt x="277" y="1081"/>
                  </a:cubicBezTo>
                  <a:cubicBezTo>
                    <a:pt x="255" y="1036"/>
                    <a:pt x="231" y="992"/>
                    <a:pt x="214" y="940"/>
                  </a:cubicBezTo>
                  <a:cubicBezTo>
                    <a:pt x="195" y="936"/>
                    <a:pt x="179" y="929"/>
                    <a:pt x="161" y="924"/>
                  </a:cubicBezTo>
                  <a:cubicBezTo>
                    <a:pt x="161" y="925"/>
                    <a:pt x="161" y="926"/>
                    <a:pt x="161" y="927"/>
                  </a:cubicBezTo>
                  <a:close/>
                  <a:moveTo>
                    <a:pt x="66" y="965"/>
                  </a:moveTo>
                  <a:cubicBezTo>
                    <a:pt x="64" y="977"/>
                    <a:pt x="71" y="992"/>
                    <a:pt x="74" y="1005"/>
                  </a:cubicBezTo>
                  <a:cubicBezTo>
                    <a:pt x="77" y="1019"/>
                    <a:pt x="78" y="1032"/>
                    <a:pt x="82" y="1043"/>
                  </a:cubicBezTo>
                  <a:cubicBezTo>
                    <a:pt x="93" y="1070"/>
                    <a:pt x="112" y="1092"/>
                    <a:pt x="122" y="1112"/>
                  </a:cubicBezTo>
                  <a:cubicBezTo>
                    <a:pt x="142" y="1123"/>
                    <a:pt x="164" y="1137"/>
                    <a:pt x="186" y="1144"/>
                  </a:cubicBezTo>
                  <a:cubicBezTo>
                    <a:pt x="195" y="1137"/>
                    <a:pt x="189" y="1127"/>
                    <a:pt x="186" y="1118"/>
                  </a:cubicBezTo>
                  <a:cubicBezTo>
                    <a:pt x="183" y="1108"/>
                    <a:pt x="181" y="1097"/>
                    <a:pt x="179" y="1087"/>
                  </a:cubicBezTo>
                  <a:cubicBezTo>
                    <a:pt x="149" y="1039"/>
                    <a:pt x="124" y="986"/>
                    <a:pt x="104" y="928"/>
                  </a:cubicBezTo>
                  <a:cubicBezTo>
                    <a:pt x="104" y="927"/>
                    <a:pt x="104" y="927"/>
                    <a:pt x="103" y="927"/>
                  </a:cubicBezTo>
                  <a:cubicBezTo>
                    <a:pt x="95" y="937"/>
                    <a:pt x="68" y="952"/>
                    <a:pt x="66" y="965"/>
                  </a:cubicBezTo>
                  <a:close/>
                  <a:moveTo>
                    <a:pt x="1322" y="936"/>
                  </a:moveTo>
                  <a:cubicBezTo>
                    <a:pt x="1322" y="959"/>
                    <a:pt x="1319" y="983"/>
                    <a:pt x="1319" y="1003"/>
                  </a:cubicBezTo>
                  <a:cubicBezTo>
                    <a:pt x="1329" y="979"/>
                    <a:pt x="1339" y="954"/>
                    <a:pt x="1349" y="929"/>
                  </a:cubicBezTo>
                  <a:cubicBezTo>
                    <a:pt x="1339" y="930"/>
                    <a:pt x="1332" y="935"/>
                    <a:pt x="1322" y="936"/>
                  </a:cubicBezTo>
                  <a:close/>
                  <a:moveTo>
                    <a:pt x="1216" y="963"/>
                  </a:moveTo>
                  <a:cubicBezTo>
                    <a:pt x="1206" y="996"/>
                    <a:pt x="1192" y="1025"/>
                    <a:pt x="1179" y="1055"/>
                  </a:cubicBezTo>
                  <a:cubicBezTo>
                    <a:pt x="1212" y="1065"/>
                    <a:pt x="1242" y="1078"/>
                    <a:pt x="1271" y="1093"/>
                  </a:cubicBezTo>
                  <a:cubicBezTo>
                    <a:pt x="1278" y="1080"/>
                    <a:pt x="1286" y="1067"/>
                    <a:pt x="1294" y="1053"/>
                  </a:cubicBezTo>
                  <a:cubicBezTo>
                    <a:pt x="1300" y="1041"/>
                    <a:pt x="1312" y="1023"/>
                    <a:pt x="1315" y="1010"/>
                  </a:cubicBezTo>
                  <a:cubicBezTo>
                    <a:pt x="1320" y="988"/>
                    <a:pt x="1316" y="966"/>
                    <a:pt x="1319" y="938"/>
                  </a:cubicBezTo>
                  <a:cubicBezTo>
                    <a:pt x="1318" y="938"/>
                    <a:pt x="1318" y="938"/>
                    <a:pt x="1317" y="938"/>
                  </a:cubicBezTo>
                  <a:cubicBezTo>
                    <a:pt x="1285" y="948"/>
                    <a:pt x="1252" y="957"/>
                    <a:pt x="1216" y="963"/>
                  </a:cubicBezTo>
                  <a:close/>
                  <a:moveTo>
                    <a:pt x="280" y="1079"/>
                  </a:moveTo>
                  <a:cubicBezTo>
                    <a:pt x="293" y="1075"/>
                    <a:pt x="305" y="1068"/>
                    <a:pt x="319" y="1064"/>
                  </a:cubicBezTo>
                  <a:cubicBezTo>
                    <a:pt x="315" y="1033"/>
                    <a:pt x="314" y="998"/>
                    <a:pt x="313" y="964"/>
                  </a:cubicBezTo>
                  <a:cubicBezTo>
                    <a:pt x="279" y="958"/>
                    <a:pt x="248" y="950"/>
                    <a:pt x="217" y="941"/>
                  </a:cubicBezTo>
                  <a:cubicBezTo>
                    <a:pt x="234" y="991"/>
                    <a:pt x="256" y="1036"/>
                    <a:pt x="280" y="1079"/>
                  </a:cubicBezTo>
                  <a:close/>
                  <a:moveTo>
                    <a:pt x="1403" y="1111"/>
                  </a:moveTo>
                  <a:cubicBezTo>
                    <a:pt x="1431" y="1098"/>
                    <a:pt x="1442" y="1073"/>
                    <a:pt x="1454" y="1045"/>
                  </a:cubicBezTo>
                  <a:cubicBezTo>
                    <a:pt x="1461" y="1029"/>
                    <a:pt x="1470" y="1013"/>
                    <a:pt x="1474" y="997"/>
                  </a:cubicBezTo>
                  <a:cubicBezTo>
                    <a:pt x="1468" y="975"/>
                    <a:pt x="1455" y="958"/>
                    <a:pt x="1440" y="944"/>
                  </a:cubicBezTo>
                  <a:cubicBezTo>
                    <a:pt x="1433" y="1004"/>
                    <a:pt x="1418" y="1062"/>
                    <a:pt x="1403" y="1111"/>
                  </a:cubicBezTo>
                  <a:close/>
                  <a:moveTo>
                    <a:pt x="1491" y="959"/>
                  </a:moveTo>
                  <a:cubicBezTo>
                    <a:pt x="1492" y="962"/>
                    <a:pt x="1492" y="955"/>
                    <a:pt x="1491" y="959"/>
                  </a:cubicBezTo>
                  <a:close/>
                  <a:moveTo>
                    <a:pt x="1434" y="961"/>
                  </a:moveTo>
                  <a:cubicBezTo>
                    <a:pt x="1434" y="961"/>
                    <a:pt x="1435" y="962"/>
                    <a:pt x="1434" y="961"/>
                  </a:cubicBezTo>
                  <a:close/>
                  <a:moveTo>
                    <a:pt x="1490" y="963"/>
                  </a:moveTo>
                  <a:cubicBezTo>
                    <a:pt x="1489" y="963"/>
                    <a:pt x="1489" y="963"/>
                    <a:pt x="1489" y="963"/>
                  </a:cubicBezTo>
                  <a:cubicBezTo>
                    <a:pt x="1487" y="979"/>
                    <a:pt x="1474" y="992"/>
                    <a:pt x="1479" y="1008"/>
                  </a:cubicBezTo>
                  <a:cubicBezTo>
                    <a:pt x="1482" y="992"/>
                    <a:pt x="1488" y="980"/>
                    <a:pt x="1490" y="963"/>
                  </a:cubicBezTo>
                  <a:moveTo>
                    <a:pt x="1490" y="963"/>
                  </a:moveTo>
                  <a:cubicBezTo>
                    <a:pt x="1493" y="962"/>
                    <a:pt x="1489" y="958"/>
                    <a:pt x="1490" y="963"/>
                  </a:cubicBezTo>
                  <a:moveTo>
                    <a:pt x="1350" y="1123"/>
                  </a:moveTo>
                  <a:cubicBezTo>
                    <a:pt x="1346" y="1129"/>
                    <a:pt x="1339" y="1135"/>
                    <a:pt x="1338" y="1144"/>
                  </a:cubicBezTo>
                  <a:cubicBezTo>
                    <a:pt x="1361" y="1136"/>
                    <a:pt x="1379" y="1125"/>
                    <a:pt x="1398" y="1114"/>
                  </a:cubicBezTo>
                  <a:cubicBezTo>
                    <a:pt x="1414" y="1068"/>
                    <a:pt x="1429" y="1017"/>
                    <a:pt x="1433" y="963"/>
                  </a:cubicBezTo>
                  <a:cubicBezTo>
                    <a:pt x="1411" y="1021"/>
                    <a:pt x="1383" y="1076"/>
                    <a:pt x="1350" y="1123"/>
                  </a:cubicBezTo>
                  <a:close/>
                  <a:moveTo>
                    <a:pt x="1213" y="965"/>
                  </a:moveTo>
                  <a:cubicBezTo>
                    <a:pt x="1195" y="967"/>
                    <a:pt x="1173" y="973"/>
                    <a:pt x="1153" y="976"/>
                  </a:cubicBezTo>
                  <a:cubicBezTo>
                    <a:pt x="1153" y="1000"/>
                    <a:pt x="1152" y="1023"/>
                    <a:pt x="1150" y="1046"/>
                  </a:cubicBezTo>
                  <a:cubicBezTo>
                    <a:pt x="1160" y="1048"/>
                    <a:pt x="1167" y="1052"/>
                    <a:pt x="1177" y="1054"/>
                  </a:cubicBezTo>
                  <a:cubicBezTo>
                    <a:pt x="1190" y="1025"/>
                    <a:pt x="1202" y="996"/>
                    <a:pt x="1213" y="965"/>
                  </a:cubicBezTo>
                  <a:close/>
                  <a:moveTo>
                    <a:pt x="321" y="1062"/>
                  </a:moveTo>
                  <a:cubicBezTo>
                    <a:pt x="341" y="1057"/>
                    <a:pt x="360" y="1049"/>
                    <a:pt x="380" y="1044"/>
                  </a:cubicBezTo>
                  <a:cubicBezTo>
                    <a:pt x="370" y="1020"/>
                    <a:pt x="361" y="996"/>
                    <a:pt x="352" y="972"/>
                  </a:cubicBezTo>
                  <a:cubicBezTo>
                    <a:pt x="339" y="970"/>
                    <a:pt x="328" y="967"/>
                    <a:pt x="316" y="965"/>
                  </a:cubicBezTo>
                  <a:cubicBezTo>
                    <a:pt x="316" y="999"/>
                    <a:pt x="319" y="1030"/>
                    <a:pt x="321" y="1062"/>
                  </a:cubicBezTo>
                  <a:close/>
                  <a:moveTo>
                    <a:pt x="75" y="1024"/>
                  </a:moveTo>
                  <a:cubicBezTo>
                    <a:pt x="70" y="1006"/>
                    <a:pt x="68" y="985"/>
                    <a:pt x="62" y="968"/>
                  </a:cubicBezTo>
                  <a:cubicBezTo>
                    <a:pt x="50" y="986"/>
                    <a:pt x="69" y="1007"/>
                    <a:pt x="75" y="1024"/>
                  </a:cubicBezTo>
                  <a:close/>
                  <a:moveTo>
                    <a:pt x="382" y="1043"/>
                  </a:moveTo>
                  <a:cubicBezTo>
                    <a:pt x="421" y="1032"/>
                    <a:pt x="463" y="1025"/>
                    <a:pt x="504" y="1016"/>
                  </a:cubicBezTo>
                  <a:cubicBezTo>
                    <a:pt x="501" y="1009"/>
                    <a:pt x="499" y="1001"/>
                    <a:pt x="497" y="992"/>
                  </a:cubicBezTo>
                  <a:cubicBezTo>
                    <a:pt x="448" y="988"/>
                    <a:pt x="402" y="981"/>
                    <a:pt x="356" y="973"/>
                  </a:cubicBezTo>
                  <a:cubicBezTo>
                    <a:pt x="363" y="998"/>
                    <a:pt x="374" y="1019"/>
                    <a:pt x="382" y="1043"/>
                  </a:cubicBezTo>
                  <a:close/>
                  <a:moveTo>
                    <a:pt x="1150" y="976"/>
                  </a:moveTo>
                  <a:cubicBezTo>
                    <a:pt x="1125" y="981"/>
                    <a:pt x="1099" y="984"/>
                    <a:pt x="1073" y="987"/>
                  </a:cubicBezTo>
                  <a:cubicBezTo>
                    <a:pt x="1069" y="1000"/>
                    <a:pt x="1065" y="1012"/>
                    <a:pt x="1062" y="1025"/>
                  </a:cubicBezTo>
                  <a:cubicBezTo>
                    <a:pt x="1092" y="1029"/>
                    <a:pt x="1121" y="1039"/>
                    <a:pt x="1148" y="1044"/>
                  </a:cubicBezTo>
                  <a:cubicBezTo>
                    <a:pt x="1148" y="1021"/>
                    <a:pt x="1151" y="996"/>
                    <a:pt x="1150" y="976"/>
                  </a:cubicBezTo>
                  <a:close/>
                  <a:moveTo>
                    <a:pt x="95" y="1092"/>
                  </a:moveTo>
                  <a:cubicBezTo>
                    <a:pt x="95" y="1093"/>
                    <a:pt x="96" y="1092"/>
                    <a:pt x="95" y="1092"/>
                  </a:cubicBezTo>
                  <a:moveTo>
                    <a:pt x="95" y="1092"/>
                  </a:moveTo>
                  <a:cubicBezTo>
                    <a:pt x="84" y="1053"/>
                    <a:pt x="70" y="1017"/>
                    <a:pt x="54" y="984"/>
                  </a:cubicBezTo>
                  <a:cubicBezTo>
                    <a:pt x="36" y="1032"/>
                    <a:pt x="67" y="1071"/>
                    <a:pt x="95" y="1092"/>
                  </a:cubicBezTo>
                  <a:moveTo>
                    <a:pt x="950" y="1000"/>
                  </a:moveTo>
                  <a:cubicBezTo>
                    <a:pt x="950" y="1002"/>
                    <a:pt x="950" y="1004"/>
                    <a:pt x="950" y="1007"/>
                  </a:cubicBezTo>
                  <a:cubicBezTo>
                    <a:pt x="986" y="1013"/>
                    <a:pt x="1024" y="1017"/>
                    <a:pt x="1059" y="1024"/>
                  </a:cubicBezTo>
                  <a:cubicBezTo>
                    <a:pt x="1063" y="1013"/>
                    <a:pt x="1066" y="1000"/>
                    <a:pt x="1070" y="988"/>
                  </a:cubicBezTo>
                  <a:cubicBezTo>
                    <a:pt x="1030" y="992"/>
                    <a:pt x="990" y="996"/>
                    <a:pt x="950" y="1000"/>
                  </a:cubicBezTo>
                  <a:close/>
                  <a:moveTo>
                    <a:pt x="508" y="1016"/>
                  </a:moveTo>
                  <a:cubicBezTo>
                    <a:pt x="508" y="1009"/>
                    <a:pt x="508" y="1001"/>
                    <a:pt x="508" y="994"/>
                  </a:cubicBezTo>
                  <a:cubicBezTo>
                    <a:pt x="506" y="993"/>
                    <a:pt x="503" y="993"/>
                    <a:pt x="500" y="993"/>
                  </a:cubicBezTo>
                  <a:cubicBezTo>
                    <a:pt x="502" y="1001"/>
                    <a:pt x="502" y="1011"/>
                    <a:pt x="508" y="1016"/>
                  </a:cubicBezTo>
                  <a:close/>
                  <a:moveTo>
                    <a:pt x="510" y="994"/>
                  </a:moveTo>
                  <a:cubicBezTo>
                    <a:pt x="511" y="1001"/>
                    <a:pt x="509" y="1011"/>
                    <a:pt x="511" y="1016"/>
                  </a:cubicBezTo>
                  <a:cubicBezTo>
                    <a:pt x="545" y="1009"/>
                    <a:pt x="584" y="1008"/>
                    <a:pt x="619" y="1002"/>
                  </a:cubicBezTo>
                  <a:cubicBezTo>
                    <a:pt x="581" y="1001"/>
                    <a:pt x="546" y="997"/>
                    <a:pt x="510" y="994"/>
                  </a:cubicBezTo>
                  <a:close/>
                  <a:moveTo>
                    <a:pt x="684" y="1002"/>
                  </a:moveTo>
                  <a:cubicBezTo>
                    <a:pt x="696" y="1003"/>
                    <a:pt x="716" y="1005"/>
                    <a:pt x="726" y="1001"/>
                  </a:cubicBezTo>
                  <a:cubicBezTo>
                    <a:pt x="714" y="999"/>
                    <a:pt x="697" y="1001"/>
                    <a:pt x="684" y="1002"/>
                  </a:cubicBezTo>
                  <a:close/>
                  <a:moveTo>
                    <a:pt x="728" y="1002"/>
                  </a:moveTo>
                  <a:cubicBezTo>
                    <a:pt x="729" y="1002"/>
                    <a:pt x="729" y="1003"/>
                    <a:pt x="730" y="1003"/>
                  </a:cubicBezTo>
                  <a:cubicBezTo>
                    <a:pt x="740" y="1004"/>
                    <a:pt x="752" y="1004"/>
                    <a:pt x="763" y="1004"/>
                  </a:cubicBezTo>
                  <a:cubicBezTo>
                    <a:pt x="770" y="1004"/>
                    <a:pt x="780" y="1006"/>
                    <a:pt x="783" y="1001"/>
                  </a:cubicBezTo>
                  <a:cubicBezTo>
                    <a:pt x="767" y="1000"/>
                    <a:pt x="743" y="998"/>
                    <a:pt x="728" y="1002"/>
                  </a:cubicBezTo>
                  <a:close/>
                  <a:moveTo>
                    <a:pt x="786" y="1002"/>
                  </a:moveTo>
                  <a:cubicBezTo>
                    <a:pt x="802" y="1003"/>
                    <a:pt x="826" y="1004"/>
                    <a:pt x="840" y="1001"/>
                  </a:cubicBezTo>
                  <a:cubicBezTo>
                    <a:pt x="822" y="1003"/>
                    <a:pt x="801" y="997"/>
                    <a:pt x="786" y="1002"/>
                  </a:cubicBezTo>
                  <a:close/>
                  <a:moveTo>
                    <a:pt x="928" y="1005"/>
                  </a:moveTo>
                  <a:cubicBezTo>
                    <a:pt x="933" y="1006"/>
                    <a:pt x="939" y="1006"/>
                    <a:pt x="945" y="1007"/>
                  </a:cubicBezTo>
                  <a:cubicBezTo>
                    <a:pt x="945" y="1004"/>
                    <a:pt x="945" y="1002"/>
                    <a:pt x="945" y="1000"/>
                  </a:cubicBezTo>
                  <a:cubicBezTo>
                    <a:pt x="939" y="1001"/>
                    <a:pt x="929" y="998"/>
                    <a:pt x="928" y="1005"/>
                  </a:cubicBezTo>
                  <a:close/>
                  <a:moveTo>
                    <a:pt x="905" y="1003"/>
                  </a:moveTo>
                  <a:cubicBezTo>
                    <a:pt x="911" y="1002"/>
                    <a:pt x="924" y="1008"/>
                    <a:pt x="926" y="1002"/>
                  </a:cubicBezTo>
                  <a:cubicBezTo>
                    <a:pt x="921" y="1001"/>
                    <a:pt x="911" y="1002"/>
                    <a:pt x="905" y="1003"/>
                  </a:cubicBezTo>
                  <a:close/>
                  <a:moveTo>
                    <a:pt x="510" y="1018"/>
                  </a:moveTo>
                  <a:cubicBezTo>
                    <a:pt x="512" y="1043"/>
                    <a:pt x="518" y="1061"/>
                    <a:pt x="525" y="1080"/>
                  </a:cubicBezTo>
                  <a:cubicBezTo>
                    <a:pt x="539" y="1124"/>
                    <a:pt x="556" y="1165"/>
                    <a:pt x="573" y="1204"/>
                  </a:cubicBezTo>
                  <a:cubicBezTo>
                    <a:pt x="605" y="1200"/>
                    <a:pt x="636" y="1195"/>
                    <a:pt x="671" y="1193"/>
                  </a:cubicBezTo>
                  <a:cubicBezTo>
                    <a:pt x="658" y="1137"/>
                    <a:pt x="651" y="1072"/>
                    <a:pt x="641" y="1014"/>
                  </a:cubicBezTo>
                  <a:cubicBezTo>
                    <a:pt x="641" y="1011"/>
                    <a:pt x="643" y="1004"/>
                    <a:pt x="637" y="1004"/>
                  </a:cubicBezTo>
                  <a:cubicBezTo>
                    <a:pt x="594" y="1007"/>
                    <a:pt x="552" y="1012"/>
                    <a:pt x="510" y="1018"/>
                  </a:cubicBezTo>
                  <a:close/>
                  <a:moveTo>
                    <a:pt x="675" y="1192"/>
                  </a:moveTo>
                  <a:cubicBezTo>
                    <a:pt x="693" y="1192"/>
                    <a:pt x="708" y="1189"/>
                    <a:pt x="726" y="1190"/>
                  </a:cubicBezTo>
                  <a:cubicBezTo>
                    <a:pt x="727" y="1128"/>
                    <a:pt x="725" y="1068"/>
                    <a:pt x="726" y="1006"/>
                  </a:cubicBezTo>
                  <a:cubicBezTo>
                    <a:pt x="697" y="1006"/>
                    <a:pt x="672" y="1004"/>
                    <a:pt x="645" y="1004"/>
                  </a:cubicBezTo>
                  <a:cubicBezTo>
                    <a:pt x="650" y="1067"/>
                    <a:pt x="663" y="1131"/>
                    <a:pt x="675" y="1192"/>
                  </a:cubicBezTo>
                  <a:close/>
                  <a:moveTo>
                    <a:pt x="786" y="1006"/>
                  </a:moveTo>
                  <a:cubicBezTo>
                    <a:pt x="784" y="1067"/>
                    <a:pt x="782" y="1128"/>
                    <a:pt x="780" y="1189"/>
                  </a:cubicBezTo>
                  <a:cubicBezTo>
                    <a:pt x="815" y="1190"/>
                    <a:pt x="851" y="1191"/>
                    <a:pt x="883" y="1196"/>
                  </a:cubicBezTo>
                  <a:cubicBezTo>
                    <a:pt x="899" y="1135"/>
                    <a:pt x="913" y="1072"/>
                    <a:pt x="925" y="1007"/>
                  </a:cubicBezTo>
                  <a:cubicBezTo>
                    <a:pt x="882" y="1000"/>
                    <a:pt x="834" y="1007"/>
                    <a:pt x="786" y="1006"/>
                  </a:cubicBezTo>
                  <a:close/>
                  <a:moveTo>
                    <a:pt x="1439" y="1083"/>
                  </a:moveTo>
                  <a:cubicBezTo>
                    <a:pt x="1437" y="1084"/>
                    <a:pt x="1439" y="1084"/>
                    <a:pt x="1439" y="1083"/>
                  </a:cubicBezTo>
                  <a:moveTo>
                    <a:pt x="1439" y="1083"/>
                  </a:moveTo>
                  <a:cubicBezTo>
                    <a:pt x="1439" y="1083"/>
                    <a:pt x="1440" y="1083"/>
                    <a:pt x="1440" y="1083"/>
                  </a:cubicBezTo>
                  <a:cubicBezTo>
                    <a:pt x="1458" y="1065"/>
                    <a:pt x="1478" y="1037"/>
                    <a:pt x="1474" y="1004"/>
                  </a:cubicBezTo>
                  <a:cubicBezTo>
                    <a:pt x="1465" y="1033"/>
                    <a:pt x="1451" y="1057"/>
                    <a:pt x="1439" y="1083"/>
                  </a:cubicBezTo>
                  <a:moveTo>
                    <a:pt x="729" y="1190"/>
                  </a:moveTo>
                  <a:cubicBezTo>
                    <a:pt x="744" y="1188"/>
                    <a:pt x="762" y="1189"/>
                    <a:pt x="777" y="1189"/>
                  </a:cubicBezTo>
                  <a:cubicBezTo>
                    <a:pt x="780" y="1129"/>
                    <a:pt x="782" y="1067"/>
                    <a:pt x="783" y="1006"/>
                  </a:cubicBezTo>
                  <a:cubicBezTo>
                    <a:pt x="765" y="1006"/>
                    <a:pt x="747" y="1006"/>
                    <a:pt x="729" y="1006"/>
                  </a:cubicBezTo>
                  <a:cubicBezTo>
                    <a:pt x="727" y="1066"/>
                    <a:pt x="729" y="1129"/>
                    <a:pt x="729" y="1190"/>
                  </a:cubicBezTo>
                  <a:close/>
                  <a:moveTo>
                    <a:pt x="928" y="1007"/>
                  </a:moveTo>
                  <a:cubicBezTo>
                    <a:pt x="915" y="1072"/>
                    <a:pt x="903" y="1136"/>
                    <a:pt x="885" y="1196"/>
                  </a:cubicBezTo>
                  <a:cubicBezTo>
                    <a:pt x="903" y="1197"/>
                    <a:pt x="920" y="1200"/>
                    <a:pt x="937" y="1202"/>
                  </a:cubicBezTo>
                  <a:cubicBezTo>
                    <a:pt x="941" y="1140"/>
                    <a:pt x="945" y="1077"/>
                    <a:pt x="945" y="1009"/>
                  </a:cubicBezTo>
                  <a:cubicBezTo>
                    <a:pt x="940" y="1009"/>
                    <a:pt x="934" y="1008"/>
                    <a:pt x="928" y="1007"/>
                  </a:cubicBezTo>
                  <a:close/>
                  <a:moveTo>
                    <a:pt x="951" y="1010"/>
                  </a:moveTo>
                  <a:cubicBezTo>
                    <a:pt x="947" y="1074"/>
                    <a:pt x="947" y="1142"/>
                    <a:pt x="941" y="1203"/>
                  </a:cubicBezTo>
                  <a:cubicBezTo>
                    <a:pt x="955" y="1205"/>
                    <a:pt x="968" y="1208"/>
                    <a:pt x="981" y="1211"/>
                  </a:cubicBezTo>
                  <a:cubicBezTo>
                    <a:pt x="1010" y="1153"/>
                    <a:pt x="1037" y="1093"/>
                    <a:pt x="1058" y="1026"/>
                  </a:cubicBezTo>
                  <a:cubicBezTo>
                    <a:pt x="1022" y="1020"/>
                    <a:pt x="989" y="1013"/>
                    <a:pt x="951" y="1010"/>
                  </a:cubicBezTo>
                  <a:close/>
                  <a:moveTo>
                    <a:pt x="507" y="1020"/>
                  </a:moveTo>
                  <a:cubicBezTo>
                    <a:pt x="508" y="1024"/>
                    <a:pt x="508" y="1016"/>
                    <a:pt x="507" y="1020"/>
                  </a:cubicBezTo>
                  <a:close/>
                  <a:moveTo>
                    <a:pt x="384" y="1045"/>
                  </a:moveTo>
                  <a:cubicBezTo>
                    <a:pt x="411" y="1107"/>
                    <a:pt x="441" y="1167"/>
                    <a:pt x="479" y="1218"/>
                  </a:cubicBezTo>
                  <a:cubicBezTo>
                    <a:pt x="493" y="1223"/>
                    <a:pt x="508" y="1219"/>
                    <a:pt x="522" y="1216"/>
                  </a:cubicBezTo>
                  <a:cubicBezTo>
                    <a:pt x="517" y="1173"/>
                    <a:pt x="513" y="1126"/>
                    <a:pt x="510" y="1081"/>
                  </a:cubicBezTo>
                  <a:cubicBezTo>
                    <a:pt x="509" y="1066"/>
                    <a:pt x="511" y="1049"/>
                    <a:pt x="509" y="1034"/>
                  </a:cubicBezTo>
                  <a:cubicBezTo>
                    <a:pt x="508" y="1030"/>
                    <a:pt x="506" y="1023"/>
                    <a:pt x="502" y="1020"/>
                  </a:cubicBezTo>
                  <a:cubicBezTo>
                    <a:pt x="460" y="1026"/>
                    <a:pt x="422" y="1036"/>
                    <a:pt x="384" y="1045"/>
                  </a:cubicBezTo>
                  <a:close/>
                  <a:moveTo>
                    <a:pt x="1274" y="1095"/>
                  </a:moveTo>
                  <a:cubicBezTo>
                    <a:pt x="1283" y="1099"/>
                    <a:pt x="1290" y="1105"/>
                    <a:pt x="1299" y="1109"/>
                  </a:cubicBezTo>
                  <a:cubicBezTo>
                    <a:pt x="1304" y="1081"/>
                    <a:pt x="1312" y="1050"/>
                    <a:pt x="1312" y="1021"/>
                  </a:cubicBezTo>
                  <a:cubicBezTo>
                    <a:pt x="1301" y="1047"/>
                    <a:pt x="1286" y="1070"/>
                    <a:pt x="1274" y="1095"/>
                  </a:cubicBezTo>
                  <a:close/>
                  <a:moveTo>
                    <a:pt x="508" y="1025"/>
                  </a:moveTo>
                  <a:cubicBezTo>
                    <a:pt x="507" y="1024"/>
                    <a:pt x="508" y="1025"/>
                    <a:pt x="508" y="1025"/>
                  </a:cubicBezTo>
                  <a:close/>
                  <a:moveTo>
                    <a:pt x="75" y="1026"/>
                  </a:moveTo>
                  <a:cubicBezTo>
                    <a:pt x="75" y="1026"/>
                    <a:pt x="74" y="1025"/>
                    <a:pt x="75" y="1026"/>
                  </a:cubicBezTo>
                  <a:close/>
                  <a:moveTo>
                    <a:pt x="1062" y="1027"/>
                  </a:moveTo>
                  <a:cubicBezTo>
                    <a:pt x="1038" y="1091"/>
                    <a:pt x="1014" y="1154"/>
                    <a:pt x="984" y="1211"/>
                  </a:cubicBezTo>
                  <a:cubicBezTo>
                    <a:pt x="1013" y="1223"/>
                    <a:pt x="1049" y="1219"/>
                    <a:pt x="1083" y="1213"/>
                  </a:cubicBezTo>
                  <a:cubicBezTo>
                    <a:pt x="1092" y="1199"/>
                    <a:pt x="1103" y="1185"/>
                    <a:pt x="1112" y="1170"/>
                  </a:cubicBezTo>
                  <a:cubicBezTo>
                    <a:pt x="1121" y="1156"/>
                    <a:pt x="1134" y="1140"/>
                    <a:pt x="1139" y="1124"/>
                  </a:cubicBezTo>
                  <a:cubicBezTo>
                    <a:pt x="1146" y="1101"/>
                    <a:pt x="1143" y="1075"/>
                    <a:pt x="1147" y="1047"/>
                  </a:cubicBezTo>
                  <a:cubicBezTo>
                    <a:pt x="1119" y="1040"/>
                    <a:pt x="1091" y="1033"/>
                    <a:pt x="1062" y="1027"/>
                  </a:cubicBezTo>
                  <a:close/>
                  <a:moveTo>
                    <a:pt x="526" y="1215"/>
                  </a:moveTo>
                  <a:cubicBezTo>
                    <a:pt x="539" y="1211"/>
                    <a:pt x="555" y="1208"/>
                    <a:pt x="570" y="1205"/>
                  </a:cubicBezTo>
                  <a:cubicBezTo>
                    <a:pt x="548" y="1154"/>
                    <a:pt x="529" y="1101"/>
                    <a:pt x="511" y="1046"/>
                  </a:cubicBezTo>
                  <a:cubicBezTo>
                    <a:pt x="514" y="1104"/>
                    <a:pt x="518" y="1162"/>
                    <a:pt x="526" y="1215"/>
                  </a:cubicBezTo>
                  <a:close/>
                  <a:moveTo>
                    <a:pt x="322" y="1065"/>
                  </a:moveTo>
                  <a:cubicBezTo>
                    <a:pt x="325" y="1103"/>
                    <a:pt x="332" y="1137"/>
                    <a:pt x="339" y="1171"/>
                  </a:cubicBezTo>
                  <a:cubicBezTo>
                    <a:pt x="345" y="1180"/>
                    <a:pt x="353" y="1188"/>
                    <a:pt x="359" y="1198"/>
                  </a:cubicBezTo>
                  <a:cubicBezTo>
                    <a:pt x="396" y="1205"/>
                    <a:pt x="436" y="1213"/>
                    <a:pt x="474" y="1217"/>
                  </a:cubicBezTo>
                  <a:cubicBezTo>
                    <a:pt x="441" y="1168"/>
                    <a:pt x="410" y="1113"/>
                    <a:pt x="386" y="1057"/>
                  </a:cubicBezTo>
                  <a:cubicBezTo>
                    <a:pt x="384" y="1054"/>
                    <a:pt x="384" y="1048"/>
                    <a:pt x="379" y="1047"/>
                  </a:cubicBezTo>
                  <a:cubicBezTo>
                    <a:pt x="359" y="1052"/>
                    <a:pt x="341" y="1059"/>
                    <a:pt x="322" y="1065"/>
                  </a:cubicBezTo>
                  <a:close/>
                  <a:moveTo>
                    <a:pt x="1144" y="1118"/>
                  </a:moveTo>
                  <a:cubicBezTo>
                    <a:pt x="1154" y="1097"/>
                    <a:pt x="1166" y="1078"/>
                    <a:pt x="1175" y="1055"/>
                  </a:cubicBezTo>
                  <a:cubicBezTo>
                    <a:pt x="1166" y="1054"/>
                    <a:pt x="1159" y="1050"/>
                    <a:pt x="1150" y="1049"/>
                  </a:cubicBezTo>
                  <a:cubicBezTo>
                    <a:pt x="1149" y="1072"/>
                    <a:pt x="1144" y="1097"/>
                    <a:pt x="1144" y="1118"/>
                  </a:cubicBezTo>
                  <a:close/>
                  <a:moveTo>
                    <a:pt x="87" y="1057"/>
                  </a:moveTo>
                  <a:cubicBezTo>
                    <a:pt x="94" y="1077"/>
                    <a:pt x="96" y="1100"/>
                    <a:pt x="115" y="1107"/>
                  </a:cubicBezTo>
                  <a:cubicBezTo>
                    <a:pt x="106" y="1091"/>
                    <a:pt x="96" y="1074"/>
                    <a:pt x="87" y="1057"/>
                  </a:cubicBezTo>
                  <a:moveTo>
                    <a:pt x="87" y="1057"/>
                  </a:moveTo>
                  <a:cubicBezTo>
                    <a:pt x="88" y="1053"/>
                    <a:pt x="84" y="1057"/>
                    <a:pt x="87" y="1057"/>
                  </a:cubicBezTo>
                  <a:moveTo>
                    <a:pt x="1177" y="1057"/>
                  </a:moveTo>
                  <a:cubicBezTo>
                    <a:pt x="1172" y="1069"/>
                    <a:pt x="1167" y="1081"/>
                    <a:pt x="1160" y="1093"/>
                  </a:cubicBezTo>
                  <a:cubicBezTo>
                    <a:pt x="1155" y="1103"/>
                    <a:pt x="1146" y="1113"/>
                    <a:pt x="1142" y="1125"/>
                  </a:cubicBezTo>
                  <a:cubicBezTo>
                    <a:pt x="1138" y="1137"/>
                    <a:pt x="1139" y="1152"/>
                    <a:pt x="1136" y="1165"/>
                  </a:cubicBezTo>
                  <a:cubicBezTo>
                    <a:pt x="1134" y="1178"/>
                    <a:pt x="1131" y="1190"/>
                    <a:pt x="1129" y="1204"/>
                  </a:cubicBezTo>
                  <a:cubicBezTo>
                    <a:pt x="1155" y="1201"/>
                    <a:pt x="1179" y="1194"/>
                    <a:pt x="1204" y="1189"/>
                  </a:cubicBezTo>
                  <a:cubicBezTo>
                    <a:pt x="1227" y="1159"/>
                    <a:pt x="1250" y="1129"/>
                    <a:pt x="1269" y="1095"/>
                  </a:cubicBezTo>
                  <a:cubicBezTo>
                    <a:pt x="1240" y="1080"/>
                    <a:pt x="1211" y="1066"/>
                    <a:pt x="1177" y="1057"/>
                  </a:cubicBezTo>
                  <a:close/>
                  <a:moveTo>
                    <a:pt x="64" y="1065"/>
                  </a:moveTo>
                  <a:cubicBezTo>
                    <a:pt x="88" y="1121"/>
                    <a:pt x="118" y="1171"/>
                    <a:pt x="154" y="1215"/>
                  </a:cubicBezTo>
                  <a:moveTo>
                    <a:pt x="154" y="1215"/>
                  </a:moveTo>
                  <a:cubicBezTo>
                    <a:pt x="154" y="1216"/>
                    <a:pt x="155" y="1216"/>
                    <a:pt x="155" y="1216"/>
                  </a:cubicBezTo>
                  <a:moveTo>
                    <a:pt x="155" y="1216"/>
                  </a:moveTo>
                  <a:cubicBezTo>
                    <a:pt x="155" y="1217"/>
                    <a:pt x="155" y="1218"/>
                    <a:pt x="156" y="1218"/>
                  </a:cubicBezTo>
                  <a:moveTo>
                    <a:pt x="156" y="1218"/>
                  </a:moveTo>
                  <a:cubicBezTo>
                    <a:pt x="156" y="1219"/>
                    <a:pt x="157" y="1219"/>
                    <a:pt x="157" y="1219"/>
                  </a:cubicBezTo>
                  <a:moveTo>
                    <a:pt x="157" y="1219"/>
                  </a:moveTo>
                  <a:cubicBezTo>
                    <a:pt x="158" y="1220"/>
                    <a:pt x="158" y="1219"/>
                    <a:pt x="157" y="1219"/>
                  </a:cubicBezTo>
                  <a:moveTo>
                    <a:pt x="157" y="1219"/>
                  </a:moveTo>
                  <a:cubicBezTo>
                    <a:pt x="157" y="1218"/>
                    <a:pt x="157" y="1218"/>
                    <a:pt x="156" y="1218"/>
                  </a:cubicBezTo>
                  <a:moveTo>
                    <a:pt x="156" y="1218"/>
                  </a:moveTo>
                  <a:cubicBezTo>
                    <a:pt x="156" y="1217"/>
                    <a:pt x="156" y="1216"/>
                    <a:pt x="155" y="1216"/>
                  </a:cubicBezTo>
                  <a:moveTo>
                    <a:pt x="155" y="1216"/>
                  </a:moveTo>
                  <a:cubicBezTo>
                    <a:pt x="155" y="1215"/>
                    <a:pt x="155" y="1215"/>
                    <a:pt x="154" y="1215"/>
                  </a:cubicBezTo>
                  <a:moveTo>
                    <a:pt x="154" y="1215"/>
                  </a:moveTo>
                  <a:cubicBezTo>
                    <a:pt x="134" y="1178"/>
                    <a:pt x="113" y="1142"/>
                    <a:pt x="99" y="1099"/>
                  </a:cubicBezTo>
                  <a:cubicBezTo>
                    <a:pt x="85" y="1089"/>
                    <a:pt x="75" y="1077"/>
                    <a:pt x="64" y="1065"/>
                  </a:cubicBezTo>
                  <a:moveTo>
                    <a:pt x="64" y="1065"/>
                  </a:moveTo>
                  <a:cubicBezTo>
                    <a:pt x="63" y="1064"/>
                    <a:pt x="63" y="1065"/>
                    <a:pt x="64" y="1065"/>
                  </a:cubicBezTo>
                  <a:moveTo>
                    <a:pt x="282" y="1081"/>
                  </a:moveTo>
                  <a:cubicBezTo>
                    <a:pt x="297" y="1111"/>
                    <a:pt x="315" y="1138"/>
                    <a:pt x="335" y="1164"/>
                  </a:cubicBezTo>
                  <a:cubicBezTo>
                    <a:pt x="327" y="1133"/>
                    <a:pt x="324" y="1098"/>
                    <a:pt x="318" y="1066"/>
                  </a:cubicBezTo>
                  <a:cubicBezTo>
                    <a:pt x="307" y="1072"/>
                    <a:pt x="294" y="1076"/>
                    <a:pt x="282" y="1081"/>
                  </a:cubicBezTo>
                  <a:close/>
                  <a:moveTo>
                    <a:pt x="1457" y="1068"/>
                  </a:moveTo>
                  <a:cubicBezTo>
                    <a:pt x="1458" y="1069"/>
                    <a:pt x="1457" y="1068"/>
                    <a:pt x="1457" y="1068"/>
                  </a:cubicBezTo>
                  <a:close/>
                  <a:moveTo>
                    <a:pt x="1361" y="1232"/>
                  </a:moveTo>
                  <a:cubicBezTo>
                    <a:pt x="1360" y="1233"/>
                    <a:pt x="1361" y="1233"/>
                    <a:pt x="1361" y="1232"/>
                  </a:cubicBezTo>
                  <a:moveTo>
                    <a:pt x="1361" y="1232"/>
                  </a:moveTo>
                  <a:cubicBezTo>
                    <a:pt x="1399" y="1185"/>
                    <a:pt x="1434" y="1129"/>
                    <a:pt x="1456" y="1069"/>
                  </a:cubicBezTo>
                  <a:cubicBezTo>
                    <a:pt x="1450" y="1078"/>
                    <a:pt x="1442" y="1085"/>
                    <a:pt x="1433" y="1092"/>
                  </a:cubicBezTo>
                  <a:cubicBezTo>
                    <a:pt x="1414" y="1130"/>
                    <a:pt x="1388" y="1162"/>
                    <a:pt x="1365" y="1196"/>
                  </a:cubicBezTo>
                  <a:cubicBezTo>
                    <a:pt x="1367" y="1209"/>
                    <a:pt x="1364" y="1221"/>
                    <a:pt x="1361" y="1232"/>
                  </a:cubicBezTo>
                  <a:moveTo>
                    <a:pt x="341" y="1193"/>
                  </a:moveTo>
                  <a:cubicBezTo>
                    <a:pt x="341" y="1194"/>
                    <a:pt x="342" y="1193"/>
                    <a:pt x="341" y="1193"/>
                  </a:cubicBezTo>
                  <a:moveTo>
                    <a:pt x="341" y="1193"/>
                  </a:moveTo>
                  <a:cubicBezTo>
                    <a:pt x="340" y="1185"/>
                    <a:pt x="337" y="1179"/>
                    <a:pt x="337" y="1172"/>
                  </a:cubicBezTo>
                  <a:cubicBezTo>
                    <a:pt x="315" y="1144"/>
                    <a:pt x="298" y="1113"/>
                    <a:pt x="278" y="1083"/>
                  </a:cubicBezTo>
                  <a:cubicBezTo>
                    <a:pt x="261" y="1092"/>
                    <a:pt x="240" y="1102"/>
                    <a:pt x="222" y="1114"/>
                  </a:cubicBezTo>
                  <a:cubicBezTo>
                    <a:pt x="220" y="1116"/>
                    <a:pt x="207" y="1125"/>
                    <a:pt x="207" y="1127"/>
                  </a:cubicBezTo>
                  <a:cubicBezTo>
                    <a:pt x="207" y="1129"/>
                    <a:pt x="219" y="1144"/>
                    <a:pt x="221" y="1146"/>
                  </a:cubicBezTo>
                  <a:cubicBezTo>
                    <a:pt x="226" y="1153"/>
                    <a:pt x="230" y="1157"/>
                    <a:pt x="234" y="1164"/>
                  </a:cubicBezTo>
                  <a:cubicBezTo>
                    <a:pt x="269" y="1174"/>
                    <a:pt x="303" y="1186"/>
                    <a:pt x="341" y="1193"/>
                  </a:cubicBezTo>
                  <a:moveTo>
                    <a:pt x="183" y="1096"/>
                  </a:moveTo>
                  <a:cubicBezTo>
                    <a:pt x="183" y="1095"/>
                    <a:pt x="184" y="1096"/>
                    <a:pt x="183" y="1096"/>
                  </a:cubicBezTo>
                  <a:close/>
                  <a:moveTo>
                    <a:pt x="195" y="1134"/>
                  </a:moveTo>
                  <a:cubicBezTo>
                    <a:pt x="197" y="1130"/>
                    <a:pt x="202" y="1130"/>
                    <a:pt x="203" y="1125"/>
                  </a:cubicBezTo>
                  <a:cubicBezTo>
                    <a:pt x="196" y="1116"/>
                    <a:pt x="191" y="1106"/>
                    <a:pt x="184" y="1097"/>
                  </a:cubicBezTo>
                  <a:cubicBezTo>
                    <a:pt x="187" y="1110"/>
                    <a:pt x="190" y="1123"/>
                    <a:pt x="195" y="1134"/>
                  </a:cubicBezTo>
                  <a:close/>
                  <a:moveTo>
                    <a:pt x="1271" y="1097"/>
                  </a:moveTo>
                  <a:cubicBezTo>
                    <a:pt x="1271" y="1098"/>
                    <a:pt x="1270" y="1099"/>
                    <a:pt x="1270" y="1100"/>
                  </a:cubicBezTo>
                  <a:cubicBezTo>
                    <a:pt x="1254" y="1126"/>
                    <a:pt x="1234" y="1154"/>
                    <a:pt x="1216" y="1177"/>
                  </a:cubicBezTo>
                  <a:cubicBezTo>
                    <a:pt x="1214" y="1180"/>
                    <a:pt x="1210" y="1183"/>
                    <a:pt x="1210" y="1187"/>
                  </a:cubicBezTo>
                  <a:cubicBezTo>
                    <a:pt x="1235" y="1180"/>
                    <a:pt x="1261" y="1174"/>
                    <a:pt x="1284" y="1165"/>
                  </a:cubicBezTo>
                  <a:cubicBezTo>
                    <a:pt x="1289" y="1147"/>
                    <a:pt x="1294" y="1131"/>
                    <a:pt x="1298" y="1112"/>
                  </a:cubicBezTo>
                  <a:cubicBezTo>
                    <a:pt x="1289" y="1107"/>
                    <a:pt x="1281" y="1100"/>
                    <a:pt x="1271" y="1097"/>
                  </a:cubicBezTo>
                  <a:close/>
                  <a:moveTo>
                    <a:pt x="1426" y="1099"/>
                  </a:moveTo>
                  <a:cubicBezTo>
                    <a:pt x="1417" y="1104"/>
                    <a:pt x="1408" y="1111"/>
                    <a:pt x="1399" y="1117"/>
                  </a:cubicBezTo>
                  <a:cubicBezTo>
                    <a:pt x="1394" y="1137"/>
                    <a:pt x="1385" y="1154"/>
                    <a:pt x="1377" y="1173"/>
                  </a:cubicBezTo>
                  <a:moveTo>
                    <a:pt x="1377" y="1173"/>
                  </a:moveTo>
                  <a:cubicBezTo>
                    <a:pt x="1376" y="1173"/>
                    <a:pt x="1377" y="1174"/>
                    <a:pt x="1376" y="1175"/>
                  </a:cubicBezTo>
                  <a:moveTo>
                    <a:pt x="1376" y="1175"/>
                  </a:moveTo>
                  <a:cubicBezTo>
                    <a:pt x="1375" y="1175"/>
                    <a:pt x="1377" y="1176"/>
                    <a:pt x="1376" y="1175"/>
                  </a:cubicBezTo>
                  <a:moveTo>
                    <a:pt x="1376" y="1175"/>
                  </a:moveTo>
                  <a:cubicBezTo>
                    <a:pt x="1377" y="1174"/>
                    <a:pt x="1377" y="1173"/>
                    <a:pt x="1377" y="1173"/>
                  </a:cubicBezTo>
                  <a:moveTo>
                    <a:pt x="1377" y="1173"/>
                  </a:moveTo>
                  <a:cubicBezTo>
                    <a:pt x="1396" y="1150"/>
                    <a:pt x="1412" y="1125"/>
                    <a:pt x="1426" y="1099"/>
                  </a:cubicBezTo>
                  <a:moveTo>
                    <a:pt x="1426" y="1099"/>
                  </a:moveTo>
                  <a:cubicBezTo>
                    <a:pt x="1428" y="1098"/>
                    <a:pt x="1426" y="1098"/>
                    <a:pt x="1426" y="1099"/>
                  </a:cubicBezTo>
                  <a:moveTo>
                    <a:pt x="159" y="1216"/>
                  </a:moveTo>
                  <a:cubicBezTo>
                    <a:pt x="156" y="1201"/>
                    <a:pt x="160" y="1188"/>
                    <a:pt x="164" y="1176"/>
                  </a:cubicBezTo>
                  <a:cubicBezTo>
                    <a:pt x="148" y="1157"/>
                    <a:pt x="133" y="1136"/>
                    <a:pt x="120" y="1113"/>
                  </a:cubicBezTo>
                  <a:cubicBezTo>
                    <a:pt x="113" y="1111"/>
                    <a:pt x="109" y="1105"/>
                    <a:pt x="102" y="1103"/>
                  </a:cubicBezTo>
                  <a:cubicBezTo>
                    <a:pt x="118" y="1144"/>
                    <a:pt x="137" y="1181"/>
                    <a:pt x="159" y="1216"/>
                  </a:cubicBezTo>
                  <a:close/>
                  <a:moveTo>
                    <a:pt x="1287" y="1164"/>
                  </a:moveTo>
                  <a:cubicBezTo>
                    <a:pt x="1303" y="1157"/>
                    <a:pt x="1323" y="1155"/>
                    <a:pt x="1333" y="1143"/>
                  </a:cubicBezTo>
                  <a:cubicBezTo>
                    <a:pt x="1325" y="1131"/>
                    <a:pt x="1312" y="1123"/>
                    <a:pt x="1301" y="1114"/>
                  </a:cubicBezTo>
                  <a:cubicBezTo>
                    <a:pt x="1296" y="1131"/>
                    <a:pt x="1292" y="1148"/>
                    <a:pt x="1287" y="1164"/>
                  </a:cubicBezTo>
                  <a:close/>
                  <a:moveTo>
                    <a:pt x="126" y="1118"/>
                  </a:moveTo>
                  <a:cubicBezTo>
                    <a:pt x="138" y="1138"/>
                    <a:pt x="150" y="1157"/>
                    <a:pt x="166" y="1174"/>
                  </a:cubicBezTo>
                  <a:cubicBezTo>
                    <a:pt x="169" y="1162"/>
                    <a:pt x="177" y="1155"/>
                    <a:pt x="182" y="1146"/>
                  </a:cubicBezTo>
                  <a:cubicBezTo>
                    <a:pt x="161" y="1138"/>
                    <a:pt x="144" y="1127"/>
                    <a:pt x="126" y="1118"/>
                  </a:cubicBezTo>
                  <a:moveTo>
                    <a:pt x="126" y="1118"/>
                  </a:moveTo>
                  <a:cubicBezTo>
                    <a:pt x="125" y="1116"/>
                    <a:pt x="124" y="1118"/>
                    <a:pt x="126" y="1118"/>
                  </a:cubicBezTo>
                  <a:moveTo>
                    <a:pt x="1342" y="1146"/>
                  </a:moveTo>
                  <a:cubicBezTo>
                    <a:pt x="1351" y="1159"/>
                    <a:pt x="1360" y="1173"/>
                    <a:pt x="1365" y="1190"/>
                  </a:cubicBezTo>
                  <a:cubicBezTo>
                    <a:pt x="1377" y="1168"/>
                    <a:pt x="1387" y="1145"/>
                    <a:pt x="1396" y="1120"/>
                  </a:cubicBezTo>
                  <a:cubicBezTo>
                    <a:pt x="1397" y="1120"/>
                    <a:pt x="1396" y="1119"/>
                    <a:pt x="1395" y="1119"/>
                  </a:cubicBezTo>
                  <a:cubicBezTo>
                    <a:pt x="1379" y="1129"/>
                    <a:pt x="1361" y="1138"/>
                    <a:pt x="1342" y="1146"/>
                  </a:cubicBezTo>
                  <a:close/>
                  <a:moveTo>
                    <a:pt x="204" y="1128"/>
                  </a:moveTo>
                  <a:cubicBezTo>
                    <a:pt x="202" y="1133"/>
                    <a:pt x="196" y="1134"/>
                    <a:pt x="195" y="1139"/>
                  </a:cubicBezTo>
                  <a:cubicBezTo>
                    <a:pt x="197" y="1142"/>
                    <a:pt x="198" y="1146"/>
                    <a:pt x="198" y="1151"/>
                  </a:cubicBezTo>
                  <a:cubicBezTo>
                    <a:pt x="209" y="1153"/>
                    <a:pt x="219" y="1160"/>
                    <a:pt x="229" y="1160"/>
                  </a:cubicBezTo>
                  <a:cubicBezTo>
                    <a:pt x="220" y="1151"/>
                    <a:pt x="214" y="1138"/>
                    <a:pt x="204" y="1128"/>
                  </a:cubicBezTo>
                  <a:close/>
                  <a:moveTo>
                    <a:pt x="1100" y="1194"/>
                  </a:moveTo>
                  <a:cubicBezTo>
                    <a:pt x="1095" y="1200"/>
                    <a:pt x="1088" y="1206"/>
                    <a:pt x="1088" y="1212"/>
                  </a:cubicBezTo>
                  <a:cubicBezTo>
                    <a:pt x="1101" y="1209"/>
                    <a:pt x="1114" y="1208"/>
                    <a:pt x="1126" y="1205"/>
                  </a:cubicBezTo>
                  <a:cubicBezTo>
                    <a:pt x="1129" y="1181"/>
                    <a:pt x="1137" y="1156"/>
                    <a:pt x="1137" y="1132"/>
                  </a:cubicBezTo>
                  <a:cubicBezTo>
                    <a:pt x="1126" y="1153"/>
                    <a:pt x="1113" y="1175"/>
                    <a:pt x="1100" y="1194"/>
                  </a:cubicBezTo>
                  <a:close/>
                  <a:moveTo>
                    <a:pt x="187" y="1146"/>
                  </a:moveTo>
                  <a:cubicBezTo>
                    <a:pt x="190" y="1145"/>
                    <a:pt x="194" y="1150"/>
                    <a:pt x="196" y="1148"/>
                  </a:cubicBezTo>
                  <a:cubicBezTo>
                    <a:pt x="193" y="1146"/>
                    <a:pt x="194" y="1141"/>
                    <a:pt x="192" y="1140"/>
                  </a:cubicBezTo>
                  <a:cubicBezTo>
                    <a:pt x="191" y="1142"/>
                    <a:pt x="188" y="1143"/>
                    <a:pt x="187" y="1146"/>
                  </a:cubicBezTo>
                  <a:close/>
                  <a:moveTo>
                    <a:pt x="1333" y="1147"/>
                  </a:moveTo>
                  <a:cubicBezTo>
                    <a:pt x="1335" y="1147"/>
                    <a:pt x="1336" y="1146"/>
                    <a:pt x="1337" y="1145"/>
                  </a:cubicBezTo>
                  <a:cubicBezTo>
                    <a:pt x="1335" y="1143"/>
                    <a:pt x="1334" y="1145"/>
                    <a:pt x="1333" y="1147"/>
                  </a:cubicBezTo>
                  <a:close/>
                  <a:moveTo>
                    <a:pt x="241" y="1257"/>
                  </a:moveTo>
                  <a:cubicBezTo>
                    <a:pt x="241" y="1258"/>
                    <a:pt x="242" y="1257"/>
                    <a:pt x="241" y="1257"/>
                  </a:cubicBezTo>
                  <a:moveTo>
                    <a:pt x="241" y="1257"/>
                  </a:moveTo>
                  <a:cubicBezTo>
                    <a:pt x="224" y="1224"/>
                    <a:pt x="209" y="1190"/>
                    <a:pt x="197" y="1152"/>
                  </a:cubicBezTo>
                  <a:cubicBezTo>
                    <a:pt x="194" y="1150"/>
                    <a:pt x="189" y="1150"/>
                    <a:pt x="187" y="1148"/>
                  </a:cubicBezTo>
                  <a:cubicBezTo>
                    <a:pt x="177" y="1154"/>
                    <a:pt x="173" y="1166"/>
                    <a:pt x="167" y="1175"/>
                  </a:cubicBezTo>
                  <a:cubicBezTo>
                    <a:pt x="189" y="1205"/>
                    <a:pt x="214" y="1232"/>
                    <a:pt x="241" y="1257"/>
                  </a:cubicBezTo>
                  <a:moveTo>
                    <a:pt x="1207" y="1335"/>
                  </a:moveTo>
                  <a:cubicBezTo>
                    <a:pt x="1206" y="1335"/>
                    <a:pt x="1208" y="1336"/>
                    <a:pt x="1207" y="1335"/>
                  </a:cubicBezTo>
                  <a:moveTo>
                    <a:pt x="1207" y="1335"/>
                  </a:moveTo>
                  <a:cubicBezTo>
                    <a:pt x="1267" y="1295"/>
                    <a:pt x="1319" y="1248"/>
                    <a:pt x="1362" y="1192"/>
                  </a:cubicBezTo>
                  <a:cubicBezTo>
                    <a:pt x="1357" y="1174"/>
                    <a:pt x="1350" y="1158"/>
                    <a:pt x="1337" y="1148"/>
                  </a:cubicBezTo>
                  <a:cubicBezTo>
                    <a:pt x="1322" y="1158"/>
                    <a:pt x="1312" y="1174"/>
                    <a:pt x="1300" y="1189"/>
                  </a:cubicBezTo>
                  <a:cubicBezTo>
                    <a:pt x="1294" y="1196"/>
                    <a:pt x="1288" y="1203"/>
                    <a:pt x="1281" y="1210"/>
                  </a:cubicBezTo>
                  <a:cubicBezTo>
                    <a:pt x="1275" y="1217"/>
                    <a:pt x="1267" y="1223"/>
                    <a:pt x="1263" y="1230"/>
                  </a:cubicBezTo>
                  <a:cubicBezTo>
                    <a:pt x="1258" y="1239"/>
                    <a:pt x="1255" y="1249"/>
                    <a:pt x="1251" y="1258"/>
                  </a:cubicBezTo>
                  <a:cubicBezTo>
                    <a:pt x="1237" y="1285"/>
                    <a:pt x="1225" y="1311"/>
                    <a:pt x="1207" y="1335"/>
                  </a:cubicBezTo>
                  <a:moveTo>
                    <a:pt x="1324" y="1154"/>
                  </a:moveTo>
                  <a:cubicBezTo>
                    <a:pt x="1310" y="1158"/>
                    <a:pt x="1300" y="1164"/>
                    <a:pt x="1286" y="1167"/>
                  </a:cubicBezTo>
                  <a:cubicBezTo>
                    <a:pt x="1282" y="1186"/>
                    <a:pt x="1272" y="1204"/>
                    <a:pt x="1269" y="1221"/>
                  </a:cubicBezTo>
                  <a:cubicBezTo>
                    <a:pt x="1287" y="1199"/>
                    <a:pt x="1307" y="1178"/>
                    <a:pt x="1324" y="1154"/>
                  </a:cubicBezTo>
                  <a:moveTo>
                    <a:pt x="1324" y="1154"/>
                  </a:moveTo>
                  <a:cubicBezTo>
                    <a:pt x="1325" y="1154"/>
                    <a:pt x="1324" y="1153"/>
                    <a:pt x="1324" y="1154"/>
                  </a:cubicBezTo>
                  <a:moveTo>
                    <a:pt x="222" y="1212"/>
                  </a:moveTo>
                  <a:cubicBezTo>
                    <a:pt x="231" y="1230"/>
                    <a:pt x="237" y="1251"/>
                    <a:pt x="247" y="1264"/>
                  </a:cubicBezTo>
                  <a:cubicBezTo>
                    <a:pt x="252" y="1270"/>
                    <a:pt x="260" y="1275"/>
                    <a:pt x="267" y="1280"/>
                  </a:cubicBezTo>
                  <a:cubicBezTo>
                    <a:pt x="287" y="1297"/>
                    <a:pt x="306" y="1314"/>
                    <a:pt x="328" y="1328"/>
                  </a:cubicBezTo>
                  <a:cubicBezTo>
                    <a:pt x="334" y="1313"/>
                    <a:pt x="344" y="1302"/>
                    <a:pt x="354" y="1291"/>
                  </a:cubicBezTo>
                  <a:cubicBezTo>
                    <a:pt x="308" y="1254"/>
                    <a:pt x="269" y="1211"/>
                    <a:pt x="232" y="1165"/>
                  </a:cubicBezTo>
                  <a:cubicBezTo>
                    <a:pt x="220" y="1162"/>
                    <a:pt x="212" y="1157"/>
                    <a:pt x="200" y="1154"/>
                  </a:cubicBezTo>
                  <a:cubicBezTo>
                    <a:pt x="206" y="1174"/>
                    <a:pt x="214" y="1193"/>
                    <a:pt x="222" y="1212"/>
                  </a:cubicBezTo>
                  <a:close/>
                  <a:moveTo>
                    <a:pt x="356" y="1290"/>
                  </a:moveTo>
                  <a:cubicBezTo>
                    <a:pt x="359" y="1285"/>
                    <a:pt x="365" y="1284"/>
                    <a:pt x="367" y="1278"/>
                  </a:cubicBezTo>
                  <a:cubicBezTo>
                    <a:pt x="358" y="1252"/>
                    <a:pt x="349" y="1226"/>
                    <a:pt x="342" y="1197"/>
                  </a:cubicBezTo>
                  <a:cubicBezTo>
                    <a:pt x="306" y="1189"/>
                    <a:pt x="270" y="1177"/>
                    <a:pt x="238" y="1169"/>
                  </a:cubicBezTo>
                  <a:cubicBezTo>
                    <a:pt x="274" y="1212"/>
                    <a:pt x="312" y="1254"/>
                    <a:pt x="356" y="1290"/>
                  </a:cubicBezTo>
                  <a:close/>
                  <a:moveTo>
                    <a:pt x="1223" y="1265"/>
                  </a:moveTo>
                  <a:cubicBezTo>
                    <a:pt x="1235" y="1254"/>
                    <a:pt x="1255" y="1239"/>
                    <a:pt x="1263" y="1225"/>
                  </a:cubicBezTo>
                  <a:cubicBezTo>
                    <a:pt x="1273" y="1209"/>
                    <a:pt x="1274" y="1190"/>
                    <a:pt x="1282" y="1170"/>
                  </a:cubicBezTo>
                  <a:cubicBezTo>
                    <a:pt x="1282" y="1169"/>
                    <a:pt x="1282" y="1169"/>
                    <a:pt x="1281" y="1169"/>
                  </a:cubicBezTo>
                  <a:cubicBezTo>
                    <a:pt x="1257" y="1177"/>
                    <a:pt x="1232" y="1184"/>
                    <a:pt x="1206" y="1191"/>
                  </a:cubicBezTo>
                  <a:cubicBezTo>
                    <a:pt x="1184" y="1218"/>
                    <a:pt x="1160" y="1242"/>
                    <a:pt x="1137" y="1268"/>
                  </a:cubicBezTo>
                  <a:cubicBezTo>
                    <a:pt x="1155" y="1276"/>
                    <a:pt x="1167" y="1289"/>
                    <a:pt x="1181" y="1301"/>
                  </a:cubicBezTo>
                  <a:cubicBezTo>
                    <a:pt x="1195" y="1290"/>
                    <a:pt x="1208" y="1278"/>
                    <a:pt x="1223" y="1265"/>
                  </a:cubicBezTo>
                  <a:close/>
                  <a:moveTo>
                    <a:pt x="344" y="1195"/>
                  </a:moveTo>
                  <a:cubicBezTo>
                    <a:pt x="349" y="1194"/>
                    <a:pt x="353" y="1198"/>
                    <a:pt x="355" y="1196"/>
                  </a:cubicBezTo>
                  <a:cubicBezTo>
                    <a:pt x="350" y="1190"/>
                    <a:pt x="346" y="1183"/>
                    <a:pt x="341" y="1178"/>
                  </a:cubicBezTo>
                  <a:cubicBezTo>
                    <a:pt x="342" y="1184"/>
                    <a:pt x="343" y="1189"/>
                    <a:pt x="344" y="1195"/>
                  </a:cubicBezTo>
                  <a:close/>
                  <a:moveTo>
                    <a:pt x="289" y="1331"/>
                  </a:moveTo>
                  <a:cubicBezTo>
                    <a:pt x="289" y="1332"/>
                    <a:pt x="290" y="1331"/>
                    <a:pt x="289" y="1331"/>
                  </a:cubicBezTo>
                  <a:moveTo>
                    <a:pt x="289" y="1331"/>
                  </a:moveTo>
                  <a:cubicBezTo>
                    <a:pt x="274" y="1310"/>
                    <a:pt x="258" y="1290"/>
                    <a:pt x="246" y="1266"/>
                  </a:cubicBezTo>
                  <a:cubicBezTo>
                    <a:pt x="216" y="1240"/>
                    <a:pt x="192" y="1209"/>
                    <a:pt x="165" y="1180"/>
                  </a:cubicBezTo>
                  <a:cubicBezTo>
                    <a:pt x="163" y="1194"/>
                    <a:pt x="158" y="1209"/>
                    <a:pt x="163" y="1223"/>
                  </a:cubicBezTo>
                  <a:cubicBezTo>
                    <a:pt x="169" y="1238"/>
                    <a:pt x="189" y="1257"/>
                    <a:pt x="203" y="1271"/>
                  </a:cubicBezTo>
                  <a:cubicBezTo>
                    <a:pt x="217" y="1284"/>
                    <a:pt x="236" y="1304"/>
                    <a:pt x="249" y="1313"/>
                  </a:cubicBezTo>
                  <a:cubicBezTo>
                    <a:pt x="261" y="1321"/>
                    <a:pt x="278" y="1326"/>
                    <a:pt x="289" y="1331"/>
                  </a:cubicBezTo>
                  <a:moveTo>
                    <a:pt x="676" y="1195"/>
                  </a:moveTo>
                  <a:cubicBezTo>
                    <a:pt x="677" y="1209"/>
                    <a:pt x="682" y="1221"/>
                    <a:pt x="683" y="1235"/>
                  </a:cubicBezTo>
                  <a:cubicBezTo>
                    <a:pt x="697" y="1236"/>
                    <a:pt x="712" y="1236"/>
                    <a:pt x="727" y="1236"/>
                  </a:cubicBezTo>
                  <a:cubicBezTo>
                    <a:pt x="726" y="1222"/>
                    <a:pt x="730" y="1202"/>
                    <a:pt x="725" y="1192"/>
                  </a:cubicBezTo>
                  <a:cubicBezTo>
                    <a:pt x="709" y="1193"/>
                    <a:pt x="691" y="1193"/>
                    <a:pt x="676" y="1195"/>
                  </a:cubicBezTo>
                  <a:close/>
                  <a:moveTo>
                    <a:pt x="729" y="1192"/>
                  </a:moveTo>
                  <a:cubicBezTo>
                    <a:pt x="729" y="1207"/>
                    <a:pt x="731" y="1220"/>
                    <a:pt x="730" y="1236"/>
                  </a:cubicBezTo>
                  <a:cubicBezTo>
                    <a:pt x="744" y="1238"/>
                    <a:pt x="761" y="1236"/>
                    <a:pt x="775" y="1237"/>
                  </a:cubicBezTo>
                  <a:cubicBezTo>
                    <a:pt x="777" y="1222"/>
                    <a:pt x="777" y="1207"/>
                    <a:pt x="777" y="1192"/>
                  </a:cubicBezTo>
                  <a:cubicBezTo>
                    <a:pt x="761" y="1192"/>
                    <a:pt x="745" y="1192"/>
                    <a:pt x="729" y="1192"/>
                  </a:cubicBezTo>
                  <a:close/>
                  <a:moveTo>
                    <a:pt x="780" y="1192"/>
                  </a:moveTo>
                  <a:cubicBezTo>
                    <a:pt x="779" y="1206"/>
                    <a:pt x="779" y="1222"/>
                    <a:pt x="778" y="1237"/>
                  </a:cubicBezTo>
                  <a:cubicBezTo>
                    <a:pt x="809" y="1235"/>
                    <a:pt x="841" y="1236"/>
                    <a:pt x="871" y="1234"/>
                  </a:cubicBezTo>
                  <a:cubicBezTo>
                    <a:pt x="875" y="1222"/>
                    <a:pt x="879" y="1210"/>
                    <a:pt x="882" y="1198"/>
                  </a:cubicBezTo>
                  <a:cubicBezTo>
                    <a:pt x="849" y="1195"/>
                    <a:pt x="816" y="1192"/>
                    <a:pt x="780" y="1192"/>
                  </a:cubicBezTo>
                  <a:close/>
                  <a:moveTo>
                    <a:pt x="1200" y="1193"/>
                  </a:moveTo>
                  <a:cubicBezTo>
                    <a:pt x="1176" y="1197"/>
                    <a:pt x="1153" y="1204"/>
                    <a:pt x="1128" y="1207"/>
                  </a:cubicBezTo>
                  <a:cubicBezTo>
                    <a:pt x="1124" y="1224"/>
                    <a:pt x="1120" y="1239"/>
                    <a:pt x="1116" y="1255"/>
                  </a:cubicBezTo>
                  <a:cubicBezTo>
                    <a:pt x="1122" y="1258"/>
                    <a:pt x="1128" y="1262"/>
                    <a:pt x="1134" y="1265"/>
                  </a:cubicBezTo>
                  <a:cubicBezTo>
                    <a:pt x="1158" y="1242"/>
                    <a:pt x="1180" y="1219"/>
                    <a:pt x="1200" y="1193"/>
                  </a:cubicBezTo>
                  <a:moveTo>
                    <a:pt x="1200" y="1193"/>
                  </a:moveTo>
                  <a:cubicBezTo>
                    <a:pt x="1201" y="1192"/>
                    <a:pt x="1200" y="1192"/>
                    <a:pt x="1200" y="1193"/>
                  </a:cubicBezTo>
                  <a:moveTo>
                    <a:pt x="671" y="1195"/>
                  </a:moveTo>
                  <a:cubicBezTo>
                    <a:pt x="638" y="1198"/>
                    <a:pt x="605" y="1201"/>
                    <a:pt x="575" y="1207"/>
                  </a:cubicBezTo>
                  <a:cubicBezTo>
                    <a:pt x="578" y="1215"/>
                    <a:pt x="580" y="1224"/>
                    <a:pt x="586" y="1229"/>
                  </a:cubicBezTo>
                  <a:cubicBezTo>
                    <a:pt x="616" y="1232"/>
                    <a:pt x="650" y="1235"/>
                    <a:pt x="680" y="1234"/>
                  </a:cubicBezTo>
                  <a:cubicBezTo>
                    <a:pt x="676" y="1222"/>
                    <a:pt x="675" y="1207"/>
                    <a:pt x="671" y="1195"/>
                  </a:cubicBezTo>
                  <a:close/>
                  <a:moveTo>
                    <a:pt x="369" y="1277"/>
                  </a:moveTo>
                  <a:cubicBezTo>
                    <a:pt x="382" y="1271"/>
                    <a:pt x="394" y="1263"/>
                    <a:pt x="406" y="1255"/>
                  </a:cubicBezTo>
                  <a:cubicBezTo>
                    <a:pt x="389" y="1237"/>
                    <a:pt x="373" y="1219"/>
                    <a:pt x="358" y="1199"/>
                  </a:cubicBezTo>
                  <a:cubicBezTo>
                    <a:pt x="353" y="1200"/>
                    <a:pt x="350" y="1197"/>
                    <a:pt x="345" y="1198"/>
                  </a:cubicBezTo>
                  <a:cubicBezTo>
                    <a:pt x="352" y="1226"/>
                    <a:pt x="361" y="1251"/>
                    <a:pt x="369" y="1277"/>
                  </a:cubicBezTo>
                  <a:close/>
                  <a:moveTo>
                    <a:pt x="884" y="1199"/>
                  </a:moveTo>
                  <a:cubicBezTo>
                    <a:pt x="882" y="1211"/>
                    <a:pt x="877" y="1221"/>
                    <a:pt x="874" y="1234"/>
                  </a:cubicBezTo>
                  <a:cubicBezTo>
                    <a:pt x="894" y="1233"/>
                    <a:pt x="914" y="1231"/>
                    <a:pt x="934" y="1230"/>
                  </a:cubicBezTo>
                  <a:cubicBezTo>
                    <a:pt x="934" y="1221"/>
                    <a:pt x="936" y="1215"/>
                    <a:pt x="936" y="1205"/>
                  </a:cubicBezTo>
                  <a:cubicBezTo>
                    <a:pt x="919" y="1202"/>
                    <a:pt x="903" y="1199"/>
                    <a:pt x="884" y="1199"/>
                  </a:cubicBezTo>
                  <a:close/>
                  <a:moveTo>
                    <a:pt x="1360" y="1199"/>
                  </a:moveTo>
                  <a:cubicBezTo>
                    <a:pt x="1360" y="1199"/>
                    <a:pt x="1361" y="1200"/>
                    <a:pt x="1360" y="1199"/>
                  </a:cubicBezTo>
                  <a:close/>
                  <a:moveTo>
                    <a:pt x="363" y="1201"/>
                  </a:moveTo>
                  <a:cubicBezTo>
                    <a:pt x="378" y="1220"/>
                    <a:pt x="392" y="1239"/>
                    <a:pt x="410" y="1254"/>
                  </a:cubicBezTo>
                  <a:cubicBezTo>
                    <a:pt x="432" y="1244"/>
                    <a:pt x="454" y="1234"/>
                    <a:pt x="480" y="1227"/>
                  </a:cubicBezTo>
                  <a:cubicBezTo>
                    <a:pt x="477" y="1217"/>
                    <a:pt x="463" y="1219"/>
                    <a:pt x="454" y="1218"/>
                  </a:cubicBezTo>
                  <a:cubicBezTo>
                    <a:pt x="424" y="1213"/>
                    <a:pt x="391" y="1206"/>
                    <a:pt x="363" y="1201"/>
                  </a:cubicBezTo>
                  <a:moveTo>
                    <a:pt x="363" y="1201"/>
                  </a:moveTo>
                  <a:cubicBezTo>
                    <a:pt x="362" y="1200"/>
                    <a:pt x="361" y="1201"/>
                    <a:pt x="363" y="1201"/>
                  </a:cubicBezTo>
                  <a:moveTo>
                    <a:pt x="1359" y="1201"/>
                  </a:moveTo>
                  <a:cubicBezTo>
                    <a:pt x="1318" y="1253"/>
                    <a:pt x="1263" y="1298"/>
                    <a:pt x="1208" y="1338"/>
                  </a:cubicBezTo>
                  <a:cubicBezTo>
                    <a:pt x="1206" y="1339"/>
                    <a:pt x="1201" y="1341"/>
                    <a:pt x="1202" y="1345"/>
                  </a:cubicBezTo>
                  <a:cubicBezTo>
                    <a:pt x="1217" y="1339"/>
                    <a:pt x="1232" y="1333"/>
                    <a:pt x="1247" y="1326"/>
                  </a:cubicBezTo>
                  <a:cubicBezTo>
                    <a:pt x="1261" y="1320"/>
                    <a:pt x="1277" y="1313"/>
                    <a:pt x="1289" y="1304"/>
                  </a:cubicBezTo>
                  <a:cubicBezTo>
                    <a:pt x="1303" y="1293"/>
                    <a:pt x="1316" y="1270"/>
                    <a:pt x="1326" y="1255"/>
                  </a:cubicBezTo>
                  <a:cubicBezTo>
                    <a:pt x="1338" y="1238"/>
                    <a:pt x="1350" y="1220"/>
                    <a:pt x="1359" y="1201"/>
                  </a:cubicBezTo>
                  <a:moveTo>
                    <a:pt x="1359" y="1201"/>
                  </a:moveTo>
                  <a:cubicBezTo>
                    <a:pt x="1361" y="1201"/>
                    <a:pt x="1359" y="1200"/>
                    <a:pt x="1359" y="1201"/>
                  </a:cubicBezTo>
                  <a:moveTo>
                    <a:pt x="1301" y="1295"/>
                  </a:moveTo>
                  <a:cubicBezTo>
                    <a:pt x="1299" y="1296"/>
                    <a:pt x="1301" y="1297"/>
                    <a:pt x="1301" y="1295"/>
                  </a:cubicBezTo>
                  <a:moveTo>
                    <a:pt x="1301" y="1295"/>
                  </a:moveTo>
                  <a:cubicBezTo>
                    <a:pt x="1315" y="1282"/>
                    <a:pt x="1343" y="1260"/>
                    <a:pt x="1354" y="1241"/>
                  </a:cubicBezTo>
                  <a:cubicBezTo>
                    <a:pt x="1360" y="1231"/>
                    <a:pt x="1364" y="1215"/>
                    <a:pt x="1362" y="1201"/>
                  </a:cubicBezTo>
                  <a:cubicBezTo>
                    <a:pt x="1345" y="1236"/>
                    <a:pt x="1323" y="1266"/>
                    <a:pt x="1301" y="1295"/>
                  </a:cubicBezTo>
                  <a:moveTo>
                    <a:pt x="938" y="1229"/>
                  </a:moveTo>
                  <a:cubicBezTo>
                    <a:pt x="950" y="1230"/>
                    <a:pt x="958" y="1227"/>
                    <a:pt x="970" y="1227"/>
                  </a:cubicBezTo>
                  <a:cubicBezTo>
                    <a:pt x="975" y="1224"/>
                    <a:pt x="977" y="1218"/>
                    <a:pt x="979" y="1213"/>
                  </a:cubicBezTo>
                  <a:cubicBezTo>
                    <a:pt x="967" y="1210"/>
                    <a:pt x="953" y="1208"/>
                    <a:pt x="941" y="1205"/>
                  </a:cubicBezTo>
                  <a:cubicBezTo>
                    <a:pt x="939" y="1212"/>
                    <a:pt x="940" y="1222"/>
                    <a:pt x="938" y="1229"/>
                  </a:cubicBezTo>
                  <a:close/>
                  <a:moveTo>
                    <a:pt x="526" y="1219"/>
                  </a:moveTo>
                  <a:cubicBezTo>
                    <a:pt x="526" y="1221"/>
                    <a:pt x="526" y="1222"/>
                    <a:pt x="527" y="1223"/>
                  </a:cubicBezTo>
                  <a:cubicBezTo>
                    <a:pt x="544" y="1226"/>
                    <a:pt x="565" y="1229"/>
                    <a:pt x="582" y="1228"/>
                  </a:cubicBezTo>
                  <a:cubicBezTo>
                    <a:pt x="577" y="1222"/>
                    <a:pt x="575" y="1213"/>
                    <a:pt x="571" y="1207"/>
                  </a:cubicBezTo>
                  <a:cubicBezTo>
                    <a:pt x="557" y="1212"/>
                    <a:pt x="538" y="1212"/>
                    <a:pt x="526" y="1219"/>
                  </a:cubicBezTo>
                  <a:close/>
                  <a:moveTo>
                    <a:pt x="1084" y="1215"/>
                  </a:moveTo>
                  <a:cubicBezTo>
                    <a:pt x="1080" y="1223"/>
                    <a:pt x="1071" y="1229"/>
                    <a:pt x="1070" y="1236"/>
                  </a:cubicBezTo>
                  <a:cubicBezTo>
                    <a:pt x="1086" y="1240"/>
                    <a:pt x="1099" y="1248"/>
                    <a:pt x="1113" y="1253"/>
                  </a:cubicBezTo>
                  <a:cubicBezTo>
                    <a:pt x="1118" y="1240"/>
                    <a:pt x="1120" y="1224"/>
                    <a:pt x="1125" y="1210"/>
                  </a:cubicBezTo>
                  <a:cubicBezTo>
                    <a:pt x="1125" y="1209"/>
                    <a:pt x="1125" y="1208"/>
                    <a:pt x="1123" y="1208"/>
                  </a:cubicBezTo>
                  <a:cubicBezTo>
                    <a:pt x="1111" y="1211"/>
                    <a:pt x="1097" y="1213"/>
                    <a:pt x="1084" y="1215"/>
                  </a:cubicBezTo>
                  <a:close/>
                  <a:moveTo>
                    <a:pt x="982" y="1214"/>
                  </a:moveTo>
                  <a:cubicBezTo>
                    <a:pt x="980" y="1218"/>
                    <a:pt x="977" y="1222"/>
                    <a:pt x="975" y="1226"/>
                  </a:cubicBezTo>
                  <a:cubicBezTo>
                    <a:pt x="988" y="1225"/>
                    <a:pt x="1003" y="1224"/>
                    <a:pt x="1015" y="1222"/>
                  </a:cubicBezTo>
                  <a:cubicBezTo>
                    <a:pt x="1005" y="1219"/>
                    <a:pt x="994" y="1216"/>
                    <a:pt x="982" y="1214"/>
                  </a:cubicBezTo>
                  <a:close/>
                  <a:moveTo>
                    <a:pt x="1031" y="1223"/>
                  </a:moveTo>
                  <a:cubicBezTo>
                    <a:pt x="1044" y="1226"/>
                    <a:pt x="1054" y="1231"/>
                    <a:pt x="1066" y="1234"/>
                  </a:cubicBezTo>
                  <a:cubicBezTo>
                    <a:pt x="1070" y="1229"/>
                    <a:pt x="1080" y="1220"/>
                    <a:pt x="1078" y="1216"/>
                  </a:cubicBezTo>
                  <a:cubicBezTo>
                    <a:pt x="1063" y="1219"/>
                    <a:pt x="1045" y="1220"/>
                    <a:pt x="1031" y="1223"/>
                  </a:cubicBezTo>
                  <a:close/>
                  <a:moveTo>
                    <a:pt x="509" y="1223"/>
                  </a:moveTo>
                  <a:cubicBezTo>
                    <a:pt x="515" y="1222"/>
                    <a:pt x="518" y="1224"/>
                    <a:pt x="524" y="1223"/>
                  </a:cubicBezTo>
                  <a:cubicBezTo>
                    <a:pt x="523" y="1222"/>
                    <a:pt x="524" y="1217"/>
                    <a:pt x="521" y="1218"/>
                  </a:cubicBezTo>
                  <a:cubicBezTo>
                    <a:pt x="518" y="1220"/>
                    <a:pt x="511" y="1219"/>
                    <a:pt x="509" y="1223"/>
                  </a:cubicBezTo>
                  <a:close/>
                  <a:moveTo>
                    <a:pt x="482" y="1225"/>
                  </a:moveTo>
                  <a:cubicBezTo>
                    <a:pt x="487" y="1226"/>
                    <a:pt x="490" y="1224"/>
                    <a:pt x="493" y="1223"/>
                  </a:cubicBezTo>
                  <a:cubicBezTo>
                    <a:pt x="488" y="1223"/>
                    <a:pt x="483" y="1220"/>
                    <a:pt x="480" y="1223"/>
                  </a:cubicBezTo>
                  <a:cubicBezTo>
                    <a:pt x="481" y="1223"/>
                    <a:pt x="482" y="1224"/>
                    <a:pt x="482" y="1225"/>
                  </a:cubicBezTo>
                  <a:close/>
                  <a:moveTo>
                    <a:pt x="535" y="1295"/>
                  </a:moveTo>
                  <a:cubicBezTo>
                    <a:pt x="536" y="1296"/>
                    <a:pt x="537" y="1294"/>
                    <a:pt x="535" y="1295"/>
                  </a:cubicBezTo>
                  <a:moveTo>
                    <a:pt x="535" y="1295"/>
                  </a:moveTo>
                  <a:cubicBezTo>
                    <a:pt x="532" y="1272"/>
                    <a:pt x="527" y="1251"/>
                    <a:pt x="525" y="1227"/>
                  </a:cubicBezTo>
                  <a:cubicBezTo>
                    <a:pt x="512" y="1224"/>
                    <a:pt x="497" y="1223"/>
                    <a:pt x="486" y="1227"/>
                  </a:cubicBezTo>
                  <a:cubicBezTo>
                    <a:pt x="498" y="1250"/>
                    <a:pt x="518" y="1273"/>
                    <a:pt x="535" y="1295"/>
                  </a:cubicBezTo>
                  <a:moveTo>
                    <a:pt x="1022" y="1223"/>
                  </a:moveTo>
                  <a:cubicBezTo>
                    <a:pt x="1007" y="1223"/>
                    <a:pt x="991" y="1230"/>
                    <a:pt x="973" y="1229"/>
                  </a:cubicBezTo>
                  <a:cubicBezTo>
                    <a:pt x="960" y="1255"/>
                    <a:pt x="945" y="1280"/>
                    <a:pt x="928" y="1303"/>
                  </a:cubicBezTo>
                  <a:cubicBezTo>
                    <a:pt x="927" y="1316"/>
                    <a:pt x="925" y="1329"/>
                    <a:pt x="922" y="1342"/>
                  </a:cubicBezTo>
                  <a:cubicBezTo>
                    <a:pt x="920" y="1353"/>
                    <a:pt x="915" y="1367"/>
                    <a:pt x="917" y="1376"/>
                  </a:cubicBezTo>
                  <a:cubicBezTo>
                    <a:pt x="925" y="1381"/>
                    <a:pt x="933" y="1372"/>
                    <a:pt x="939" y="1367"/>
                  </a:cubicBezTo>
                  <a:cubicBezTo>
                    <a:pt x="986" y="1330"/>
                    <a:pt x="1029" y="1283"/>
                    <a:pt x="1064" y="1236"/>
                  </a:cubicBezTo>
                  <a:cubicBezTo>
                    <a:pt x="1050" y="1234"/>
                    <a:pt x="1038" y="1224"/>
                    <a:pt x="1022" y="1223"/>
                  </a:cubicBezTo>
                  <a:close/>
                  <a:moveTo>
                    <a:pt x="539" y="1299"/>
                  </a:moveTo>
                  <a:cubicBezTo>
                    <a:pt x="563" y="1325"/>
                    <a:pt x="587" y="1352"/>
                    <a:pt x="615" y="1374"/>
                  </a:cubicBezTo>
                  <a:cubicBezTo>
                    <a:pt x="628" y="1368"/>
                    <a:pt x="645" y="1367"/>
                    <a:pt x="658" y="1362"/>
                  </a:cubicBezTo>
                  <a:cubicBezTo>
                    <a:pt x="630" y="1322"/>
                    <a:pt x="605" y="1279"/>
                    <a:pt x="583" y="1232"/>
                  </a:cubicBezTo>
                  <a:cubicBezTo>
                    <a:pt x="564" y="1230"/>
                    <a:pt x="545" y="1229"/>
                    <a:pt x="527" y="1226"/>
                  </a:cubicBezTo>
                  <a:cubicBezTo>
                    <a:pt x="530" y="1251"/>
                    <a:pt x="535" y="1275"/>
                    <a:pt x="539" y="1299"/>
                  </a:cubicBezTo>
                  <a:close/>
                  <a:moveTo>
                    <a:pt x="537" y="1300"/>
                  </a:moveTo>
                  <a:cubicBezTo>
                    <a:pt x="517" y="1278"/>
                    <a:pt x="500" y="1252"/>
                    <a:pt x="481" y="1229"/>
                  </a:cubicBezTo>
                  <a:cubicBezTo>
                    <a:pt x="456" y="1237"/>
                    <a:pt x="433" y="1246"/>
                    <a:pt x="412" y="1256"/>
                  </a:cubicBezTo>
                  <a:cubicBezTo>
                    <a:pt x="452" y="1302"/>
                    <a:pt x="504" y="1344"/>
                    <a:pt x="558" y="1379"/>
                  </a:cubicBezTo>
                  <a:cubicBezTo>
                    <a:pt x="550" y="1354"/>
                    <a:pt x="543" y="1328"/>
                    <a:pt x="537" y="1300"/>
                  </a:cubicBezTo>
                  <a:close/>
                  <a:moveTo>
                    <a:pt x="938" y="1232"/>
                  </a:moveTo>
                  <a:cubicBezTo>
                    <a:pt x="936" y="1253"/>
                    <a:pt x="931" y="1276"/>
                    <a:pt x="931" y="1295"/>
                  </a:cubicBezTo>
                  <a:cubicBezTo>
                    <a:pt x="945" y="1275"/>
                    <a:pt x="957" y="1253"/>
                    <a:pt x="970" y="1231"/>
                  </a:cubicBezTo>
                  <a:cubicBezTo>
                    <a:pt x="970" y="1230"/>
                    <a:pt x="970" y="1229"/>
                    <a:pt x="968" y="1229"/>
                  </a:cubicBezTo>
                  <a:cubicBezTo>
                    <a:pt x="959" y="1231"/>
                    <a:pt x="948" y="1232"/>
                    <a:pt x="938" y="1232"/>
                  </a:cubicBezTo>
                  <a:close/>
                  <a:moveTo>
                    <a:pt x="663" y="1362"/>
                  </a:moveTo>
                  <a:cubicBezTo>
                    <a:pt x="679" y="1359"/>
                    <a:pt x="696" y="1357"/>
                    <a:pt x="712" y="1355"/>
                  </a:cubicBezTo>
                  <a:cubicBezTo>
                    <a:pt x="700" y="1317"/>
                    <a:pt x="690" y="1278"/>
                    <a:pt x="680" y="1238"/>
                  </a:cubicBezTo>
                  <a:cubicBezTo>
                    <a:pt x="649" y="1236"/>
                    <a:pt x="616" y="1235"/>
                    <a:pt x="586" y="1232"/>
                  </a:cubicBezTo>
                  <a:cubicBezTo>
                    <a:pt x="608" y="1279"/>
                    <a:pt x="632" y="1324"/>
                    <a:pt x="663" y="1362"/>
                  </a:cubicBezTo>
                  <a:close/>
                  <a:moveTo>
                    <a:pt x="872" y="1237"/>
                  </a:moveTo>
                  <a:cubicBezTo>
                    <a:pt x="861" y="1280"/>
                    <a:pt x="845" y="1318"/>
                    <a:pt x="829" y="1357"/>
                  </a:cubicBezTo>
                  <a:cubicBezTo>
                    <a:pt x="845" y="1360"/>
                    <a:pt x="862" y="1361"/>
                    <a:pt x="876" y="1366"/>
                  </a:cubicBezTo>
                  <a:cubicBezTo>
                    <a:pt x="895" y="1349"/>
                    <a:pt x="908" y="1326"/>
                    <a:pt x="924" y="1306"/>
                  </a:cubicBezTo>
                  <a:cubicBezTo>
                    <a:pt x="927" y="1282"/>
                    <a:pt x="932" y="1259"/>
                    <a:pt x="933" y="1233"/>
                  </a:cubicBezTo>
                  <a:cubicBezTo>
                    <a:pt x="912" y="1234"/>
                    <a:pt x="892" y="1235"/>
                    <a:pt x="872" y="1237"/>
                  </a:cubicBezTo>
                  <a:close/>
                  <a:moveTo>
                    <a:pt x="1182" y="1304"/>
                  </a:moveTo>
                  <a:cubicBezTo>
                    <a:pt x="1190" y="1314"/>
                    <a:pt x="1196" y="1326"/>
                    <a:pt x="1200" y="1341"/>
                  </a:cubicBezTo>
                  <a:cubicBezTo>
                    <a:pt x="1222" y="1309"/>
                    <a:pt x="1244" y="1273"/>
                    <a:pt x="1257" y="1235"/>
                  </a:cubicBezTo>
                  <a:cubicBezTo>
                    <a:pt x="1234" y="1260"/>
                    <a:pt x="1208" y="1282"/>
                    <a:pt x="1182" y="1304"/>
                  </a:cubicBezTo>
                  <a:close/>
                  <a:moveTo>
                    <a:pt x="778" y="1239"/>
                  </a:moveTo>
                  <a:cubicBezTo>
                    <a:pt x="776" y="1277"/>
                    <a:pt x="774" y="1315"/>
                    <a:pt x="773" y="1353"/>
                  </a:cubicBezTo>
                  <a:cubicBezTo>
                    <a:pt x="791" y="1354"/>
                    <a:pt x="810" y="1355"/>
                    <a:pt x="826" y="1357"/>
                  </a:cubicBezTo>
                  <a:cubicBezTo>
                    <a:pt x="843" y="1319"/>
                    <a:pt x="857" y="1279"/>
                    <a:pt x="870" y="1237"/>
                  </a:cubicBezTo>
                  <a:cubicBezTo>
                    <a:pt x="840" y="1238"/>
                    <a:pt x="810" y="1239"/>
                    <a:pt x="778" y="1239"/>
                  </a:cubicBezTo>
                  <a:close/>
                  <a:moveTo>
                    <a:pt x="170" y="1239"/>
                  </a:moveTo>
                  <a:cubicBezTo>
                    <a:pt x="177" y="1254"/>
                    <a:pt x="187" y="1266"/>
                    <a:pt x="198" y="1276"/>
                  </a:cubicBezTo>
                  <a:moveTo>
                    <a:pt x="198" y="1276"/>
                  </a:moveTo>
                  <a:cubicBezTo>
                    <a:pt x="199" y="1278"/>
                    <a:pt x="200" y="1276"/>
                    <a:pt x="198" y="1276"/>
                  </a:cubicBezTo>
                  <a:moveTo>
                    <a:pt x="198" y="1276"/>
                  </a:moveTo>
                  <a:cubicBezTo>
                    <a:pt x="189" y="1264"/>
                    <a:pt x="180" y="1250"/>
                    <a:pt x="170" y="1239"/>
                  </a:cubicBezTo>
                  <a:moveTo>
                    <a:pt x="170" y="1239"/>
                  </a:moveTo>
                  <a:cubicBezTo>
                    <a:pt x="169" y="1237"/>
                    <a:pt x="169" y="1239"/>
                    <a:pt x="170" y="1239"/>
                  </a:cubicBezTo>
                  <a:moveTo>
                    <a:pt x="716" y="1355"/>
                  </a:moveTo>
                  <a:cubicBezTo>
                    <a:pt x="722" y="1356"/>
                    <a:pt x="725" y="1353"/>
                    <a:pt x="731" y="1354"/>
                  </a:cubicBezTo>
                  <a:cubicBezTo>
                    <a:pt x="729" y="1317"/>
                    <a:pt x="729" y="1277"/>
                    <a:pt x="727" y="1239"/>
                  </a:cubicBezTo>
                  <a:cubicBezTo>
                    <a:pt x="713" y="1240"/>
                    <a:pt x="696" y="1237"/>
                    <a:pt x="684" y="1239"/>
                  </a:cubicBezTo>
                  <a:cubicBezTo>
                    <a:pt x="694" y="1278"/>
                    <a:pt x="704" y="1318"/>
                    <a:pt x="716" y="1355"/>
                  </a:cubicBezTo>
                  <a:close/>
                  <a:moveTo>
                    <a:pt x="1067" y="1238"/>
                  </a:moveTo>
                  <a:cubicBezTo>
                    <a:pt x="1026" y="1291"/>
                    <a:pt x="978" y="1338"/>
                    <a:pt x="927" y="1381"/>
                  </a:cubicBezTo>
                  <a:cubicBezTo>
                    <a:pt x="939" y="1385"/>
                    <a:pt x="948" y="1391"/>
                    <a:pt x="959" y="1396"/>
                  </a:cubicBezTo>
                  <a:cubicBezTo>
                    <a:pt x="1011" y="1367"/>
                    <a:pt x="1058" y="1334"/>
                    <a:pt x="1101" y="1296"/>
                  </a:cubicBezTo>
                  <a:cubicBezTo>
                    <a:pt x="1104" y="1282"/>
                    <a:pt x="1110" y="1271"/>
                    <a:pt x="1112" y="1256"/>
                  </a:cubicBezTo>
                  <a:cubicBezTo>
                    <a:pt x="1098" y="1249"/>
                    <a:pt x="1084" y="1242"/>
                    <a:pt x="1067" y="1238"/>
                  </a:cubicBezTo>
                  <a:close/>
                  <a:moveTo>
                    <a:pt x="731" y="1239"/>
                  </a:moveTo>
                  <a:cubicBezTo>
                    <a:pt x="730" y="1276"/>
                    <a:pt x="733" y="1316"/>
                    <a:pt x="733" y="1354"/>
                  </a:cubicBezTo>
                  <a:cubicBezTo>
                    <a:pt x="745" y="1354"/>
                    <a:pt x="757" y="1353"/>
                    <a:pt x="770" y="1353"/>
                  </a:cubicBezTo>
                  <a:cubicBezTo>
                    <a:pt x="772" y="1316"/>
                    <a:pt x="774" y="1278"/>
                    <a:pt x="775" y="1240"/>
                  </a:cubicBezTo>
                  <a:cubicBezTo>
                    <a:pt x="761" y="1239"/>
                    <a:pt x="747" y="1238"/>
                    <a:pt x="731" y="1239"/>
                  </a:cubicBezTo>
                  <a:close/>
                  <a:moveTo>
                    <a:pt x="559" y="1383"/>
                  </a:moveTo>
                  <a:cubicBezTo>
                    <a:pt x="502" y="1348"/>
                    <a:pt x="454" y="1304"/>
                    <a:pt x="408" y="1258"/>
                  </a:cubicBezTo>
                  <a:cubicBezTo>
                    <a:pt x="395" y="1265"/>
                    <a:pt x="383" y="1272"/>
                    <a:pt x="371" y="1280"/>
                  </a:cubicBezTo>
                  <a:cubicBezTo>
                    <a:pt x="377" y="1308"/>
                    <a:pt x="393" y="1320"/>
                    <a:pt x="414" y="1334"/>
                  </a:cubicBezTo>
                  <a:cubicBezTo>
                    <a:pt x="445" y="1356"/>
                    <a:pt x="480" y="1376"/>
                    <a:pt x="511" y="1392"/>
                  </a:cubicBezTo>
                  <a:cubicBezTo>
                    <a:pt x="529" y="1393"/>
                    <a:pt x="548" y="1399"/>
                    <a:pt x="564" y="1398"/>
                  </a:cubicBezTo>
                  <a:cubicBezTo>
                    <a:pt x="563" y="1393"/>
                    <a:pt x="560" y="1389"/>
                    <a:pt x="559" y="1383"/>
                  </a:cubicBezTo>
                  <a:close/>
                  <a:moveTo>
                    <a:pt x="1106" y="1293"/>
                  </a:moveTo>
                  <a:cubicBezTo>
                    <a:pt x="1114" y="1284"/>
                    <a:pt x="1124" y="1276"/>
                    <a:pt x="1133" y="1267"/>
                  </a:cubicBezTo>
                  <a:cubicBezTo>
                    <a:pt x="1126" y="1264"/>
                    <a:pt x="1122" y="1260"/>
                    <a:pt x="1115" y="1258"/>
                  </a:cubicBezTo>
                  <a:cubicBezTo>
                    <a:pt x="1112" y="1269"/>
                    <a:pt x="1106" y="1282"/>
                    <a:pt x="1106" y="1293"/>
                  </a:cubicBezTo>
                  <a:close/>
                  <a:moveTo>
                    <a:pt x="193" y="1264"/>
                  </a:moveTo>
                  <a:cubicBezTo>
                    <a:pt x="193" y="1265"/>
                    <a:pt x="193" y="1265"/>
                    <a:pt x="194" y="1265"/>
                  </a:cubicBezTo>
                  <a:moveTo>
                    <a:pt x="194" y="1265"/>
                  </a:moveTo>
                  <a:cubicBezTo>
                    <a:pt x="194" y="1266"/>
                    <a:pt x="194" y="1266"/>
                    <a:pt x="195" y="1266"/>
                  </a:cubicBezTo>
                  <a:moveTo>
                    <a:pt x="195" y="1266"/>
                  </a:moveTo>
                  <a:cubicBezTo>
                    <a:pt x="205" y="1280"/>
                    <a:pt x="216" y="1293"/>
                    <a:pt x="232" y="1301"/>
                  </a:cubicBezTo>
                  <a:moveTo>
                    <a:pt x="232" y="1301"/>
                  </a:moveTo>
                  <a:cubicBezTo>
                    <a:pt x="232" y="1302"/>
                    <a:pt x="232" y="1302"/>
                    <a:pt x="233" y="1302"/>
                  </a:cubicBezTo>
                  <a:moveTo>
                    <a:pt x="233" y="1302"/>
                  </a:moveTo>
                  <a:cubicBezTo>
                    <a:pt x="234" y="1304"/>
                    <a:pt x="234" y="1302"/>
                    <a:pt x="233" y="1302"/>
                  </a:cubicBezTo>
                  <a:moveTo>
                    <a:pt x="233" y="1302"/>
                  </a:moveTo>
                  <a:cubicBezTo>
                    <a:pt x="233" y="1301"/>
                    <a:pt x="233" y="1301"/>
                    <a:pt x="232" y="1301"/>
                  </a:cubicBezTo>
                  <a:moveTo>
                    <a:pt x="195" y="1266"/>
                  </a:moveTo>
                  <a:cubicBezTo>
                    <a:pt x="207" y="1278"/>
                    <a:pt x="219" y="1290"/>
                    <a:pt x="232" y="1301"/>
                  </a:cubicBezTo>
                  <a:moveTo>
                    <a:pt x="195" y="1266"/>
                  </a:moveTo>
                  <a:cubicBezTo>
                    <a:pt x="195" y="1265"/>
                    <a:pt x="194" y="1265"/>
                    <a:pt x="194" y="1265"/>
                  </a:cubicBezTo>
                  <a:moveTo>
                    <a:pt x="194" y="1265"/>
                  </a:moveTo>
                  <a:cubicBezTo>
                    <a:pt x="194" y="1264"/>
                    <a:pt x="193" y="1264"/>
                    <a:pt x="193" y="1264"/>
                  </a:cubicBezTo>
                  <a:moveTo>
                    <a:pt x="193" y="1264"/>
                  </a:moveTo>
                  <a:cubicBezTo>
                    <a:pt x="192" y="1262"/>
                    <a:pt x="192" y="1264"/>
                    <a:pt x="193" y="1264"/>
                  </a:cubicBezTo>
                  <a:moveTo>
                    <a:pt x="1071" y="1373"/>
                  </a:moveTo>
                  <a:cubicBezTo>
                    <a:pt x="1070" y="1374"/>
                    <a:pt x="1071" y="1374"/>
                    <a:pt x="1071" y="1373"/>
                  </a:cubicBezTo>
                  <a:moveTo>
                    <a:pt x="1071" y="1373"/>
                  </a:moveTo>
                  <a:cubicBezTo>
                    <a:pt x="1096" y="1361"/>
                    <a:pt x="1127" y="1341"/>
                    <a:pt x="1154" y="1321"/>
                  </a:cubicBezTo>
                  <a:cubicBezTo>
                    <a:pt x="1159" y="1318"/>
                    <a:pt x="1178" y="1306"/>
                    <a:pt x="1178" y="1302"/>
                  </a:cubicBezTo>
                  <a:cubicBezTo>
                    <a:pt x="1178" y="1299"/>
                    <a:pt x="1160" y="1286"/>
                    <a:pt x="1158" y="1284"/>
                  </a:cubicBezTo>
                  <a:cubicBezTo>
                    <a:pt x="1149" y="1277"/>
                    <a:pt x="1143" y="1273"/>
                    <a:pt x="1134" y="1269"/>
                  </a:cubicBezTo>
                  <a:cubicBezTo>
                    <a:pt x="1124" y="1279"/>
                    <a:pt x="1114" y="1289"/>
                    <a:pt x="1102" y="1298"/>
                  </a:cubicBezTo>
                  <a:cubicBezTo>
                    <a:pt x="1094" y="1326"/>
                    <a:pt x="1082" y="1349"/>
                    <a:pt x="1071" y="1373"/>
                  </a:cubicBezTo>
                  <a:moveTo>
                    <a:pt x="253" y="1272"/>
                  </a:moveTo>
                  <a:cubicBezTo>
                    <a:pt x="253" y="1273"/>
                    <a:pt x="254" y="1273"/>
                    <a:pt x="254" y="1273"/>
                  </a:cubicBezTo>
                  <a:moveTo>
                    <a:pt x="254" y="1273"/>
                  </a:moveTo>
                  <a:cubicBezTo>
                    <a:pt x="266" y="1296"/>
                    <a:pt x="280" y="1316"/>
                    <a:pt x="295" y="1335"/>
                  </a:cubicBezTo>
                  <a:cubicBezTo>
                    <a:pt x="305" y="1338"/>
                    <a:pt x="314" y="1343"/>
                    <a:pt x="324" y="1345"/>
                  </a:cubicBezTo>
                  <a:cubicBezTo>
                    <a:pt x="324" y="1340"/>
                    <a:pt x="326" y="1335"/>
                    <a:pt x="327" y="1331"/>
                  </a:cubicBezTo>
                  <a:cubicBezTo>
                    <a:pt x="302" y="1313"/>
                    <a:pt x="277" y="1294"/>
                    <a:pt x="254" y="1273"/>
                  </a:cubicBezTo>
                  <a:moveTo>
                    <a:pt x="254" y="1273"/>
                  </a:moveTo>
                  <a:cubicBezTo>
                    <a:pt x="254" y="1273"/>
                    <a:pt x="254" y="1272"/>
                    <a:pt x="253" y="1272"/>
                  </a:cubicBezTo>
                  <a:moveTo>
                    <a:pt x="253" y="1272"/>
                  </a:moveTo>
                  <a:cubicBezTo>
                    <a:pt x="253" y="1271"/>
                    <a:pt x="252" y="1273"/>
                    <a:pt x="253" y="1272"/>
                  </a:cubicBezTo>
                  <a:moveTo>
                    <a:pt x="379" y="1308"/>
                  </a:moveTo>
                  <a:cubicBezTo>
                    <a:pt x="380" y="1309"/>
                    <a:pt x="380" y="1308"/>
                    <a:pt x="379" y="1308"/>
                  </a:cubicBezTo>
                  <a:moveTo>
                    <a:pt x="379" y="1308"/>
                  </a:moveTo>
                  <a:cubicBezTo>
                    <a:pt x="376" y="1299"/>
                    <a:pt x="372" y="1290"/>
                    <a:pt x="368" y="1282"/>
                  </a:cubicBezTo>
                  <a:cubicBezTo>
                    <a:pt x="365" y="1285"/>
                    <a:pt x="361" y="1288"/>
                    <a:pt x="358" y="1292"/>
                  </a:cubicBezTo>
                  <a:cubicBezTo>
                    <a:pt x="365" y="1297"/>
                    <a:pt x="371" y="1303"/>
                    <a:pt x="379" y="1308"/>
                  </a:cubicBezTo>
                  <a:moveTo>
                    <a:pt x="383" y="1315"/>
                  </a:moveTo>
                  <a:cubicBezTo>
                    <a:pt x="373" y="1308"/>
                    <a:pt x="366" y="1299"/>
                    <a:pt x="355" y="1294"/>
                  </a:cubicBezTo>
                  <a:cubicBezTo>
                    <a:pt x="345" y="1304"/>
                    <a:pt x="335" y="1315"/>
                    <a:pt x="330" y="1330"/>
                  </a:cubicBezTo>
                  <a:cubicBezTo>
                    <a:pt x="356" y="1345"/>
                    <a:pt x="378" y="1368"/>
                    <a:pt x="413" y="1371"/>
                  </a:cubicBezTo>
                  <a:cubicBezTo>
                    <a:pt x="401" y="1354"/>
                    <a:pt x="391" y="1335"/>
                    <a:pt x="383" y="1315"/>
                  </a:cubicBezTo>
                  <a:close/>
                  <a:moveTo>
                    <a:pt x="929" y="1297"/>
                  </a:moveTo>
                  <a:cubicBezTo>
                    <a:pt x="929" y="1297"/>
                    <a:pt x="930" y="1298"/>
                    <a:pt x="929" y="1297"/>
                  </a:cubicBezTo>
                  <a:close/>
                  <a:moveTo>
                    <a:pt x="224" y="1300"/>
                  </a:moveTo>
                  <a:cubicBezTo>
                    <a:pt x="224" y="1301"/>
                    <a:pt x="225" y="1301"/>
                    <a:pt x="225" y="1301"/>
                  </a:cubicBezTo>
                  <a:moveTo>
                    <a:pt x="225" y="1301"/>
                  </a:moveTo>
                  <a:cubicBezTo>
                    <a:pt x="259" y="1340"/>
                    <a:pt x="299" y="1371"/>
                    <a:pt x="343" y="1399"/>
                  </a:cubicBezTo>
                  <a:cubicBezTo>
                    <a:pt x="340" y="1392"/>
                    <a:pt x="333" y="1387"/>
                    <a:pt x="331" y="1378"/>
                  </a:cubicBezTo>
                  <a:cubicBezTo>
                    <a:pt x="326" y="1374"/>
                    <a:pt x="321" y="1369"/>
                    <a:pt x="317" y="1364"/>
                  </a:cubicBezTo>
                  <a:cubicBezTo>
                    <a:pt x="283" y="1346"/>
                    <a:pt x="259" y="1319"/>
                    <a:pt x="225" y="1301"/>
                  </a:cubicBezTo>
                  <a:moveTo>
                    <a:pt x="225" y="1301"/>
                  </a:moveTo>
                  <a:cubicBezTo>
                    <a:pt x="226" y="1300"/>
                    <a:pt x="225" y="1300"/>
                    <a:pt x="224" y="1300"/>
                  </a:cubicBezTo>
                  <a:moveTo>
                    <a:pt x="224" y="1300"/>
                  </a:moveTo>
                  <a:cubicBezTo>
                    <a:pt x="224" y="1299"/>
                    <a:pt x="223" y="1300"/>
                    <a:pt x="224" y="1300"/>
                  </a:cubicBezTo>
                  <a:moveTo>
                    <a:pt x="961" y="1398"/>
                  </a:moveTo>
                  <a:cubicBezTo>
                    <a:pt x="996" y="1395"/>
                    <a:pt x="1039" y="1392"/>
                    <a:pt x="1066" y="1377"/>
                  </a:cubicBezTo>
                  <a:cubicBezTo>
                    <a:pt x="1077" y="1353"/>
                    <a:pt x="1091" y="1328"/>
                    <a:pt x="1097" y="1302"/>
                  </a:cubicBezTo>
                  <a:cubicBezTo>
                    <a:pt x="1057" y="1339"/>
                    <a:pt x="1010" y="1370"/>
                    <a:pt x="961" y="1398"/>
                  </a:cubicBezTo>
                  <a:close/>
                  <a:moveTo>
                    <a:pt x="1294" y="1304"/>
                  </a:moveTo>
                  <a:cubicBezTo>
                    <a:pt x="1293" y="1304"/>
                    <a:pt x="1294" y="1305"/>
                    <a:pt x="1294" y="1304"/>
                  </a:cubicBezTo>
                  <a:close/>
                  <a:moveTo>
                    <a:pt x="1292" y="1305"/>
                  </a:moveTo>
                  <a:cubicBezTo>
                    <a:pt x="1292" y="1305"/>
                    <a:pt x="1293" y="1306"/>
                    <a:pt x="1292" y="1305"/>
                  </a:cubicBezTo>
                  <a:close/>
                  <a:moveTo>
                    <a:pt x="561" y="1382"/>
                  </a:moveTo>
                  <a:cubicBezTo>
                    <a:pt x="567" y="1384"/>
                    <a:pt x="571" y="1388"/>
                    <a:pt x="577" y="1391"/>
                  </a:cubicBezTo>
                  <a:cubicBezTo>
                    <a:pt x="587" y="1385"/>
                    <a:pt x="597" y="1379"/>
                    <a:pt x="610" y="1376"/>
                  </a:cubicBezTo>
                  <a:cubicBezTo>
                    <a:pt x="587" y="1352"/>
                    <a:pt x="562" y="1331"/>
                    <a:pt x="541" y="1305"/>
                  </a:cubicBezTo>
                  <a:cubicBezTo>
                    <a:pt x="546" y="1332"/>
                    <a:pt x="554" y="1357"/>
                    <a:pt x="561" y="1382"/>
                  </a:cubicBezTo>
                  <a:close/>
                  <a:moveTo>
                    <a:pt x="1179" y="1305"/>
                  </a:moveTo>
                  <a:cubicBezTo>
                    <a:pt x="1162" y="1320"/>
                    <a:pt x="1142" y="1333"/>
                    <a:pt x="1122" y="1345"/>
                  </a:cubicBezTo>
                  <a:cubicBezTo>
                    <a:pt x="1103" y="1357"/>
                    <a:pt x="1083" y="1369"/>
                    <a:pt x="1066" y="1382"/>
                  </a:cubicBezTo>
                  <a:cubicBezTo>
                    <a:pt x="1112" y="1371"/>
                    <a:pt x="1168" y="1364"/>
                    <a:pt x="1197" y="1341"/>
                  </a:cubicBezTo>
                  <a:cubicBezTo>
                    <a:pt x="1194" y="1326"/>
                    <a:pt x="1188" y="1314"/>
                    <a:pt x="1179" y="1305"/>
                  </a:cubicBezTo>
                  <a:close/>
                  <a:moveTo>
                    <a:pt x="1283" y="1311"/>
                  </a:moveTo>
                  <a:cubicBezTo>
                    <a:pt x="1257" y="1325"/>
                    <a:pt x="1230" y="1338"/>
                    <a:pt x="1200" y="1348"/>
                  </a:cubicBezTo>
                  <a:cubicBezTo>
                    <a:pt x="1201" y="1361"/>
                    <a:pt x="1197" y="1369"/>
                    <a:pt x="1194" y="1378"/>
                  </a:cubicBezTo>
                  <a:moveTo>
                    <a:pt x="1194" y="1378"/>
                  </a:moveTo>
                  <a:cubicBezTo>
                    <a:pt x="1193" y="1379"/>
                    <a:pt x="1194" y="1379"/>
                    <a:pt x="1194" y="1378"/>
                  </a:cubicBezTo>
                  <a:moveTo>
                    <a:pt x="1194" y="1378"/>
                  </a:moveTo>
                  <a:cubicBezTo>
                    <a:pt x="1227" y="1358"/>
                    <a:pt x="1258" y="1338"/>
                    <a:pt x="1283" y="1311"/>
                  </a:cubicBezTo>
                  <a:moveTo>
                    <a:pt x="1283" y="1311"/>
                  </a:moveTo>
                  <a:cubicBezTo>
                    <a:pt x="1285" y="1310"/>
                    <a:pt x="1283" y="1310"/>
                    <a:pt x="1283" y="1311"/>
                  </a:cubicBezTo>
                  <a:moveTo>
                    <a:pt x="881" y="1367"/>
                  </a:moveTo>
                  <a:cubicBezTo>
                    <a:pt x="892" y="1368"/>
                    <a:pt x="901" y="1372"/>
                    <a:pt x="911" y="1374"/>
                  </a:cubicBezTo>
                  <a:cubicBezTo>
                    <a:pt x="916" y="1355"/>
                    <a:pt x="921" y="1331"/>
                    <a:pt x="922" y="1312"/>
                  </a:cubicBezTo>
                  <a:cubicBezTo>
                    <a:pt x="910" y="1331"/>
                    <a:pt x="895" y="1349"/>
                    <a:pt x="881" y="1367"/>
                  </a:cubicBezTo>
                  <a:close/>
                  <a:moveTo>
                    <a:pt x="388" y="1319"/>
                  </a:moveTo>
                  <a:cubicBezTo>
                    <a:pt x="395" y="1338"/>
                    <a:pt x="406" y="1356"/>
                    <a:pt x="416" y="1373"/>
                  </a:cubicBezTo>
                  <a:cubicBezTo>
                    <a:pt x="444" y="1379"/>
                    <a:pt x="470" y="1386"/>
                    <a:pt x="500" y="1390"/>
                  </a:cubicBezTo>
                  <a:moveTo>
                    <a:pt x="500" y="1390"/>
                  </a:moveTo>
                  <a:cubicBezTo>
                    <a:pt x="500" y="1392"/>
                    <a:pt x="504" y="1389"/>
                    <a:pt x="500" y="1390"/>
                  </a:cubicBezTo>
                  <a:moveTo>
                    <a:pt x="388" y="1319"/>
                  </a:moveTo>
                  <a:cubicBezTo>
                    <a:pt x="423" y="1344"/>
                    <a:pt x="460" y="1368"/>
                    <a:pt x="500" y="1390"/>
                  </a:cubicBezTo>
                  <a:moveTo>
                    <a:pt x="388" y="1319"/>
                  </a:moveTo>
                  <a:cubicBezTo>
                    <a:pt x="387" y="1317"/>
                    <a:pt x="386" y="1319"/>
                    <a:pt x="388" y="1319"/>
                  </a:cubicBezTo>
                  <a:moveTo>
                    <a:pt x="261" y="1322"/>
                  </a:moveTo>
                  <a:cubicBezTo>
                    <a:pt x="260" y="1322"/>
                    <a:pt x="262" y="1323"/>
                    <a:pt x="261" y="1322"/>
                  </a:cubicBezTo>
                  <a:close/>
                  <a:moveTo>
                    <a:pt x="264" y="1323"/>
                  </a:moveTo>
                  <a:cubicBezTo>
                    <a:pt x="264" y="1324"/>
                    <a:pt x="264" y="1324"/>
                    <a:pt x="264" y="1324"/>
                  </a:cubicBezTo>
                  <a:cubicBezTo>
                    <a:pt x="279" y="1334"/>
                    <a:pt x="292" y="1346"/>
                    <a:pt x="308" y="1355"/>
                  </a:cubicBezTo>
                  <a:moveTo>
                    <a:pt x="308" y="1355"/>
                  </a:moveTo>
                  <a:cubicBezTo>
                    <a:pt x="308" y="1356"/>
                    <a:pt x="308" y="1356"/>
                    <a:pt x="309" y="1356"/>
                  </a:cubicBezTo>
                  <a:moveTo>
                    <a:pt x="309" y="1356"/>
                  </a:moveTo>
                  <a:cubicBezTo>
                    <a:pt x="309" y="1357"/>
                    <a:pt x="310" y="1356"/>
                    <a:pt x="309" y="1356"/>
                  </a:cubicBezTo>
                  <a:moveTo>
                    <a:pt x="309" y="1356"/>
                  </a:moveTo>
                  <a:cubicBezTo>
                    <a:pt x="309" y="1355"/>
                    <a:pt x="309" y="1355"/>
                    <a:pt x="308" y="1355"/>
                  </a:cubicBezTo>
                  <a:moveTo>
                    <a:pt x="308" y="1355"/>
                  </a:moveTo>
                  <a:cubicBezTo>
                    <a:pt x="299" y="1338"/>
                    <a:pt x="282" y="1330"/>
                    <a:pt x="264" y="1323"/>
                  </a:cubicBezTo>
                  <a:moveTo>
                    <a:pt x="264" y="1323"/>
                  </a:moveTo>
                  <a:cubicBezTo>
                    <a:pt x="263" y="1322"/>
                    <a:pt x="263" y="1323"/>
                    <a:pt x="264" y="1323"/>
                  </a:cubicBezTo>
                  <a:moveTo>
                    <a:pt x="327" y="1347"/>
                  </a:moveTo>
                  <a:cubicBezTo>
                    <a:pt x="343" y="1351"/>
                    <a:pt x="359" y="1360"/>
                    <a:pt x="374" y="1361"/>
                  </a:cubicBezTo>
                  <a:cubicBezTo>
                    <a:pt x="358" y="1353"/>
                    <a:pt x="345" y="1342"/>
                    <a:pt x="329" y="1333"/>
                  </a:cubicBezTo>
                  <a:cubicBezTo>
                    <a:pt x="328" y="1337"/>
                    <a:pt x="327" y="1341"/>
                    <a:pt x="327" y="1347"/>
                  </a:cubicBezTo>
                  <a:close/>
                  <a:moveTo>
                    <a:pt x="299" y="1340"/>
                  </a:moveTo>
                  <a:cubicBezTo>
                    <a:pt x="308" y="1349"/>
                    <a:pt x="314" y="1361"/>
                    <a:pt x="326" y="1367"/>
                  </a:cubicBezTo>
                  <a:cubicBezTo>
                    <a:pt x="325" y="1362"/>
                    <a:pt x="324" y="1356"/>
                    <a:pt x="324" y="1348"/>
                  </a:cubicBezTo>
                  <a:cubicBezTo>
                    <a:pt x="315" y="1346"/>
                    <a:pt x="309" y="1342"/>
                    <a:pt x="299" y="1340"/>
                  </a:cubicBezTo>
                  <a:moveTo>
                    <a:pt x="299" y="1340"/>
                  </a:moveTo>
                  <a:cubicBezTo>
                    <a:pt x="299" y="1338"/>
                    <a:pt x="298" y="1340"/>
                    <a:pt x="299" y="1340"/>
                  </a:cubicBezTo>
                  <a:moveTo>
                    <a:pt x="1254" y="1341"/>
                  </a:moveTo>
                  <a:cubicBezTo>
                    <a:pt x="1254" y="1340"/>
                    <a:pt x="1254" y="1341"/>
                    <a:pt x="1254" y="1342"/>
                  </a:cubicBezTo>
                  <a:moveTo>
                    <a:pt x="1254" y="1342"/>
                  </a:moveTo>
                  <a:cubicBezTo>
                    <a:pt x="1253" y="1341"/>
                    <a:pt x="1253" y="1342"/>
                    <a:pt x="1253" y="1343"/>
                  </a:cubicBezTo>
                  <a:moveTo>
                    <a:pt x="1253" y="1343"/>
                  </a:moveTo>
                  <a:cubicBezTo>
                    <a:pt x="1252" y="1342"/>
                    <a:pt x="1252" y="1343"/>
                    <a:pt x="1252" y="1343"/>
                  </a:cubicBezTo>
                  <a:moveTo>
                    <a:pt x="1252" y="1343"/>
                  </a:moveTo>
                  <a:cubicBezTo>
                    <a:pt x="1231" y="1356"/>
                    <a:pt x="1213" y="1372"/>
                    <a:pt x="1191" y="1383"/>
                  </a:cubicBezTo>
                  <a:cubicBezTo>
                    <a:pt x="1188" y="1390"/>
                    <a:pt x="1182" y="1395"/>
                    <a:pt x="1178" y="1402"/>
                  </a:cubicBezTo>
                  <a:moveTo>
                    <a:pt x="1178" y="1402"/>
                  </a:moveTo>
                  <a:cubicBezTo>
                    <a:pt x="1177" y="1402"/>
                    <a:pt x="1177" y="1402"/>
                    <a:pt x="1177" y="1403"/>
                  </a:cubicBezTo>
                  <a:moveTo>
                    <a:pt x="1177" y="1403"/>
                  </a:moveTo>
                  <a:cubicBezTo>
                    <a:pt x="1175" y="1404"/>
                    <a:pt x="1177" y="1404"/>
                    <a:pt x="1177" y="1403"/>
                  </a:cubicBezTo>
                  <a:moveTo>
                    <a:pt x="1177" y="1403"/>
                  </a:moveTo>
                  <a:cubicBezTo>
                    <a:pt x="1178" y="1403"/>
                    <a:pt x="1178" y="1403"/>
                    <a:pt x="1178" y="1402"/>
                  </a:cubicBezTo>
                  <a:moveTo>
                    <a:pt x="1178" y="1402"/>
                  </a:moveTo>
                  <a:cubicBezTo>
                    <a:pt x="1205" y="1385"/>
                    <a:pt x="1229" y="1365"/>
                    <a:pt x="1252" y="1343"/>
                  </a:cubicBezTo>
                  <a:moveTo>
                    <a:pt x="1252" y="1343"/>
                  </a:moveTo>
                  <a:cubicBezTo>
                    <a:pt x="1252" y="1344"/>
                    <a:pt x="1253" y="1343"/>
                    <a:pt x="1253" y="1343"/>
                  </a:cubicBezTo>
                  <a:moveTo>
                    <a:pt x="1253" y="1343"/>
                  </a:moveTo>
                  <a:cubicBezTo>
                    <a:pt x="1253" y="1343"/>
                    <a:pt x="1253" y="1342"/>
                    <a:pt x="1254" y="1342"/>
                  </a:cubicBezTo>
                  <a:moveTo>
                    <a:pt x="1254" y="1342"/>
                  </a:moveTo>
                  <a:cubicBezTo>
                    <a:pt x="1254" y="1342"/>
                    <a:pt x="1254" y="1341"/>
                    <a:pt x="1254" y="1341"/>
                  </a:cubicBezTo>
                  <a:moveTo>
                    <a:pt x="1254" y="1341"/>
                  </a:moveTo>
                  <a:cubicBezTo>
                    <a:pt x="1256" y="1340"/>
                    <a:pt x="1254" y="1339"/>
                    <a:pt x="1254" y="1341"/>
                  </a:cubicBezTo>
                  <a:moveTo>
                    <a:pt x="1193" y="1348"/>
                  </a:moveTo>
                  <a:cubicBezTo>
                    <a:pt x="1193" y="1348"/>
                    <a:pt x="1194" y="1349"/>
                    <a:pt x="1193" y="1348"/>
                  </a:cubicBezTo>
                  <a:close/>
                  <a:moveTo>
                    <a:pt x="330" y="1369"/>
                  </a:moveTo>
                  <a:cubicBezTo>
                    <a:pt x="368" y="1393"/>
                    <a:pt x="409" y="1413"/>
                    <a:pt x="454" y="1429"/>
                  </a:cubicBezTo>
                  <a:cubicBezTo>
                    <a:pt x="444" y="1415"/>
                    <a:pt x="432" y="1403"/>
                    <a:pt x="423" y="1388"/>
                  </a:cubicBezTo>
                  <a:cubicBezTo>
                    <a:pt x="395" y="1370"/>
                    <a:pt x="360" y="1360"/>
                    <a:pt x="326" y="1349"/>
                  </a:cubicBezTo>
                  <a:cubicBezTo>
                    <a:pt x="327" y="1357"/>
                    <a:pt x="327" y="1364"/>
                    <a:pt x="330" y="1369"/>
                  </a:cubicBezTo>
                  <a:close/>
                  <a:moveTo>
                    <a:pt x="1151" y="1402"/>
                  </a:moveTo>
                  <a:cubicBezTo>
                    <a:pt x="1149" y="1403"/>
                    <a:pt x="1151" y="1403"/>
                    <a:pt x="1151" y="1402"/>
                  </a:cubicBezTo>
                  <a:moveTo>
                    <a:pt x="1151" y="1402"/>
                  </a:moveTo>
                  <a:cubicBezTo>
                    <a:pt x="1165" y="1397"/>
                    <a:pt x="1176" y="1388"/>
                    <a:pt x="1189" y="1382"/>
                  </a:cubicBezTo>
                  <a:cubicBezTo>
                    <a:pt x="1193" y="1373"/>
                    <a:pt x="1197" y="1363"/>
                    <a:pt x="1198" y="1350"/>
                  </a:cubicBezTo>
                  <a:cubicBezTo>
                    <a:pt x="1183" y="1365"/>
                    <a:pt x="1168" y="1386"/>
                    <a:pt x="1151" y="1402"/>
                  </a:cubicBezTo>
                  <a:moveTo>
                    <a:pt x="1191" y="1352"/>
                  </a:moveTo>
                  <a:cubicBezTo>
                    <a:pt x="1142" y="1377"/>
                    <a:pt x="1096" y="1406"/>
                    <a:pt x="1039" y="1424"/>
                  </a:cubicBezTo>
                  <a:cubicBezTo>
                    <a:pt x="1033" y="1434"/>
                    <a:pt x="1025" y="1443"/>
                    <a:pt x="1017" y="1452"/>
                  </a:cubicBezTo>
                  <a:moveTo>
                    <a:pt x="1017" y="1452"/>
                  </a:moveTo>
                  <a:cubicBezTo>
                    <a:pt x="1016" y="1453"/>
                    <a:pt x="1017" y="1453"/>
                    <a:pt x="1017" y="1452"/>
                  </a:cubicBezTo>
                  <a:moveTo>
                    <a:pt x="1017" y="1452"/>
                  </a:moveTo>
                  <a:cubicBezTo>
                    <a:pt x="1063" y="1442"/>
                    <a:pt x="1102" y="1425"/>
                    <a:pt x="1141" y="1408"/>
                  </a:cubicBezTo>
                  <a:cubicBezTo>
                    <a:pt x="1159" y="1390"/>
                    <a:pt x="1176" y="1372"/>
                    <a:pt x="1191" y="1352"/>
                  </a:cubicBezTo>
                  <a:moveTo>
                    <a:pt x="1191" y="1352"/>
                  </a:moveTo>
                  <a:cubicBezTo>
                    <a:pt x="1193" y="1352"/>
                    <a:pt x="1191" y="1351"/>
                    <a:pt x="1191" y="1352"/>
                  </a:cubicBezTo>
                  <a:moveTo>
                    <a:pt x="735" y="1356"/>
                  </a:moveTo>
                  <a:cubicBezTo>
                    <a:pt x="733" y="1373"/>
                    <a:pt x="736" y="1393"/>
                    <a:pt x="736" y="1411"/>
                  </a:cubicBezTo>
                  <a:cubicBezTo>
                    <a:pt x="746" y="1411"/>
                    <a:pt x="756" y="1411"/>
                    <a:pt x="766" y="1411"/>
                  </a:cubicBezTo>
                  <a:cubicBezTo>
                    <a:pt x="768" y="1393"/>
                    <a:pt x="768" y="1374"/>
                    <a:pt x="770" y="1356"/>
                  </a:cubicBezTo>
                  <a:cubicBezTo>
                    <a:pt x="758" y="1356"/>
                    <a:pt x="747" y="1356"/>
                    <a:pt x="735" y="1356"/>
                  </a:cubicBezTo>
                  <a:close/>
                  <a:moveTo>
                    <a:pt x="773" y="1356"/>
                  </a:moveTo>
                  <a:cubicBezTo>
                    <a:pt x="771" y="1374"/>
                    <a:pt x="770" y="1392"/>
                    <a:pt x="769" y="1411"/>
                  </a:cubicBezTo>
                  <a:cubicBezTo>
                    <a:pt x="779" y="1411"/>
                    <a:pt x="789" y="1411"/>
                    <a:pt x="799" y="1411"/>
                  </a:cubicBezTo>
                  <a:cubicBezTo>
                    <a:pt x="809" y="1394"/>
                    <a:pt x="817" y="1376"/>
                    <a:pt x="825" y="1359"/>
                  </a:cubicBezTo>
                  <a:cubicBezTo>
                    <a:pt x="807" y="1358"/>
                    <a:pt x="791" y="1356"/>
                    <a:pt x="773" y="1356"/>
                  </a:cubicBezTo>
                  <a:close/>
                  <a:moveTo>
                    <a:pt x="718" y="1358"/>
                  </a:moveTo>
                  <a:cubicBezTo>
                    <a:pt x="721" y="1371"/>
                    <a:pt x="728" y="1389"/>
                    <a:pt x="733" y="1403"/>
                  </a:cubicBezTo>
                  <a:cubicBezTo>
                    <a:pt x="732" y="1388"/>
                    <a:pt x="731" y="1373"/>
                    <a:pt x="731" y="1357"/>
                  </a:cubicBezTo>
                  <a:cubicBezTo>
                    <a:pt x="727" y="1357"/>
                    <a:pt x="721" y="1356"/>
                    <a:pt x="718" y="1358"/>
                  </a:cubicBezTo>
                  <a:close/>
                  <a:moveTo>
                    <a:pt x="664" y="1365"/>
                  </a:moveTo>
                  <a:cubicBezTo>
                    <a:pt x="673" y="1379"/>
                    <a:pt x="687" y="1397"/>
                    <a:pt x="701" y="1410"/>
                  </a:cubicBezTo>
                  <a:cubicBezTo>
                    <a:pt x="712" y="1408"/>
                    <a:pt x="723" y="1413"/>
                    <a:pt x="732" y="1410"/>
                  </a:cubicBezTo>
                  <a:cubicBezTo>
                    <a:pt x="724" y="1394"/>
                    <a:pt x="719" y="1376"/>
                    <a:pt x="713" y="1358"/>
                  </a:cubicBezTo>
                  <a:cubicBezTo>
                    <a:pt x="696" y="1359"/>
                    <a:pt x="679" y="1361"/>
                    <a:pt x="664" y="1365"/>
                  </a:cubicBezTo>
                  <a:close/>
                  <a:moveTo>
                    <a:pt x="1171" y="1359"/>
                  </a:moveTo>
                  <a:cubicBezTo>
                    <a:pt x="1137" y="1369"/>
                    <a:pt x="1101" y="1378"/>
                    <a:pt x="1064" y="1386"/>
                  </a:cubicBezTo>
                  <a:cubicBezTo>
                    <a:pt x="1058" y="1397"/>
                    <a:pt x="1050" y="1409"/>
                    <a:pt x="1043" y="1420"/>
                  </a:cubicBezTo>
                  <a:cubicBezTo>
                    <a:pt x="1090" y="1404"/>
                    <a:pt x="1132" y="1383"/>
                    <a:pt x="1171" y="1359"/>
                  </a:cubicBezTo>
                  <a:moveTo>
                    <a:pt x="1171" y="1359"/>
                  </a:moveTo>
                  <a:cubicBezTo>
                    <a:pt x="1172" y="1358"/>
                    <a:pt x="1171" y="1358"/>
                    <a:pt x="1171" y="1359"/>
                  </a:cubicBezTo>
                  <a:moveTo>
                    <a:pt x="827" y="1360"/>
                  </a:moveTo>
                  <a:cubicBezTo>
                    <a:pt x="820" y="1378"/>
                    <a:pt x="811" y="1394"/>
                    <a:pt x="802" y="1411"/>
                  </a:cubicBezTo>
                  <a:cubicBezTo>
                    <a:pt x="813" y="1409"/>
                    <a:pt x="828" y="1411"/>
                    <a:pt x="838" y="1409"/>
                  </a:cubicBezTo>
                  <a:cubicBezTo>
                    <a:pt x="847" y="1399"/>
                    <a:pt x="859" y="1388"/>
                    <a:pt x="868" y="1378"/>
                  </a:cubicBezTo>
                  <a:cubicBezTo>
                    <a:pt x="871" y="1375"/>
                    <a:pt x="876" y="1371"/>
                    <a:pt x="874" y="1367"/>
                  </a:cubicBezTo>
                  <a:cubicBezTo>
                    <a:pt x="860" y="1364"/>
                    <a:pt x="844" y="1361"/>
                    <a:pt x="827" y="1360"/>
                  </a:cubicBezTo>
                  <a:close/>
                  <a:moveTo>
                    <a:pt x="375" y="1363"/>
                  </a:moveTo>
                  <a:cubicBezTo>
                    <a:pt x="375" y="1362"/>
                    <a:pt x="376" y="1363"/>
                    <a:pt x="375" y="1363"/>
                  </a:cubicBezTo>
                  <a:close/>
                  <a:moveTo>
                    <a:pt x="618" y="1375"/>
                  </a:moveTo>
                  <a:cubicBezTo>
                    <a:pt x="621" y="1381"/>
                    <a:pt x="628" y="1387"/>
                    <a:pt x="635" y="1392"/>
                  </a:cubicBezTo>
                  <a:cubicBezTo>
                    <a:pt x="641" y="1397"/>
                    <a:pt x="650" y="1406"/>
                    <a:pt x="657" y="1408"/>
                  </a:cubicBezTo>
                  <a:cubicBezTo>
                    <a:pt x="669" y="1411"/>
                    <a:pt x="681" y="1407"/>
                    <a:pt x="695" y="1410"/>
                  </a:cubicBezTo>
                  <a:cubicBezTo>
                    <a:pt x="685" y="1397"/>
                    <a:pt x="672" y="1379"/>
                    <a:pt x="659" y="1366"/>
                  </a:cubicBezTo>
                  <a:cubicBezTo>
                    <a:pt x="644" y="1368"/>
                    <a:pt x="632" y="1372"/>
                    <a:pt x="618" y="1375"/>
                  </a:cubicBezTo>
                  <a:close/>
                  <a:moveTo>
                    <a:pt x="879" y="1368"/>
                  </a:moveTo>
                  <a:cubicBezTo>
                    <a:pt x="870" y="1379"/>
                    <a:pt x="860" y="1391"/>
                    <a:pt x="850" y="1400"/>
                  </a:cubicBezTo>
                  <a:cubicBezTo>
                    <a:pt x="848" y="1403"/>
                    <a:pt x="842" y="1405"/>
                    <a:pt x="844" y="1409"/>
                  </a:cubicBezTo>
                  <a:cubicBezTo>
                    <a:pt x="857" y="1409"/>
                    <a:pt x="870" y="1407"/>
                    <a:pt x="884" y="1407"/>
                  </a:cubicBezTo>
                  <a:cubicBezTo>
                    <a:pt x="892" y="1402"/>
                    <a:pt x="900" y="1396"/>
                    <a:pt x="908" y="1391"/>
                  </a:cubicBezTo>
                  <a:cubicBezTo>
                    <a:pt x="908" y="1385"/>
                    <a:pt x="910" y="1381"/>
                    <a:pt x="911" y="1377"/>
                  </a:cubicBezTo>
                  <a:cubicBezTo>
                    <a:pt x="900" y="1374"/>
                    <a:pt x="890" y="1371"/>
                    <a:pt x="879" y="1368"/>
                  </a:cubicBezTo>
                  <a:close/>
                  <a:moveTo>
                    <a:pt x="419" y="1382"/>
                  </a:moveTo>
                  <a:cubicBezTo>
                    <a:pt x="416" y="1375"/>
                    <a:pt x="405" y="1372"/>
                    <a:pt x="398" y="1372"/>
                  </a:cubicBezTo>
                  <a:cubicBezTo>
                    <a:pt x="405" y="1375"/>
                    <a:pt x="413" y="1382"/>
                    <a:pt x="419" y="1382"/>
                  </a:cubicBezTo>
                  <a:close/>
                  <a:moveTo>
                    <a:pt x="332" y="1374"/>
                  </a:moveTo>
                  <a:cubicBezTo>
                    <a:pt x="368" y="1419"/>
                    <a:pt x="423" y="1445"/>
                    <a:pt x="487" y="1461"/>
                  </a:cubicBezTo>
                  <a:moveTo>
                    <a:pt x="487" y="1461"/>
                  </a:moveTo>
                  <a:cubicBezTo>
                    <a:pt x="488" y="1462"/>
                    <a:pt x="489" y="1461"/>
                    <a:pt x="487" y="1461"/>
                  </a:cubicBezTo>
                  <a:moveTo>
                    <a:pt x="487" y="1461"/>
                  </a:moveTo>
                  <a:cubicBezTo>
                    <a:pt x="476" y="1454"/>
                    <a:pt x="470" y="1441"/>
                    <a:pt x="458" y="1434"/>
                  </a:cubicBezTo>
                  <a:cubicBezTo>
                    <a:pt x="438" y="1423"/>
                    <a:pt x="414" y="1417"/>
                    <a:pt x="392" y="1407"/>
                  </a:cubicBezTo>
                  <a:cubicBezTo>
                    <a:pt x="371" y="1397"/>
                    <a:pt x="351" y="1384"/>
                    <a:pt x="332" y="1374"/>
                  </a:cubicBezTo>
                  <a:moveTo>
                    <a:pt x="332" y="1374"/>
                  </a:moveTo>
                  <a:cubicBezTo>
                    <a:pt x="331" y="1373"/>
                    <a:pt x="331" y="1374"/>
                    <a:pt x="332" y="1374"/>
                  </a:cubicBezTo>
                  <a:moveTo>
                    <a:pt x="419" y="1377"/>
                  </a:moveTo>
                  <a:cubicBezTo>
                    <a:pt x="420" y="1381"/>
                    <a:pt x="424" y="1383"/>
                    <a:pt x="425" y="1387"/>
                  </a:cubicBezTo>
                  <a:cubicBezTo>
                    <a:pt x="461" y="1403"/>
                    <a:pt x="496" y="1420"/>
                    <a:pt x="536" y="1431"/>
                  </a:cubicBezTo>
                  <a:cubicBezTo>
                    <a:pt x="537" y="1422"/>
                    <a:pt x="546" y="1417"/>
                    <a:pt x="546" y="1411"/>
                  </a:cubicBezTo>
                  <a:cubicBezTo>
                    <a:pt x="533" y="1406"/>
                    <a:pt x="522" y="1401"/>
                    <a:pt x="511" y="1394"/>
                  </a:cubicBezTo>
                  <a:cubicBezTo>
                    <a:pt x="479" y="1390"/>
                    <a:pt x="450" y="1383"/>
                    <a:pt x="419" y="1377"/>
                  </a:cubicBezTo>
                  <a:moveTo>
                    <a:pt x="419" y="1377"/>
                  </a:moveTo>
                  <a:cubicBezTo>
                    <a:pt x="419" y="1376"/>
                    <a:pt x="418" y="1377"/>
                    <a:pt x="419" y="1377"/>
                  </a:cubicBezTo>
                  <a:moveTo>
                    <a:pt x="612" y="1377"/>
                  </a:moveTo>
                  <a:cubicBezTo>
                    <a:pt x="601" y="1382"/>
                    <a:pt x="588" y="1386"/>
                    <a:pt x="579" y="1392"/>
                  </a:cubicBezTo>
                  <a:cubicBezTo>
                    <a:pt x="593" y="1405"/>
                    <a:pt x="625" y="1407"/>
                    <a:pt x="650" y="1406"/>
                  </a:cubicBezTo>
                  <a:cubicBezTo>
                    <a:pt x="636" y="1397"/>
                    <a:pt x="626" y="1386"/>
                    <a:pt x="612" y="1377"/>
                  </a:cubicBezTo>
                  <a:close/>
                  <a:moveTo>
                    <a:pt x="914" y="1387"/>
                  </a:moveTo>
                  <a:cubicBezTo>
                    <a:pt x="915" y="1384"/>
                    <a:pt x="920" y="1384"/>
                    <a:pt x="920" y="1380"/>
                  </a:cubicBezTo>
                  <a:cubicBezTo>
                    <a:pt x="917" y="1380"/>
                    <a:pt x="917" y="1378"/>
                    <a:pt x="914" y="1379"/>
                  </a:cubicBezTo>
                  <a:cubicBezTo>
                    <a:pt x="915" y="1382"/>
                    <a:pt x="911" y="1385"/>
                    <a:pt x="914" y="1387"/>
                  </a:cubicBezTo>
                  <a:close/>
                  <a:moveTo>
                    <a:pt x="1062" y="1382"/>
                  </a:moveTo>
                  <a:cubicBezTo>
                    <a:pt x="1061" y="1382"/>
                    <a:pt x="1059" y="1383"/>
                    <a:pt x="1059" y="1384"/>
                  </a:cubicBezTo>
                  <a:cubicBezTo>
                    <a:pt x="1061" y="1384"/>
                    <a:pt x="1062" y="1384"/>
                    <a:pt x="1062" y="1382"/>
                  </a:cubicBezTo>
                  <a:moveTo>
                    <a:pt x="1062" y="1382"/>
                  </a:moveTo>
                  <a:cubicBezTo>
                    <a:pt x="1064" y="1381"/>
                    <a:pt x="1062" y="1381"/>
                    <a:pt x="1062" y="1382"/>
                  </a:cubicBezTo>
                  <a:moveTo>
                    <a:pt x="911" y="1391"/>
                  </a:moveTo>
                  <a:cubicBezTo>
                    <a:pt x="911" y="1397"/>
                    <a:pt x="908" y="1400"/>
                    <a:pt x="908" y="1405"/>
                  </a:cubicBezTo>
                  <a:cubicBezTo>
                    <a:pt x="923" y="1401"/>
                    <a:pt x="944" y="1404"/>
                    <a:pt x="956" y="1397"/>
                  </a:cubicBezTo>
                  <a:cubicBezTo>
                    <a:pt x="941" y="1391"/>
                    <a:pt x="923" y="1374"/>
                    <a:pt x="911" y="1391"/>
                  </a:cubicBezTo>
                  <a:close/>
                  <a:moveTo>
                    <a:pt x="339" y="1387"/>
                  </a:moveTo>
                  <a:cubicBezTo>
                    <a:pt x="338" y="1387"/>
                    <a:pt x="339" y="1388"/>
                    <a:pt x="340" y="1388"/>
                  </a:cubicBezTo>
                  <a:moveTo>
                    <a:pt x="340" y="1388"/>
                  </a:moveTo>
                  <a:cubicBezTo>
                    <a:pt x="346" y="1400"/>
                    <a:pt x="356" y="1408"/>
                    <a:pt x="369" y="1414"/>
                  </a:cubicBezTo>
                  <a:moveTo>
                    <a:pt x="369" y="1414"/>
                  </a:moveTo>
                  <a:cubicBezTo>
                    <a:pt x="369" y="1414"/>
                    <a:pt x="371" y="1414"/>
                    <a:pt x="371" y="1415"/>
                  </a:cubicBezTo>
                  <a:moveTo>
                    <a:pt x="371" y="1415"/>
                  </a:moveTo>
                  <a:cubicBezTo>
                    <a:pt x="372" y="1416"/>
                    <a:pt x="372" y="1414"/>
                    <a:pt x="371" y="1415"/>
                  </a:cubicBezTo>
                  <a:moveTo>
                    <a:pt x="371" y="1415"/>
                  </a:moveTo>
                  <a:cubicBezTo>
                    <a:pt x="371" y="1414"/>
                    <a:pt x="370" y="1414"/>
                    <a:pt x="369" y="1414"/>
                  </a:cubicBezTo>
                  <a:moveTo>
                    <a:pt x="369" y="1414"/>
                  </a:moveTo>
                  <a:cubicBezTo>
                    <a:pt x="360" y="1405"/>
                    <a:pt x="349" y="1396"/>
                    <a:pt x="340" y="1388"/>
                  </a:cubicBezTo>
                  <a:moveTo>
                    <a:pt x="340" y="1388"/>
                  </a:moveTo>
                  <a:cubicBezTo>
                    <a:pt x="340" y="1387"/>
                    <a:pt x="339" y="1387"/>
                    <a:pt x="339" y="1387"/>
                  </a:cubicBezTo>
                  <a:moveTo>
                    <a:pt x="339" y="1387"/>
                  </a:moveTo>
                  <a:cubicBezTo>
                    <a:pt x="338" y="1385"/>
                    <a:pt x="337" y="1387"/>
                    <a:pt x="339" y="1387"/>
                  </a:cubicBezTo>
                  <a:moveTo>
                    <a:pt x="567" y="1396"/>
                  </a:moveTo>
                  <a:cubicBezTo>
                    <a:pt x="568" y="1393"/>
                    <a:pt x="572" y="1394"/>
                    <a:pt x="573" y="1391"/>
                  </a:cubicBezTo>
                  <a:cubicBezTo>
                    <a:pt x="570" y="1390"/>
                    <a:pt x="566" y="1388"/>
                    <a:pt x="563" y="1386"/>
                  </a:cubicBezTo>
                  <a:cubicBezTo>
                    <a:pt x="564" y="1390"/>
                    <a:pt x="565" y="1394"/>
                    <a:pt x="567" y="1396"/>
                  </a:cubicBezTo>
                  <a:close/>
                  <a:moveTo>
                    <a:pt x="982" y="1419"/>
                  </a:moveTo>
                  <a:cubicBezTo>
                    <a:pt x="986" y="1424"/>
                    <a:pt x="989" y="1430"/>
                    <a:pt x="989" y="1439"/>
                  </a:cubicBezTo>
                  <a:cubicBezTo>
                    <a:pt x="1006" y="1434"/>
                    <a:pt x="1021" y="1428"/>
                    <a:pt x="1038" y="1423"/>
                  </a:cubicBezTo>
                  <a:cubicBezTo>
                    <a:pt x="1040" y="1417"/>
                    <a:pt x="1046" y="1411"/>
                    <a:pt x="1050" y="1405"/>
                  </a:cubicBezTo>
                  <a:cubicBezTo>
                    <a:pt x="1054" y="1399"/>
                    <a:pt x="1059" y="1390"/>
                    <a:pt x="1059" y="1387"/>
                  </a:cubicBezTo>
                  <a:cubicBezTo>
                    <a:pt x="1030" y="1395"/>
                    <a:pt x="1008" y="1409"/>
                    <a:pt x="982" y="1419"/>
                  </a:cubicBezTo>
                  <a:close/>
                  <a:moveTo>
                    <a:pt x="1184" y="1388"/>
                  </a:moveTo>
                  <a:cubicBezTo>
                    <a:pt x="1153" y="1402"/>
                    <a:pt x="1127" y="1421"/>
                    <a:pt x="1103" y="1442"/>
                  </a:cubicBezTo>
                  <a:moveTo>
                    <a:pt x="1103" y="1442"/>
                  </a:moveTo>
                  <a:cubicBezTo>
                    <a:pt x="1102" y="1442"/>
                    <a:pt x="1101" y="1443"/>
                    <a:pt x="1101" y="1443"/>
                  </a:cubicBezTo>
                  <a:moveTo>
                    <a:pt x="1101" y="1443"/>
                  </a:moveTo>
                  <a:cubicBezTo>
                    <a:pt x="1099" y="1444"/>
                    <a:pt x="1101" y="1444"/>
                    <a:pt x="1101" y="1443"/>
                  </a:cubicBezTo>
                  <a:moveTo>
                    <a:pt x="1101" y="1443"/>
                  </a:moveTo>
                  <a:cubicBezTo>
                    <a:pt x="1102" y="1443"/>
                    <a:pt x="1103" y="1443"/>
                    <a:pt x="1103" y="1442"/>
                  </a:cubicBezTo>
                  <a:moveTo>
                    <a:pt x="1103" y="1442"/>
                  </a:moveTo>
                  <a:cubicBezTo>
                    <a:pt x="1134" y="1428"/>
                    <a:pt x="1167" y="1416"/>
                    <a:pt x="1184" y="1388"/>
                  </a:cubicBezTo>
                  <a:moveTo>
                    <a:pt x="1184" y="1388"/>
                  </a:moveTo>
                  <a:cubicBezTo>
                    <a:pt x="1186" y="1387"/>
                    <a:pt x="1184" y="1386"/>
                    <a:pt x="1184" y="1388"/>
                  </a:cubicBezTo>
                  <a:moveTo>
                    <a:pt x="429" y="1391"/>
                  </a:moveTo>
                  <a:cubicBezTo>
                    <a:pt x="438" y="1406"/>
                    <a:pt x="450" y="1419"/>
                    <a:pt x="461" y="1432"/>
                  </a:cubicBezTo>
                  <a:cubicBezTo>
                    <a:pt x="485" y="1439"/>
                    <a:pt x="511" y="1450"/>
                    <a:pt x="537" y="1452"/>
                  </a:cubicBezTo>
                  <a:cubicBezTo>
                    <a:pt x="534" y="1448"/>
                    <a:pt x="536" y="1440"/>
                    <a:pt x="535" y="1434"/>
                  </a:cubicBezTo>
                  <a:cubicBezTo>
                    <a:pt x="497" y="1422"/>
                    <a:pt x="463" y="1407"/>
                    <a:pt x="429" y="1391"/>
                  </a:cubicBezTo>
                  <a:moveTo>
                    <a:pt x="429" y="1391"/>
                  </a:moveTo>
                  <a:cubicBezTo>
                    <a:pt x="428" y="1390"/>
                    <a:pt x="428" y="1392"/>
                    <a:pt x="429" y="1391"/>
                  </a:cubicBezTo>
                  <a:moveTo>
                    <a:pt x="966" y="1402"/>
                  </a:moveTo>
                  <a:cubicBezTo>
                    <a:pt x="971" y="1406"/>
                    <a:pt x="976" y="1410"/>
                    <a:pt x="980" y="1416"/>
                  </a:cubicBezTo>
                  <a:cubicBezTo>
                    <a:pt x="1001" y="1409"/>
                    <a:pt x="1020" y="1400"/>
                    <a:pt x="1038" y="1391"/>
                  </a:cubicBezTo>
                  <a:cubicBezTo>
                    <a:pt x="1015" y="1395"/>
                    <a:pt x="989" y="1397"/>
                    <a:pt x="966" y="1402"/>
                  </a:cubicBezTo>
                  <a:close/>
                  <a:moveTo>
                    <a:pt x="567" y="1399"/>
                  </a:moveTo>
                  <a:cubicBezTo>
                    <a:pt x="573" y="1400"/>
                    <a:pt x="584" y="1403"/>
                    <a:pt x="589" y="1401"/>
                  </a:cubicBezTo>
                  <a:cubicBezTo>
                    <a:pt x="581" y="1397"/>
                    <a:pt x="574" y="1390"/>
                    <a:pt x="567" y="1399"/>
                  </a:cubicBezTo>
                  <a:close/>
                  <a:moveTo>
                    <a:pt x="891" y="1406"/>
                  </a:moveTo>
                  <a:cubicBezTo>
                    <a:pt x="896" y="1407"/>
                    <a:pt x="899" y="1404"/>
                    <a:pt x="904" y="1405"/>
                  </a:cubicBezTo>
                  <a:cubicBezTo>
                    <a:pt x="903" y="1401"/>
                    <a:pt x="907" y="1397"/>
                    <a:pt x="905" y="1395"/>
                  </a:cubicBezTo>
                  <a:cubicBezTo>
                    <a:pt x="901" y="1399"/>
                    <a:pt x="895" y="1402"/>
                    <a:pt x="891" y="1406"/>
                  </a:cubicBezTo>
                  <a:close/>
                  <a:moveTo>
                    <a:pt x="548" y="1410"/>
                  </a:moveTo>
                  <a:cubicBezTo>
                    <a:pt x="552" y="1408"/>
                    <a:pt x="555" y="1404"/>
                    <a:pt x="558" y="1401"/>
                  </a:cubicBezTo>
                  <a:cubicBezTo>
                    <a:pt x="546" y="1401"/>
                    <a:pt x="532" y="1396"/>
                    <a:pt x="521" y="1397"/>
                  </a:cubicBezTo>
                  <a:cubicBezTo>
                    <a:pt x="530" y="1401"/>
                    <a:pt x="539" y="1405"/>
                    <a:pt x="548" y="1410"/>
                  </a:cubicBezTo>
                  <a:close/>
                  <a:moveTo>
                    <a:pt x="552" y="1412"/>
                  </a:moveTo>
                  <a:cubicBezTo>
                    <a:pt x="559" y="1414"/>
                    <a:pt x="565" y="1417"/>
                    <a:pt x="572" y="1419"/>
                  </a:cubicBezTo>
                  <a:cubicBezTo>
                    <a:pt x="571" y="1413"/>
                    <a:pt x="567" y="1409"/>
                    <a:pt x="566" y="1402"/>
                  </a:cubicBezTo>
                  <a:cubicBezTo>
                    <a:pt x="558" y="1402"/>
                    <a:pt x="556" y="1408"/>
                    <a:pt x="552" y="1412"/>
                  </a:cubicBezTo>
                  <a:close/>
                  <a:moveTo>
                    <a:pt x="950" y="1403"/>
                  </a:moveTo>
                  <a:cubicBezTo>
                    <a:pt x="936" y="1407"/>
                    <a:pt x="915" y="1424"/>
                    <a:pt x="901" y="1427"/>
                  </a:cubicBezTo>
                  <a:cubicBezTo>
                    <a:pt x="899" y="1433"/>
                    <a:pt x="898" y="1439"/>
                    <a:pt x="895" y="1444"/>
                  </a:cubicBezTo>
                  <a:cubicBezTo>
                    <a:pt x="925" y="1438"/>
                    <a:pt x="950" y="1427"/>
                    <a:pt x="977" y="1418"/>
                  </a:cubicBezTo>
                  <a:cubicBezTo>
                    <a:pt x="971" y="1409"/>
                    <a:pt x="964" y="1399"/>
                    <a:pt x="950" y="1403"/>
                  </a:cubicBezTo>
                  <a:close/>
                  <a:moveTo>
                    <a:pt x="576" y="1421"/>
                  </a:moveTo>
                  <a:cubicBezTo>
                    <a:pt x="625" y="1439"/>
                    <a:pt x="678" y="1457"/>
                    <a:pt x="736" y="1463"/>
                  </a:cubicBezTo>
                  <a:cubicBezTo>
                    <a:pt x="684" y="1449"/>
                    <a:pt x="638" y="1429"/>
                    <a:pt x="596" y="1405"/>
                  </a:cubicBezTo>
                  <a:cubicBezTo>
                    <a:pt x="586" y="1405"/>
                    <a:pt x="579" y="1403"/>
                    <a:pt x="569" y="1403"/>
                  </a:cubicBezTo>
                  <a:cubicBezTo>
                    <a:pt x="571" y="1409"/>
                    <a:pt x="574" y="1415"/>
                    <a:pt x="576" y="1421"/>
                  </a:cubicBezTo>
                  <a:close/>
                  <a:moveTo>
                    <a:pt x="908" y="1407"/>
                  </a:moveTo>
                  <a:cubicBezTo>
                    <a:pt x="905" y="1412"/>
                    <a:pt x="905" y="1418"/>
                    <a:pt x="902" y="1423"/>
                  </a:cubicBezTo>
                  <a:cubicBezTo>
                    <a:pt x="917" y="1418"/>
                    <a:pt x="930" y="1411"/>
                    <a:pt x="942" y="1404"/>
                  </a:cubicBezTo>
                  <a:cubicBezTo>
                    <a:pt x="931" y="1405"/>
                    <a:pt x="920" y="1407"/>
                    <a:pt x="908" y="1407"/>
                  </a:cubicBezTo>
                  <a:close/>
                  <a:moveTo>
                    <a:pt x="606" y="1407"/>
                  </a:moveTo>
                  <a:cubicBezTo>
                    <a:pt x="645" y="1429"/>
                    <a:pt x="691" y="1449"/>
                    <a:pt x="737" y="1461"/>
                  </a:cubicBezTo>
                  <a:cubicBezTo>
                    <a:pt x="716" y="1449"/>
                    <a:pt x="695" y="1437"/>
                    <a:pt x="674" y="1423"/>
                  </a:cubicBezTo>
                  <a:cubicBezTo>
                    <a:pt x="667" y="1419"/>
                    <a:pt x="660" y="1411"/>
                    <a:pt x="654" y="1410"/>
                  </a:cubicBezTo>
                  <a:cubicBezTo>
                    <a:pt x="638" y="1406"/>
                    <a:pt x="624" y="1410"/>
                    <a:pt x="606" y="1407"/>
                  </a:cubicBezTo>
                  <a:moveTo>
                    <a:pt x="606" y="1407"/>
                  </a:moveTo>
                  <a:cubicBezTo>
                    <a:pt x="605" y="1404"/>
                    <a:pt x="602" y="1408"/>
                    <a:pt x="606" y="1407"/>
                  </a:cubicBezTo>
                  <a:moveTo>
                    <a:pt x="886" y="1409"/>
                  </a:moveTo>
                  <a:cubicBezTo>
                    <a:pt x="854" y="1430"/>
                    <a:pt x="820" y="1448"/>
                    <a:pt x="783" y="1463"/>
                  </a:cubicBezTo>
                  <a:cubicBezTo>
                    <a:pt x="824" y="1454"/>
                    <a:pt x="862" y="1441"/>
                    <a:pt x="897" y="1426"/>
                  </a:cubicBezTo>
                  <a:cubicBezTo>
                    <a:pt x="899" y="1420"/>
                    <a:pt x="901" y="1413"/>
                    <a:pt x="903" y="1408"/>
                  </a:cubicBezTo>
                  <a:cubicBezTo>
                    <a:pt x="897" y="1407"/>
                    <a:pt x="893" y="1410"/>
                    <a:pt x="886" y="1409"/>
                  </a:cubicBezTo>
                  <a:close/>
                  <a:moveTo>
                    <a:pt x="839" y="1412"/>
                  </a:moveTo>
                  <a:cubicBezTo>
                    <a:pt x="819" y="1430"/>
                    <a:pt x="798" y="1447"/>
                    <a:pt x="776" y="1463"/>
                  </a:cubicBezTo>
                  <a:cubicBezTo>
                    <a:pt x="814" y="1448"/>
                    <a:pt x="848" y="1430"/>
                    <a:pt x="879" y="1410"/>
                  </a:cubicBezTo>
                  <a:cubicBezTo>
                    <a:pt x="865" y="1410"/>
                    <a:pt x="853" y="1412"/>
                    <a:pt x="839" y="1412"/>
                  </a:cubicBezTo>
                  <a:close/>
                  <a:moveTo>
                    <a:pt x="736" y="1456"/>
                  </a:moveTo>
                  <a:cubicBezTo>
                    <a:pt x="735" y="1447"/>
                    <a:pt x="725" y="1440"/>
                    <a:pt x="718" y="1433"/>
                  </a:cubicBezTo>
                  <a:cubicBezTo>
                    <a:pt x="712" y="1427"/>
                    <a:pt x="704" y="1415"/>
                    <a:pt x="697" y="1413"/>
                  </a:cubicBezTo>
                  <a:cubicBezTo>
                    <a:pt x="687" y="1409"/>
                    <a:pt x="674" y="1412"/>
                    <a:pt x="661" y="1412"/>
                  </a:cubicBezTo>
                  <a:cubicBezTo>
                    <a:pt x="685" y="1428"/>
                    <a:pt x="708" y="1444"/>
                    <a:pt x="736" y="1456"/>
                  </a:cubicBezTo>
                  <a:close/>
                  <a:moveTo>
                    <a:pt x="770" y="1463"/>
                  </a:moveTo>
                  <a:cubicBezTo>
                    <a:pt x="769" y="1462"/>
                    <a:pt x="769" y="1463"/>
                    <a:pt x="769" y="1463"/>
                  </a:cubicBezTo>
                  <a:moveTo>
                    <a:pt x="769" y="1463"/>
                  </a:moveTo>
                  <a:cubicBezTo>
                    <a:pt x="767" y="1464"/>
                    <a:pt x="769" y="1465"/>
                    <a:pt x="769" y="1463"/>
                  </a:cubicBezTo>
                  <a:moveTo>
                    <a:pt x="769" y="1463"/>
                  </a:moveTo>
                  <a:cubicBezTo>
                    <a:pt x="770" y="1464"/>
                    <a:pt x="770" y="1463"/>
                    <a:pt x="770" y="1463"/>
                  </a:cubicBezTo>
                  <a:moveTo>
                    <a:pt x="770" y="1463"/>
                  </a:moveTo>
                  <a:cubicBezTo>
                    <a:pt x="789" y="1450"/>
                    <a:pt x="811" y="1435"/>
                    <a:pt x="828" y="1418"/>
                  </a:cubicBezTo>
                  <a:cubicBezTo>
                    <a:pt x="830" y="1417"/>
                    <a:pt x="834" y="1414"/>
                    <a:pt x="832" y="1412"/>
                  </a:cubicBezTo>
                  <a:cubicBezTo>
                    <a:pt x="824" y="1414"/>
                    <a:pt x="811" y="1412"/>
                    <a:pt x="801" y="1413"/>
                  </a:cubicBezTo>
                  <a:cubicBezTo>
                    <a:pt x="792" y="1430"/>
                    <a:pt x="781" y="1446"/>
                    <a:pt x="770" y="1463"/>
                  </a:cubicBezTo>
                  <a:moveTo>
                    <a:pt x="735" y="1445"/>
                  </a:moveTo>
                  <a:cubicBezTo>
                    <a:pt x="735" y="1434"/>
                    <a:pt x="734" y="1424"/>
                    <a:pt x="733" y="1414"/>
                  </a:cubicBezTo>
                  <a:cubicBezTo>
                    <a:pt x="724" y="1414"/>
                    <a:pt x="712" y="1411"/>
                    <a:pt x="702" y="1414"/>
                  </a:cubicBezTo>
                  <a:cubicBezTo>
                    <a:pt x="713" y="1424"/>
                    <a:pt x="723" y="1436"/>
                    <a:pt x="735" y="1445"/>
                  </a:cubicBezTo>
                  <a:close/>
                  <a:moveTo>
                    <a:pt x="574" y="1423"/>
                  </a:moveTo>
                  <a:cubicBezTo>
                    <a:pt x="566" y="1420"/>
                    <a:pt x="558" y="1416"/>
                    <a:pt x="549" y="1414"/>
                  </a:cubicBezTo>
                  <a:cubicBezTo>
                    <a:pt x="545" y="1420"/>
                    <a:pt x="540" y="1423"/>
                    <a:pt x="539" y="1433"/>
                  </a:cubicBezTo>
                  <a:cubicBezTo>
                    <a:pt x="554" y="1436"/>
                    <a:pt x="571" y="1443"/>
                    <a:pt x="584" y="1444"/>
                  </a:cubicBezTo>
                  <a:cubicBezTo>
                    <a:pt x="580" y="1438"/>
                    <a:pt x="578" y="1430"/>
                    <a:pt x="574" y="1423"/>
                  </a:cubicBezTo>
                  <a:close/>
                  <a:moveTo>
                    <a:pt x="761" y="1463"/>
                  </a:moveTo>
                  <a:cubicBezTo>
                    <a:pt x="763" y="1448"/>
                    <a:pt x="764" y="1430"/>
                    <a:pt x="766" y="1414"/>
                  </a:cubicBezTo>
                  <a:cubicBezTo>
                    <a:pt x="757" y="1414"/>
                    <a:pt x="745" y="1412"/>
                    <a:pt x="737" y="1415"/>
                  </a:cubicBezTo>
                  <a:cubicBezTo>
                    <a:pt x="745" y="1431"/>
                    <a:pt x="752" y="1449"/>
                    <a:pt x="761" y="1463"/>
                  </a:cubicBezTo>
                  <a:close/>
                  <a:moveTo>
                    <a:pt x="765" y="1464"/>
                  </a:moveTo>
                  <a:cubicBezTo>
                    <a:pt x="776" y="1448"/>
                    <a:pt x="788" y="1432"/>
                    <a:pt x="798" y="1414"/>
                  </a:cubicBezTo>
                  <a:cubicBezTo>
                    <a:pt x="788" y="1414"/>
                    <a:pt x="778" y="1414"/>
                    <a:pt x="768" y="1414"/>
                  </a:cubicBezTo>
                  <a:cubicBezTo>
                    <a:pt x="768" y="1431"/>
                    <a:pt x="764" y="1449"/>
                    <a:pt x="765" y="1464"/>
                  </a:cubicBezTo>
                  <a:close/>
                  <a:moveTo>
                    <a:pt x="366" y="1415"/>
                  </a:moveTo>
                  <a:cubicBezTo>
                    <a:pt x="366" y="1416"/>
                    <a:pt x="367" y="1416"/>
                    <a:pt x="367" y="1416"/>
                  </a:cubicBezTo>
                  <a:moveTo>
                    <a:pt x="367" y="1416"/>
                  </a:moveTo>
                  <a:cubicBezTo>
                    <a:pt x="382" y="1430"/>
                    <a:pt x="403" y="1442"/>
                    <a:pt x="422" y="1448"/>
                  </a:cubicBezTo>
                  <a:cubicBezTo>
                    <a:pt x="403" y="1438"/>
                    <a:pt x="388" y="1425"/>
                    <a:pt x="367" y="1416"/>
                  </a:cubicBezTo>
                  <a:moveTo>
                    <a:pt x="367" y="1416"/>
                  </a:moveTo>
                  <a:cubicBezTo>
                    <a:pt x="367" y="1416"/>
                    <a:pt x="366" y="1416"/>
                    <a:pt x="366" y="1415"/>
                  </a:cubicBezTo>
                  <a:moveTo>
                    <a:pt x="366" y="1415"/>
                  </a:moveTo>
                  <a:cubicBezTo>
                    <a:pt x="365" y="1414"/>
                    <a:pt x="364" y="1416"/>
                    <a:pt x="366" y="1415"/>
                  </a:cubicBezTo>
                  <a:moveTo>
                    <a:pt x="1132" y="1415"/>
                  </a:moveTo>
                  <a:cubicBezTo>
                    <a:pt x="1094" y="1431"/>
                    <a:pt x="1057" y="1446"/>
                    <a:pt x="1014" y="1456"/>
                  </a:cubicBezTo>
                  <a:cubicBezTo>
                    <a:pt x="1007" y="1463"/>
                    <a:pt x="999" y="1470"/>
                    <a:pt x="991" y="1477"/>
                  </a:cubicBezTo>
                  <a:cubicBezTo>
                    <a:pt x="1048" y="1467"/>
                    <a:pt x="1099" y="1450"/>
                    <a:pt x="1132" y="1415"/>
                  </a:cubicBezTo>
                  <a:moveTo>
                    <a:pt x="1132" y="1415"/>
                  </a:moveTo>
                  <a:cubicBezTo>
                    <a:pt x="1133" y="1415"/>
                    <a:pt x="1132" y="1414"/>
                    <a:pt x="1132" y="1415"/>
                  </a:cubicBezTo>
                  <a:moveTo>
                    <a:pt x="979" y="1419"/>
                  </a:moveTo>
                  <a:cubicBezTo>
                    <a:pt x="953" y="1430"/>
                    <a:pt x="925" y="1440"/>
                    <a:pt x="894" y="1447"/>
                  </a:cubicBezTo>
                  <a:cubicBezTo>
                    <a:pt x="893" y="1451"/>
                    <a:pt x="891" y="1455"/>
                    <a:pt x="890" y="1460"/>
                  </a:cubicBezTo>
                  <a:cubicBezTo>
                    <a:pt x="924" y="1455"/>
                    <a:pt x="955" y="1447"/>
                    <a:pt x="987" y="1439"/>
                  </a:cubicBezTo>
                  <a:cubicBezTo>
                    <a:pt x="986" y="1431"/>
                    <a:pt x="983" y="1424"/>
                    <a:pt x="979" y="1419"/>
                  </a:cubicBezTo>
                  <a:close/>
                  <a:moveTo>
                    <a:pt x="755" y="1463"/>
                  </a:moveTo>
                  <a:cubicBezTo>
                    <a:pt x="756" y="1464"/>
                    <a:pt x="756" y="1462"/>
                    <a:pt x="755" y="1463"/>
                  </a:cubicBezTo>
                  <a:moveTo>
                    <a:pt x="755" y="1463"/>
                  </a:moveTo>
                  <a:cubicBezTo>
                    <a:pt x="749" y="1449"/>
                    <a:pt x="743" y="1437"/>
                    <a:pt x="737" y="1424"/>
                  </a:cubicBezTo>
                  <a:cubicBezTo>
                    <a:pt x="736" y="1433"/>
                    <a:pt x="739" y="1439"/>
                    <a:pt x="738" y="1448"/>
                  </a:cubicBezTo>
                  <a:cubicBezTo>
                    <a:pt x="743" y="1453"/>
                    <a:pt x="749" y="1458"/>
                    <a:pt x="755" y="1463"/>
                  </a:cubicBezTo>
                  <a:moveTo>
                    <a:pt x="587" y="1446"/>
                  </a:moveTo>
                  <a:cubicBezTo>
                    <a:pt x="632" y="1456"/>
                    <a:pt x="682" y="1466"/>
                    <a:pt x="733" y="1466"/>
                  </a:cubicBezTo>
                  <a:cubicBezTo>
                    <a:pt x="676" y="1459"/>
                    <a:pt x="625" y="1440"/>
                    <a:pt x="578" y="1426"/>
                  </a:cubicBezTo>
                  <a:cubicBezTo>
                    <a:pt x="582" y="1432"/>
                    <a:pt x="584" y="1439"/>
                    <a:pt x="587" y="1446"/>
                  </a:cubicBezTo>
                  <a:close/>
                  <a:moveTo>
                    <a:pt x="1034" y="1427"/>
                  </a:moveTo>
                  <a:cubicBezTo>
                    <a:pt x="1019" y="1432"/>
                    <a:pt x="1004" y="1437"/>
                    <a:pt x="989" y="1441"/>
                  </a:cubicBezTo>
                  <a:cubicBezTo>
                    <a:pt x="989" y="1450"/>
                    <a:pt x="986" y="1454"/>
                    <a:pt x="984" y="1460"/>
                  </a:cubicBezTo>
                  <a:moveTo>
                    <a:pt x="984" y="1460"/>
                  </a:moveTo>
                  <a:cubicBezTo>
                    <a:pt x="982" y="1460"/>
                    <a:pt x="984" y="1461"/>
                    <a:pt x="984" y="1460"/>
                  </a:cubicBezTo>
                  <a:moveTo>
                    <a:pt x="984" y="1460"/>
                  </a:moveTo>
                  <a:cubicBezTo>
                    <a:pt x="994" y="1459"/>
                    <a:pt x="1001" y="1456"/>
                    <a:pt x="1011" y="1455"/>
                  </a:cubicBezTo>
                  <a:cubicBezTo>
                    <a:pt x="1019" y="1446"/>
                    <a:pt x="1027" y="1437"/>
                    <a:pt x="1034" y="1427"/>
                  </a:cubicBezTo>
                  <a:moveTo>
                    <a:pt x="1034" y="1427"/>
                  </a:moveTo>
                  <a:cubicBezTo>
                    <a:pt x="1035" y="1426"/>
                    <a:pt x="1034" y="1426"/>
                    <a:pt x="1034" y="1427"/>
                  </a:cubicBezTo>
                  <a:moveTo>
                    <a:pt x="1141" y="1428"/>
                  </a:moveTo>
                  <a:cubicBezTo>
                    <a:pt x="1141" y="1428"/>
                    <a:pt x="1142" y="1429"/>
                    <a:pt x="1141" y="1428"/>
                  </a:cubicBezTo>
                  <a:close/>
                  <a:moveTo>
                    <a:pt x="1139" y="1429"/>
                  </a:moveTo>
                  <a:cubicBezTo>
                    <a:pt x="1138" y="1429"/>
                    <a:pt x="1138" y="1429"/>
                    <a:pt x="1137" y="1430"/>
                  </a:cubicBezTo>
                  <a:moveTo>
                    <a:pt x="1137" y="1430"/>
                  </a:moveTo>
                  <a:cubicBezTo>
                    <a:pt x="1136" y="1430"/>
                    <a:pt x="1136" y="1430"/>
                    <a:pt x="1135" y="1431"/>
                  </a:cubicBezTo>
                  <a:moveTo>
                    <a:pt x="1135" y="1431"/>
                  </a:moveTo>
                  <a:cubicBezTo>
                    <a:pt x="1116" y="1441"/>
                    <a:pt x="1092" y="1448"/>
                    <a:pt x="1074" y="1461"/>
                  </a:cubicBezTo>
                  <a:cubicBezTo>
                    <a:pt x="1096" y="1452"/>
                    <a:pt x="1118" y="1443"/>
                    <a:pt x="1135" y="1431"/>
                  </a:cubicBezTo>
                  <a:moveTo>
                    <a:pt x="1135" y="1431"/>
                  </a:moveTo>
                  <a:cubicBezTo>
                    <a:pt x="1137" y="1431"/>
                    <a:pt x="1137" y="1431"/>
                    <a:pt x="1137" y="1430"/>
                  </a:cubicBezTo>
                  <a:moveTo>
                    <a:pt x="1137" y="1430"/>
                  </a:moveTo>
                  <a:cubicBezTo>
                    <a:pt x="1138" y="1430"/>
                    <a:pt x="1139" y="1430"/>
                    <a:pt x="1139" y="1429"/>
                  </a:cubicBezTo>
                  <a:moveTo>
                    <a:pt x="1139" y="1429"/>
                  </a:moveTo>
                  <a:cubicBezTo>
                    <a:pt x="1141" y="1428"/>
                    <a:pt x="1139" y="1428"/>
                    <a:pt x="1139" y="1429"/>
                  </a:cubicBezTo>
                  <a:moveTo>
                    <a:pt x="789" y="1465"/>
                  </a:moveTo>
                  <a:cubicBezTo>
                    <a:pt x="825" y="1461"/>
                    <a:pt x="858" y="1454"/>
                    <a:pt x="891" y="1446"/>
                  </a:cubicBezTo>
                  <a:cubicBezTo>
                    <a:pt x="892" y="1440"/>
                    <a:pt x="897" y="1434"/>
                    <a:pt x="895" y="1429"/>
                  </a:cubicBezTo>
                  <a:cubicBezTo>
                    <a:pt x="863" y="1444"/>
                    <a:pt x="826" y="1455"/>
                    <a:pt x="789" y="1465"/>
                  </a:cubicBezTo>
                  <a:close/>
                  <a:moveTo>
                    <a:pt x="404" y="1435"/>
                  </a:moveTo>
                  <a:cubicBezTo>
                    <a:pt x="404" y="1434"/>
                    <a:pt x="405" y="1435"/>
                    <a:pt x="404" y="1435"/>
                  </a:cubicBezTo>
                  <a:close/>
                  <a:moveTo>
                    <a:pt x="407" y="1436"/>
                  </a:moveTo>
                  <a:cubicBezTo>
                    <a:pt x="407" y="1437"/>
                    <a:pt x="408" y="1436"/>
                    <a:pt x="409" y="1437"/>
                  </a:cubicBezTo>
                  <a:moveTo>
                    <a:pt x="409" y="1437"/>
                  </a:moveTo>
                  <a:cubicBezTo>
                    <a:pt x="409" y="1437"/>
                    <a:pt x="409" y="1437"/>
                    <a:pt x="409" y="1438"/>
                  </a:cubicBezTo>
                  <a:cubicBezTo>
                    <a:pt x="439" y="1456"/>
                    <a:pt x="472" y="1472"/>
                    <a:pt x="513" y="1480"/>
                  </a:cubicBezTo>
                  <a:moveTo>
                    <a:pt x="513" y="1480"/>
                  </a:moveTo>
                  <a:cubicBezTo>
                    <a:pt x="514" y="1483"/>
                    <a:pt x="517" y="1479"/>
                    <a:pt x="513" y="1480"/>
                  </a:cubicBezTo>
                  <a:moveTo>
                    <a:pt x="513" y="1480"/>
                  </a:moveTo>
                  <a:cubicBezTo>
                    <a:pt x="487" y="1457"/>
                    <a:pt x="441" y="1454"/>
                    <a:pt x="409" y="1437"/>
                  </a:cubicBezTo>
                  <a:moveTo>
                    <a:pt x="409" y="1437"/>
                  </a:moveTo>
                  <a:cubicBezTo>
                    <a:pt x="409" y="1436"/>
                    <a:pt x="408" y="1436"/>
                    <a:pt x="407" y="1436"/>
                  </a:cubicBezTo>
                  <a:moveTo>
                    <a:pt x="407" y="1436"/>
                  </a:moveTo>
                  <a:cubicBezTo>
                    <a:pt x="406" y="1434"/>
                    <a:pt x="406" y="1436"/>
                    <a:pt x="407" y="1436"/>
                  </a:cubicBezTo>
                  <a:moveTo>
                    <a:pt x="541" y="1455"/>
                  </a:moveTo>
                  <a:cubicBezTo>
                    <a:pt x="559" y="1457"/>
                    <a:pt x="575" y="1462"/>
                    <a:pt x="594" y="1463"/>
                  </a:cubicBezTo>
                  <a:cubicBezTo>
                    <a:pt x="592" y="1458"/>
                    <a:pt x="588" y="1454"/>
                    <a:pt x="586" y="1448"/>
                  </a:cubicBezTo>
                  <a:cubicBezTo>
                    <a:pt x="570" y="1444"/>
                    <a:pt x="554" y="1440"/>
                    <a:pt x="538" y="1435"/>
                  </a:cubicBezTo>
                  <a:cubicBezTo>
                    <a:pt x="536" y="1441"/>
                    <a:pt x="539" y="1450"/>
                    <a:pt x="541" y="1455"/>
                  </a:cubicBezTo>
                  <a:close/>
                  <a:moveTo>
                    <a:pt x="466" y="1437"/>
                  </a:moveTo>
                  <a:cubicBezTo>
                    <a:pt x="466" y="1437"/>
                    <a:pt x="466" y="1437"/>
                    <a:pt x="466" y="1438"/>
                  </a:cubicBezTo>
                  <a:cubicBezTo>
                    <a:pt x="476" y="1446"/>
                    <a:pt x="485" y="1455"/>
                    <a:pt x="495" y="1463"/>
                  </a:cubicBezTo>
                  <a:cubicBezTo>
                    <a:pt x="514" y="1467"/>
                    <a:pt x="531" y="1473"/>
                    <a:pt x="552" y="1474"/>
                  </a:cubicBezTo>
                  <a:moveTo>
                    <a:pt x="552" y="1474"/>
                  </a:moveTo>
                  <a:cubicBezTo>
                    <a:pt x="552" y="1475"/>
                    <a:pt x="553" y="1474"/>
                    <a:pt x="552" y="1474"/>
                  </a:cubicBezTo>
                  <a:moveTo>
                    <a:pt x="552" y="1474"/>
                  </a:moveTo>
                  <a:cubicBezTo>
                    <a:pt x="547" y="1468"/>
                    <a:pt x="542" y="1463"/>
                    <a:pt x="538" y="1456"/>
                  </a:cubicBezTo>
                  <a:cubicBezTo>
                    <a:pt x="512" y="1451"/>
                    <a:pt x="490" y="1443"/>
                    <a:pt x="466" y="1437"/>
                  </a:cubicBezTo>
                  <a:moveTo>
                    <a:pt x="466" y="1437"/>
                  </a:moveTo>
                  <a:cubicBezTo>
                    <a:pt x="466" y="1435"/>
                    <a:pt x="465" y="1437"/>
                    <a:pt x="466" y="1437"/>
                  </a:cubicBezTo>
                  <a:moveTo>
                    <a:pt x="888" y="1463"/>
                  </a:moveTo>
                  <a:cubicBezTo>
                    <a:pt x="888" y="1467"/>
                    <a:pt x="885" y="1469"/>
                    <a:pt x="884" y="1472"/>
                  </a:cubicBezTo>
                  <a:cubicBezTo>
                    <a:pt x="919" y="1472"/>
                    <a:pt x="949" y="1466"/>
                    <a:pt x="980" y="1462"/>
                  </a:cubicBezTo>
                  <a:cubicBezTo>
                    <a:pt x="982" y="1456"/>
                    <a:pt x="988" y="1448"/>
                    <a:pt x="986" y="1441"/>
                  </a:cubicBezTo>
                  <a:cubicBezTo>
                    <a:pt x="956" y="1451"/>
                    <a:pt x="922" y="1458"/>
                    <a:pt x="888" y="1463"/>
                  </a:cubicBezTo>
                  <a:close/>
                  <a:moveTo>
                    <a:pt x="1098" y="1445"/>
                  </a:moveTo>
                  <a:cubicBezTo>
                    <a:pt x="1098" y="1445"/>
                    <a:pt x="1099" y="1446"/>
                    <a:pt x="1098" y="1445"/>
                  </a:cubicBezTo>
                  <a:close/>
                  <a:moveTo>
                    <a:pt x="423" y="1450"/>
                  </a:moveTo>
                  <a:cubicBezTo>
                    <a:pt x="423" y="1450"/>
                    <a:pt x="424" y="1451"/>
                    <a:pt x="423" y="1450"/>
                  </a:cubicBezTo>
                  <a:close/>
                  <a:moveTo>
                    <a:pt x="600" y="1464"/>
                  </a:moveTo>
                  <a:cubicBezTo>
                    <a:pt x="639" y="1469"/>
                    <a:pt x="688" y="1474"/>
                    <a:pt x="730" y="1469"/>
                  </a:cubicBezTo>
                  <a:cubicBezTo>
                    <a:pt x="679" y="1467"/>
                    <a:pt x="633" y="1459"/>
                    <a:pt x="590" y="1449"/>
                  </a:cubicBezTo>
                  <a:cubicBezTo>
                    <a:pt x="593" y="1455"/>
                    <a:pt x="595" y="1461"/>
                    <a:pt x="600" y="1464"/>
                  </a:cubicBezTo>
                  <a:close/>
                  <a:moveTo>
                    <a:pt x="888" y="1449"/>
                  </a:moveTo>
                  <a:cubicBezTo>
                    <a:pt x="859" y="1457"/>
                    <a:pt x="828" y="1462"/>
                    <a:pt x="797" y="1467"/>
                  </a:cubicBezTo>
                  <a:cubicBezTo>
                    <a:pt x="795" y="1467"/>
                    <a:pt x="793" y="1467"/>
                    <a:pt x="792" y="1467"/>
                  </a:cubicBezTo>
                  <a:cubicBezTo>
                    <a:pt x="790" y="1468"/>
                    <a:pt x="792" y="1469"/>
                    <a:pt x="794" y="1468"/>
                  </a:cubicBezTo>
                  <a:cubicBezTo>
                    <a:pt x="826" y="1467"/>
                    <a:pt x="856" y="1465"/>
                    <a:pt x="885" y="1461"/>
                  </a:cubicBezTo>
                  <a:cubicBezTo>
                    <a:pt x="887" y="1457"/>
                    <a:pt x="888" y="1453"/>
                    <a:pt x="890" y="1449"/>
                  </a:cubicBezTo>
                  <a:cubicBezTo>
                    <a:pt x="889" y="1449"/>
                    <a:pt x="888" y="1449"/>
                    <a:pt x="888" y="1449"/>
                  </a:cubicBezTo>
                  <a:close/>
                  <a:moveTo>
                    <a:pt x="425" y="1451"/>
                  </a:moveTo>
                  <a:cubicBezTo>
                    <a:pt x="425" y="1451"/>
                    <a:pt x="426" y="1452"/>
                    <a:pt x="425" y="1451"/>
                  </a:cubicBezTo>
                  <a:close/>
                  <a:moveTo>
                    <a:pt x="427" y="1452"/>
                  </a:moveTo>
                  <a:cubicBezTo>
                    <a:pt x="427" y="1452"/>
                    <a:pt x="428" y="1453"/>
                    <a:pt x="427" y="1452"/>
                  </a:cubicBezTo>
                  <a:close/>
                  <a:moveTo>
                    <a:pt x="429" y="1453"/>
                  </a:moveTo>
                  <a:cubicBezTo>
                    <a:pt x="428" y="1453"/>
                    <a:pt x="430" y="1454"/>
                    <a:pt x="429" y="1453"/>
                  </a:cubicBezTo>
                  <a:close/>
                  <a:moveTo>
                    <a:pt x="749" y="1462"/>
                  </a:moveTo>
                  <a:cubicBezTo>
                    <a:pt x="749" y="1462"/>
                    <a:pt x="750" y="1462"/>
                    <a:pt x="750" y="1463"/>
                  </a:cubicBezTo>
                  <a:moveTo>
                    <a:pt x="750" y="1463"/>
                  </a:moveTo>
                  <a:cubicBezTo>
                    <a:pt x="751" y="1464"/>
                    <a:pt x="752" y="1462"/>
                    <a:pt x="750" y="1463"/>
                  </a:cubicBezTo>
                  <a:moveTo>
                    <a:pt x="750" y="1463"/>
                  </a:moveTo>
                  <a:cubicBezTo>
                    <a:pt x="750" y="1462"/>
                    <a:pt x="749" y="1462"/>
                    <a:pt x="749" y="1462"/>
                  </a:cubicBezTo>
                  <a:moveTo>
                    <a:pt x="749" y="1462"/>
                  </a:moveTo>
                  <a:cubicBezTo>
                    <a:pt x="746" y="1458"/>
                    <a:pt x="742" y="1456"/>
                    <a:pt x="739" y="1453"/>
                  </a:cubicBezTo>
                  <a:cubicBezTo>
                    <a:pt x="738" y="1460"/>
                    <a:pt x="744" y="1460"/>
                    <a:pt x="749" y="1462"/>
                  </a:cubicBezTo>
                  <a:moveTo>
                    <a:pt x="559" y="1476"/>
                  </a:moveTo>
                  <a:cubicBezTo>
                    <a:pt x="572" y="1480"/>
                    <a:pt x="590" y="1477"/>
                    <a:pt x="605" y="1480"/>
                  </a:cubicBezTo>
                  <a:cubicBezTo>
                    <a:pt x="605" y="1476"/>
                    <a:pt x="598" y="1472"/>
                    <a:pt x="597" y="1466"/>
                  </a:cubicBezTo>
                  <a:cubicBezTo>
                    <a:pt x="577" y="1465"/>
                    <a:pt x="561" y="1460"/>
                    <a:pt x="543" y="1458"/>
                  </a:cubicBezTo>
                  <a:cubicBezTo>
                    <a:pt x="547" y="1464"/>
                    <a:pt x="551" y="1473"/>
                    <a:pt x="559" y="1476"/>
                  </a:cubicBezTo>
                  <a:close/>
                  <a:moveTo>
                    <a:pt x="981" y="1463"/>
                  </a:moveTo>
                  <a:cubicBezTo>
                    <a:pt x="976" y="1471"/>
                    <a:pt x="970" y="1476"/>
                    <a:pt x="964" y="1481"/>
                  </a:cubicBezTo>
                  <a:cubicBezTo>
                    <a:pt x="972" y="1480"/>
                    <a:pt x="978" y="1479"/>
                    <a:pt x="986" y="1478"/>
                  </a:cubicBezTo>
                  <a:cubicBezTo>
                    <a:pt x="993" y="1472"/>
                    <a:pt x="1000" y="1466"/>
                    <a:pt x="1007" y="1460"/>
                  </a:cubicBezTo>
                  <a:cubicBezTo>
                    <a:pt x="1007" y="1458"/>
                    <a:pt x="1008" y="1458"/>
                    <a:pt x="1006" y="1458"/>
                  </a:cubicBezTo>
                  <a:cubicBezTo>
                    <a:pt x="998" y="1460"/>
                    <a:pt x="989" y="1461"/>
                    <a:pt x="981" y="1463"/>
                  </a:cubicBezTo>
                  <a:close/>
                  <a:moveTo>
                    <a:pt x="1069" y="1460"/>
                  </a:moveTo>
                  <a:cubicBezTo>
                    <a:pt x="1069" y="1459"/>
                    <a:pt x="1070" y="1460"/>
                    <a:pt x="1069" y="1460"/>
                  </a:cubicBezTo>
                  <a:close/>
                  <a:moveTo>
                    <a:pt x="1066" y="1461"/>
                  </a:moveTo>
                  <a:cubicBezTo>
                    <a:pt x="1041" y="1468"/>
                    <a:pt x="1016" y="1476"/>
                    <a:pt x="987" y="1480"/>
                  </a:cubicBezTo>
                  <a:cubicBezTo>
                    <a:pt x="984" y="1484"/>
                    <a:pt x="979" y="1485"/>
                    <a:pt x="976" y="1488"/>
                  </a:cubicBezTo>
                  <a:cubicBezTo>
                    <a:pt x="1008" y="1481"/>
                    <a:pt x="1042" y="1475"/>
                    <a:pt x="1066" y="1461"/>
                  </a:cubicBezTo>
                  <a:moveTo>
                    <a:pt x="1066" y="1461"/>
                  </a:moveTo>
                  <a:cubicBezTo>
                    <a:pt x="1070" y="1462"/>
                    <a:pt x="1067" y="1458"/>
                    <a:pt x="1066" y="1461"/>
                  </a:cubicBezTo>
                  <a:moveTo>
                    <a:pt x="742" y="1463"/>
                  </a:moveTo>
                  <a:cubicBezTo>
                    <a:pt x="742" y="1465"/>
                    <a:pt x="746" y="1462"/>
                    <a:pt x="742" y="1463"/>
                  </a:cubicBezTo>
                  <a:moveTo>
                    <a:pt x="742" y="1463"/>
                  </a:moveTo>
                  <a:cubicBezTo>
                    <a:pt x="741" y="1462"/>
                    <a:pt x="740" y="1461"/>
                    <a:pt x="739" y="1461"/>
                  </a:cubicBezTo>
                  <a:cubicBezTo>
                    <a:pt x="739" y="1463"/>
                    <a:pt x="740" y="1462"/>
                    <a:pt x="742" y="1463"/>
                  </a:cubicBezTo>
                  <a:moveTo>
                    <a:pt x="1072" y="1462"/>
                  </a:moveTo>
                  <a:cubicBezTo>
                    <a:pt x="1072" y="1461"/>
                    <a:pt x="1073" y="1462"/>
                    <a:pt x="1072" y="1462"/>
                  </a:cubicBezTo>
                  <a:close/>
                  <a:moveTo>
                    <a:pt x="774" y="1463"/>
                  </a:moveTo>
                  <a:cubicBezTo>
                    <a:pt x="774" y="1463"/>
                    <a:pt x="775" y="1464"/>
                    <a:pt x="774" y="1463"/>
                  </a:cubicBezTo>
                  <a:close/>
                  <a:moveTo>
                    <a:pt x="746" y="1464"/>
                  </a:moveTo>
                  <a:cubicBezTo>
                    <a:pt x="745" y="1464"/>
                    <a:pt x="746" y="1465"/>
                    <a:pt x="746" y="1464"/>
                  </a:cubicBezTo>
                  <a:close/>
                  <a:moveTo>
                    <a:pt x="780" y="1464"/>
                  </a:moveTo>
                  <a:cubicBezTo>
                    <a:pt x="780" y="1464"/>
                    <a:pt x="781" y="1465"/>
                    <a:pt x="780" y="1464"/>
                  </a:cubicBezTo>
                  <a:close/>
                  <a:moveTo>
                    <a:pt x="796" y="1472"/>
                  </a:moveTo>
                  <a:cubicBezTo>
                    <a:pt x="823" y="1473"/>
                    <a:pt x="851" y="1473"/>
                    <a:pt x="879" y="1473"/>
                  </a:cubicBezTo>
                  <a:cubicBezTo>
                    <a:pt x="879" y="1470"/>
                    <a:pt x="886" y="1464"/>
                    <a:pt x="882" y="1463"/>
                  </a:cubicBezTo>
                  <a:cubicBezTo>
                    <a:pt x="855" y="1469"/>
                    <a:pt x="823" y="1468"/>
                    <a:pt x="796" y="1472"/>
                  </a:cubicBezTo>
                  <a:close/>
                  <a:moveTo>
                    <a:pt x="882" y="1475"/>
                  </a:moveTo>
                  <a:cubicBezTo>
                    <a:pt x="882" y="1479"/>
                    <a:pt x="879" y="1481"/>
                    <a:pt x="878" y="1485"/>
                  </a:cubicBezTo>
                  <a:cubicBezTo>
                    <a:pt x="901" y="1482"/>
                    <a:pt x="937" y="1489"/>
                    <a:pt x="958" y="1482"/>
                  </a:cubicBezTo>
                  <a:cubicBezTo>
                    <a:pt x="961" y="1480"/>
                    <a:pt x="965" y="1476"/>
                    <a:pt x="968" y="1473"/>
                  </a:cubicBezTo>
                  <a:cubicBezTo>
                    <a:pt x="971" y="1470"/>
                    <a:pt x="977" y="1467"/>
                    <a:pt x="975" y="1464"/>
                  </a:cubicBezTo>
                  <a:cubicBezTo>
                    <a:pt x="946" y="1470"/>
                    <a:pt x="916" y="1474"/>
                    <a:pt x="882" y="1475"/>
                  </a:cubicBezTo>
                  <a:close/>
                  <a:moveTo>
                    <a:pt x="784" y="1466"/>
                  </a:moveTo>
                  <a:cubicBezTo>
                    <a:pt x="784" y="1466"/>
                    <a:pt x="785" y="1467"/>
                    <a:pt x="784" y="1466"/>
                  </a:cubicBezTo>
                  <a:close/>
                  <a:moveTo>
                    <a:pt x="503" y="1468"/>
                  </a:moveTo>
                  <a:cubicBezTo>
                    <a:pt x="520" y="1486"/>
                    <a:pt x="554" y="1491"/>
                    <a:pt x="582" y="1493"/>
                  </a:cubicBezTo>
                  <a:cubicBezTo>
                    <a:pt x="572" y="1490"/>
                    <a:pt x="565" y="1483"/>
                    <a:pt x="556" y="1478"/>
                  </a:cubicBezTo>
                  <a:cubicBezTo>
                    <a:pt x="537" y="1475"/>
                    <a:pt x="521" y="1471"/>
                    <a:pt x="503" y="1468"/>
                  </a:cubicBezTo>
                  <a:moveTo>
                    <a:pt x="503" y="1468"/>
                  </a:moveTo>
                  <a:cubicBezTo>
                    <a:pt x="502" y="1467"/>
                    <a:pt x="502" y="1468"/>
                    <a:pt x="503" y="1468"/>
                  </a:cubicBezTo>
                  <a:moveTo>
                    <a:pt x="611" y="1480"/>
                  </a:moveTo>
                  <a:cubicBezTo>
                    <a:pt x="653" y="1483"/>
                    <a:pt x="697" y="1480"/>
                    <a:pt x="732" y="1473"/>
                  </a:cubicBezTo>
                  <a:cubicBezTo>
                    <a:pt x="687" y="1475"/>
                    <a:pt x="642" y="1473"/>
                    <a:pt x="601" y="1467"/>
                  </a:cubicBezTo>
                  <a:cubicBezTo>
                    <a:pt x="604" y="1472"/>
                    <a:pt x="605" y="1478"/>
                    <a:pt x="611" y="1480"/>
                  </a:cubicBezTo>
                  <a:close/>
                  <a:moveTo>
                    <a:pt x="738" y="1472"/>
                  </a:moveTo>
                  <a:cubicBezTo>
                    <a:pt x="737" y="1472"/>
                    <a:pt x="736" y="1472"/>
                    <a:pt x="736" y="1473"/>
                  </a:cubicBezTo>
                  <a:cubicBezTo>
                    <a:pt x="737" y="1473"/>
                    <a:pt x="738" y="1473"/>
                    <a:pt x="738" y="1472"/>
                  </a:cubicBezTo>
                  <a:close/>
                  <a:moveTo>
                    <a:pt x="789" y="1473"/>
                  </a:moveTo>
                  <a:cubicBezTo>
                    <a:pt x="788" y="1473"/>
                    <a:pt x="786" y="1473"/>
                    <a:pt x="786" y="1474"/>
                  </a:cubicBezTo>
                  <a:cubicBezTo>
                    <a:pt x="787" y="1474"/>
                    <a:pt x="789" y="1474"/>
                    <a:pt x="789" y="1473"/>
                  </a:cubicBezTo>
                  <a:close/>
                  <a:moveTo>
                    <a:pt x="742" y="1475"/>
                  </a:moveTo>
                  <a:cubicBezTo>
                    <a:pt x="741" y="1475"/>
                    <a:pt x="742" y="1476"/>
                    <a:pt x="742" y="1475"/>
                  </a:cubicBezTo>
                  <a:close/>
                  <a:moveTo>
                    <a:pt x="745" y="1509"/>
                  </a:moveTo>
                  <a:cubicBezTo>
                    <a:pt x="748" y="1509"/>
                    <a:pt x="752" y="1509"/>
                    <a:pt x="755" y="1509"/>
                  </a:cubicBezTo>
                  <a:cubicBezTo>
                    <a:pt x="757" y="1498"/>
                    <a:pt x="761" y="1484"/>
                    <a:pt x="759" y="1474"/>
                  </a:cubicBezTo>
                  <a:cubicBezTo>
                    <a:pt x="754" y="1485"/>
                    <a:pt x="737" y="1490"/>
                    <a:pt x="745" y="1509"/>
                  </a:cubicBezTo>
                  <a:close/>
                  <a:moveTo>
                    <a:pt x="877" y="1476"/>
                  </a:moveTo>
                  <a:cubicBezTo>
                    <a:pt x="879" y="1475"/>
                    <a:pt x="877" y="1475"/>
                    <a:pt x="877" y="1476"/>
                  </a:cubicBezTo>
                  <a:moveTo>
                    <a:pt x="877" y="1476"/>
                  </a:moveTo>
                  <a:cubicBezTo>
                    <a:pt x="848" y="1477"/>
                    <a:pt x="817" y="1475"/>
                    <a:pt x="791" y="1475"/>
                  </a:cubicBezTo>
                  <a:cubicBezTo>
                    <a:pt x="817" y="1479"/>
                    <a:pt x="844" y="1483"/>
                    <a:pt x="873" y="1485"/>
                  </a:cubicBezTo>
                  <a:cubicBezTo>
                    <a:pt x="875" y="1482"/>
                    <a:pt x="877" y="1480"/>
                    <a:pt x="877" y="1476"/>
                  </a:cubicBezTo>
                  <a:moveTo>
                    <a:pt x="655" y="1493"/>
                  </a:moveTo>
                  <a:cubicBezTo>
                    <a:pt x="685" y="1490"/>
                    <a:pt x="715" y="1482"/>
                    <a:pt x="737" y="1477"/>
                  </a:cubicBezTo>
                  <a:cubicBezTo>
                    <a:pt x="737" y="1476"/>
                    <a:pt x="739" y="1475"/>
                    <a:pt x="736" y="1475"/>
                  </a:cubicBezTo>
                  <a:cubicBezTo>
                    <a:pt x="700" y="1482"/>
                    <a:pt x="655" y="1485"/>
                    <a:pt x="612" y="1483"/>
                  </a:cubicBezTo>
                  <a:cubicBezTo>
                    <a:pt x="615" y="1498"/>
                    <a:pt x="635" y="1496"/>
                    <a:pt x="655" y="1493"/>
                  </a:cubicBezTo>
                  <a:close/>
                  <a:moveTo>
                    <a:pt x="749" y="1476"/>
                  </a:moveTo>
                  <a:cubicBezTo>
                    <a:pt x="748" y="1476"/>
                    <a:pt x="749" y="1477"/>
                    <a:pt x="749" y="1476"/>
                  </a:cubicBezTo>
                  <a:close/>
                  <a:moveTo>
                    <a:pt x="754" y="1476"/>
                  </a:moveTo>
                  <a:cubicBezTo>
                    <a:pt x="749" y="1477"/>
                    <a:pt x="746" y="1481"/>
                    <a:pt x="741" y="1483"/>
                  </a:cubicBezTo>
                  <a:cubicBezTo>
                    <a:pt x="742" y="1484"/>
                    <a:pt x="741" y="1488"/>
                    <a:pt x="743" y="1489"/>
                  </a:cubicBezTo>
                  <a:cubicBezTo>
                    <a:pt x="746" y="1485"/>
                    <a:pt x="752" y="1481"/>
                    <a:pt x="754" y="1476"/>
                  </a:cubicBezTo>
                  <a:moveTo>
                    <a:pt x="754" y="1476"/>
                  </a:moveTo>
                  <a:cubicBezTo>
                    <a:pt x="756" y="1475"/>
                    <a:pt x="754" y="1475"/>
                    <a:pt x="754" y="1476"/>
                  </a:cubicBezTo>
                  <a:moveTo>
                    <a:pt x="773" y="1476"/>
                  </a:moveTo>
                  <a:cubicBezTo>
                    <a:pt x="772" y="1476"/>
                    <a:pt x="773" y="1477"/>
                    <a:pt x="773" y="1476"/>
                  </a:cubicBezTo>
                  <a:close/>
                  <a:moveTo>
                    <a:pt x="782" y="1475"/>
                  </a:moveTo>
                  <a:cubicBezTo>
                    <a:pt x="781" y="1475"/>
                    <a:pt x="780" y="1475"/>
                    <a:pt x="780" y="1476"/>
                  </a:cubicBezTo>
                  <a:cubicBezTo>
                    <a:pt x="781" y="1476"/>
                    <a:pt x="782" y="1476"/>
                    <a:pt x="782" y="1475"/>
                  </a:cubicBezTo>
                  <a:close/>
                  <a:moveTo>
                    <a:pt x="746" y="1477"/>
                  </a:moveTo>
                  <a:cubicBezTo>
                    <a:pt x="743" y="1476"/>
                    <a:pt x="739" y="1478"/>
                    <a:pt x="742" y="1480"/>
                  </a:cubicBezTo>
                  <a:cubicBezTo>
                    <a:pt x="742" y="1478"/>
                    <a:pt x="745" y="1479"/>
                    <a:pt x="746" y="1477"/>
                  </a:cubicBezTo>
                  <a:moveTo>
                    <a:pt x="746" y="1477"/>
                  </a:moveTo>
                  <a:cubicBezTo>
                    <a:pt x="750" y="1478"/>
                    <a:pt x="746" y="1474"/>
                    <a:pt x="746" y="1477"/>
                  </a:cubicBezTo>
                  <a:moveTo>
                    <a:pt x="758" y="1509"/>
                  </a:moveTo>
                  <a:cubicBezTo>
                    <a:pt x="768" y="1509"/>
                    <a:pt x="777" y="1509"/>
                    <a:pt x="787" y="1509"/>
                  </a:cubicBezTo>
                  <a:cubicBezTo>
                    <a:pt x="781" y="1500"/>
                    <a:pt x="770" y="1487"/>
                    <a:pt x="763" y="1476"/>
                  </a:cubicBezTo>
                  <a:cubicBezTo>
                    <a:pt x="761" y="1486"/>
                    <a:pt x="760" y="1498"/>
                    <a:pt x="758" y="1509"/>
                  </a:cubicBezTo>
                  <a:close/>
                  <a:moveTo>
                    <a:pt x="796" y="1509"/>
                  </a:moveTo>
                  <a:cubicBezTo>
                    <a:pt x="804" y="1511"/>
                    <a:pt x="813" y="1505"/>
                    <a:pt x="826" y="1508"/>
                  </a:cubicBezTo>
                  <a:cubicBezTo>
                    <a:pt x="807" y="1497"/>
                    <a:pt x="786" y="1489"/>
                    <a:pt x="769" y="1476"/>
                  </a:cubicBezTo>
                  <a:cubicBezTo>
                    <a:pt x="777" y="1485"/>
                    <a:pt x="782" y="1505"/>
                    <a:pt x="796" y="1509"/>
                  </a:cubicBezTo>
                  <a:close/>
                  <a:moveTo>
                    <a:pt x="837" y="1507"/>
                  </a:moveTo>
                  <a:cubicBezTo>
                    <a:pt x="844" y="1507"/>
                    <a:pt x="860" y="1507"/>
                    <a:pt x="864" y="1499"/>
                  </a:cubicBezTo>
                  <a:cubicBezTo>
                    <a:pt x="831" y="1496"/>
                    <a:pt x="800" y="1484"/>
                    <a:pt x="774" y="1477"/>
                  </a:cubicBezTo>
                  <a:cubicBezTo>
                    <a:pt x="791" y="1485"/>
                    <a:pt x="814" y="1505"/>
                    <a:pt x="837" y="1507"/>
                  </a:cubicBezTo>
                  <a:close/>
                  <a:moveTo>
                    <a:pt x="865" y="1497"/>
                  </a:moveTo>
                  <a:cubicBezTo>
                    <a:pt x="867" y="1494"/>
                    <a:pt x="870" y="1491"/>
                    <a:pt x="871" y="1487"/>
                  </a:cubicBezTo>
                  <a:cubicBezTo>
                    <a:pt x="839" y="1487"/>
                    <a:pt x="810" y="1479"/>
                    <a:pt x="783" y="1477"/>
                  </a:cubicBezTo>
                  <a:cubicBezTo>
                    <a:pt x="809" y="1485"/>
                    <a:pt x="835" y="1493"/>
                    <a:pt x="865" y="1497"/>
                  </a:cubicBezTo>
                  <a:close/>
                  <a:moveTo>
                    <a:pt x="617" y="1495"/>
                  </a:moveTo>
                  <a:cubicBezTo>
                    <a:pt x="616" y="1492"/>
                    <a:pt x="610" y="1486"/>
                    <a:pt x="606" y="1483"/>
                  </a:cubicBezTo>
                  <a:cubicBezTo>
                    <a:pt x="592" y="1483"/>
                    <a:pt x="576" y="1479"/>
                    <a:pt x="563" y="1480"/>
                  </a:cubicBezTo>
                  <a:cubicBezTo>
                    <a:pt x="577" y="1489"/>
                    <a:pt x="591" y="1498"/>
                    <a:pt x="617" y="1495"/>
                  </a:cubicBezTo>
                  <a:close/>
                  <a:moveTo>
                    <a:pt x="626" y="1499"/>
                  </a:moveTo>
                  <a:cubicBezTo>
                    <a:pt x="667" y="1513"/>
                    <a:pt x="710" y="1498"/>
                    <a:pt x="738" y="1480"/>
                  </a:cubicBezTo>
                  <a:cubicBezTo>
                    <a:pt x="706" y="1488"/>
                    <a:pt x="665" y="1495"/>
                    <a:pt x="626" y="1499"/>
                  </a:cubicBezTo>
                  <a:close/>
                  <a:moveTo>
                    <a:pt x="1025" y="1480"/>
                  </a:moveTo>
                  <a:cubicBezTo>
                    <a:pt x="1025" y="1479"/>
                    <a:pt x="1026" y="1480"/>
                    <a:pt x="1025" y="1480"/>
                  </a:cubicBezTo>
                  <a:close/>
                  <a:moveTo>
                    <a:pt x="1022" y="1481"/>
                  </a:moveTo>
                  <a:cubicBezTo>
                    <a:pt x="1023" y="1481"/>
                    <a:pt x="1022" y="1480"/>
                    <a:pt x="1022" y="1481"/>
                  </a:cubicBezTo>
                  <a:close/>
                  <a:moveTo>
                    <a:pt x="516" y="1482"/>
                  </a:moveTo>
                  <a:cubicBezTo>
                    <a:pt x="516" y="1481"/>
                    <a:pt x="517" y="1482"/>
                    <a:pt x="516" y="1482"/>
                  </a:cubicBezTo>
                  <a:close/>
                  <a:moveTo>
                    <a:pt x="1018" y="1482"/>
                  </a:moveTo>
                  <a:cubicBezTo>
                    <a:pt x="1001" y="1486"/>
                    <a:pt x="981" y="1488"/>
                    <a:pt x="966" y="1495"/>
                  </a:cubicBezTo>
                  <a:moveTo>
                    <a:pt x="966" y="1495"/>
                  </a:moveTo>
                  <a:cubicBezTo>
                    <a:pt x="962" y="1494"/>
                    <a:pt x="965" y="1498"/>
                    <a:pt x="966" y="1495"/>
                  </a:cubicBezTo>
                  <a:moveTo>
                    <a:pt x="966" y="1495"/>
                  </a:moveTo>
                  <a:cubicBezTo>
                    <a:pt x="985" y="1493"/>
                    <a:pt x="1002" y="1488"/>
                    <a:pt x="1018" y="1482"/>
                  </a:cubicBezTo>
                  <a:moveTo>
                    <a:pt x="1018" y="1482"/>
                  </a:moveTo>
                  <a:cubicBezTo>
                    <a:pt x="1022" y="1483"/>
                    <a:pt x="1019" y="1479"/>
                    <a:pt x="1018" y="1482"/>
                  </a:cubicBezTo>
                  <a:moveTo>
                    <a:pt x="940" y="1495"/>
                  </a:moveTo>
                  <a:cubicBezTo>
                    <a:pt x="955" y="1492"/>
                    <a:pt x="972" y="1491"/>
                    <a:pt x="980" y="1482"/>
                  </a:cubicBezTo>
                  <a:cubicBezTo>
                    <a:pt x="962" y="1482"/>
                    <a:pt x="950" y="1488"/>
                    <a:pt x="940" y="1495"/>
                  </a:cubicBezTo>
                  <a:close/>
                  <a:moveTo>
                    <a:pt x="681" y="1507"/>
                  </a:moveTo>
                  <a:cubicBezTo>
                    <a:pt x="694" y="1507"/>
                    <a:pt x="707" y="1507"/>
                    <a:pt x="719" y="1509"/>
                  </a:cubicBezTo>
                  <a:cubicBezTo>
                    <a:pt x="726" y="1503"/>
                    <a:pt x="734" y="1498"/>
                    <a:pt x="740" y="1491"/>
                  </a:cubicBezTo>
                  <a:cubicBezTo>
                    <a:pt x="737" y="1491"/>
                    <a:pt x="741" y="1484"/>
                    <a:pt x="738" y="1484"/>
                  </a:cubicBezTo>
                  <a:cubicBezTo>
                    <a:pt x="722" y="1494"/>
                    <a:pt x="700" y="1499"/>
                    <a:pt x="681" y="1507"/>
                  </a:cubicBezTo>
                  <a:close/>
                  <a:moveTo>
                    <a:pt x="876" y="1487"/>
                  </a:moveTo>
                  <a:cubicBezTo>
                    <a:pt x="874" y="1491"/>
                    <a:pt x="871" y="1493"/>
                    <a:pt x="870" y="1498"/>
                  </a:cubicBezTo>
                  <a:cubicBezTo>
                    <a:pt x="900" y="1502"/>
                    <a:pt x="934" y="1501"/>
                    <a:pt x="950" y="1486"/>
                  </a:cubicBezTo>
                  <a:cubicBezTo>
                    <a:pt x="927" y="1487"/>
                    <a:pt x="902" y="1488"/>
                    <a:pt x="876" y="1487"/>
                  </a:cubicBezTo>
                  <a:close/>
                  <a:moveTo>
                    <a:pt x="542" y="1492"/>
                  </a:moveTo>
                  <a:cubicBezTo>
                    <a:pt x="542" y="1492"/>
                    <a:pt x="543" y="1493"/>
                    <a:pt x="542" y="1492"/>
                  </a:cubicBezTo>
                  <a:close/>
                  <a:moveTo>
                    <a:pt x="570" y="1495"/>
                  </a:moveTo>
                  <a:cubicBezTo>
                    <a:pt x="565" y="1495"/>
                    <a:pt x="538" y="1491"/>
                    <a:pt x="548" y="1494"/>
                  </a:cubicBezTo>
                  <a:cubicBezTo>
                    <a:pt x="571" y="1502"/>
                    <a:pt x="600" y="1512"/>
                    <a:pt x="625" y="1510"/>
                  </a:cubicBezTo>
                  <a:cubicBezTo>
                    <a:pt x="606" y="1504"/>
                    <a:pt x="592" y="1498"/>
                    <a:pt x="570" y="1495"/>
                  </a:cubicBezTo>
                  <a:close/>
                  <a:moveTo>
                    <a:pt x="958" y="1495"/>
                  </a:moveTo>
                  <a:cubicBezTo>
                    <a:pt x="949" y="1496"/>
                    <a:pt x="942" y="1497"/>
                    <a:pt x="935" y="1499"/>
                  </a:cubicBezTo>
                  <a:cubicBezTo>
                    <a:pt x="943" y="1498"/>
                    <a:pt x="953" y="1499"/>
                    <a:pt x="958" y="1495"/>
                  </a:cubicBezTo>
                  <a:moveTo>
                    <a:pt x="958" y="1495"/>
                  </a:moveTo>
                  <a:cubicBezTo>
                    <a:pt x="962" y="1496"/>
                    <a:pt x="958" y="1492"/>
                    <a:pt x="958" y="1495"/>
                  </a:cubicBezTo>
                  <a:moveTo>
                    <a:pt x="724" y="1509"/>
                  </a:moveTo>
                  <a:cubicBezTo>
                    <a:pt x="730" y="1509"/>
                    <a:pt x="736" y="1509"/>
                    <a:pt x="742" y="1509"/>
                  </a:cubicBezTo>
                  <a:cubicBezTo>
                    <a:pt x="740" y="1505"/>
                    <a:pt x="741" y="1498"/>
                    <a:pt x="739" y="1495"/>
                  </a:cubicBezTo>
                  <a:cubicBezTo>
                    <a:pt x="735" y="1501"/>
                    <a:pt x="728" y="1504"/>
                    <a:pt x="724" y="1509"/>
                  </a:cubicBezTo>
                  <a:close/>
                  <a:moveTo>
                    <a:pt x="613" y="1499"/>
                  </a:moveTo>
                  <a:cubicBezTo>
                    <a:pt x="615" y="1500"/>
                    <a:pt x="623" y="1501"/>
                    <a:pt x="624" y="1500"/>
                  </a:cubicBezTo>
                  <a:cubicBezTo>
                    <a:pt x="622" y="1496"/>
                    <a:pt x="599" y="1499"/>
                    <a:pt x="613" y="1499"/>
                  </a:cubicBezTo>
                  <a:close/>
                  <a:moveTo>
                    <a:pt x="929" y="1500"/>
                  </a:moveTo>
                  <a:cubicBezTo>
                    <a:pt x="929" y="1500"/>
                    <a:pt x="930" y="1501"/>
                    <a:pt x="929" y="1500"/>
                  </a:cubicBezTo>
                  <a:close/>
                  <a:moveTo>
                    <a:pt x="865" y="1505"/>
                  </a:moveTo>
                  <a:cubicBezTo>
                    <a:pt x="871" y="1503"/>
                    <a:pt x="880" y="1504"/>
                    <a:pt x="886" y="1502"/>
                  </a:cubicBezTo>
                  <a:cubicBezTo>
                    <a:pt x="879" y="1502"/>
                    <a:pt x="867" y="1497"/>
                    <a:pt x="865" y="1505"/>
                  </a:cubicBezTo>
                  <a:close/>
                  <a:moveTo>
                    <a:pt x="608" y="1501"/>
                  </a:moveTo>
                  <a:cubicBezTo>
                    <a:pt x="608" y="1501"/>
                    <a:pt x="607" y="1501"/>
                    <a:pt x="606" y="1502"/>
                  </a:cubicBezTo>
                  <a:cubicBezTo>
                    <a:pt x="607" y="1502"/>
                    <a:pt x="608" y="1502"/>
                    <a:pt x="608" y="1501"/>
                  </a:cubicBezTo>
                  <a:close/>
                  <a:moveTo>
                    <a:pt x="885" y="1514"/>
                  </a:moveTo>
                  <a:cubicBezTo>
                    <a:pt x="909" y="1514"/>
                    <a:pt x="929" y="1509"/>
                    <a:pt x="946" y="1501"/>
                  </a:cubicBezTo>
                  <a:cubicBezTo>
                    <a:pt x="921" y="1500"/>
                    <a:pt x="904" y="1509"/>
                    <a:pt x="885" y="1514"/>
                  </a:cubicBezTo>
                  <a:close/>
                  <a:moveTo>
                    <a:pt x="633" y="1509"/>
                  </a:moveTo>
                  <a:cubicBezTo>
                    <a:pt x="629" y="1504"/>
                    <a:pt x="618" y="1501"/>
                    <a:pt x="609" y="1503"/>
                  </a:cubicBezTo>
                  <a:cubicBezTo>
                    <a:pt x="618" y="1504"/>
                    <a:pt x="626" y="1509"/>
                    <a:pt x="633" y="1509"/>
                  </a:cubicBezTo>
                  <a:close/>
                  <a:moveTo>
                    <a:pt x="858" y="1512"/>
                  </a:moveTo>
                  <a:cubicBezTo>
                    <a:pt x="879" y="1516"/>
                    <a:pt x="896" y="1508"/>
                    <a:pt x="912" y="1503"/>
                  </a:cubicBezTo>
                  <a:cubicBezTo>
                    <a:pt x="893" y="1506"/>
                    <a:pt x="869" y="1502"/>
                    <a:pt x="858" y="1512"/>
                  </a:cubicBezTo>
                  <a:close/>
                  <a:moveTo>
                    <a:pt x="659" y="1507"/>
                  </a:moveTo>
                  <a:cubicBezTo>
                    <a:pt x="650" y="1508"/>
                    <a:pt x="641" y="1503"/>
                    <a:pt x="633" y="1506"/>
                  </a:cubicBezTo>
                  <a:cubicBezTo>
                    <a:pt x="638" y="1512"/>
                    <a:pt x="652" y="1509"/>
                    <a:pt x="659" y="1507"/>
                  </a:cubicBezTo>
                  <a:close/>
                  <a:moveTo>
                    <a:pt x="645" y="1512"/>
                  </a:moveTo>
                  <a:cubicBezTo>
                    <a:pt x="667" y="1518"/>
                    <a:pt x="698" y="1526"/>
                    <a:pt x="714" y="1511"/>
                  </a:cubicBezTo>
                  <a:cubicBezTo>
                    <a:pt x="688" y="1510"/>
                    <a:pt x="666" y="1506"/>
                    <a:pt x="645" y="1512"/>
                  </a:cubicBezTo>
                  <a:close/>
                  <a:moveTo>
                    <a:pt x="845" y="1510"/>
                  </a:moveTo>
                  <a:cubicBezTo>
                    <a:pt x="849" y="1510"/>
                    <a:pt x="855" y="1512"/>
                    <a:pt x="856" y="1508"/>
                  </a:cubicBezTo>
                  <a:cubicBezTo>
                    <a:pt x="852" y="1509"/>
                    <a:pt x="847" y="1508"/>
                    <a:pt x="845" y="1510"/>
                  </a:cubicBezTo>
                  <a:close/>
                  <a:moveTo>
                    <a:pt x="798" y="1512"/>
                  </a:moveTo>
                  <a:cubicBezTo>
                    <a:pt x="808" y="1524"/>
                    <a:pt x="839" y="1525"/>
                    <a:pt x="850" y="1513"/>
                  </a:cubicBezTo>
                  <a:cubicBezTo>
                    <a:pt x="837" y="1508"/>
                    <a:pt x="813" y="1509"/>
                    <a:pt x="798" y="1512"/>
                  </a:cubicBezTo>
                  <a:close/>
                  <a:moveTo>
                    <a:pt x="699" y="1522"/>
                  </a:moveTo>
                  <a:cubicBezTo>
                    <a:pt x="714" y="1522"/>
                    <a:pt x="731" y="1526"/>
                    <a:pt x="746" y="1524"/>
                  </a:cubicBezTo>
                  <a:cubicBezTo>
                    <a:pt x="743" y="1521"/>
                    <a:pt x="744" y="1515"/>
                    <a:pt x="742" y="1511"/>
                  </a:cubicBezTo>
                  <a:cubicBezTo>
                    <a:pt x="721" y="1509"/>
                    <a:pt x="710" y="1514"/>
                    <a:pt x="699" y="1522"/>
                  </a:cubicBezTo>
                  <a:close/>
                  <a:moveTo>
                    <a:pt x="750" y="1525"/>
                  </a:moveTo>
                  <a:cubicBezTo>
                    <a:pt x="753" y="1522"/>
                    <a:pt x="754" y="1517"/>
                    <a:pt x="754" y="1511"/>
                  </a:cubicBezTo>
                  <a:cubicBezTo>
                    <a:pt x="751" y="1511"/>
                    <a:pt x="748" y="1511"/>
                    <a:pt x="745" y="1511"/>
                  </a:cubicBezTo>
                  <a:cubicBezTo>
                    <a:pt x="747" y="1516"/>
                    <a:pt x="745" y="1524"/>
                    <a:pt x="750" y="1525"/>
                  </a:cubicBezTo>
                  <a:close/>
                  <a:moveTo>
                    <a:pt x="790" y="1511"/>
                  </a:moveTo>
                  <a:cubicBezTo>
                    <a:pt x="779" y="1511"/>
                    <a:pt x="768" y="1511"/>
                    <a:pt x="757" y="1511"/>
                  </a:cubicBezTo>
                  <a:cubicBezTo>
                    <a:pt x="757" y="1517"/>
                    <a:pt x="755" y="1520"/>
                    <a:pt x="754" y="1525"/>
                  </a:cubicBezTo>
                  <a:cubicBezTo>
                    <a:pt x="773" y="1525"/>
                    <a:pt x="792" y="1526"/>
                    <a:pt x="807" y="1522"/>
                  </a:cubicBezTo>
                  <a:cubicBezTo>
                    <a:pt x="800" y="1520"/>
                    <a:pt x="797" y="1514"/>
                    <a:pt x="790" y="1511"/>
                  </a:cubicBezTo>
                  <a:close/>
                  <a:moveTo>
                    <a:pt x="852" y="1517"/>
                  </a:moveTo>
                  <a:cubicBezTo>
                    <a:pt x="851" y="1518"/>
                    <a:pt x="852" y="1518"/>
                    <a:pt x="852" y="1517"/>
                  </a:cubicBezTo>
                  <a:moveTo>
                    <a:pt x="852" y="1517"/>
                  </a:moveTo>
                  <a:cubicBezTo>
                    <a:pt x="857" y="1517"/>
                    <a:pt x="861" y="1517"/>
                    <a:pt x="864" y="1515"/>
                  </a:cubicBezTo>
                  <a:cubicBezTo>
                    <a:pt x="859" y="1515"/>
                    <a:pt x="854" y="1513"/>
                    <a:pt x="852" y="1517"/>
                  </a:cubicBezTo>
                  <a:moveTo>
                    <a:pt x="655" y="1518"/>
                  </a:moveTo>
                  <a:cubicBezTo>
                    <a:pt x="655" y="1518"/>
                    <a:pt x="656" y="1519"/>
                    <a:pt x="655" y="1518"/>
                  </a:cubicBezTo>
                  <a:close/>
                  <a:moveTo>
                    <a:pt x="674" y="1522"/>
                  </a:moveTo>
                  <a:cubicBezTo>
                    <a:pt x="679" y="1522"/>
                    <a:pt x="678" y="1522"/>
                    <a:pt x="674" y="1521"/>
                  </a:cubicBezTo>
                  <a:cubicBezTo>
                    <a:pt x="672" y="1521"/>
                    <a:pt x="662" y="1518"/>
                    <a:pt x="658" y="1519"/>
                  </a:cubicBezTo>
                  <a:cubicBezTo>
                    <a:pt x="665" y="1520"/>
                    <a:pt x="671" y="1522"/>
                    <a:pt x="674" y="1522"/>
                  </a:cubicBezTo>
                  <a:close/>
                </a:path>
              </a:pathLst>
            </a:custGeom>
            <a:solidFill>
              <a:srgbClr val="E6EBEE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 dirty="0">
                <a:latin typeface="+mj-lt"/>
              </a:endParaRPr>
            </a:p>
          </p:txBody>
        </p:sp>
        <p:grpSp>
          <p:nvGrpSpPr>
            <p:cNvPr id="66" name="Group 1">
              <a:extLst>
                <a:ext uri="{FF2B5EF4-FFF2-40B4-BE49-F238E27FC236}">
                  <a16:creationId xmlns:a16="http://schemas.microsoft.com/office/drawing/2014/main" id="{DCC09486-8255-4179-9314-6CE60CA43CE9}"/>
                </a:ext>
              </a:extLst>
            </p:cNvPr>
            <p:cNvGrpSpPr>
              <a:grpSpLocks/>
            </p:cNvGrpSpPr>
            <p:nvPr/>
          </p:nvGrpSpPr>
          <p:grpSpPr>
            <a:xfrm>
              <a:off x="10475245" y="1677988"/>
              <a:ext cx="1168546" cy="1173532"/>
              <a:chOff x="1834475" y="1798638"/>
              <a:chExt cx="1663520" cy="1670619"/>
            </a:xfrm>
            <a:solidFill>
              <a:srgbClr val="E6EBEE"/>
            </a:solidFill>
          </p:grpSpPr>
          <p:sp>
            <p:nvSpPr>
              <p:cNvPr id="70" name="Freeform 37">
                <a:extLst>
                  <a:ext uri="{FF2B5EF4-FFF2-40B4-BE49-F238E27FC236}">
                    <a16:creationId xmlns:a16="http://schemas.microsoft.com/office/drawing/2014/main" id="{62C972C3-70D0-43EB-9B8E-4B970815BC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37451" y="1798638"/>
                <a:ext cx="1660544" cy="1665709"/>
              </a:xfrm>
              <a:custGeom>
                <a:avLst/>
                <a:gdLst/>
                <a:ahLst/>
                <a:cxnLst>
                  <a:cxn ang="0">
                    <a:pos x="43" y="519"/>
                  </a:cxn>
                  <a:cxn ang="0">
                    <a:pos x="688" y="16"/>
                  </a:cxn>
                  <a:cxn ang="0">
                    <a:pos x="710" y="20"/>
                  </a:cxn>
                  <a:cxn ang="0">
                    <a:pos x="799" y="22"/>
                  </a:cxn>
                  <a:cxn ang="0">
                    <a:pos x="581" y="42"/>
                  </a:cxn>
                  <a:cxn ang="0">
                    <a:pos x="530" y="61"/>
                  </a:cxn>
                  <a:cxn ang="0">
                    <a:pos x="991" y="49"/>
                  </a:cxn>
                  <a:cxn ang="0">
                    <a:pos x="372" y="115"/>
                  </a:cxn>
                  <a:cxn ang="0">
                    <a:pos x="428" y="107"/>
                  </a:cxn>
                  <a:cxn ang="0">
                    <a:pos x="818" y="92"/>
                  </a:cxn>
                  <a:cxn ang="0">
                    <a:pos x="1055" y="192"/>
                  </a:cxn>
                  <a:cxn ang="0">
                    <a:pos x="825" y="120"/>
                  </a:cxn>
                  <a:cxn ang="0">
                    <a:pos x="386" y="131"/>
                  </a:cxn>
                  <a:cxn ang="0">
                    <a:pos x="360" y="122"/>
                  </a:cxn>
                  <a:cxn ang="0">
                    <a:pos x="307" y="157"/>
                  </a:cxn>
                  <a:cxn ang="0">
                    <a:pos x="1281" y="215"/>
                  </a:cxn>
                  <a:cxn ang="0">
                    <a:pos x="262" y="197"/>
                  </a:cxn>
                  <a:cxn ang="0">
                    <a:pos x="342" y="207"/>
                  </a:cxn>
                  <a:cxn ang="0">
                    <a:pos x="515" y="222"/>
                  </a:cxn>
                  <a:cxn ang="0">
                    <a:pos x="1092" y="232"/>
                  </a:cxn>
                  <a:cxn ang="0">
                    <a:pos x="1054" y="395"/>
                  </a:cxn>
                  <a:cxn ang="0">
                    <a:pos x="286" y="259"/>
                  </a:cxn>
                  <a:cxn ang="0">
                    <a:pos x="422" y="400"/>
                  </a:cxn>
                  <a:cxn ang="0">
                    <a:pos x="139" y="360"/>
                  </a:cxn>
                  <a:cxn ang="0">
                    <a:pos x="735" y="383"/>
                  </a:cxn>
                  <a:cxn ang="0">
                    <a:pos x="401" y="453"/>
                  </a:cxn>
                  <a:cxn ang="0">
                    <a:pos x="1275" y="515"/>
                  </a:cxn>
                  <a:cxn ang="0">
                    <a:pos x="965" y="472"/>
                  </a:cxn>
                  <a:cxn ang="0">
                    <a:pos x="1457" y="507"/>
                  </a:cxn>
                  <a:cxn ang="0">
                    <a:pos x="1123" y="716"/>
                  </a:cxn>
                  <a:cxn ang="0">
                    <a:pos x="1284" y="635"/>
                  </a:cxn>
                  <a:cxn ang="0">
                    <a:pos x="109" y="683"/>
                  </a:cxn>
                  <a:cxn ang="0">
                    <a:pos x="320" y="836"/>
                  </a:cxn>
                  <a:cxn ang="0">
                    <a:pos x="942" y="737"/>
                  </a:cxn>
                  <a:cxn ang="0">
                    <a:pos x="1520" y="791"/>
                  </a:cxn>
                  <a:cxn ang="0">
                    <a:pos x="1506" y="837"/>
                  </a:cxn>
                  <a:cxn ang="0">
                    <a:pos x="1392" y="910"/>
                  </a:cxn>
                  <a:cxn ang="0">
                    <a:pos x="1322" y="936"/>
                  </a:cxn>
                  <a:cxn ang="0">
                    <a:pos x="497" y="992"/>
                  </a:cxn>
                  <a:cxn ang="0">
                    <a:pos x="637" y="1004"/>
                  </a:cxn>
                  <a:cxn ang="0">
                    <a:pos x="75" y="1026"/>
                  </a:cxn>
                  <a:cxn ang="0">
                    <a:pos x="155" y="1216"/>
                  </a:cxn>
                  <a:cxn ang="0">
                    <a:pos x="1376" y="1175"/>
                  </a:cxn>
                  <a:cxn ang="0">
                    <a:pos x="187" y="1148"/>
                  </a:cxn>
                  <a:cxn ang="0">
                    <a:pos x="163" y="1223"/>
                  </a:cxn>
                  <a:cxn ang="0">
                    <a:pos x="363" y="1201"/>
                  </a:cxn>
                  <a:cxn ang="0">
                    <a:pos x="535" y="1295"/>
                  </a:cxn>
                  <a:cxn ang="0">
                    <a:pos x="170" y="1239"/>
                  </a:cxn>
                  <a:cxn ang="0">
                    <a:pos x="195" y="1266"/>
                  </a:cxn>
                  <a:cxn ang="0">
                    <a:pos x="224" y="1300"/>
                  </a:cxn>
                  <a:cxn ang="0">
                    <a:pos x="309" y="1356"/>
                  </a:cxn>
                  <a:cxn ang="0">
                    <a:pos x="1151" y="1402"/>
                  </a:cxn>
                  <a:cxn ang="0">
                    <a:pos x="618" y="1375"/>
                  </a:cxn>
                  <a:cxn ang="0">
                    <a:pos x="956" y="1397"/>
                  </a:cxn>
                  <a:cxn ang="0">
                    <a:pos x="1038" y="1391"/>
                  </a:cxn>
                  <a:cxn ang="0">
                    <a:pos x="697" y="1413"/>
                  </a:cxn>
                  <a:cxn ang="0">
                    <a:pos x="987" y="1439"/>
                  </a:cxn>
                  <a:cxn ang="0">
                    <a:pos x="513" y="1480"/>
                  </a:cxn>
                  <a:cxn ang="0">
                    <a:pos x="749" y="1462"/>
                  </a:cxn>
                  <a:cxn ang="0">
                    <a:pos x="975" y="1464"/>
                  </a:cxn>
                  <a:cxn ang="0">
                    <a:pos x="782" y="1475"/>
                  </a:cxn>
                  <a:cxn ang="0">
                    <a:pos x="738" y="1484"/>
                  </a:cxn>
                  <a:cxn ang="0">
                    <a:pos x="845" y="1510"/>
                  </a:cxn>
                </a:cxnLst>
                <a:rect l="0" t="0" r="r" b="b"/>
                <a:pathLst>
                  <a:path w="1525" h="1529">
                    <a:moveTo>
                      <a:pt x="760" y="11"/>
                    </a:moveTo>
                    <a:cubicBezTo>
                      <a:pt x="764" y="10"/>
                      <a:pt x="762" y="3"/>
                      <a:pt x="767" y="3"/>
                    </a:cubicBezTo>
                    <a:cubicBezTo>
                      <a:pt x="772" y="2"/>
                      <a:pt x="769" y="11"/>
                      <a:pt x="774" y="8"/>
                    </a:cubicBezTo>
                    <a:cubicBezTo>
                      <a:pt x="798" y="0"/>
                      <a:pt x="832" y="6"/>
                      <a:pt x="860" y="10"/>
                    </a:cubicBezTo>
                    <a:cubicBezTo>
                      <a:pt x="920" y="18"/>
                      <a:pt x="979" y="31"/>
                      <a:pt x="1027" y="50"/>
                    </a:cubicBezTo>
                    <a:cubicBezTo>
                      <a:pt x="1077" y="70"/>
                      <a:pt x="1124" y="92"/>
                      <a:pt x="1166" y="119"/>
                    </a:cubicBezTo>
                    <a:cubicBezTo>
                      <a:pt x="1181" y="129"/>
                      <a:pt x="1197" y="136"/>
                      <a:pt x="1209" y="145"/>
                    </a:cubicBezTo>
                    <a:cubicBezTo>
                      <a:pt x="1217" y="151"/>
                      <a:pt x="1224" y="160"/>
                      <a:pt x="1232" y="167"/>
                    </a:cubicBezTo>
                    <a:cubicBezTo>
                      <a:pt x="1281" y="205"/>
                      <a:pt x="1322" y="252"/>
                      <a:pt x="1362" y="301"/>
                    </a:cubicBezTo>
                    <a:cubicBezTo>
                      <a:pt x="1369" y="310"/>
                      <a:pt x="1378" y="316"/>
                      <a:pt x="1383" y="323"/>
                    </a:cubicBezTo>
                    <a:cubicBezTo>
                      <a:pt x="1388" y="331"/>
                      <a:pt x="1392" y="340"/>
                      <a:pt x="1398" y="348"/>
                    </a:cubicBezTo>
                    <a:cubicBezTo>
                      <a:pt x="1468" y="449"/>
                      <a:pt x="1525" y="587"/>
                      <a:pt x="1522" y="761"/>
                    </a:cubicBezTo>
                    <a:cubicBezTo>
                      <a:pt x="1522" y="773"/>
                      <a:pt x="1525" y="784"/>
                      <a:pt x="1524" y="795"/>
                    </a:cubicBezTo>
                    <a:cubicBezTo>
                      <a:pt x="1524" y="805"/>
                      <a:pt x="1520" y="815"/>
                      <a:pt x="1518" y="826"/>
                    </a:cubicBezTo>
                    <a:cubicBezTo>
                      <a:pt x="1515" y="857"/>
                      <a:pt x="1508" y="890"/>
                      <a:pt x="1502" y="919"/>
                    </a:cubicBezTo>
                    <a:cubicBezTo>
                      <a:pt x="1495" y="950"/>
                      <a:pt x="1489" y="979"/>
                      <a:pt x="1481" y="1007"/>
                    </a:cubicBezTo>
                    <a:cubicBezTo>
                      <a:pt x="1478" y="1017"/>
                      <a:pt x="1477" y="1028"/>
                      <a:pt x="1474" y="1037"/>
                    </a:cubicBezTo>
                    <a:cubicBezTo>
                      <a:pt x="1472" y="1045"/>
                      <a:pt x="1468" y="1051"/>
                      <a:pt x="1465" y="1058"/>
                    </a:cubicBezTo>
                    <a:cubicBezTo>
                      <a:pt x="1455" y="1079"/>
                      <a:pt x="1446" y="1102"/>
                      <a:pt x="1436" y="1122"/>
                    </a:cubicBezTo>
                    <a:cubicBezTo>
                      <a:pt x="1414" y="1164"/>
                      <a:pt x="1392" y="1199"/>
                      <a:pt x="1364" y="1233"/>
                    </a:cubicBezTo>
                    <a:cubicBezTo>
                      <a:pt x="1355" y="1245"/>
                      <a:pt x="1347" y="1257"/>
                      <a:pt x="1337" y="1268"/>
                    </a:cubicBezTo>
                    <a:cubicBezTo>
                      <a:pt x="1318" y="1289"/>
                      <a:pt x="1295" y="1305"/>
                      <a:pt x="1274" y="1326"/>
                    </a:cubicBezTo>
                    <a:cubicBezTo>
                      <a:pt x="1232" y="1368"/>
                      <a:pt x="1185" y="1404"/>
                      <a:pt x="1136" y="1434"/>
                    </a:cubicBezTo>
                    <a:cubicBezTo>
                      <a:pt x="1110" y="1450"/>
                      <a:pt x="1082" y="1460"/>
                      <a:pt x="1052" y="1471"/>
                    </a:cubicBezTo>
                    <a:cubicBezTo>
                      <a:pt x="1037" y="1477"/>
                      <a:pt x="1023" y="1484"/>
                      <a:pt x="1008" y="1488"/>
                    </a:cubicBezTo>
                    <a:cubicBezTo>
                      <a:pt x="992" y="1493"/>
                      <a:pt x="976" y="1494"/>
                      <a:pt x="958" y="1499"/>
                    </a:cubicBezTo>
                    <a:cubicBezTo>
                      <a:pt x="948" y="1502"/>
                      <a:pt x="940" y="1508"/>
                      <a:pt x="930" y="1511"/>
                    </a:cubicBezTo>
                    <a:cubicBezTo>
                      <a:pt x="904" y="1518"/>
                      <a:pt x="872" y="1514"/>
                      <a:pt x="846" y="1522"/>
                    </a:cubicBezTo>
                    <a:cubicBezTo>
                      <a:pt x="840" y="1524"/>
                      <a:pt x="835" y="1527"/>
                      <a:pt x="828" y="1528"/>
                    </a:cubicBezTo>
                    <a:cubicBezTo>
                      <a:pt x="823" y="1528"/>
                      <a:pt x="818" y="1526"/>
                      <a:pt x="813" y="1526"/>
                    </a:cubicBezTo>
                    <a:cubicBezTo>
                      <a:pt x="796" y="1525"/>
                      <a:pt x="777" y="1527"/>
                      <a:pt x="758" y="1528"/>
                    </a:cubicBezTo>
                    <a:cubicBezTo>
                      <a:pt x="735" y="1529"/>
                      <a:pt x="713" y="1524"/>
                      <a:pt x="691" y="1523"/>
                    </a:cubicBezTo>
                    <a:cubicBezTo>
                      <a:pt x="683" y="1523"/>
                      <a:pt x="676" y="1525"/>
                      <a:pt x="669" y="1524"/>
                    </a:cubicBezTo>
                    <a:cubicBezTo>
                      <a:pt x="656" y="1523"/>
                      <a:pt x="646" y="1514"/>
                      <a:pt x="635" y="1512"/>
                    </a:cubicBezTo>
                    <a:cubicBezTo>
                      <a:pt x="620" y="1510"/>
                      <a:pt x="607" y="1512"/>
                      <a:pt x="594" y="1511"/>
                    </a:cubicBezTo>
                    <a:cubicBezTo>
                      <a:pt x="571" y="1507"/>
                      <a:pt x="551" y="1496"/>
                      <a:pt x="531" y="1489"/>
                    </a:cubicBezTo>
                    <a:cubicBezTo>
                      <a:pt x="520" y="1486"/>
                      <a:pt x="508" y="1484"/>
                      <a:pt x="497" y="1481"/>
                    </a:cubicBezTo>
                    <a:cubicBezTo>
                      <a:pt x="454" y="1468"/>
                      <a:pt x="414" y="1451"/>
                      <a:pt x="380" y="1429"/>
                    </a:cubicBezTo>
                    <a:cubicBezTo>
                      <a:pt x="363" y="1418"/>
                      <a:pt x="347" y="1404"/>
                      <a:pt x="330" y="1393"/>
                    </a:cubicBezTo>
                    <a:cubicBezTo>
                      <a:pt x="287" y="1366"/>
                      <a:pt x="251" y="1334"/>
                      <a:pt x="216" y="1296"/>
                    </a:cubicBezTo>
                    <a:cubicBezTo>
                      <a:pt x="202" y="1282"/>
                      <a:pt x="187" y="1270"/>
                      <a:pt x="174" y="1252"/>
                    </a:cubicBezTo>
                    <a:cubicBezTo>
                      <a:pt x="169" y="1244"/>
                      <a:pt x="165" y="1234"/>
                      <a:pt x="159" y="1225"/>
                    </a:cubicBezTo>
                    <a:cubicBezTo>
                      <a:pt x="147" y="1209"/>
                      <a:pt x="133" y="1193"/>
                      <a:pt x="123" y="1177"/>
                    </a:cubicBezTo>
                    <a:cubicBezTo>
                      <a:pt x="60" y="1083"/>
                      <a:pt x="16" y="977"/>
                      <a:pt x="6" y="830"/>
                    </a:cubicBezTo>
                    <a:cubicBezTo>
                      <a:pt x="5" y="816"/>
                      <a:pt x="0" y="804"/>
                      <a:pt x="0" y="791"/>
                    </a:cubicBezTo>
                    <a:cubicBezTo>
                      <a:pt x="0" y="782"/>
                      <a:pt x="4" y="772"/>
                      <a:pt x="5" y="762"/>
                    </a:cubicBezTo>
                    <a:cubicBezTo>
                      <a:pt x="11" y="698"/>
                      <a:pt x="14" y="634"/>
                      <a:pt x="27" y="577"/>
                    </a:cubicBezTo>
                    <a:cubicBezTo>
                      <a:pt x="29" y="567"/>
                      <a:pt x="29" y="558"/>
                      <a:pt x="31" y="549"/>
                    </a:cubicBezTo>
                    <a:cubicBezTo>
                      <a:pt x="34" y="539"/>
                      <a:pt x="40" y="529"/>
                      <a:pt x="43" y="519"/>
                    </a:cubicBezTo>
                    <a:cubicBezTo>
                      <a:pt x="65" y="448"/>
                      <a:pt x="100" y="386"/>
                      <a:pt x="137" y="330"/>
                    </a:cubicBezTo>
                    <a:cubicBezTo>
                      <a:pt x="170" y="280"/>
                      <a:pt x="209" y="240"/>
                      <a:pt x="252" y="202"/>
                    </a:cubicBezTo>
                    <a:cubicBezTo>
                      <a:pt x="266" y="190"/>
                      <a:pt x="282" y="179"/>
                      <a:pt x="296" y="166"/>
                    </a:cubicBezTo>
                    <a:cubicBezTo>
                      <a:pt x="303" y="159"/>
                      <a:pt x="307" y="151"/>
                      <a:pt x="315" y="145"/>
                    </a:cubicBezTo>
                    <a:cubicBezTo>
                      <a:pt x="323" y="139"/>
                      <a:pt x="332" y="137"/>
                      <a:pt x="341" y="132"/>
                    </a:cubicBezTo>
                    <a:cubicBezTo>
                      <a:pt x="354" y="124"/>
                      <a:pt x="367" y="114"/>
                      <a:pt x="380" y="106"/>
                    </a:cubicBezTo>
                    <a:cubicBezTo>
                      <a:pt x="419" y="82"/>
                      <a:pt x="466" y="61"/>
                      <a:pt x="514" y="46"/>
                    </a:cubicBezTo>
                    <a:cubicBezTo>
                      <a:pt x="531" y="40"/>
                      <a:pt x="546" y="33"/>
                      <a:pt x="563" y="29"/>
                    </a:cubicBezTo>
                    <a:cubicBezTo>
                      <a:pt x="605" y="19"/>
                      <a:pt x="652" y="8"/>
                      <a:pt x="702" y="5"/>
                    </a:cubicBezTo>
                    <a:cubicBezTo>
                      <a:pt x="711" y="5"/>
                      <a:pt x="721" y="5"/>
                      <a:pt x="731" y="3"/>
                    </a:cubicBezTo>
                    <a:cubicBezTo>
                      <a:pt x="741" y="1"/>
                      <a:pt x="752" y="5"/>
                      <a:pt x="760" y="11"/>
                    </a:cubicBezTo>
                    <a:close/>
                    <a:moveTo>
                      <a:pt x="765" y="11"/>
                    </a:moveTo>
                    <a:cubicBezTo>
                      <a:pt x="767" y="11"/>
                      <a:pt x="769" y="11"/>
                      <a:pt x="770" y="9"/>
                    </a:cubicBezTo>
                    <a:cubicBezTo>
                      <a:pt x="768" y="9"/>
                      <a:pt x="769" y="6"/>
                      <a:pt x="767" y="5"/>
                    </a:cubicBezTo>
                    <a:cubicBezTo>
                      <a:pt x="766" y="7"/>
                      <a:pt x="764" y="8"/>
                      <a:pt x="765" y="11"/>
                    </a:cubicBezTo>
                    <a:close/>
                    <a:moveTo>
                      <a:pt x="737" y="6"/>
                    </a:moveTo>
                    <a:cubicBezTo>
                      <a:pt x="736" y="6"/>
                      <a:pt x="735" y="6"/>
                      <a:pt x="735" y="7"/>
                    </a:cubicBezTo>
                    <a:cubicBezTo>
                      <a:pt x="736" y="7"/>
                      <a:pt x="737" y="7"/>
                      <a:pt x="737" y="6"/>
                    </a:cubicBezTo>
                    <a:close/>
                    <a:moveTo>
                      <a:pt x="800" y="6"/>
                    </a:moveTo>
                    <a:cubicBezTo>
                      <a:pt x="790" y="5"/>
                      <a:pt x="794" y="9"/>
                      <a:pt x="800" y="6"/>
                    </a:cubicBezTo>
                    <a:close/>
                    <a:moveTo>
                      <a:pt x="744" y="7"/>
                    </a:moveTo>
                    <a:cubicBezTo>
                      <a:pt x="742" y="8"/>
                      <a:pt x="738" y="6"/>
                      <a:pt x="738" y="8"/>
                    </a:cubicBezTo>
                    <a:cubicBezTo>
                      <a:pt x="740" y="8"/>
                      <a:pt x="744" y="9"/>
                      <a:pt x="744" y="7"/>
                    </a:cubicBezTo>
                    <a:close/>
                    <a:moveTo>
                      <a:pt x="792" y="7"/>
                    </a:moveTo>
                    <a:cubicBezTo>
                      <a:pt x="790" y="8"/>
                      <a:pt x="785" y="6"/>
                      <a:pt x="785" y="8"/>
                    </a:cubicBezTo>
                    <a:cubicBezTo>
                      <a:pt x="787" y="8"/>
                      <a:pt x="791" y="9"/>
                      <a:pt x="792" y="7"/>
                    </a:cubicBezTo>
                    <a:close/>
                    <a:moveTo>
                      <a:pt x="727" y="8"/>
                    </a:moveTo>
                    <a:cubicBezTo>
                      <a:pt x="726" y="8"/>
                      <a:pt x="725" y="8"/>
                      <a:pt x="725" y="9"/>
                    </a:cubicBezTo>
                    <a:cubicBezTo>
                      <a:pt x="726" y="9"/>
                      <a:pt x="727" y="9"/>
                      <a:pt x="727" y="8"/>
                    </a:cubicBezTo>
                    <a:close/>
                    <a:moveTo>
                      <a:pt x="747" y="8"/>
                    </a:moveTo>
                    <a:cubicBezTo>
                      <a:pt x="746" y="8"/>
                      <a:pt x="745" y="8"/>
                      <a:pt x="745" y="9"/>
                    </a:cubicBezTo>
                    <a:cubicBezTo>
                      <a:pt x="745" y="9"/>
                      <a:pt x="747" y="9"/>
                      <a:pt x="747" y="8"/>
                    </a:cubicBezTo>
                    <a:close/>
                    <a:moveTo>
                      <a:pt x="784" y="8"/>
                    </a:moveTo>
                    <a:cubicBezTo>
                      <a:pt x="783" y="8"/>
                      <a:pt x="781" y="8"/>
                      <a:pt x="781" y="9"/>
                    </a:cubicBezTo>
                    <a:cubicBezTo>
                      <a:pt x="782" y="9"/>
                      <a:pt x="784" y="9"/>
                      <a:pt x="784" y="8"/>
                    </a:cubicBezTo>
                    <a:close/>
                    <a:moveTo>
                      <a:pt x="748" y="10"/>
                    </a:moveTo>
                    <a:cubicBezTo>
                      <a:pt x="747" y="10"/>
                      <a:pt x="748" y="11"/>
                      <a:pt x="748" y="10"/>
                    </a:cubicBezTo>
                    <a:close/>
                    <a:moveTo>
                      <a:pt x="778" y="10"/>
                    </a:moveTo>
                    <a:cubicBezTo>
                      <a:pt x="778" y="10"/>
                      <a:pt x="779" y="11"/>
                      <a:pt x="778" y="10"/>
                    </a:cubicBezTo>
                    <a:close/>
                    <a:moveTo>
                      <a:pt x="688" y="10"/>
                    </a:moveTo>
                    <a:cubicBezTo>
                      <a:pt x="686" y="11"/>
                      <a:pt x="682" y="9"/>
                      <a:pt x="682" y="11"/>
                    </a:cubicBezTo>
                    <a:cubicBezTo>
                      <a:pt x="684" y="10"/>
                      <a:pt x="688" y="12"/>
                      <a:pt x="688" y="10"/>
                    </a:cubicBezTo>
                    <a:close/>
                    <a:moveTo>
                      <a:pt x="841" y="11"/>
                    </a:moveTo>
                    <a:cubicBezTo>
                      <a:pt x="836" y="10"/>
                      <a:pt x="840" y="14"/>
                      <a:pt x="841" y="11"/>
                    </a:cubicBezTo>
                    <a:close/>
                    <a:moveTo>
                      <a:pt x="857" y="12"/>
                    </a:moveTo>
                    <a:cubicBezTo>
                      <a:pt x="856" y="12"/>
                      <a:pt x="854" y="12"/>
                      <a:pt x="854" y="13"/>
                    </a:cubicBezTo>
                    <a:cubicBezTo>
                      <a:pt x="855" y="13"/>
                      <a:pt x="857" y="13"/>
                      <a:pt x="857" y="12"/>
                    </a:cubicBezTo>
                    <a:close/>
                    <a:moveTo>
                      <a:pt x="688" y="16"/>
                    </a:moveTo>
                    <a:cubicBezTo>
                      <a:pt x="680" y="15"/>
                      <a:pt x="684" y="19"/>
                      <a:pt x="688" y="16"/>
                    </a:cubicBezTo>
                    <a:close/>
                    <a:moveTo>
                      <a:pt x="678" y="17"/>
                    </a:moveTo>
                    <a:cubicBezTo>
                      <a:pt x="676" y="17"/>
                      <a:pt x="671" y="16"/>
                      <a:pt x="671" y="18"/>
                    </a:cubicBezTo>
                    <a:cubicBezTo>
                      <a:pt x="673" y="17"/>
                      <a:pt x="677" y="19"/>
                      <a:pt x="678" y="17"/>
                    </a:cubicBezTo>
                    <a:close/>
                    <a:moveTo>
                      <a:pt x="842" y="17"/>
                    </a:moveTo>
                    <a:cubicBezTo>
                      <a:pt x="836" y="16"/>
                      <a:pt x="840" y="20"/>
                      <a:pt x="842" y="17"/>
                    </a:cubicBezTo>
                    <a:close/>
                    <a:moveTo>
                      <a:pt x="664" y="19"/>
                    </a:moveTo>
                    <a:cubicBezTo>
                      <a:pt x="674" y="17"/>
                      <a:pt x="664" y="18"/>
                      <a:pt x="658" y="19"/>
                    </a:cubicBezTo>
                    <a:cubicBezTo>
                      <a:pt x="655" y="19"/>
                      <a:pt x="652" y="18"/>
                      <a:pt x="651" y="21"/>
                    </a:cubicBezTo>
                    <a:cubicBezTo>
                      <a:pt x="656" y="20"/>
                      <a:pt x="660" y="19"/>
                      <a:pt x="664" y="19"/>
                    </a:cubicBezTo>
                    <a:close/>
                    <a:moveTo>
                      <a:pt x="700" y="19"/>
                    </a:moveTo>
                    <a:cubicBezTo>
                      <a:pt x="699" y="18"/>
                      <a:pt x="700" y="19"/>
                      <a:pt x="700" y="19"/>
                    </a:cubicBezTo>
                    <a:close/>
                    <a:moveTo>
                      <a:pt x="698" y="81"/>
                    </a:moveTo>
                    <a:cubicBezTo>
                      <a:pt x="716" y="81"/>
                      <a:pt x="734" y="81"/>
                      <a:pt x="751" y="81"/>
                    </a:cubicBezTo>
                    <a:cubicBezTo>
                      <a:pt x="753" y="60"/>
                      <a:pt x="757" y="36"/>
                      <a:pt x="759" y="18"/>
                    </a:cubicBezTo>
                    <a:cubicBezTo>
                      <a:pt x="733" y="34"/>
                      <a:pt x="714" y="56"/>
                      <a:pt x="698" y="81"/>
                    </a:cubicBezTo>
                    <a:close/>
                    <a:moveTo>
                      <a:pt x="852" y="19"/>
                    </a:moveTo>
                    <a:cubicBezTo>
                      <a:pt x="852" y="19"/>
                      <a:pt x="852" y="19"/>
                      <a:pt x="852" y="20"/>
                    </a:cubicBezTo>
                    <a:cubicBezTo>
                      <a:pt x="870" y="21"/>
                      <a:pt x="885" y="24"/>
                      <a:pt x="901" y="26"/>
                    </a:cubicBezTo>
                    <a:moveTo>
                      <a:pt x="901" y="26"/>
                    </a:moveTo>
                    <a:cubicBezTo>
                      <a:pt x="902" y="29"/>
                      <a:pt x="906" y="25"/>
                      <a:pt x="901" y="26"/>
                    </a:cubicBezTo>
                    <a:moveTo>
                      <a:pt x="901" y="26"/>
                    </a:moveTo>
                    <a:cubicBezTo>
                      <a:pt x="901" y="26"/>
                      <a:pt x="901" y="26"/>
                      <a:pt x="901" y="25"/>
                    </a:cubicBezTo>
                    <a:cubicBezTo>
                      <a:pt x="887" y="21"/>
                      <a:pt x="870" y="20"/>
                      <a:pt x="852" y="19"/>
                    </a:cubicBezTo>
                    <a:moveTo>
                      <a:pt x="852" y="19"/>
                    </a:moveTo>
                    <a:cubicBezTo>
                      <a:pt x="846" y="16"/>
                      <a:pt x="842" y="20"/>
                      <a:pt x="852" y="19"/>
                    </a:cubicBezTo>
                    <a:moveTo>
                      <a:pt x="693" y="19"/>
                    </a:moveTo>
                    <a:cubicBezTo>
                      <a:pt x="683" y="17"/>
                      <a:pt x="687" y="22"/>
                      <a:pt x="693" y="19"/>
                    </a:cubicBezTo>
                    <a:close/>
                    <a:moveTo>
                      <a:pt x="751" y="20"/>
                    </a:moveTo>
                    <a:cubicBezTo>
                      <a:pt x="751" y="19"/>
                      <a:pt x="752" y="20"/>
                      <a:pt x="751" y="20"/>
                    </a:cubicBezTo>
                    <a:close/>
                    <a:moveTo>
                      <a:pt x="754" y="81"/>
                    </a:moveTo>
                    <a:cubicBezTo>
                      <a:pt x="762" y="81"/>
                      <a:pt x="770" y="81"/>
                      <a:pt x="778" y="81"/>
                    </a:cubicBezTo>
                    <a:cubicBezTo>
                      <a:pt x="774" y="59"/>
                      <a:pt x="781" y="26"/>
                      <a:pt x="762" y="19"/>
                    </a:cubicBezTo>
                    <a:cubicBezTo>
                      <a:pt x="759" y="39"/>
                      <a:pt x="756" y="59"/>
                      <a:pt x="754" y="81"/>
                    </a:cubicBezTo>
                    <a:close/>
                    <a:moveTo>
                      <a:pt x="826" y="19"/>
                    </a:moveTo>
                    <a:cubicBezTo>
                      <a:pt x="820" y="18"/>
                      <a:pt x="824" y="22"/>
                      <a:pt x="826" y="19"/>
                    </a:cubicBezTo>
                    <a:close/>
                    <a:moveTo>
                      <a:pt x="641" y="21"/>
                    </a:moveTo>
                    <a:cubicBezTo>
                      <a:pt x="619" y="23"/>
                      <a:pt x="596" y="25"/>
                      <a:pt x="580" y="33"/>
                    </a:cubicBezTo>
                    <a:moveTo>
                      <a:pt x="580" y="33"/>
                    </a:moveTo>
                    <a:cubicBezTo>
                      <a:pt x="576" y="32"/>
                      <a:pt x="579" y="36"/>
                      <a:pt x="580" y="33"/>
                    </a:cubicBezTo>
                    <a:moveTo>
                      <a:pt x="580" y="33"/>
                    </a:moveTo>
                    <a:cubicBezTo>
                      <a:pt x="600" y="29"/>
                      <a:pt x="622" y="26"/>
                      <a:pt x="641" y="21"/>
                    </a:cubicBezTo>
                    <a:moveTo>
                      <a:pt x="641" y="21"/>
                    </a:moveTo>
                    <a:cubicBezTo>
                      <a:pt x="646" y="22"/>
                      <a:pt x="642" y="18"/>
                      <a:pt x="641" y="21"/>
                    </a:cubicBezTo>
                    <a:moveTo>
                      <a:pt x="632" y="29"/>
                    </a:moveTo>
                    <a:cubicBezTo>
                      <a:pt x="649" y="25"/>
                      <a:pt x="668" y="24"/>
                      <a:pt x="684" y="20"/>
                    </a:cubicBezTo>
                    <a:cubicBezTo>
                      <a:pt x="666" y="22"/>
                      <a:pt x="644" y="21"/>
                      <a:pt x="632" y="29"/>
                    </a:cubicBezTo>
                    <a:close/>
                    <a:moveTo>
                      <a:pt x="710" y="20"/>
                    </a:moveTo>
                    <a:cubicBezTo>
                      <a:pt x="709" y="20"/>
                      <a:pt x="707" y="19"/>
                      <a:pt x="707" y="21"/>
                    </a:cubicBezTo>
                    <a:cubicBezTo>
                      <a:pt x="708" y="20"/>
                      <a:pt x="710" y="21"/>
                      <a:pt x="710" y="20"/>
                    </a:cubicBezTo>
                    <a:close/>
                    <a:moveTo>
                      <a:pt x="726" y="21"/>
                    </a:moveTo>
                    <a:cubicBezTo>
                      <a:pt x="725" y="20"/>
                      <a:pt x="726" y="21"/>
                      <a:pt x="726" y="21"/>
                    </a:cubicBezTo>
                    <a:close/>
                    <a:moveTo>
                      <a:pt x="739" y="21"/>
                    </a:moveTo>
                    <a:cubicBezTo>
                      <a:pt x="739" y="20"/>
                      <a:pt x="740" y="21"/>
                      <a:pt x="739" y="21"/>
                    </a:cubicBezTo>
                    <a:close/>
                    <a:moveTo>
                      <a:pt x="749" y="21"/>
                    </a:moveTo>
                    <a:cubicBezTo>
                      <a:pt x="725" y="27"/>
                      <a:pt x="705" y="37"/>
                      <a:pt x="686" y="48"/>
                    </a:cubicBezTo>
                    <a:cubicBezTo>
                      <a:pt x="681" y="59"/>
                      <a:pt x="675" y="70"/>
                      <a:pt x="672" y="82"/>
                    </a:cubicBezTo>
                    <a:cubicBezTo>
                      <a:pt x="679" y="82"/>
                      <a:pt x="686" y="82"/>
                      <a:pt x="693" y="82"/>
                    </a:cubicBezTo>
                    <a:cubicBezTo>
                      <a:pt x="709" y="59"/>
                      <a:pt x="727" y="38"/>
                      <a:pt x="749" y="21"/>
                    </a:cubicBezTo>
                    <a:moveTo>
                      <a:pt x="749" y="21"/>
                    </a:moveTo>
                    <a:cubicBezTo>
                      <a:pt x="753" y="22"/>
                      <a:pt x="749" y="18"/>
                      <a:pt x="749" y="21"/>
                    </a:cubicBezTo>
                    <a:moveTo>
                      <a:pt x="793" y="21"/>
                    </a:moveTo>
                    <a:cubicBezTo>
                      <a:pt x="792" y="20"/>
                      <a:pt x="793" y="21"/>
                      <a:pt x="793" y="21"/>
                    </a:cubicBezTo>
                    <a:close/>
                    <a:moveTo>
                      <a:pt x="810" y="20"/>
                    </a:moveTo>
                    <a:cubicBezTo>
                      <a:pt x="809" y="20"/>
                      <a:pt x="808" y="20"/>
                      <a:pt x="808" y="21"/>
                    </a:cubicBezTo>
                    <a:cubicBezTo>
                      <a:pt x="809" y="20"/>
                      <a:pt x="810" y="21"/>
                      <a:pt x="810" y="20"/>
                    </a:cubicBezTo>
                    <a:close/>
                    <a:moveTo>
                      <a:pt x="837" y="21"/>
                    </a:moveTo>
                    <a:cubicBezTo>
                      <a:pt x="837" y="22"/>
                      <a:pt x="839" y="22"/>
                      <a:pt x="839" y="21"/>
                    </a:cubicBezTo>
                    <a:cubicBezTo>
                      <a:pt x="834" y="18"/>
                      <a:pt x="826" y="21"/>
                      <a:pt x="837" y="21"/>
                    </a:cubicBezTo>
                    <a:close/>
                    <a:moveTo>
                      <a:pt x="699" y="22"/>
                    </a:moveTo>
                    <a:cubicBezTo>
                      <a:pt x="667" y="27"/>
                      <a:pt x="629" y="26"/>
                      <a:pt x="610" y="45"/>
                    </a:cubicBezTo>
                    <a:moveTo>
                      <a:pt x="610" y="45"/>
                    </a:moveTo>
                    <a:cubicBezTo>
                      <a:pt x="606" y="44"/>
                      <a:pt x="610" y="47"/>
                      <a:pt x="610" y="45"/>
                    </a:cubicBezTo>
                    <a:moveTo>
                      <a:pt x="699" y="22"/>
                    </a:moveTo>
                    <a:cubicBezTo>
                      <a:pt x="668" y="28"/>
                      <a:pt x="639" y="36"/>
                      <a:pt x="610" y="45"/>
                    </a:cubicBezTo>
                    <a:moveTo>
                      <a:pt x="699" y="22"/>
                    </a:moveTo>
                    <a:cubicBezTo>
                      <a:pt x="703" y="22"/>
                      <a:pt x="699" y="19"/>
                      <a:pt x="699" y="22"/>
                    </a:cubicBezTo>
                    <a:moveTo>
                      <a:pt x="720" y="22"/>
                    </a:moveTo>
                    <a:cubicBezTo>
                      <a:pt x="713" y="23"/>
                      <a:pt x="705" y="22"/>
                      <a:pt x="702" y="26"/>
                    </a:cubicBezTo>
                    <a:cubicBezTo>
                      <a:pt x="708" y="25"/>
                      <a:pt x="714" y="24"/>
                      <a:pt x="720" y="22"/>
                    </a:cubicBezTo>
                    <a:moveTo>
                      <a:pt x="720" y="22"/>
                    </a:moveTo>
                    <a:cubicBezTo>
                      <a:pt x="725" y="23"/>
                      <a:pt x="721" y="19"/>
                      <a:pt x="720" y="22"/>
                    </a:cubicBezTo>
                    <a:moveTo>
                      <a:pt x="690" y="43"/>
                    </a:moveTo>
                    <a:cubicBezTo>
                      <a:pt x="689" y="43"/>
                      <a:pt x="690" y="44"/>
                      <a:pt x="690" y="43"/>
                    </a:cubicBezTo>
                    <a:moveTo>
                      <a:pt x="690" y="43"/>
                    </a:moveTo>
                    <a:cubicBezTo>
                      <a:pt x="705" y="35"/>
                      <a:pt x="721" y="28"/>
                      <a:pt x="737" y="21"/>
                    </a:cubicBezTo>
                    <a:cubicBezTo>
                      <a:pt x="720" y="26"/>
                      <a:pt x="695" y="25"/>
                      <a:pt x="690" y="43"/>
                    </a:cubicBezTo>
                    <a:moveTo>
                      <a:pt x="812" y="81"/>
                    </a:moveTo>
                    <a:cubicBezTo>
                      <a:pt x="830" y="82"/>
                      <a:pt x="849" y="82"/>
                      <a:pt x="867" y="83"/>
                    </a:cubicBezTo>
                    <a:cubicBezTo>
                      <a:pt x="844" y="58"/>
                      <a:pt x="811" y="35"/>
                      <a:pt x="774" y="21"/>
                    </a:cubicBezTo>
                    <a:cubicBezTo>
                      <a:pt x="788" y="40"/>
                      <a:pt x="803" y="58"/>
                      <a:pt x="812" y="81"/>
                    </a:cubicBezTo>
                    <a:close/>
                    <a:moveTo>
                      <a:pt x="852" y="66"/>
                    </a:moveTo>
                    <a:cubicBezTo>
                      <a:pt x="863" y="75"/>
                      <a:pt x="870" y="86"/>
                      <a:pt x="887" y="84"/>
                    </a:cubicBezTo>
                    <a:cubicBezTo>
                      <a:pt x="882" y="71"/>
                      <a:pt x="874" y="61"/>
                      <a:pt x="867" y="49"/>
                    </a:cubicBezTo>
                    <a:cubicBezTo>
                      <a:pt x="840" y="39"/>
                      <a:pt x="812" y="26"/>
                      <a:pt x="783" y="22"/>
                    </a:cubicBezTo>
                    <a:cubicBezTo>
                      <a:pt x="810" y="32"/>
                      <a:pt x="831" y="48"/>
                      <a:pt x="852" y="66"/>
                    </a:cubicBezTo>
                    <a:close/>
                    <a:moveTo>
                      <a:pt x="799" y="22"/>
                    </a:moveTo>
                    <a:cubicBezTo>
                      <a:pt x="821" y="29"/>
                      <a:pt x="844" y="36"/>
                      <a:pt x="863" y="46"/>
                    </a:cubicBezTo>
                    <a:cubicBezTo>
                      <a:pt x="854" y="26"/>
                      <a:pt x="823" y="27"/>
                      <a:pt x="799" y="22"/>
                    </a:cubicBezTo>
                    <a:moveTo>
                      <a:pt x="799" y="22"/>
                    </a:moveTo>
                    <a:cubicBezTo>
                      <a:pt x="797" y="19"/>
                      <a:pt x="793" y="23"/>
                      <a:pt x="799" y="22"/>
                    </a:cubicBezTo>
                    <a:moveTo>
                      <a:pt x="817" y="21"/>
                    </a:moveTo>
                    <a:cubicBezTo>
                      <a:pt x="811" y="19"/>
                      <a:pt x="815" y="24"/>
                      <a:pt x="817" y="21"/>
                    </a:cubicBezTo>
                    <a:close/>
                    <a:moveTo>
                      <a:pt x="928" y="41"/>
                    </a:moveTo>
                    <a:cubicBezTo>
                      <a:pt x="928" y="44"/>
                      <a:pt x="932" y="40"/>
                      <a:pt x="928" y="41"/>
                    </a:cubicBezTo>
                    <a:moveTo>
                      <a:pt x="928" y="41"/>
                    </a:moveTo>
                    <a:cubicBezTo>
                      <a:pt x="909" y="25"/>
                      <a:pt x="871" y="25"/>
                      <a:pt x="844" y="22"/>
                    </a:cubicBezTo>
                    <a:cubicBezTo>
                      <a:pt x="872" y="28"/>
                      <a:pt x="901" y="33"/>
                      <a:pt x="928" y="41"/>
                    </a:cubicBezTo>
                    <a:moveTo>
                      <a:pt x="901" y="21"/>
                    </a:moveTo>
                    <a:cubicBezTo>
                      <a:pt x="900" y="21"/>
                      <a:pt x="899" y="21"/>
                      <a:pt x="899" y="22"/>
                    </a:cubicBezTo>
                    <a:cubicBezTo>
                      <a:pt x="900" y="21"/>
                      <a:pt x="901" y="22"/>
                      <a:pt x="901" y="21"/>
                    </a:cubicBezTo>
                    <a:close/>
                    <a:moveTo>
                      <a:pt x="847" y="28"/>
                    </a:moveTo>
                    <a:cubicBezTo>
                      <a:pt x="848" y="30"/>
                      <a:pt x="849" y="28"/>
                      <a:pt x="847" y="28"/>
                    </a:cubicBezTo>
                    <a:moveTo>
                      <a:pt x="847" y="28"/>
                    </a:moveTo>
                    <a:cubicBezTo>
                      <a:pt x="842" y="22"/>
                      <a:pt x="827" y="22"/>
                      <a:pt x="818" y="23"/>
                    </a:cubicBezTo>
                    <a:cubicBezTo>
                      <a:pt x="829" y="23"/>
                      <a:pt x="837" y="27"/>
                      <a:pt x="847" y="28"/>
                    </a:cubicBezTo>
                    <a:moveTo>
                      <a:pt x="909" y="22"/>
                    </a:moveTo>
                    <a:cubicBezTo>
                      <a:pt x="904" y="21"/>
                      <a:pt x="908" y="24"/>
                      <a:pt x="909" y="22"/>
                    </a:cubicBezTo>
                    <a:close/>
                    <a:moveTo>
                      <a:pt x="916" y="23"/>
                    </a:moveTo>
                    <a:cubicBezTo>
                      <a:pt x="914" y="23"/>
                      <a:pt x="913" y="22"/>
                      <a:pt x="913" y="23"/>
                    </a:cubicBezTo>
                    <a:cubicBezTo>
                      <a:pt x="914" y="23"/>
                      <a:pt x="915" y="24"/>
                      <a:pt x="916" y="23"/>
                    </a:cubicBezTo>
                    <a:close/>
                    <a:moveTo>
                      <a:pt x="922" y="24"/>
                    </a:moveTo>
                    <a:cubicBezTo>
                      <a:pt x="922" y="25"/>
                      <a:pt x="922" y="25"/>
                      <a:pt x="922" y="25"/>
                    </a:cubicBezTo>
                    <a:cubicBezTo>
                      <a:pt x="927" y="25"/>
                      <a:pt x="928" y="27"/>
                      <a:pt x="932" y="26"/>
                    </a:cubicBezTo>
                    <a:moveTo>
                      <a:pt x="932" y="26"/>
                    </a:moveTo>
                    <a:cubicBezTo>
                      <a:pt x="934" y="29"/>
                      <a:pt x="938" y="25"/>
                      <a:pt x="932" y="26"/>
                    </a:cubicBezTo>
                    <a:moveTo>
                      <a:pt x="932" y="26"/>
                    </a:moveTo>
                    <a:cubicBezTo>
                      <a:pt x="932" y="26"/>
                      <a:pt x="932" y="26"/>
                      <a:pt x="932" y="25"/>
                    </a:cubicBezTo>
                    <a:cubicBezTo>
                      <a:pt x="928" y="26"/>
                      <a:pt x="927" y="24"/>
                      <a:pt x="922" y="24"/>
                    </a:cubicBezTo>
                    <a:moveTo>
                      <a:pt x="922" y="24"/>
                    </a:moveTo>
                    <a:cubicBezTo>
                      <a:pt x="919" y="22"/>
                      <a:pt x="915" y="26"/>
                      <a:pt x="922" y="24"/>
                    </a:cubicBezTo>
                    <a:moveTo>
                      <a:pt x="907" y="25"/>
                    </a:moveTo>
                    <a:cubicBezTo>
                      <a:pt x="907" y="26"/>
                      <a:pt x="907" y="26"/>
                      <a:pt x="907" y="26"/>
                    </a:cubicBezTo>
                    <a:cubicBezTo>
                      <a:pt x="934" y="34"/>
                      <a:pt x="965" y="42"/>
                      <a:pt x="990" y="47"/>
                    </a:cubicBezTo>
                    <a:cubicBezTo>
                      <a:pt x="967" y="36"/>
                      <a:pt x="938" y="29"/>
                      <a:pt x="907" y="25"/>
                    </a:cubicBezTo>
                    <a:moveTo>
                      <a:pt x="907" y="25"/>
                    </a:moveTo>
                    <a:cubicBezTo>
                      <a:pt x="907" y="23"/>
                      <a:pt x="903" y="26"/>
                      <a:pt x="907" y="25"/>
                    </a:cubicBezTo>
                    <a:moveTo>
                      <a:pt x="602" y="50"/>
                    </a:moveTo>
                    <a:cubicBezTo>
                      <a:pt x="598" y="55"/>
                      <a:pt x="592" y="59"/>
                      <a:pt x="587" y="64"/>
                    </a:cubicBezTo>
                    <a:cubicBezTo>
                      <a:pt x="583" y="68"/>
                      <a:pt x="576" y="75"/>
                      <a:pt x="577" y="78"/>
                    </a:cubicBezTo>
                    <a:cubicBezTo>
                      <a:pt x="587" y="77"/>
                      <a:pt x="597" y="71"/>
                      <a:pt x="606" y="66"/>
                    </a:cubicBezTo>
                    <a:cubicBezTo>
                      <a:pt x="631" y="53"/>
                      <a:pt x="656" y="41"/>
                      <a:pt x="683" y="32"/>
                    </a:cubicBezTo>
                    <a:cubicBezTo>
                      <a:pt x="687" y="31"/>
                      <a:pt x="696" y="31"/>
                      <a:pt x="695" y="25"/>
                    </a:cubicBezTo>
                    <a:cubicBezTo>
                      <a:pt x="662" y="32"/>
                      <a:pt x="632" y="41"/>
                      <a:pt x="602" y="50"/>
                    </a:cubicBezTo>
                    <a:close/>
                    <a:moveTo>
                      <a:pt x="530" y="58"/>
                    </a:moveTo>
                    <a:cubicBezTo>
                      <a:pt x="526" y="57"/>
                      <a:pt x="529" y="61"/>
                      <a:pt x="530" y="58"/>
                    </a:cubicBezTo>
                    <a:moveTo>
                      <a:pt x="530" y="58"/>
                    </a:moveTo>
                    <a:cubicBezTo>
                      <a:pt x="546" y="53"/>
                      <a:pt x="563" y="47"/>
                      <a:pt x="581" y="42"/>
                    </a:cubicBezTo>
                    <a:cubicBezTo>
                      <a:pt x="598" y="37"/>
                      <a:pt x="617" y="35"/>
                      <a:pt x="631" y="26"/>
                    </a:cubicBezTo>
                    <a:cubicBezTo>
                      <a:pt x="593" y="33"/>
                      <a:pt x="554" y="38"/>
                      <a:pt x="530" y="58"/>
                    </a:cubicBezTo>
                    <a:moveTo>
                      <a:pt x="969" y="73"/>
                    </a:moveTo>
                    <a:cubicBezTo>
                      <a:pt x="947" y="41"/>
                      <a:pt x="895" y="34"/>
                      <a:pt x="850" y="27"/>
                    </a:cubicBezTo>
                    <a:cubicBezTo>
                      <a:pt x="890" y="42"/>
                      <a:pt x="933" y="54"/>
                      <a:pt x="969" y="73"/>
                    </a:cubicBezTo>
                    <a:close/>
                    <a:moveTo>
                      <a:pt x="939" y="27"/>
                    </a:moveTo>
                    <a:cubicBezTo>
                      <a:pt x="938" y="28"/>
                      <a:pt x="937" y="27"/>
                      <a:pt x="937" y="28"/>
                    </a:cubicBezTo>
                    <a:cubicBezTo>
                      <a:pt x="937" y="28"/>
                      <a:pt x="939" y="28"/>
                      <a:pt x="939" y="27"/>
                    </a:cubicBezTo>
                    <a:close/>
                    <a:moveTo>
                      <a:pt x="574" y="32"/>
                    </a:moveTo>
                    <a:cubicBezTo>
                      <a:pt x="574" y="33"/>
                      <a:pt x="573" y="32"/>
                      <a:pt x="574" y="32"/>
                    </a:cubicBezTo>
                    <a:close/>
                    <a:moveTo>
                      <a:pt x="781" y="81"/>
                    </a:moveTo>
                    <a:cubicBezTo>
                      <a:pt x="790" y="80"/>
                      <a:pt x="801" y="82"/>
                      <a:pt x="808" y="80"/>
                    </a:cubicBezTo>
                    <a:cubicBezTo>
                      <a:pt x="798" y="63"/>
                      <a:pt x="789" y="45"/>
                      <a:pt x="776" y="31"/>
                    </a:cubicBezTo>
                    <a:cubicBezTo>
                      <a:pt x="778" y="48"/>
                      <a:pt x="779" y="65"/>
                      <a:pt x="781" y="81"/>
                    </a:cubicBezTo>
                    <a:close/>
                    <a:moveTo>
                      <a:pt x="526" y="47"/>
                    </a:moveTo>
                    <a:cubicBezTo>
                      <a:pt x="524" y="48"/>
                      <a:pt x="526" y="49"/>
                      <a:pt x="526" y="47"/>
                    </a:cubicBezTo>
                    <a:moveTo>
                      <a:pt x="526" y="47"/>
                    </a:moveTo>
                    <a:cubicBezTo>
                      <a:pt x="543" y="43"/>
                      <a:pt x="560" y="40"/>
                      <a:pt x="573" y="32"/>
                    </a:cubicBezTo>
                    <a:cubicBezTo>
                      <a:pt x="557" y="37"/>
                      <a:pt x="537" y="38"/>
                      <a:pt x="526" y="47"/>
                    </a:cubicBezTo>
                    <a:moveTo>
                      <a:pt x="963" y="32"/>
                    </a:moveTo>
                    <a:cubicBezTo>
                      <a:pt x="962" y="32"/>
                      <a:pt x="961" y="32"/>
                      <a:pt x="961" y="33"/>
                    </a:cubicBezTo>
                    <a:cubicBezTo>
                      <a:pt x="961" y="33"/>
                      <a:pt x="963" y="33"/>
                      <a:pt x="963" y="32"/>
                    </a:cubicBezTo>
                    <a:close/>
                    <a:moveTo>
                      <a:pt x="585" y="80"/>
                    </a:moveTo>
                    <a:cubicBezTo>
                      <a:pt x="601" y="82"/>
                      <a:pt x="616" y="87"/>
                      <a:pt x="632" y="84"/>
                    </a:cubicBezTo>
                    <a:cubicBezTo>
                      <a:pt x="648" y="70"/>
                      <a:pt x="665" y="58"/>
                      <a:pt x="683" y="47"/>
                    </a:cubicBezTo>
                    <a:cubicBezTo>
                      <a:pt x="683" y="42"/>
                      <a:pt x="693" y="36"/>
                      <a:pt x="689" y="33"/>
                    </a:cubicBezTo>
                    <a:cubicBezTo>
                      <a:pt x="652" y="46"/>
                      <a:pt x="617" y="61"/>
                      <a:pt x="585" y="80"/>
                    </a:cubicBezTo>
                    <a:close/>
                    <a:moveTo>
                      <a:pt x="966" y="34"/>
                    </a:moveTo>
                    <a:cubicBezTo>
                      <a:pt x="968" y="37"/>
                      <a:pt x="972" y="33"/>
                      <a:pt x="966" y="34"/>
                    </a:cubicBezTo>
                    <a:moveTo>
                      <a:pt x="966" y="34"/>
                    </a:moveTo>
                    <a:cubicBezTo>
                      <a:pt x="965" y="31"/>
                      <a:pt x="961" y="35"/>
                      <a:pt x="966" y="34"/>
                    </a:cubicBezTo>
                    <a:moveTo>
                      <a:pt x="575" y="35"/>
                    </a:moveTo>
                    <a:cubicBezTo>
                      <a:pt x="574" y="35"/>
                      <a:pt x="575" y="36"/>
                      <a:pt x="575" y="35"/>
                    </a:cubicBezTo>
                    <a:close/>
                    <a:moveTo>
                      <a:pt x="859" y="35"/>
                    </a:moveTo>
                    <a:cubicBezTo>
                      <a:pt x="861" y="40"/>
                      <a:pt x="866" y="43"/>
                      <a:pt x="869" y="48"/>
                    </a:cubicBezTo>
                    <a:cubicBezTo>
                      <a:pt x="878" y="53"/>
                      <a:pt x="889" y="57"/>
                      <a:pt x="900" y="64"/>
                    </a:cubicBezTo>
                    <a:cubicBezTo>
                      <a:pt x="909" y="69"/>
                      <a:pt x="921" y="80"/>
                      <a:pt x="930" y="81"/>
                    </a:cubicBezTo>
                    <a:cubicBezTo>
                      <a:pt x="940" y="82"/>
                      <a:pt x="953" y="76"/>
                      <a:pt x="965" y="73"/>
                    </a:cubicBezTo>
                    <a:cubicBezTo>
                      <a:pt x="931" y="59"/>
                      <a:pt x="898" y="44"/>
                      <a:pt x="859" y="35"/>
                    </a:cubicBezTo>
                    <a:moveTo>
                      <a:pt x="859" y="35"/>
                    </a:moveTo>
                    <a:cubicBezTo>
                      <a:pt x="858" y="34"/>
                      <a:pt x="858" y="35"/>
                      <a:pt x="859" y="35"/>
                    </a:cubicBezTo>
                    <a:moveTo>
                      <a:pt x="993" y="63"/>
                    </a:moveTo>
                    <a:cubicBezTo>
                      <a:pt x="997" y="61"/>
                      <a:pt x="1000" y="59"/>
                      <a:pt x="1001" y="55"/>
                    </a:cubicBezTo>
                    <a:cubicBezTo>
                      <a:pt x="977" y="47"/>
                      <a:pt x="949" y="38"/>
                      <a:pt x="924" y="35"/>
                    </a:cubicBezTo>
                    <a:cubicBezTo>
                      <a:pt x="943" y="48"/>
                      <a:pt x="970" y="54"/>
                      <a:pt x="993" y="63"/>
                    </a:cubicBezTo>
                    <a:close/>
                    <a:moveTo>
                      <a:pt x="973" y="35"/>
                    </a:moveTo>
                    <a:cubicBezTo>
                      <a:pt x="972" y="35"/>
                      <a:pt x="970" y="35"/>
                      <a:pt x="970" y="36"/>
                    </a:cubicBezTo>
                    <a:cubicBezTo>
                      <a:pt x="971" y="36"/>
                      <a:pt x="973" y="36"/>
                      <a:pt x="973" y="35"/>
                    </a:cubicBezTo>
                    <a:close/>
                    <a:moveTo>
                      <a:pt x="530" y="61"/>
                    </a:moveTo>
                    <a:cubicBezTo>
                      <a:pt x="542" y="76"/>
                      <a:pt x="556" y="66"/>
                      <a:pt x="573" y="59"/>
                    </a:cubicBezTo>
                    <a:cubicBezTo>
                      <a:pt x="588" y="53"/>
                      <a:pt x="599" y="49"/>
                      <a:pt x="608" y="42"/>
                    </a:cubicBezTo>
                    <a:cubicBezTo>
                      <a:pt x="611" y="39"/>
                      <a:pt x="617" y="37"/>
                      <a:pt x="614" y="36"/>
                    </a:cubicBezTo>
                    <a:cubicBezTo>
                      <a:pt x="585" y="43"/>
                      <a:pt x="557" y="52"/>
                      <a:pt x="530" y="61"/>
                    </a:cubicBezTo>
                    <a:close/>
                    <a:moveTo>
                      <a:pt x="976" y="36"/>
                    </a:moveTo>
                    <a:cubicBezTo>
                      <a:pt x="975" y="36"/>
                      <a:pt x="974" y="36"/>
                      <a:pt x="974" y="37"/>
                    </a:cubicBezTo>
                    <a:cubicBezTo>
                      <a:pt x="975" y="37"/>
                      <a:pt x="976" y="37"/>
                      <a:pt x="976" y="36"/>
                    </a:cubicBezTo>
                    <a:close/>
                    <a:moveTo>
                      <a:pt x="978" y="38"/>
                    </a:moveTo>
                    <a:cubicBezTo>
                      <a:pt x="978" y="37"/>
                      <a:pt x="979" y="39"/>
                      <a:pt x="978" y="38"/>
                    </a:cubicBezTo>
                    <a:close/>
                    <a:moveTo>
                      <a:pt x="982" y="39"/>
                    </a:moveTo>
                    <a:cubicBezTo>
                      <a:pt x="981" y="38"/>
                      <a:pt x="982" y="39"/>
                      <a:pt x="982" y="39"/>
                    </a:cubicBezTo>
                    <a:close/>
                    <a:moveTo>
                      <a:pt x="931" y="43"/>
                    </a:moveTo>
                    <a:cubicBezTo>
                      <a:pt x="931" y="42"/>
                      <a:pt x="932" y="43"/>
                      <a:pt x="931" y="43"/>
                    </a:cubicBezTo>
                    <a:close/>
                    <a:moveTo>
                      <a:pt x="985" y="43"/>
                    </a:moveTo>
                    <a:cubicBezTo>
                      <a:pt x="984" y="42"/>
                      <a:pt x="985" y="43"/>
                      <a:pt x="985" y="43"/>
                    </a:cubicBezTo>
                    <a:close/>
                    <a:moveTo>
                      <a:pt x="1000" y="48"/>
                    </a:moveTo>
                    <a:cubicBezTo>
                      <a:pt x="997" y="46"/>
                      <a:pt x="991" y="42"/>
                      <a:pt x="987" y="44"/>
                    </a:cubicBezTo>
                    <a:cubicBezTo>
                      <a:pt x="992" y="44"/>
                      <a:pt x="996" y="50"/>
                      <a:pt x="1000" y="48"/>
                    </a:cubicBezTo>
                    <a:close/>
                    <a:moveTo>
                      <a:pt x="489" y="60"/>
                    </a:moveTo>
                    <a:cubicBezTo>
                      <a:pt x="488" y="60"/>
                      <a:pt x="487" y="60"/>
                      <a:pt x="486" y="61"/>
                    </a:cubicBezTo>
                    <a:moveTo>
                      <a:pt x="486" y="61"/>
                    </a:moveTo>
                    <a:cubicBezTo>
                      <a:pt x="485" y="61"/>
                      <a:pt x="485" y="61"/>
                      <a:pt x="485" y="62"/>
                    </a:cubicBezTo>
                    <a:moveTo>
                      <a:pt x="485" y="62"/>
                    </a:moveTo>
                    <a:cubicBezTo>
                      <a:pt x="481" y="61"/>
                      <a:pt x="484" y="65"/>
                      <a:pt x="485" y="62"/>
                    </a:cubicBezTo>
                    <a:moveTo>
                      <a:pt x="485" y="62"/>
                    </a:moveTo>
                    <a:cubicBezTo>
                      <a:pt x="486" y="62"/>
                      <a:pt x="486" y="62"/>
                      <a:pt x="486" y="61"/>
                    </a:cubicBezTo>
                    <a:moveTo>
                      <a:pt x="486" y="61"/>
                    </a:moveTo>
                    <a:cubicBezTo>
                      <a:pt x="488" y="61"/>
                      <a:pt x="489" y="61"/>
                      <a:pt x="489" y="60"/>
                    </a:cubicBezTo>
                    <a:moveTo>
                      <a:pt x="489" y="60"/>
                    </a:moveTo>
                    <a:cubicBezTo>
                      <a:pt x="500" y="55"/>
                      <a:pt x="516" y="55"/>
                      <a:pt x="523" y="46"/>
                    </a:cubicBezTo>
                    <a:cubicBezTo>
                      <a:pt x="511" y="50"/>
                      <a:pt x="500" y="54"/>
                      <a:pt x="489" y="60"/>
                    </a:cubicBezTo>
                    <a:moveTo>
                      <a:pt x="542" y="47"/>
                    </a:moveTo>
                    <a:cubicBezTo>
                      <a:pt x="535" y="47"/>
                      <a:pt x="530" y="50"/>
                      <a:pt x="523" y="51"/>
                    </a:cubicBezTo>
                    <a:cubicBezTo>
                      <a:pt x="523" y="54"/>
                      <a:pt x="523" y="56"/>
                      <a:pt x="524" y="57"/>
                    </a:cubicBezTo>
                    <a:cubicBezTo>
                      <a:pt x="531" y="55"/>
                      <a:pt x="537" y="50"/>
                      <a:pt x="542" y="47"/>
                    </a:cubicBezTo>
                    <a:moveTo>
                      <a:pt x="542" y="47"/>
                    </a:moveTo>
                    <a:cubicBezTo>
                      <a:pt x="546" y="47"/>
                      <a:pt x="542" y="44"/>
                      <a:pt x="542" y="47"/>
                    </a:cubicBezTo>
                    <a:moveTo>
                      <a:pt x="1113" y="98"/>
                    </a:moveTo>
                    <a:cubicBezTo>
                      <a:pt x="1113" y="99"/>
                      <a:pt x="1115" y="99"/>
                      <a:pt x="1115" y="99"/>
                    </a:cubicBezTo>
                    <a:moveTo>
                      <a:pt x="1115" y="99"/>
                    </a:moveTo>
                    <a:cubicBezTo>
                      <a:pt x="1116" y="101"/>
                      <a:pt x="1116" y="99"/>
                      <a:pt x="1115" y="99"/>
                    </a:cubicBezTo>
                    <a:moveTo>
                      <a:pt x="1115" y="99"/>
                    </a:moveTo>
                    <a:cubicBezTo>
                      <a:pt x="1115" y="98"/>
                      <a:pt x="1114" y="99"/>
                      <a:pt x="1113" y="98"/>
                    </a:cubicBezTo>
                    <a:moveTo>
                      <a:pt x="1113" y="98"/>
                    </a:moveTo>
                    <a:cubicBezTo>
                      <a:pt x="1081" y="77"/>
                      <a:pt x="1043" y="57"/>
                      <a:pt x="1002" y="48"/>
                    </a:cubicBezTo>
                    <a:cubicBezTo>
                      <a:pt x="1008" y="57"/>
                      <a:pt x="1020" y="58"/>
                      <a:pt x="1029" y="62"/>
                    </a:cubicBezTo>
                    <a:cubicBezTo>
                      <a:pt x="1057" y="72"/>
                      <a:pt x="1086" y="86"/>
                      <a:pt x="1113" y="98"/>
                    </a:cubicBezTo>
                    <a:moveTo>
                      <a:pt x="991" y="49"/>
                    </a:moveTo>
                    <a:cubicBezTo>
                      <a:pt x="991" y="49"/>
                      <a:pt x="992" y="50"/>
                      <a:pt x="991" y="49"/>
                    </a:cubicBezTo>
                    <a:close/>
                    <a:moveTo>
                      <a:pt x="948" y="50"/>
                    </a:moveTo>
                    <a:cubicBezTo>
                      <a:pt x="957" y="57"/>
                      <a:pt x="965" y="65"/>
                      <a:pt x="974" y="71"/>
                    </a:cubicBezTo>
                    <a:cubicBezTo>
                      <a:pt x="979" y="69"/>
                      <a:pt x="987" y="69"/>
                      <a:pt x="990" y="64"/>
                    </a:cubicBezTo>
                    <a:cubicBezTo>
                      <a:pt x="975" y="60"/>
                      <a:pt x="963" y="54"/>
                      <a:pt x="948" y="50"/>
                    </a:cubicBezTo>
                    <a:moveTo>
                      <a:pt x="948" y="50"/>
                    </a:moveTo>
                    <a:cubicBezTo>
                      <a:pt x="948" y="49"/>
                      <a:pt x="947" y="50"/>
                      <a:pt x="948" y="50"/>
                    </a:cubicBezTo>
                    <a:moveTo>
                      <a:pt x="399" y="114"/>
                    </a:moveTo>
                    <a:cubicBezTo>
                      <a:pt x="405" y="112"/>
                      <a:pt x="411" y="111"/>
                      <a:pt x="416" y="110"/>
                    </a:cubicBezTo>
                    <a:cubicBezTo>
                      <a:pt x="433" y="101"/>
                      <a:pt x="450" y="91"/>
                      <a:pt x="468" y="83"/>
                    </a:cubicBezTo>
                    <a:cubicBezTo>
                      <a:pt x="486" y="75"/>
                      <a:pt x="506" y="70"/>
                      <a:pt x="522" y="58"/>
                    </a:cubicBezTo>
                    <a:cubicBezTo>
                      <a:pt x="520" y="58"/>
                      <a:pt x="520" y="56"/>
                      <a:pt x="520" y="53"/>
                    </a:cubicBezTo>
                    <a:cubicBezTo>
                      <a:pt x="473" y="66"/>
                      <a:pt x="432" y="86"/>
                      <a:pt x="399" y="114"/>
                    </a:cubicBezTo>
                    <a:close/>
                    <a:moveTo>
                      <a:pt x="593" y="54"/>
                    </a:moveTo>
                    <a:cubicBezTo>
                      <a:pt x="578" y="59"/>
                      <a:pt x="564" y="65"/>
                      <a:pt x="550" y="71"/>
                    </a:cubicBezTo>
                    <a:cubicBezTo>
                      <a:pt x="556" y="74"/>
                      <a:pt x="564" y="75"/>
                      <a:pt x="570" y="77"/>
                    </a:cubicBezTo>
                    <a:cubicBezTo>
                      <a:pt x="579" y="71"/>
                      <a:pt x="585" y="62"/>
                      <a:pt x="593" y="54"/>
                    </a:cubicBezTo>
                    <a:moveTo>
                      <a:pt x="593" y="54"/>
                    </a:moveTo>
                    <a:cubicBezTo>
                      <a:pt x="594" y="54"/>
                      <a:pt x="593" y="53"/>
                      <a:pt x="593" y="54"/>
                    </a:cubicBezTo>
                    <a:moveTo>
                      <a:pt x="637" y="84"/>
                    </a:moveTo>
                    <a:cubicBezTo>
                      <a:pt x="647" y="83"/>
                      <a:pt x="659" y="84"/>
                      <a:pt x="668" y="82"/>
                    </a:cubicBezTo>
                    <a:cubicBezTo>
                      <a:pt x="669" y="72"/>
                      <a:pt x="679" y="60"/>
                      <a:pt x="678" y="53"/>
                    </a:cubicBezTo>
                    <a:cubicBezTo>
                      <a:pt x="664" y="64"/>
                      <a:pt x="649" y="72"/>
                      <a:pt x="637" y="84"/>
                    </a:cubicBezTo>
                    <a:close/>
                    <a:moveTo>
                      <a:pt x="890" y="84"/>
                    </a:moveTo>
                    <a:cubicBezTo>
                      <a:pt x="901" y="85"/>
                      <a:pt x="916" y="86"/>
                      <a:pt x="924" y="81"/>
                    </a:cubicBezTo>
                    <a:cubicBezTo>
                      <a:pt x="907" y="73"/>
                      <a:pt x="890" y="59"/>
                      <a:pt x="872" y="54"/>
                    </a:cubicBezTo>
                    <a:cubicBezTo>
                      <a:pt x="879" y="63"/>
                      <a:pt x="885" y="73"/>
                      <a:pt x="890" y="84"/>
                    </a:cubicBezTo>
                    <a:close/>
                    <a:moveTo>
                      <a:pt x="1063" y="94"/>
                    </a:moveTo>
                    <a:cubicBezTo>
                      <a:pt x="1063" y="94"/>
                      <a:pt x="1063" y="94"/>
                      <a:pt x="1063" y="95"/>
                    </a:cubicBezTo>
                    <a:cubicBezTo>
                      <a:pt x="1064" y="95"/>
                      <a:pt x="1065" y="96"/>
                      <a:pt x="1066" y="95"/>
                    </a:cubicBezTo>
                    <a:moveTo>
                      <a:pt x="1066" y="95"/>
                    </a:moveTo>
                    <a:cubicBezTo>
                      <a:pt x="1067" y="97"/>
                      <a:pt x="1067" y="95"/>
                      <a:pt x="1066" y="95"/>
                    </a:cubicBezTo>
                    <a:moveTo>
                      <a:pt x="1066" y="95"/>
                    </a:moveTo>
                    <a:cubicBezTo>
                      <a:pt x="1066" y="94"/>
                      <a:pt x="1065" y="94"/>
                      <a:pt x="1063" y="94"/>
                    </a:cubicBezTo>
                    <a:moveTo>
                      <a:pt x="1063" y="94"/>
                    </a:moveTo>
                    <a:cubicBezTo>
                      <a:pt x="1046" y="79"/>
                      <a:pt x="1027" y="67"/>
                      <a:pt x="1006" y="56"/>
                    </a:cubicBezTo>
                    <a:cubicBezTo>
                      <a:pt x="1001" y="58"/>
                      <a:pt x="1000" y="63"/>
                      <a:pt x="996" y="65"/>
                    </a:cubicBezTo>
                    <a:cubicBezTo>
                      <a:pt x="1020" y="73"/>
                      <a:pt x="1041" y="84"/>
                      <a:pt x="1063" y="94"/>
                    </a:cubicBezTo>
                    <a:moveTo>
                      <a:pt x="482" y="60"/>
                    </a:moveTo>
                    <a:cubicBezTo>
                      <a:pt x="482" y="61"/>
                      <a:pt x="481" y="60"/>
                      <a:pt x="482" y="60"/>
                    </a:cubicBezTo>
                    <a:close/>
                    <a:moveTo>
                      <a:pt x="526" y="60"/>
                    </a:moveTo>
                    <a:cubicBezTo>
                      <a:pt x="526" y="61"/>
                      <a:pt x="525" y="60"/>
                      <a:pt x="526" y="60"/>
                    </a:cubicBezTo>
                    <a:close/>
                    <a:moveTo>
                      <a:pt x="479" y="61"/>
                    </a:moveTo>
                    <a:cubicBezTo>
                      <a:pt x="478" y="61"/>
                      <a:pt x="477" y="61"/>
                      <a:pt x="477" y="62"/>
                    </a:cubicBezTo>
                    <a:moveTo>
                      <a:pt x="477" y="62"/>
                    </a:moveTo>
                    <a:cubicBezTo>
                      <a:pt x="441" y="76"/>
                      <a:pt x="407" y="92"/>
                      <a:pt x="377" y="112"/>
                    </a:cubicBezTo>
                    <a:moveTo>
                      <a:pt x="377" y="112"/>
                    </a:moveTo>
                    <a:cubicBezTo>
                      <a:pt x="375" y="112"/>
                      <a:pt x="375" y="113"/>
                      <a:pt x="374" y="114"/>
                    </a:cubicBezTo>
                    <a:moveTo>
                      <a:pt x="374" y="114"/>
                    </a:moveTo>
                    <a:cubicBezTo>
                      <a:pt x="373" y="114"/>
                      <a:pt x="372" y="114"/>
                      <a:pt x="372" y="115"/>
                    </a:cubicBezTo>
                    <a:moveTo>
                      <a:pt x="372" y="115"/>
                    </a:moveTo>
                    <a:cubicBezTo>
                      <a:pt x="371" y="115"/>
                      <a:pt x="371" y="115"/>
                      <a:pt x="370" y="116"/>
                    </a:cubicBezTo>
                    <a:moveTo>
                      <a:pt x="370" y="116"/>
                    </a:moveTo>
                    <a:cubicBezTo>
                      <a:pt x="370" y="115"/>
                      <a:pt x="369" y="116"/>
                      <a:pt x="369" y="117"/>
                    </a:cubicBezTo>
                    <a:moveTo>
                      <a:pt x="369" y="117"/>
                    </a:moveTo>
                    <a:cubicBezTo>
                      <a:pt x="368" y="116"/>
                      <a:pt x="368" y="117"/>
                      <a:pt x="367" y="118"/>
                    </a:cubicBezTo>
                    <a:moveTo>
                      <a:pt x="367" y="118"/>
                    </a:moveTo>
                    <a:cubicBezTo>
                      <a:pt x="366" y="118"/>
                      <a:pt x="368" y="119"/>
                      <a:pt x="367" y="118"/>
                    </a:cubicBezTo>
                    <a:moveTo>
                      <a:pt x="367" y="118"/>
                    </a:moveTo>
                    <a:cubicBezTo>
                      <a:pt x="369" y="118"/>
                      <a:pt x="369" y="117"/>
                      <a:pt x="369" y="117"/>
                    </a:cubicBezTo>
                    <a:moveTo>
                      <a:pt x="369" y="117"/>
                    </a:moveTo>
                    <a:cubicBezTo>
                      <a:pt x="370" y="117"/>
                      <a:pt x="370" y="116"/>
                      <a:pt x="370" y="116"/>
                    </a:cubicBezTo>
                    <a:moveTo>
                      <a:pt x="370" y="116"/>
                    </a:moveTo>
                    <a:cubicBezTo>
                      <a:pt x="371" y="116"/>
                      <a:pt x="372" y="115"/>
                      <a:pt x="372" y="115"/>
                    </a:cubicBezTo>
                    <a:moveTo>
                      <a:pt x="372" y="115"/>
                    </a:moveTo>
                    <a:cubicBezTo>
                      <a:pt x="373" y="115"/>
                      <a:pt x="374" y="114"/>
                      <a:pt x="374" y="114"/>
                    </a:cubicBezTo>
                    <a:moveTo>
                      <a:pt x="374" y="114"/>
                    </a:moveTo>
                    <a:cubicBezTo>
                      <a:pt x="376" y="114"/>
                      <a:pt x="377" y="113"/>
                      <a:pt x="377" y="112"/>
                    </a:cubicBezTo>
                    <a:moveTo>
                      <a:pt x="377" y="112"/>
                    </a:moveTo>
                    <a:cubicBezTo>
                      <a:pt x="409" y="94"/>
                      <a:pt x="445" y="80"/>
                      <a:pt x="477" y="62"/>
                    </a:cubicBezTo>
                    <a:moveTo>
                      <a:pt x="477" y="62"/>
                    </a:moveTo>
                    <a:cubicBezTo>
                      <a:pt x="478" y="62"/>
                      <a:pt x="479" y="62"/>
                      <a:pt x="479" y="61"/>
                    </a:cubicBezTo>
                    <a:moveTo>
                      <a:pt x="479" y="61"/>
                    </a:moveTo>
                    <a:cubicBezTo>
                      <a:pt x="483" y="62"/>
                      <a:pt x="479" y="58"/>
                      <a:pt x="479" y="61"/>
                    </a:cubicBezTo>
                    <a:moveTo>
                      <a:pt x="481" y="64"/>
                    </a:moveTo>
                    <a:cubicBezTo>
                      <a:pt x="480" y="63"/>
                      <a:pt x="481" y="64"/>
                      <a:pt x="481" y="64"/>
                    </a:cubicBezTo>
                    <a:close/>
                    <a:moveTo>
                      <a:pt x="524" y="63"/>
                    </a:moveTo>
                    <a:cubicBezTo>
                      <a:pt x="510" y="69"/>
                      <a:pt x="495" y="80"/>
                      <a:pt x="484" y="90"/>
                    </a:cubicBezTo>
                    <a:cubicBezTo>
                      <a:pt x="480" y="92"/>
                      <a:pt x="475" y="96"/>
                      <a:pt x="476" y="99"/>
                    </a:cubicBezTo>
                    <a:cubicBezTo>
                      <a:pt x="504" y="96"/>
                      <a:pt x="519" y="80"/>
                      <a:pt x="542" y="71"/>
                    </a:cubicBezTo>
                    <a:cubicBezTo>
                      <a:pt x="535" y="69"/>
                      <a:pt x="530" y="65"/>
                      <a:pt x="524" y="63"/>
                    </a:cubicBezTo>
                    <a:close/>
                    <a:moveTo>
                      <a:pt x="479" y="65"/>
                    </a:moveTo>
                    <a:cubicBezTo>
                      <a:pt x="478" y="64"/>
                      <a:pt x="479" y="65"/>
                      <a:pt x="479" y="65"/>
                    </a:cubicBezTo>
                    <a:close/>
                    <a:moveTo>
                      <a:pt x="1028" y="65"/>
                    </a:moveTo>
                    <a:cubicBezTo>
                      <a:pt x="1048" y="78"/>
                      <a:pt x="1066" y="92"/>
                      <a:pt x="1086" y="106"/>
                    </a:cubicBezTo>
                    <a:cubicBezTo>
                      <a:pt x="1106" y="107"/>
                      <a:pt x="1124" y="115"/>
                      <a:pt x="1141" y="117"/>
                    </a:cubicBezTo>
                    <a:cubicBezTo>
                      <a:pt x="1105" y="97"/>
                      <a:pt x="1069" y="79"/>
                      <a:pt x="1028" y="65"/>
                    </a:cubicBezTo>
                    <a:moveTo>
                      <a:pt x="1028" y="65"/>
                    </a:moveTo>
                    <a:cubicBezTo>
                      <a:pt x="1028" y="62"/>
                      <a:pt x="1024" y="66"/>
                      <a:pt x="1028" y="65"/>
                    </a:cubicBezTo>
                    <a:moveTo>
                      <a:pt x="993" y="66"/>
                    </a:moveTo>
                    <a:cubicBezTo>
                      <a:pt x="989" y="70"/>
                      <a:pt x="981" y="71"/>
                      <a:pt x="975" y="74"/>
                    </a:cubicBezTo>
                    <a:cubicBezTo>
                      <a:pt x="984" y="83"/>
                      <a:pt x="999" y="87"/>
                      <a:pt x="1009" y="95"/>
                    </a:cubicBezTo>
                    <a:cubicBezTo>
                      <a:pt x="1032" y="95"/>
                      <a:pt x="1054" y="102"/>
                      <a:pt x="1074" y="102"/>
                    </a:cubicBezTo>
                    <a:cubicBezTo>
                      <a:pt x="1048" y="89"/>
                      <a:pt x="1021" y="77"/>
                      <a:pt x="993" y="66"/>
                    </a:cubicBezTo>
                    <a:close/>
                    <a:moveTo>
                      <a:pt x="504" y="71"/>
                    </a:moveTo>
                    <a:cubicBezTo>
                      <a:pt x="503" y="71"/>
                      <a:pt x="504" y="72"/>
                      <a:pt x="504" y="71"/>
                    </a:cubicBezTo>
                    <a:close/>
                    <a:moveTo>
                      <a:pt x="502" y="72"/>
                    </a:moveTo>
                    <a:cubicBezTo>
                      <a:pt x="476" y="83"/>
                      <a:pt x="450" y="93"/>
                      <a:pt x="428" y="107"/>
                    </a:cubicBezTo>
                    <a:moveTo>
                      <a:pt x="428" y="107"/>
                    </a:moveTo>
                    <a:cubicBezTo>
                      <a:pt x="424" y="106"/>
                      <a:pt x="428" y="110"/>
                      <a:pt x="428" y="107"/>
                    </a:cubicBezTo>
                    <a:moveTo>
                      <a:pt x="428" y="107"/>
                    </a:moveTo>
                    <a:cubicBezTo>
                      <a:pt x="442" y="105"/>
                      <a:pt x="455" y="103"/>
                      <a:pt x="468" y="100"/>
                    </a:cubicBezTo>
                    <a:cubicBezTo>
                      <a:pt x="479" y="91"/>
                      <a:pt x="490" y="82"/>
                      <a:pt x="502" y="72"/>
                    </a:cubicBezTo>
                    <a:moveTo>
                      <a:pt x="502" y="72"/>
                    </a:moveTo>
                    <a:cubicBezTo>
                      <a:pt x="503" y="72"/>
                      <a:pt x="502" y="71"/>
                      <a:pt x="502" y="72"/>
                    </a:cubicBezTo>
                    <a:moveTo>
                      <a:pt x="544" y="73"/>
                    </a:moveTo>
                    <a:cubicBezTo>
                      <a:pt x="530" y="79"/>
                      <a:pt x="513" y="89"/>
                      <a:pt x="501" y="95"/>
                    </a:cubicBezTo>
                    <a:cubicBezTo>
                      <a:pt x="522" y="94"/>
                      <a:pt x="540" y="90"/>
                      <a:pt x="561" y="90"/>
                    </a:cubicBezTo>
                    <a:cubicBezTo>
                      <a:pt x="565" y="87"/>
                      <a:pt x="567" y="83"/>
                      <a:pt x="570" y="79"/>
                    </a:cubicBezTo>
                    <a:cubicBezTo>
                      <a:pt x="561" y="81"/>
                      <a:pt x="551" y="71"/>
                      <a:pt x="544" y="73"/>
                    </a:cubicBezTo>
                    <a:close/>
                    <a:moveTo>
                      <a:pt x="933" y="85"/>
                    </a:moveTo>
                    <a:cubicBezTo>
                      <a:pt x="948" y="90"/>
                      <a:pt x="970" y="89"/>
                      <a:pt x="988" y="92"/>
                    </a:cubicBezTo>
                    <a:cubicBezTo>
                      <a:pt x="981" y="71"/>
                      <a:pt x="952" y="78"/>
                      <a:pt x="933" y="85"/>
                    </a:cubicBezTo>
                    <a:close/>
                    <a:moveTo>
                      <a:pt x="569" y="86"/>
                    </a:moveTo>
                    <a:cubicBezTo>
                      <a:pt x="568" y="86"/>
                      <a:pt x="569" y="87"/>
                      <a:pt x="569" y="86"/>
                    </a:cubicBezTo>
                    <a:moveTo>
                      <a:pt x="569" y="86"/>
                    </a:moveTo>
                    <a:cubicBezTo>
                      <a:pt x="572" y="85"/>
                      <a:pt x="575" y="84"/>
                      <a:pt x="577" y="81"/>
                    </a:cubicBezTo>
                    <a:cubicBezTo>
                      <a:pt x="574" y="81"/>
                      <a:pt x="575" y="79"/>
                      <a:pt x="572" y="80"/>
                    </a:cubicBezTo>
                    <a:cubicBezTo>
                      <a:pt x="572" y="84"/>
                      <a:pt x="569" y="82"/>
                      <a:pt x="569" y="86"/>
                    </a:cubicBezTo>
                    <a:moveTo>
                      <a:pt x="573" y="88"/>
                    </a:moveTo>
                    <a:cubicBezTo>
                      <a:pt x="569" y="87"/>
                      <a:pt x="573" y="91"/>
                      <a:pt x="573" y="88"/>
                    </a:cubicBezTo>
                    <a:moveTo>
                      <a:pt x="573" y="88"/>
                    </a:moveTo>
                    <a:cubicBezTo>
                      <a:pt x="583" y="87"/>
                      <a:pt x="594" y="88"/>
                      <a:pt x="602" y="85"/>
                    </a:cubicBezTo>
                    <a:cubicBezTo>
                      <a:pt x="590" y="84"/>
                      <a:pt x="579" y="79"/>
                      <a:pt x="573" y="88"/>
                    </a:cubicBezTo>
                    <a:moveTo>
                      <a:pt x="1092" y="83"/>
                    </a:moveTo>
                    <a:cubicBezTo>
                      <a:pt x="1092" y="83"/>
                      <a:pt x="1093" y="84"/>
                      <a:pt x="1092" y="83"/>
                    </a:cubicBezTo>
                    <a:close/>
                    <a:moveTo>
                      <a:pt x="695" y="84"/>
                    </a:moveTo>
                    <a:cubicBezTo>
                      <a:pt x="694" y="87"/>
                      <a:pt x="692" y="89"/>
                      <a:pt x="690" y="92"/>
                    </a:cubicBezTo>
                    <a:cubicBezTo>
                      <a:pt x="710" y="92"/>
                      <a:pt x="729" y="93"/>
                      <a:pt x="750" y="93"/>
                    </a:cubicBezTo>
                    <a:cubicBezTo>
                      <a:pt x="750" y="88"/>
                      <a:pt x="752" y="87"/>
                      <a:pt x="751" y="83"/>
                    </a:cubicBezTo>
                    <a:cubicBezTo>
                      <a:pt x="732" y="82"/>
                      <a:pt x="715" y="85"/>
                      <a:pt x="695" y="84"/>
                    </a:cubicBezTo>
                    <a:close/>
                    <a:moveTo>
                      <a:pt x="753" y="94"/>
                    </a:moveTo>
                    <a:cubicBezTo>
                      <a:pt x="763" y="94"/>
                      <a:pt x="770" y="92"/>
                      <a:pt x="779" y="93"/>
                    </a:cubicBezTo>
                    <a:cubicBezTo>
                      <a:pt x="780" y="89"/>
                      <a:pt x="778" y="87"/>
                      <a:pt x="778" y="83"/>
                    </a:cubicBezTo>
                    <a:cubicBezTo>
                      <a:pt x="768" y="84"/>
                      <a:pt x="749" y="77"/>
                      <a:pt x="753" y="94"/>
                    </a:cubicBezTo>
                    <a:close/>
                    <a:moveTo>
                      <a:pt x="781" y="93"/>
                    </a:moveTo>
                    <a:cubicBezTo>
                      <a:pt x="792" y="92"/>
                      <a:pt x="805" y="94"/>
                      <a:pt x="814" y="92"/>
                    </a:cubicBezTo>
                    <a:cubicBezTo>
                      <a:pt x="812" y="90"/>
                      <a:pt x="811" y="87"/>
                      <a:pt x="810" y="84"/>
                    </a:cubicBezTo>
                    <a:cubicBezTo>
                      <a:pt x="800" y="84"/>
                      <a:pt x="792" y="82"/>
                      <a:pt x="781" y="83"/>
                    </a:cubicBezTo>
                    <a:cubicBezTo>
                      <a:pt x="781" y="86"/>
                      <a:pt x="781" y="89"/>
                      <a:pt x="781" y="93"/>
                    </a:cubicBezTo>
                    <a:close/>
                    <a:moveTo>
                      <a:pt x="1094" y="84"/>
                    </a:moveTo>
                    <a:cubicBezTo>
                      <a:pt x="1095" y="85"/>
                      <a:pt x="1094" y="84"/>
                      <a:pt x="1094" y="84"/>
                    </a:cubicBezTo>
                    <a:close/>
                    <a:moveTo>
                      <a:pt x="670" y="85"/>
                    </a:moveTo>
                    <a:cubicBezTo>
                      <a:pt x="671" y="88"/>
                      <a:pt x="668" y="87"/>
                      <a:pt x="669" y="90"/>
                    </a:cubicBezTo>
                    <a:cubicBezTo>
                      <a:pt x="675" y="90"/>
                      <a:pt x="681" y="91"/>
                      <a:pt x="688" y="91"/>
                    </a:cubicBezTo>
                    <a:cubicBezTo>
                      <a:pt x="688" y="88"/>
                      <a:pt x="691" y="86"/>
                      <a:pt x="692" y="84"/>
                    </a:cubicBezTo>
                    <a:cubicBezTo>
                      <a:pt x="685" y="84"/>
                      <a:pt x="678" y="85"/>
                      <a:pt x="670" y="85"/>
                    </a:cubicBezTo>
                    <a:close/>
                    <a:moveTo>
                      <a:pt x="818" y="92"/>
                    </a:moveTo>
                    <a:cubicBezTo>
                      <a:pt x="837" y="91"/>
                      <a:pt x="856" y="90"/>
                      <a:pt x="873" y="88"/>
                    </a:cubicBezTo>
                    <a:cubicBezTo>
                      <a:pt x="858" y="83"/>
                      <a:pt x="832" y="84"/>
                      <a:pt x="814" y="85"/>
                    </a:cubicBezTo>
                    <a:cubicBezTo>
                      <a:pt x="816" y="86"/>
                      <a:pt x="816" y="90"/>
                      <a:pt x="818" y="92"/>
                    </a:cubicBezTo>
                    <a:close/>
                    <a:moveTo>
                      <a:pt x="1096" y="85"/>
                    </a:moveTo>
                    <a:cubicBezTo>
                      <a:pt x="1096" y="85"/>
                      <a:pt x="1097" y="86"/>
                      <a:pt x="1096" y="85"/>
                    </a:cubicBezTo>
                    <a:close/>
                    <a:moveTo>
                      <a:pt x="639" y="88"/>
                    </a:moveTo>
                    <a:cubicBezTo>
                      <a:pt x="648" y="88"/>
                      <a:pt x="656" y="89"/>
                      <a:pt x="665" y="90"/>
                    </a:cubicBezTo>
                    <a:cubicBezTo>
                      <a:pt x="664" y="87"/>
                      <a:pt x="666" y="87"/>
                      <a:pt x="666" y="85"/>
                    </a:cubicBezTo>
                    <a:cubicBezTo>
                      <a:pt x="658" y="87"/>
                      <a:pt x="645" y="84"/>
                      <a:pt x="639" y="88"/>
                    </a:cubicBezTo>
                    <a:close/>
                    <a:moveTo>
                      <a:pt x="931" y="86"/>
                    </a:moveTo>
                    <a:cubicBezTo>
                      <a:pt x="930" y="85"/>
                      <a:pt x="923" y="84"/>
                      <a:pt x="922" y="86"/>
                    </a:cubicBezTo>
                    <a:cubicBezTo>
                      <a:pt x="926" y="85"/>
                      <a:pt x="929" y="89"/>
                      <a:pt x="931" y="86"/>
                    </a:cubicBezTo>
                    <a:close/>
                    <a:moveTo>
                      <a:pt x="988" y="86"/>
                    </a:moveTo>
                    <a:cubicBezTo>
                      <a:pt x="988" y="86"/>
                      <a:pt x="988" y="87"/>
                      <a:pt x="988" y="87"/>
                    </a:cubicBezTo>
                    <a:cubicBezTo>
                      <a:pt x="990" y="88"/>
                      <a:pt x="991" y="90"/>
                      <a:pt x="992" y="93"/>
                    </a:cubicBezTo>
                    <a:cubicBezTo>
                      <a:pt x="995" y="93"/>
                      <a:pt x="998" y="93"/>
                      <a:pt x="1000" y="93"/>
                    </a:cubicBezTo>
                    <a:moveTo>
                      <a:pt x="1000" y="93"/>
                    </a:moveTo>
                    <a:cubicBezTo>
                      <a:pt x="1001" y="94"/>
                      <a:pt x="1001" y="93"/>
                      <a:pt x="1000" y="93"/>
                    </a:cubicBezTo>
                    <a:moveTo>
                      <a:pt x="1000" y="93"/>
                    </a:moveTo>
                    <a:cubicBezTo>
                      <a:pt x="996" y="90"/>
                      <a:pt x="993" y="87"/>
                      <a:pt x="988" y="86"/>
                    </a:cubicBezTo>
                    <a:moveTo>
                      <a:pt x="988" y="86"/>
                    </a:moveTo>
                    <a:cubicBezTo>
                      <a:pt x="987" y="84"/>
                      <a:pt x="986" y="86"/>
                      <a:pt x="988" y="86"/>
                    </a:cubicBezTo>
                    <a:moveTo>
                      <a:pt x="1173" y="127"/>
                    </a:moveTo>
                    <a:cubicBezTo>
                      <a:pt x="1173" y="128"/>
                      <a:pt x="1174" y="128"/>
                      <a:pt x="1175" y="128"/>
                    </a:cubicBezTo>
                    <a:moveTo>
                      <a:pt x="1175" y="128"/>
                    </a:moveTo>
                    <a:cubicBezTo>
                      <a:pt x="1175" y="130"/>
                      <a:pt x="1176" y="128"/>
                      <a:pt x="1175" y="128"/>
                    </a:cubicBezTo>
                    <a:moveTo>
                      <a:pt x="1175" y="128"/>
                    </a:moveTo>
                    <a:cubicBezTo>
                      <a:pt x="1175" y="127"/>
                      <a:pt x="1174" y="127"/>
                      <a:pt x="1173" y="127"/>
                    </a:cubicBezTo>
                    <a:moveTo>
                      <a:pt x="1173" y="127"/>
                    </a:moveTo>
                    <a:cubicBezTo>
                      <a:pt x="1150" y="112"/>
                      <a:pt x="1124" y="95"/>
                      <a:pt x="1098" y="86"/>
                    </a:cubicBezTo>
                    <a:cubicBezTo>
                      <a:pt x="1125" y="98"/>
                      <a:pt x="1141" y="120"/>
                      <a:pt x="1173" y="127"/>
                    </a:cubicBezTo>
                    <a:moveTo>
                      <a:pt x="885" y="86"/>
                    </a:moveTo>
                    <a:cubicBezTo>
                      <a:pt x="882" y="86"/>
                      <a:pt x="877" y="85"/>
                      <a:pt x="875" y="87"/>
                    </a:cubicBezTo>
                    <a:cubicBezTo>
                      <a:pt x="877" y="88"/>
                      <a:pt x="885" y="90"/>
                      <a:pt x="885" y="86"/>
                    </a:cubicBezTo>
                    <a:close/>
                    <a:moveTo>
                      <a:pt x="430" y="89"/>
                    </a:moveTo>
                    <a:cubicBezTo>
                      <a:pt x="429" y="88"/>
                      <a:pt x="430" y="89"/>
                      <a:pt x="430" y="89"/>
                    </a:cubicBezTo>
                    <a:close/>
                    <a:moveTo>
                      <a:pt x="564" y="92"/>
                    </a:moveTo>
                    <a:cubicBezTo>
                      <a:pt x="535" y="128"/>
                      <a:pt x="514" y="173"/>
                      <a:pt x="497" y="221"/>
                    </a:cubicBezTo>
                    <a:cubicBezTo>
                      <a:pt x="502" y="220"/>
                      <a:pt x="508" y="220"/>
                      <a:pt x="513" y="219"/>
                    </a:cubicBezTo>
                    <a:cubicBezTo>
                      <a:pt x="545" y="174"/>
                      <a:pt x="578" y="131"/>
                      <a:pt x="619" y="95"/>
                    </a:cubicBezTo>
                    <a:cubicBezTo>
                      <a:pt x="620" y="94"/>
                      <a:pt x="628" y="90"/>
                      <a:pt x="624" y="89"/>
                    </a:cubicBezTo>
                    <a:cubicBezTo>
                      <a:pt x="604" y="86"/>
                      <a:pt x="584" y="91"/>
                      <a:pt x="564" y="92"/>
                    </a:cubicBezTo>
                    <a:close/>
                    <a:moveTo>
                      <a:pt x="1055" y="192"/>
                    </a:moveTo>
                    <a:cubicBezTo>
                      <a:pt x="1019" y="154"/>
                      <a:pt x="980" y="120"/>
                      <a:pt x="937" y="90"/>
                    </a:cubicBezTo>
                    <a:cubicBezTo>
                      <a:pt x="922" y="89"/>
                      <a:pt x="906" y="86"/>
                      <a:pt x="893" y="90"/>
                    </a:cubicBezTo>
                    <a:cubicBezTo>
                      <a:pt x="901" y="111"/>
                      <a:pt x="911" y="126"/>
                      <a:pt x="923" y="142"/>
                    </a:cubicBezTo>
                    <a:cubicBezTo>
                      <a:pt x="942" y="166"/>
                      <a:pt x="959" y="189"/>
                      <a:pt x="973" y="216"/>
                    </a:cubicBezTo>
                    <a:cubicBezTo>
                      <a:pt x="1006" y="219"/>
                      <a:pt x="1038" y="222"/>
                      <a:pt x="1069" y="226"/>
                    </a:cubicBezTo>
                    <a:cubicBezTo>
                      <a:pt x="1065" y="214"/>
                      <a:pt x="1059" y="204"/>
                      <a:pt x="1055" y="192"/>
                    </a:cubicBezTo>
                    <a:close/>
                    <a:moveTo>
                      <a:pt x="366" y="122"/>
                    </a:moveTo>
                    <a:cubicBezTo>
                      <a:pt x="394" y="118"/>
                      <a:pt x="410" y="101"/>
                      <a:pt x="429" y="89"/>
                    </a:cubicBezTo>
                    <a:cubicBezTo>
                      <a:pt x="407" y="99"/>
                      <a:pt x="386" y="110"/>
                      <a:pt x="366" y="122"/>
                    </a:cubicBezTo>
                    <a:close/>
                    <a:moveTo>
                      <a:pt x="631" y="90"/>
                    </a:moveTo>
                    <a:cubicBezTo>
                      <a:pt x="632" y="88"/>
                      <a:pt x="629" y="90"/>
                      <a:pt x="629" y="91"/>
                    </a:cubicBezTo>
                    <a:cubicBezTo>
                      <a:pt x="589" y="125"/>
                      <a:pt x="552" y="168"/>
                      <a:pt x="523" y="212"/>
                    </a:cubicBezTo>
                    <a:cubicBezTo>
                      <a:pt x="522" y="214"/>
                      <a:pt x="517" y="216"/>
                      <a:pt x="519" y="219"/>
                    </a:cubicBezTo>
                    <a:cubicBezTo>
                      <a:pt x="554" y="215"/>
                      <a:pt x="591" y="214"/>
                      <a:pt x="629" y="212"/>
                    </a:cubicBezTo>
                    <a:cubicBezTo>
                      <a:pt x="645" y="177"/>
                      <a:pt x="650" y="130"/>
                      <a:pt x="663" y="93"/>
                    </a:cubicBezTo>
                    <a:cubicBezTo>
                      <a:pt x="653" y="91"/>
                      <a:pt x="643" y="90"/>
                      <a:pt x="631" y="90"/>
                    </a:cubicBezTo>
                    <a:close/>
                    <a:moveTo>
                      <a:pt x="899" y="111"/>
                    </a:moveTo>
                    <a:cubicBezTo>
                      <a:pt x="900" y="112"/>
                      <a:pt x="900" y="111"/>
                      <a:pt x="899" y="111"/>
                    </a:cubicBezTo>
                    <a:moveTo>
                      <a:pt x="899" y="111"/>
                    </a:moveTo>
                    <a:cubicBezTo>
                      <a:pt x="897" y="103"/>
                      <a:pt x="893" y="97"/>
                      <a:pt x="891" y="90"/>
                    </a:cubicBezTo>
                    <a:cubicBezTo>
                      <a:pt x="886" y="90"/>
                      <a:pt x="882" y="89"/>
                      <a:pt x="880" y="92"/>
                    </a:cubicBezTo>
                    <a:cubicBezTo>
                      <a:pt x="887" y="97"/>
                      <a:pt x="892" y="105"/>
                      <a:pt x="899" y="111"/>
                    </a:cubicBezTo>
                    <a:moveTo>
                      <a:pt x="943" y="91"/>
                    </a:moveTo>
                    <a:cubicBezTo>
                      <a:pt x="979" y="114"/>
                      <a:pt x="1013" y="148"/>
                      <a:pt x="1044" y="177"/>
                    </a:cubicBezTo>
                    <a:cubicBezTo>
                      <a:pt x="1045" y="178"/>
                      <a:pt x="1047" y="183"/>
                      <a:pt x="1049" y="180"/>
                    </a:cubicBezTo>
                    <a:cubicBezTo>
                      <a:pt x="1032" y="150"/>
                      <a:pt x="1014" y="120"/>
                      <a:pt x="991" y="95"/>
                    </a:cubicBezTo>
                    <a:cubicBezTo>
                      <a:pt x="975" y="94"/>
                      <a:pt x="961" y="91"/>
                      <a:pt x="943" y="91"/>
                    </a:cubicBezTo>
                    <a:moveTo>
                      <a:pt x="943" y="91"/>
                    </a:moveTo>
                    <a:cubicBezTo>
                      <a:pt x="943" y="88"/>
                      <a:pt x="939" y="92"/>
                      <a:pt x="943" y="91"/>
                    </a:cubicBezTo>
                    <a:moveTo>
                      <a:pt x="904" y="120"/>
                    </a:moveTo>
                    <a:cubicBezTo>
                      <a:pt x="894" y="111"/>
                      <a:pt x="886" y="98"/>
                      <a:pt x="874" y="91"/>
                    </a:cubicBezTo>
                    <a:cubicBezTo>
                      <a:pt x="857" y="93"/>
                      <a:pt x="838" y="94"/>
                      <a:pt x="820" y="95"/>
                    </a:cubicBezTo>
                    <a:cubicBezTo>
                      <a:pt x="835" y="132"/>
                      <a:pt x="849" y="170"/>
                      <a:pt x="860" y="211"/>
                    </a:cubicBezTo>
                    <a:cubicBezTo>
                      <a:pt x="885" y="210"/>
                      <a:pt x="907" y="212"/>
                      <a:pt x="931" y="214"/>
                    </a:cubicBezTo>
                    <a:cubicBezTo>
                      <a:pt x="924" y="180"/>
                      <a:pt x="914" y="150"/>
                      <a:pt x="904" y="120"/>
                    </a:cubicBezTo>
                    <a:close/>
                    <a:moveTo>
                      <a:pt x="558" y="93"/>
                    </a:moveTo>
                    <a:cubicBezTo>
                      <a:pt x="558" y="92"/>
                      <a:pt x="559" y="93"/>
                      <a:pt x="558" y="93"/>
                    </a:cubicBezTo>
                    <a:close/>
                    <a:moveTo>
                      <a:pt x="492" y="99"/>
                    </a:moveTo>
                    <a:cubicBezTo>
                      <a:pt x="485" y="102"/>
                      <a:pt x="476" y="109"/>
                      <a:pt x="468" y="114"/>
                    </a:cubicBezTo>
                    <a:cubicBezTo>
                      <a:pt x="460" y="119"/>
                      <a:pt x="450" y="123"/>
                      <a:pt x="444" y="128"/>
                    </a:cubicBezTo>
                    <a:cubicBezTo>
                      <a:pt x="432" y="139"/>
                      <a:pt x="421" y="155"/>
                      <a:pt x="411" y="169"/>
                    </a:cubicBezTo>
                    <a:cubicBezTo>
                      <a:pt x="400" y="185"/>
                      <a:pt x="389" y="201"/>
                      <a:pt x="382" y="216"/>
                    </a:cubicBezTo>
                    <a:cubicBezTo>
                      <a:pt x="390" y="219"/>
                      <a:pt x="399" y="220"/>
                      <a:pt x="407" y="223"/>
                    </a:cubicBezTo>
                    <a:cubicBezTo>
                      <a:pt x="452" y="175"/>
                      <a:pt x="501" y="130"/>
                      <a:pt x="558" y="93"/>
                    </a:cubicBezTo>
                    <a:cubicBezTo>
                      <a:pt x="533" y="97"/>
                      <a:pt x="512" y="93"/>
                      <a:pt x="492" y="99"/>
                    </a:cubicBezTo>
                    <a:close/>
                    <a:moveTo>
                      <a:pt x="667" y="93"/>
                    </a:moveTo>
                    <a:cubicBezTo>
                      <a:pt x="661" y="115"/>
                      <a:pt x="652" y="139"/>
                      <a:pt x="650" y="163"/>
                    </a:cubicBezTo>
                    <a:cubicBezTo>
                      <a:pt x="660" y="138"/>
                      <a:pt x="673" y="116"/>
                      <a:pt x="685" y="94"/>
                    </a:cubicBezTo>
                    <a:cubicBezTo>
                      <a:pt x="678" y="94"/>
                      <a:pt x="674" y="92"/>
                      <a:pt x="667" y="93"/>
                    </a:cubicBezTo>
                    <a:close/>
                    <a:moveTo>
                      <a:pt x="639" y="211"/>
                    </a:moveTo>
                    <a:cubicBezTo>
                      <a:pt x="674" y="211"/>
                      <a:pt x="707" y="208"/>
                      <a:pt x="743" y="209"/>
                    </a:cubicBezTo>
                    <a:cubicBezTo>
                      <a:pt x="745" y="170"/>
                      <a:pt x="747" y="132"/>
                      <a:pt x="750" y="95"/>
                    </a:cubicBezTo>
                    <a:cubicBezTo>
                      <a:pt x="729" y="96"/>
                      <a:pt x="708" y="95"/>
                      <a:pt x="689" y="94"/>
                    </a:cubicBezTo>
                    <a:cubicBezTo>
                      <a:pt x="669" y="129"/>
                      <a:pt x="646" y="162"/>
                      <a:pt x="639" y="211"/>
                    </a:cubicBezTo>
                    <a:close/>
                    <a:moveTo>
                      <a:pt x="825" y="120"/>
                    </a:moveTo>
                    <a:cubicBezTo>
                      <a:pt x="823" y="113"/>
                      <a:pt x="819" y="96"/>
                      <a:pt x="811" y="95"/>
                    </a:cubicBezTo>
                    <a:cubicBezTo>
                      <a:pt x="803" y="93"/>
                      <a:pt x="791" y="98"/>
                      <a:pt x="782" y="95"/>
                    </a:cubicBezTo>
                    <a:cubicBezTo>
                      <a:pt x="784" y="133"/>
                      <a:pt x="786" y="171"/>
                      <a:pt x="787" y="209"/>
                    </a:cubicBezTo>
                    <a:cubicBezTo>
                      <a:pt x="811" y="208"/>
                      <a:pt x="832" y="210"/>
                      <a:pt x="855" y="210"/>
                    </a:cubicBezTo>
                    <a:cubicBezTo>
                      <a:pt x="848" y="183"/>
                      <a:pt x="836" y="148"/>
                      <a:pt x="825" y="120"/>
                    </a:cubicBezTo>
                    <a:close/>
                    <a:moveTo>
                      <a:pt x="499" y="96"/>
                    </a:moveTo>
                    <a:cubicBezTo>
                      <a:pt x="499" y="96"/>
                      <a:pt x="500" y="97"/>
                      <a:pt x="499" y="96"/>
                    </a:cubicBezTo>
                    <a:close/>
                    <a:moveTo>
                      <a:pt x="752" y="98"/>
                    </a:moveTo>
                    <a:cubicBezTo>
                      <a:pt x="750" y="135"/>
                      <a:pt x="747" y="171"/>
                      <a:pt x="746" y="209"/>
                    </a:cubicBezTo>
                    <a:cubicBezTo>
                      <a:pt x="758" y="209"/>
                      <a:pt x="771" y="209"/>
                      <a:pt x="784" y="209"/>
                    </a:cubicBezTo>
                    <a:cubicBezTo>
                      <a:pt x="783" y="170"/>
                      <a:pt x="781" y="133"/>
                      <a:pt x="779" y="95"/>
                    </a:cubicBezTo>
                    <a:cubicBezTo>
                      <a:pt x="771" y="97"/>
                      <a:pt x="756" y="92"/>
                      <a:pt x="752" y="98"/>
                    </a:cubicBezTo>
                    <a:close/>
                    <a:moveTo>
                      <a:pt x="1056" y="191"/>
                    </a:moveTo>
                    <a:cubicBezTo>
                      <a:pt x="1069" y="202"/>
                      <a:pt x="1077" y="217"/>
                      <a:pt x="1090" y="228"/>
                    </a:cubicBezTo>
                    <a:cubicBezTo>
                      <a:pt x="1115" y="224"/>
                      <a:pt x="1137" y="218"/>
                      <a:pt x="1159" y="212"/>
                    </a:cubicBezTo>
                    <a:cubicBezTo>
                      <a:pt x="1152" y="199"/>
                      <a:pt x="1138" y="190"/>
                      <a:pt x="1126" y="180"/>
                    </a:cubicBezTo>
                    <a:cubicBezTo>
                      <a:pt x="1101" y="159"/>
                      <a:pt x="1078" y="141"/>
                      <a:pt x="1049" y="122"/>
                    </a:cubicBezTo>
                    <a:cubicBezTo>
                      <a:pt x="1032" y="112"/>
                      <a:pt x="1016" y="96"/>
                      <a:pt x="996" y="96"/>
                    </a:cubicBezTo>
                    <a:cubicBezTo>
                      <a:pt x="1020" y="124"/>
                      <a:pt x="1040" y="155"/>
                      <a:pt x="1056" y="191"/>
                    </a:cubicBezTo>
                    <a:close/>
                    <a:moveTo>
                      <a:pt x="1095" y="150"/>
                    </a:moveTo>
                    <a:cubicBezTo>
                      <a:pt x="1112" y="165"/>
                      <a:pt x="1132" y="180"/>
                      <a:pt x="1149" y="195"/>
                    </a:cubicBezTo>
                    <a:cubicBezTo>
                      <a:pt x="1154" y="200"/>
                      <a:pt x="1159" y="209"/>
                      <a:pt x="1167" y="209"/>
                    </a:cubicBezTo>
                    <a:cubicBezTo>
                      <a:pt x="1146" y="171"/>
                      <a:pt x="1113" y="136"/>
                      <a:pt x="1081" y="107"/>
                    </a:cubicBezTo>
                    <a:cubicBezTo>
                      <a:pt x="1060" y="104"/>
                      <a:pt x="1036" y="99"/>
                      <a:pt x="1015" y="98"/>
                    </a:cubicBezTo>
                    <a:cubicBezTo>
                      <a:pt x="1044" y="113"/>
                      <a:pt x="1069" y="132"/>
                      <a:pt x="1095" y="150"/>
                    </a:cubicBezTo>
                    <a:close/>
                    <a:moveTo>
                      <a:pt x="555" y="99"/>
                    </a:moveTo>
                    <a:cubicBezTo>
                      <a:pt x="506" y="130"/>
                      <a:pt x="457" y="172"/>
                      <a:pt x="418" y="216"/>
                    </a:cubicBezTo>
                    <a:cubicBezTo>
                      <a:pt x="417" y="218"/>
                      <a:pt x="411" y="220"/>
                      <a:pt x="414" y="224"/>
                    </a:cubicBezTo>
                    <a:cubicBezTo>
                      <a:pt x="438" y="232"/>
                      <a:pt x="467" y="223"/>
                      <a:pt x="494" y="221"/>
                    </a:cubicBezTo>
                    <a:cubicBezTo>
                      <a:pt x="510" y="176"/>
                      <a:pt x="530" y="135"/>
                      <a:pt x="555" y="99"/>
                    </a:cubicBezTo>
                    <a:moveTo>
                      <a:pt x="555" y="99"/>
                    </a:moveTo>
                    <a:cubicBezTo>
                      <a:pt x="556" y="99"/>
                      <a:pt x="555" y="98"/>
                      <a:pt x="555" y="99"/>
                    </a:cubicBezTo>
                    <a:moveTo>
                      <a:pt x="484" y="101"/>
                    </a:moveTo>
                    <a:cubicBezTo>
                      <a:pt x="483" y="101"/>
                      <a:pt x="484" y="102"/>
                      <a:pt x="484" y="101"/>
                    </a:cubicBezTo>
                    <a:close/>
                    <a:moveTo>
                      <a:pt x="1118" y="101"/>
                    </a:moveTo>
                    <a:cubicBezTo>
                      <a:pt x="1119" y="103"/>
                      <a:pt x="1119" y="101"/>
                      <a:pt x="1118" y="101"/>
                    </a:cubicBezTo>
                    <a:moveTo>
                      <a:pt x="1118" y="101"/>
                    </a:moveTo>
                    <a:cubicBezTo>
                      <a:pt x="1118" y="100"/>
                      <a:pt x="1117" y="101"/>
                      <a:pt x="1118" y="101"/>
                    </a:cubicBezTo>
                    <a:moveTo>
                      <a:pt x="454" y="119"/>
                    </a:moveTo>
                    <a:cubicBezTo>
                      <a:pt x="452" y="119"/>
                      <a:pt x="454" y="120"/>
                      <a:pt x="454" y="119"/>
                    </a:cubicBezTo>
                    <a:moveTo>
                      <a:pt x="454" y="119"/>
                    </a:moveTo>
                    <a:cubicBezTo>
                      <a:pt x="464" y="113"/>
                      <a:pt x="474" y="108"/>
                      <a:pt x="483" y="101"/>
                    </a:cubicBezTo>
                    <a:cubicBezTo>
                      <a:pt x="466" y="100"/>
                      <a:pt x="462" y="111"/>
                      <a:pt x="454" y="119"/>
                    </a:cubicBezTo>
                    <a:moveTo>
                      <a:pt x="1120" y="103"/>
                    </a:moveTo>
                    <a:cubicBezTo>
                      <a:pt x="1120" y="103"/>
                      <a:pt x="1121" y="104"/>
                      <a:pt x="1120" y="103"/>
                    </a:cubicBezTo>
                    <a:close/>
                    <a:moveTo>
                      <a:pt x="1075" y="104"/>
                    </a:moveTo>
                    <a:cubicBezTo>
                      <a:pt x="1075" y="104"/>
                      <a:pt x="1076" y="105"/>
                      <a:pt x="1075" y="104"/>
                    </a:cubicBezTo>
                    <a:close/>
                    <a:moveTo>
                      <a:pt x="417" y="112"/>
                    </a:moveTo>
                    <a:cubicBezTo>
                      <a:pt x="407" y="115"/>
                      <a:pt x="396" y="125"/>
                      <a:pt x="386" y="131"/>
                    </a:cubicBezTo>
                    <a:cubicBezTo>
                      <a:pt x="357" y="148"/>
                      <a:pt x="335" y="165"/>
                      <a:pt x="317" y="191"/>
                    </a:cubicBezTo>
                    <a:cubicBezTo>
                      <a:pt x="325" y="195"/>
                      <a:pt x="332" y="200"/>
                      <a:pt x="342" y="203"/>
                    </a:cubicBezTo>
                    <a:cubicBezTo>
                      <a:pt x="374" y="176"/>
                      <a:pt x="406" y="149"/>
                      <a:pt x="442" y="127"/>
                    </a:cubicBezTo>
                    <a:cubicBezTo>
                      <a:pt x="445" y="123"/>
                      <a:pt x="449" y="119"/>
                      <a:pt x="453" y="115"/>
                    </a:cubicBezTo>
                    <a:cubicBezTo>
                      <a:pt x="455" y="112"/>
                      <a:pt x="466" y="105"/>
                      <a:pt x="461" y="104"/>
                    </a:cubicBezTo>
                    <a:cubicBezTo>
                      <a:pt x="446" y="109"/>
                      <a:pt x="430" y="107"/>
                      <a:pt x="417" y="112"/>
                    </a:cubicBezTo>
                    <a:close/>
                    <a:moveTo>
                      <a:pt x="1210" y="188"/>
                    </a:moveTo>
                    <a:cubicBezTo>
                      <a:pt x="1213" y="187"/>
                      <a:pt x="1214" y="184"/>
                      <a:pt x="1216" y="183"/>
                    </a:cubicBezTo>
                    <a:cubicBezTo>
                      <a:pt x="1210" y="171"/>
                      <a:pt x="1197" y="162"/>
                      <a:pt x="1185" y="152"/>
                    </a:cubicBezTo>
                    <a:cubicBezTo>
                      <a:pt x="1175" y="143"/>
                      <a:pt x="1164" y="130"/>
                      <a:pt x="1151" y="123"/>
                    </a:cubicBezTo>
                    <a:cubicBezTo>
                      <a:pt x="1135" y="116"/>
                      <a:pt x="1116" y="117"/>
                      <a:pt x="1097" y="110"/>
                    </a:cubicBezTo>
                    <a:cubicBezTo>
                      <a:pt x="1096" y="110"/>
                      <a:pt x="1094" y="110"/>
                      <a:pt x="1094" y="111"/>
                    </a:cubicBezTo>
                    <a:cubicBezTo>
                      <a:pt x="1136" y="132"/>
                      <a:pt x="1174" y="163"/>
                      <a:pt x="1210" y="188"/>
                    </a:cubicBezTo>
                    <a:close/>
                    <a:moveTo>
                      <a:pt x="1090" y="112"/>
                    </a:moveTo>
                    <a:cubicBezTo>
                      <a:pt x="1090" y="112"/>
                      <a:pt x="1090" y="113"/>
                      <a:pt x="1090" y="113"/>
                    </a:cubicBezTo>
                    <a:cubicBezTo>
                      <a:pt x="1124" y="138"/>
                      <a:pt x="1146" y="175"/>
                      <a:pt x="1173" y="207"/>
                    </a:cubicBezTo>
                    <a:cubicBezTo>
                      <a:pt x="1185" y="202"/>
                      <a:pt x="1198" y="198"/>
                      <a:pt x="1206" y="190"/>
                    </a:cubicBezTo>
                    <a:cubicBezTo>
                      <a:pt x="1170" y="161"/>
                      <a:pt x="1132" y="134"/>
                      <a:pt x="1090" y="112"/>
                    </a:cubicBezTo>
                    <a:moveTo>
                      <a:pt x="1090" y="112"/>
                    </a:moveTo>
                    <a:cubicBezTo>
                      <a:pt x="1090" y="110"/>
                      <a:pt x="1089" y="112"/>
                      <a:pt x="1090" y="112"/>
                    </a:cubicBezTo>
                    <a:moveTo>
                      <a:pt x="405" y="116"/>
                    </a:moveTo>
                    <a:cubicBezTo>
                      <a:pt x="389" y="116"/>
                      <a:pt x="383" y="126"/>
                      <a:pt x="374" y="134"/>
                    </a:cubicBezTo>
                    <a:moveTo>
                      <a:pt x="374" y="134"/>
                    </a:moveTo>
                    <a:cubicBezTo>
                      <a:pt x="373" y="134"/>
                      <a:pt x="372" y="135"/>
                      <a:pt x="371" y="136"/>
                    </a:cubicBezTo>
                    <a:moveTo>
                      <a:pt x="371" y="136"/>
                    </a:moveTo>
                    <a:cubicBezTo>
                      <a:pt x="370" y="136"/>
                      <a:pt x="370" y="136"/>
                      <a:pt x="370" y="137"/>
                    </a:cubicBezTo>
                    <a:moveTo>
                      <a:pt x="370" y="137"/>
                    </a:moveTo>
                    <a:cubicBezTo>
                      <a:pt x="369" y="137"/>
                      <a:pt x="370" y="138"/>
                      <a:pt x="370" y="137"/>
                    </a:cubicBezTo>
                    <a:moveTo>
                      <a:pt x="370" y="137"/>
                    </a:moveTo>
                    <a:cubicBezTo>
                      <a:pt x="371" y="137"/>
                      <a:pt x="371" y="136"/>
                      <a:pt x="371" y="136"/>
                    </a:cubicBezTo>
                    <a:moveTo>
                      <a:pt x="371" y="136"/>
                    </a:moveTo>
                    <a:cubicBezTo>
                      <a:pt x="373" y="136"/>
                      <a:pt x="374" y="135"/>
                      <a:pt x="374" y="134"/>
                    </a:cubicBezTo>
                    <a:moveTo>
                      <a:pt x="374" y="134"/>
                    </a:moveTo>
                    <a:cubicBezTo>
                      <a:pt x="385" y="129"/>
                      <a:pt x="395" y="122"/>
                      <a:pt x="405" y="116"/>
                    </a:cubicBezTo>
                    <a:moveTo>
                      <a:pt x="405" y="116"/>
                    </a:moveTo>
                    <a:cubicBezTo>
                      <a:pt x="409" y="117"/>
                      <a:pt x="405" y="113"/>
                      <a:pt x="405" y="116"/>
                    </a:cubicBezTo>
                    <a:moveTo>
                      <a:pt x="1142" y="119"/>
                    </a:moveTo>
                    <a:cubicBezTo>
                      <a:pt x="1142" y="118"/>
                      <a:pt x="1143" y="119"/>
                      <a:pt x="1142" y="119"/>
                    </a:cubicBezTo>
                    <a:close/>
                    <a:moveTo>
                      <a:pt x="365" y="119"/>
                    </a:moveTo>
                    <a:cubicBezTo>
                      <a:pt x="364" y="119"/>
                      <a:pt x="365" y="120"/>
                      <a:pt x="365" y="119"/>
                    </a:cubicBezTo>
                    <a:close/>
                    <a:moveTo>
                      <a:pt x="363" y="120"/>
                    </a:moveTo>
                    <a:cubicBezTo>
                      <a:pt x="361" y="121"/>
                      <a:pt x="363" y="122"/>
                      <a:pt x="363" y="120"/>
                    </a:cubicBezTo>
                    <a:moveTo>
                      <a:pt x="363" y="120"/>
                    </a:moveTo>
                    <a:cubicBezTo>
                      <a:pt x="364" y="120"/>
                      <a:pt x="363" y="119"/>
                      <a:pt x="363" y="120"/>
                    </a:cubicBezTo>
                    <a:moveTo>
                      <a:pt x="326" y="147"/>
                    </a:moveTo>
                    <a:cubicBezTo>
                      <a:pt x="312" y="157"/>
                      <a:pt x="291" y="166"/>
                      <a:pt x="308" y="182"/>
                    </a:cubicBezTo>
                    <a:cubicBezTo>
                      <a:pt x="333" y="161"/>
                      <a:pt x="362" y="143"/>
                      <a:pt x="385" y="120"/>
                    </a:cubicBezTo>
                    <a:cubicBezTo>
                      <a:pt x="360" y="124"/>
                      <a:pt x="343" y="136"/>
                      <a:pt x="326" y="147"/>
                    </a:cubicBezTo>
                    <a:close/>
                    <a:moveTo>
                      <a:pt x="360" y="122"/>
                    </a:moveTo>
                    <a:cubicBezTo>
                      <a:pt x="359" y="122"/>
                      <a:pt x="360" y="123"/>
                      <a:pt x="360" y="122"/>
                    </a:cubicBezTo>
                    <a:close/>
                    <a:moveTo>
                      <a:pt x="365" y="123"/>
                    </a:moveTo>
                    <a:cubicBezTo>
                      <a:pt x="364" y="123"/>
                      <a:pt x="365" y="124"/>
                      <a:pt x="365" y="123"/>
                    </a:cubicBezTo>
                    <a:close/>
                    <a:moveTo>
                      <a:pt x="357" y="124"/>
                    </a:moveTo>
                    <a:cubicBezTo>
                      <a:pt x="356" y="124"/>
                      <a:pt x="358" y="125"/>
                      <a:pt x="357" y="124"/>
                    </a:cubicBezTo>
                    <a:close/>
                    <a:moveTo>
                      <a:pt x="354" y="126"/>
                    </a:moveTo>
                    <a:cubicBezTo>
                      <a:pt x="354" y="126"/>
                      <a:pt x="355" y="127"/>
                      <a:pt x="354" y="126"/>
                    </a:cubicBezTo>
                    <a:close/>
                    <a:moveTo>
                      <a:pt x="910" y="129"/>
                    </a:moveTo>
                    <a:cubicBezTo>
                      <a:pt x="919" y="156"/>
                      <a:pt x="927" y="184"/>
                      <a:pt x="934" y="214"/>
                    </a:cubicBezTo>
                    <a:cubicBezTo>
                      <a:pt x="946" y="215"/>
                      <a:pt x="959" y="215"/>
                      <a:pt x="970" y="216"/>
                    </a:cubicBezTo>
                    <a:cubicBezTo>
                      <a:pt x="952" y="185"/>
                      <a:pt x="933" y="155"/>
                      <a:pt x="910" y="129"/>
                    </a:cubicBezTo>
                    <a:moveTo>
                      <a:pt x="910" y="129"/>
                    </a:moveTo>
                    <a:cubicBezTo>
                      <a:pt x="911" y="125"/>
                      <a:pt x="907" y="129"/>
                      <a:pt x="910" y="129"/>
                    </a:cubicBezTo>
                    <a:moveTo>
                      <a:pt x="1166" y="129"/>
                    </a:moveTo>
                    <a:cubicBezTo>
                      <a:pt x="1166" y="129"/>
                      <a:pt x="1167" y="130"/>
                      <a:pt x="1166" y="129"/>
                    </a:cubicBezTo>
                    <a:close/>
                    <a:moveTo>
                      <a:pt x="1222" y="166"/>
                    </a:moveTo>
                    <a:cubicBezTo>
                      <a:pt x="1218" y="155"/>
                      <a:pt x="1206" y="150"/>
                      <a:pt x="1198" y="144"/>
                    </a:cubicBezTo>
                    <a:cubicBezTo>
                      <a:pt x="1189" y="138"/>
                      <a:pt x="1180" y="130"/>
                      <a:pt x="1168" y="130"/>
                    </a:cubicBezTo>
                    <a:cubicBezTo>
                      <a:pt x="1187" y="141"/>
                      <a:pt x="1204" y="154"/>
                      <a:pt x="1222" y="166"/>
                    </a:cubicBezTo>
                    <a:close/>
                    <a:moveTo>
                      <a:pt x="1165" y="132"/>
                    </a:moveTo>
                    <a:cubicBezTo>
                      <a:pt x="1166" y="133"/>
                      <a:pt x="1165" y="132"/>
                      <a:pt x="1165" y="132"/>
                    </a:cubicBezTo>
                    <a:close/>
                    <a:moveTo>
                      <a:pt x="1169" y="134"/>
                    </a:moveTo>
                    <a:cubicBezTo>
                      <a:pt x="1187" y="147"/>
                      <a:pt x="1204" y="167"/>
                      <a:pt x="1220" y="178"/>
                    </a:cubicBezTo>
                    <a:cubicBezTo>
                      <a:pt x="1220" y="175"/>
                      <a:pt x="1223" y="174"/>
                      <a:pt x="1222" y="170"/>
                    </a:cubicBezTo>
                    <a:cubicBezTo>
                      <a:pt x="1206" y="157"/>
                      <a:pt x="1188" y="145"/>
                      <a:pt x="1169" y="134"/>
                    </a:cubicBezTo>
                    <a:moveTo>
                      <a:pt x="1169" y="134"/>
                    </a:moveTo>
                    <a:cubicBezTo>
                      <a:pt x="1168" y="132"/>
                      <a:pt x="1168" y="134"/>
                      <a:pt x="1169" y="134"/>
                    </a:cubicBezTo>
                    <a:moveTo>
                      <a:pt x="434" y="136"/>
                    </a:moveTo>
                    <a:cubicBezTo>
                      <a:pt x="433" y="136"/>
                      <a:pt x="433" y="136"/>
                      <a:pt x="433" y="137"/>
                    </a:cubicBezTo>
                    <a:moveTo>
                      <a:pt x="433" y="137"/>
                    </a:moveTo>
                    <a:cubicBezTo>
                      <a:pt x="401" y="157"/>
                      <a:pt x="372" y="180"/>
                      <a:pt x="345" y="205"/>
                    </a:cubicBezTo>
                    <a:cubicBezTo>
                      <a:pt x="357" y="209"/>
                      <a:pt x="367" y="213"/>
                      <a:pt x="379" y="215"/>
                    </a:cubicBezTo>
                    <a:cubicBezTo>
                      <a:pt x="394" y="187"/>
                      <a:pt x="413" y="162"/>
                      <a:pt x="433" y="137"/>
                    </a:cubicBezTo>
                    <a:moveTo>
                      <a:pt x="433" y="137"/>
                    </a:moveTo>
                    <a:cubicBezTo>
                      <a:pt x="434" y="137"/>
                      <a:pt x="434" y="136"/>
                      <a:pt x="434" y="136"/>
                    </a:cubicBezTo>
                    <a:moveTo>
                      <a:pt x="434" y="136"/>
                    </a:moveTo>
                    <a:cubicBezTo>
                      <a:pt x="435" y="135"/>
                      <a:pt x="434" y="135"/>
                      <a:pt x="434" y="136"/>
                    </a:cubicBezTo>
                    <a:moveTo>
                      <a:pt x="327" y="142"/>
                    </a:moveTo>
                    <a:cubicBezTo>
                      <a:pt x="327" y="141"/>
                      <a:pt x="328" y="142"/>
                      <a:pt x="327" y="142"/>
                    </a:cubicBezTo>
                    <a:close/>
                    <a:moveTo>
                      <a:pt x="325" y="143"/>
                    </a:moveTo>
                    <a:cubicBezTo>
                      <a:pt x="319" y="146"/>
                      <a:pt x="312" y="150"/>
                      <a:pt x="308" y="156"/>
                    </a:cubicBezTo>
                    <a:moveTo>
                      <a:pt x="308" y="156"/>
                    </a:moveTo>
                    <a:cubicBezTo>
                      <a:pt x="307" y="156"/>
                      <a:pt x="307" y="156"/>
                      <a:pt x="307" y="157"/>
                    </a:cubicBezTo>
                    <a:moveTo>
                      <a:pt x="307" y="157"/>
                    </a:moveTo>
                    <a:cubicBezTo>
                      <a:pt x="306" y="157"/>
                      <a:pt x="306" y="157"/>
                      <a:pt x="306" y="158"/>
                    </a:cubicBezTo>
                    <a:moveTo>
                      <a:pt x="306" y="158"/>
                    </a:moveTo>
                    <a:cubicBezTo>
                      <a:pt x="305" y="158"/>
                      <a:pt x="306" y="159"/>
                      <a:pt x="306" y="158"/>
                    </a:cubicBezTo>
                    <a:moveTo>
                      <a:pt x="306" y="158"/>
                    </a:moveTo>
                    <a:cubicBezTo>
                      <a:pt x="307" y="158"/>
                      <a:pt x="307" y="158"/>
                      <a:pt x="307" y="157"/>
                    </a:cubicBezTo>
                    <a:moveTo>
                      <a:pt x="307" y="157"/>
                    </a:moveTo>
                    <a:cubicBezTo>
                      <a:pt x="308" y="157"/>
                      <a:pt x="308" y="157"/>
                      <a:pt x="308" y="156"/>
                    </a:cubicBezTo>
                    <a:moveTo>
                      <a:pt x="308" y="156"/>
                    </a:moveTo>
                    <a:cubicBezTo>
                      <a:pt x="314" y="152"/>
                      <a:pt x="320" y="147"/>
                      <a:pt x="325" y="143"/>
                    </a:cubicBezTo>
                    <a:moveTo>
                      <a:pt x="325" y="143"/>
                    </a:moveTo>
                    <a:cubicBezTo>
                      <a:pt x="327" y="142"/>
                      <a:pt x="325" y="141"/>
                      <a:pt x="325" y="143"/>
                    </a:cubicBezTo>
                    <a:moveTo>
                      <a:pt x="338" y="163"/>
                    </a:moveTo>
                    <a:cubicBezTo>
                      <a:pt x="337" y="163"/>
                      <a:pt x="337" y="163"/>
                      <a:pt x="337" y="164"/>
                    </a:cubicBezTo>
                    <a:moveTo>
                      <a:pt x="337" y="164"/>
                    </a:moveTo>
                    <a:cubicBezTo>
                      <a:pt x="327" y="170"/>
                      <a:pt x="317" y="176"/>
                      <a:pt x="310" y="185"/>
                    </a:cubicBezTo>
                    <a:cubicBezTo>
                      <a:pt x="312" y="185"/>
                      <a:pt x="312" y="188"/>
                      <a:pt x="315" y="188"/>
                    </a:cubicBezTo>
                    <a:cubicBezTo>
                      <a:pt x="322" y="180"/>
                      <a:pt x="330" y="172"/>
                      <a:pt x="337" y="164"/>
                    </a:cubicBezTo>
                    <a:moveTo>
                      <a:pt x="337" y="164"/>
                    </a:moveTo>
                    <a:cubicBezTo>
                      <a:pt x="338" y="164"/>
                      <a:pt x="338" y="163"/>
                      <a:pt x="338" y="163"/>
                    </a:cubicBezTo>
                    <a:moveTo>
                      <a:pt x="338" y="163"/>
                    </a:moveTo>
                    <a:cubicBezTo>
                      <a:pt x="339" y="162"/>
                      <a:pt x="338" y="162"/>
                      <a:pt x="338" y="163"/>
                    </a:cubicBezTo>
                    <a:moveTo>
                      <a:pt x="648" y="165"/>
                    </a:moveTo>
                    <a:cubicBezTo>
                      <a:pt x="647" y="164"/>
                      <a:pt x="648" y="165"/>
                      <a:pt x="648" y="165"/>
                    </a:cubicBezTo>
                    <a:close/>
                    <a:moveTo>
                      <a:pt x="1279" y="213"/>
                    </a:moveTo>
                    <a:cubicBezTo>
                      <a:pt x="1279" y="213"/>
                      <a:pt x="1280" y="214"/>
                      <a:pt x="1280" y="214"/>
                    </a:cubicBezTo>
                    <a:moveTo>
                      <a:pt x="1280" y="214"/>
                    </a:moveTo>
                    <a:cubicBezTo>
                      <a:pt x="1280" y="214"/>
                      <a:pt x="1281" y="214"/>
                      <a:pt x="1281" y="215"/>
                    </a:cubicBezTo>
                    <a:moveTo>
                      <a:pt x="1281" y="215"/>
                    </a:moveTo>
                    <a:cubicBezTo>
                      <a:pt x="1281" y="215"/>
                      <a:pt x="1282" y="215"/>
                      <a:pt x="1282" y="215"/>
                    </a:cubicBezTo>
                    <a:moveTo>
                      <a:pt x="1282" y="215"/>
                    </a:moveTo>
                    <a:cubicBezTo>
                      <a:pt x="1282" y="216"/>
                      <a:pt x="1283" y="216"/>
                      <a:pt x="1283" y="216"/>
                    </a:cubicBezTo>
                    <a:moveTo>
                      <a:pt x="1283" y="216"/>
                    </a:moveTo>
                    <a:cubicBezTo>
                      <a:pt x="1283" y="217"/>
                      <a:pt x="1284" y="217"/>
                      <a:pt x="1284" y="217"/>
                    </a:cubicBezTo>
                    <a:moveTo>
                      <a:pt x="1284" y="217"/>
                    </a:moveTo>
                    <a:cubicBezTo>
                      <a:pt x="1284" y="218"/>
                      <a:pt x="1285" y="218"/>
                      <a:pt x="1285" y="218"/>
                    </a:cubicBezTo>
                    <a:moveTo>
                      <a:pt x="1285" y="218"/>
                    </a:moveTo>
                    <a:cubicBezTo>
                      <a:pt x="1285" y="219"/>
                      <a:pt x="1286" y="219"/>
                      <a:pt x="1286" y="219"/>
                    </a:cubicBezTo>
                    <a:moveTo>
                      <a:pt x="1286" y="219"/>
                    </a:moveTo>
                    <a:cubicBezTo>
                      <a:pt x="1286" y="220"/>
                      <a:pt x="1287" y="220"/>
                      <a:pt x="1287" y="220"/>
                    </a:cubicBezTo>
                    <a:moveTo>
                      <a:pt x="1287" y="220"/>
                    </a:moveTo>
                    <a:cubicBezTo>
                      <a:pt x="1288" y="222"/>
                      <a:pt x="1288" y="220"/>
                      <a:pt x="1287" y="220"/>
                    </a:cubicBezTo>
                    <a:moveTo>
                      <a:pt x="1287" y="220"/>
                    </a:moveTo>
                    <a:cubicBezTo>
                      <a:pt x="1287" y="219"/>
                      <a:pt x="1287" y="219"/>
                      <a:pt x="1286" y="219"/>
                    </a:cubicBezTo>
                    <a:moveTo>
                      <a:pt x="1286" y="219"/>
                    </a:moveTo>
                    <a:cubicBezTo>
                      <a:pt x="1286" y="219"/>
                      <a:pt x="1286" y="218"/>
                      <a:pt x="1285" y="218"/>
                    </a:cubicBezTo>
                    <a:moveTo>
                      <a:pt x="1285" y="218"/>
                    </a:moveTo>
                    <a:cubicBezTo>
                      <a:pt x="1285" y="218"/>
                      <a:pt x="1285" y="217"/>
                      <a:pt x="1284" y="217"/>
                    </a:cubicBezTo>
                    <a:moveTo>
                      <a:pt x="1284" y="217"/>
                    </a:moveTo>
                    <a:cubicBezTo>
                      <a:pt x="1284" y="217"/>
                      <a:pt x="1284" y="216"/>
                      <a:pt x="1283" y="216"/>
                    </a:cubicBezTo>
                    <a:moveTo>
                      <a:pt x="1283" y="216"/>
                    </a:moveTo>
                    <a:cubicBezTo>
                      <a:pt x="1283" y="216"/>
                      <a:pt x="1283" y="216"/>
                      <a:pt x="1282" y="215"/>
                    </a:cubicBezTo>
                    <a:moveTo>
                      <a:pt x="1282" y="215"/>
                    </a:moveTo>
                    <a:cubicBezTo>
                      <a:pt x="1283" y="215"/>
                      <a:pt x="1282" y="215"/>
                      <a:pt x="1281" y="215"/>
                    </a:cubicBezTo>
                    <a:moveTo>
                      <a:pt x="1281" y="215"/>
                    </a:moveTo>
                    <a:cubicBezTo>
                      <a:pt x="1282" y="214"/>
                      <a:pt x="1281" y="214"/>
                      <a:pt x="1280" y="214"/>
                    </a:cubicBezTo>
                    <a:moveTo>
                      <a:pt x="1280" y="214"/>
                    </a:moveTo>
                    <a:cubicBezTo>
                      <a:pt x="1281" y="213"/>
                      <a:pt x="1280" y="213"/>
                      <a:pt x="1279" y="213"/>
                    </a:cubicBezTo>
                    <a:moveTo>
                      <a:pt x="1279" y="213"/>
                    </a:moveTo>
                    <a:cubicBezTo>
                      <a:pt x="1262" y="195"/>
                      <a:pt x="1245" y="179"/>
                      <a:pt x="1225" y="165"/>
                    </a:cubicBezTo>
                    <a:cubicBezTo>
                      <a:pt x="1226" y="171"/>
                      <a:pt x="1233" y="175"/>
                      <a:pt x="1237" y="178"/>
                    </a:cubicBezTo>
                    <a:cubicBezTo>
                      <a:pt x="1251" y="189"/>
                      <a:pt x="1265" y="201"/>
                      <a:pt x="1279" y="213"/>
                    </a:cubicBezTo>
                    <a:moveTo>
                      <a:pt x="188" y="288"/>
                    </a:moveTo>
                    <a:cubicBezTo>
                      <a:pt x="205" y="283"/>
                      <a:pt x="212" y="269"/>
                      <a:pt x="223" y="257"/>
                    </a:cubicBezTo>
                    <a:cubicBezTo>
                      <a:pt x="250" y="230"/>
                      <a:pt x="277" y="206"/>
                      <a:pt x="305" y="183"/>
                    </a:cubicBezTo>
                    <a:cubicBezTo>
                      <a:pt x="301" y="179"/>
                      <a:pt x="300" y="173"/>
                      <a:pt x="298" y="167"/>
                    </a:cubicBezTo>
                    <a:cubicBezTo>
                      <a:pt x="257" y="204"/>
                      <a:pt x="219" y="243"/>
                      <a:pt x="188" y="288"/>
                    </a:cubicBezTo>
                    <a:close/>
                    <a:moveTo>
                      <a:pt x="1351" y="296"/>
                    </a:moveTo>
                    <a:cubicBezTo>
                      <a:pt x="1351" y="297"/>
                      <a:pt x="1352" y="297"/>
                      <a:pt x="1352" y="297"/>
                    </a:cubicBezTo>
                    <a:moveTo>
                      <a:pt x="1352" y="297"/>
                    </a:moveTo>
                    <a:cubicBezTo>
                      <a:pt x="1353" y="298"/>
                      <a:pt x="1354" y="297"/>
                      <a:pt x="1352" y="297"/>
                    </a:cubicBezTo>
                    <a:moveTo>
                      <a:pt x="1352" y="297"/>
                    </a:moveTo>
                    <a:cubicBezTo>
                      <a:pt x="1353" y="296"/>
                      <a:pt x="1352" y="296"/>
                      <a:pt x="1351" y="296"/>
                    </a:cubicBezTo>
                    <a:moveTo>
                      <a:pt x="1351" y="296"/>
                    </a:moveTo>
                    <a:cubicBezTo>
                      <a:pt x="1351" y="295"/>
                      <a:pt x="1351" y="293"/>
                      <a:pt x="1350" y="293"/>
                    </a:cubicBezTo>
                    <a:cubicBezTo>
                      <a:pt x="1320" y="252"/>
                      <a:pt x="1281" y="217"/>
                      <a:pt x="1241" y="185"/>
                    </a:cubicBezTo>
                    <a:cubicBezTo>
                      <a:pt x="1236" y="181"/>
                      <a:pt x="1231" y="174"/>
                      <a:pt x="1224" y="173"/>
                    </a:cubicBezTo>
                    <a:cubicBezTo>
                      <a:pt x="1218" y="183"/>
                      <a:pt x="1228" y="188"/>
                      <a:pt x="1233" y="194"/>
                    </a:cubicBezTo>
                    <a:cubicBezTo>
                      <a:pt x="1239" y="201"/>
                      <a:pt x="1244" y="208"/>
                      <a:pt x="1250" y="214"/>
                    </a:cubicBezTo>
                    <a:cubicBezTo>
                      <a:pt x="1267" y="233"/>
                      <a:pt x="1280" y="256"/>
                      <a:pt x="1300" y="274"/>
                    </a:cubicBezTo>
                    <a:cubicBezTo>
                      <a:pt x="1319" y="279"/>
                      <a:pt x="1335" y="288"/>
                      <a:pt x="1351" y="296"/>
                    </a:cubicBezTo>
                    <a:moveTo>
                      <a:pt x="1218" y="184"/>
                    </a:moveTo>
                    <a:cubicBezTo>
                      <a:pt x="1217" y="187"/>
                      <a:pt x="1213" y="188"/>
                      <a:pt x="1211" y="191"/>
                    </a:cubicBezTo>
                    <a:cubicBezTo>
                      <a:pt x="1231" y="205"/>
                      <a:pt x="1249" y="226"/>
                      <a:pt x="1267" y="239"/>
                    </a:cubicBezTo>
                    <a:cubicBezTo>
                      <a:pt x="1250" y="220"/>
                      <a:pt x="1237" y="199"/>
                      <a:pt x="1218" y="184"/>
                    </a:cubicBezTo>
                    <a:close/>
                    <a:moveTo>
                      <a:pt x="207" y="280"/>
                    </a:moveTo>
                    <a:cubicBezTo>
                      <a:pt x="206" y="280"/>
                      <a:pt x="207" y="281"/>
                      <a:pt x="207" y="280"/>
                    </a:cubicBezTo>
                    <a:moveTo>
                      <a:pt x="207" y="280"/>
                    </a:moveTo>
                    <a:cubicBezTo>
                      <a:pt x="225" y="274"/>
                      <a:pt x="241" y="267"/>
                      <a:pt x="260" y="263"/>
                    </a:cubicBezTo>
                    <a:cubicBezTo>
                      <a:pt x="272" y="244"/>
                      <a:pt x="285" y="224"/>
                      <a:pt x="299" y="206"/>
                    </a:cubicBezTo>
                    <a:cubicBezTo>
                      <a:pt x="304" y="200"/>
                      <a:pt x="311" y="196"/>
                      <a:pt x="312" y="189"/>
                    </a:cubicBezTo>
                    <a:cubicBezTo>
                      <a:pt x="306" y="183"/>
                      <a:pt x="301" y="190"/>
                      <a:pt x="297" y="193"/>
                    </a:cubicBezTo>
                    <a:cubicBezTo>
                      <a:pt x="268" y="218"/>
                      <a:pt x="231" y="250"/>
                      <a:pt x="207" y="280"/>
                    </a:cubicBezTo>
                    <a:moveTo>
                      <a:pt x="267" y="192"/>
                    </a:moveTo>
                    <a:cubicBezTo>
                      <a:pt x="266" y="192"/>
                      <a:pt x="266" y="193"/>
                      <a:pt x="266" y="193"/>
                    </a:cubicBezTo>
                    <a:moveTo>
                      <a:pt x="266" y="193"/>
                    </a:moveTo>
                    <a:cubicBezTo>
                      <a:pt x="265" y="193"/>
                      <a:pt x="265" y="194"/>
                      <a:pt x="265" y="194"/>
                    </a:cubicBezTo>
                    <a:moveTo>
                      <a:pt x="265" y="194"/>
                    </a:moveTo>
                    <a:cubicBezTo>
                      <a:pt x="264" y="194"/>
                      <a:pt x="264" y="195"/>
                      <a:pt x="264" y="195"/>
                    </a:cubicBezTo>
                    <a:moveTo>
                      <a:pt x="264" y="195"/>
                    </a:moveTo>
                    <a:cubicBezTo>
                      <a:pt x="263" y="195"/>
                      <a:pt x="263" y="196"/>
                      <a:pt x="263" y="196"/>
                    </a:cubicBezTo>
                    <a:moveTo>
                      <a:pt x="263" y="196"/>
                    </a:moveTo>
                    <a:cubicBezTo>
                      <a:pt x="262" y="196"/>
                      <a:pt x="262" y="197"/>
                      <a:pt x="262" y="197"/>
                    </a:cubicBezTo>
                    <a:moveTo>
                      <a:pt x="262" y="197"/>
                    </a:moveTo>
                    <a:cubicBezTo>
                      <a:pt x="261" y="197"/>
                      <a:pt x="261" y="198"/>
                      <a:pt x="261" y="198"/>
                    </a:cubicBezTo>
                    <a:moveTo>
                      <a:pt x="261" y="198"/>
                    </a:moveTo>
                    <a:cubicBezTo>
                      <a:pt x="222" y="229"/>
                      <a:pt x="189" y="265"/>
                      <a:pt x="159" y="305"/>
                    </a:cubicBezTo>
                    <a:moveTo>
                      <a:pt x="159" y="305"/>
                    </a:moveTo>
                    <a:cubicBezTo>
                      <a:pt x="158" y="305"/>
                      <a:pt x="158" y="305"/>
                      <a:pt x="158" y="306"/>
                    </a:cubicBezTo>
                    <a:moveTo>
                      <a:pt x="158" y="306"/>
                    </a:moveTo>
                    <a:cubicBezTo>
                      <a:pt x="157" y="306"/>
                      <a:pt x="158" y="307"/>
                      <a:pt x="158" y="306"/>
                    </a:cubicBezTo>
                    <a:moveTo>
                      <a:pt x="158" y="306"/>
                    </a:moveTo>
                    <a:cubicBezTo>
                      <a:pt x="159" y="306"/>
                      <a:pt x="159" y="305"/>
                      <a:pt x="159" y="305"/>
                    </a:cubicBezTo>
                    <a:moveTo>
                      <a:pt x="159" y="305"/>
                    </a:moveTo>
                    <a:cubicBezTo>
                      <a:pt x="167" y="301"/>
                      <a:pt x="173" y="295"/>
                      <a:pt x="182" y="292"/>
                    </a:cubicBezTo>
                    <a:cubicBezTo>
                      <a:pt x="205" y="258"/>
                      <a:pt x="232" y="227"/>
                      <a:pt x="261" y="198"/>
                    </a:cubicBezTo>
                    <a:moveTo>
                      <a:pt x="261" y="198"/>
                    </a:moveTo>
                    <a:cubicBezTo>
                      <a:pt x="262" y="198"/>
                      <a:pt x="262" y="198"/>
                      <a:pt x="262" y="197"/>
                    </a:cubicBezTo>
                    <a:moveTo>
                      <a:pt x="262" y="197"/>
                    </a:moveTo>
                    <a:cubicBezTo>
                      <a:pt x="263" y="197"/>
                      <a:pt x="263" y="197"/>
                      <a:pt x="263" y="196"/>
                    </a:cubicBezTo>
                    <a:moveTo>
                      <a:pt x="263" y="196"/>
                    </a:moveTo>
                    <a:cubicBezTo>
                      <a:pt x="264" y="196"/>
                      <a:pt x="264" y="196"/>
                      <a:pt x="264" y="195"/>
                    </a:cubicBezTo>
                    <a:moveTo>
                      <a:pt x="264" y="195"/>
                    </a:moveTo>
                    <a:cubicBezTo>
                      <a:pt x="265" y="195"/>
                      <a:pt x="265" y="195"/>
                      <a:pt x="265" y="194"/>
                    </a:cubicBezTo>
                    <a:moveTo>
                      <a:pt x="265" y="194"/>
                    </a:moveTo>
                    <a:cubicBezTo>
                      <a:pt x="266" y="195"/>
                      <a:pt x="266" y="194"/>
                      <a:pt x="266" y="193"/>
                    </a:cubicBezTo>
                    <a:moveTo>
                      <a:pt x="266" y="193"/>
                    </a:moveTo>
                    <a:cubicBezTo>
                      <a:pt x="266" y="194"/>
                      <a:pt x="267" y="193"/>
                      <a:pt x="267" y="192"/>
                    </a:cubicBezTo>
                    <a:moveTo>
                      <a:pt x="267" y="192"/>
                    </a:moveTo>
                    <a:cubicBezTo>
                      <a:pt x="268" y="192"/>
                      <a:pt x="267" y="191"/>
                      <a:pt x="267" y="192"/>
                    </a:cubicBezTo>
                    <a:moveTo>
                      <a:pt x="265" y="261"/>
                    </a:moveTo>
                    <a:cubicBezTo>
                      <a:pt x="263" y="261"/>
                      <a:pt x="265" y="262"/>
                      <a:pt x="265" y="261"/>
                    </a:cubicBezTo>
                    <a:moveTo>
                      <a:pt x="265" y="261"/>
                    </a:moveTo>
                    <a:cubicBezTo>
                      <a:pt x="274" y="259"/>
                      <a:pt x="281" y="256"/>
                      <a:pt x="291" y="255"/>
                    </a:cubicBezTo>
                    <a:cubicBezTo>
                      <a:pt x="305" y="236"/>
                      <a:pt x="324" y="222"/>
                      <a:pt x="340" y="205"/>
                    </a:cubicBezTo>
                    <a:cubicBezTo>
                      <a:pt x="330" y="202"/>
                      <a:pt x="323" y="196"/>
                      <a:pt x="315" y="192"/>
                    </a:cubicBezTo>
                    <a:cubicBezTo>
                      <a:pt x="296" y="214"/>
                      <a:pt x="279" y="236"/>
                      <a:pt x="265" y="261"/>
                    </a:cubicBezTo>
                    <a:moveTo>
                      <a:pt x="1208" y="192"/>
                    </a:moveTo>
                    <a:cubicBezTo>
                      <a:pt x="1198" y="200"/>
                      <a:pt x="1184" y="204"/>
                      <a:pt x="1173" y="211"/>
                    </a:cubicBezTo>
                    <a:cubicBezTo>
                      <a:pt x="1184" y="223"/>
                      <a:pt x="1187" y="240"/>
                      <a:pt x="1203" y="247"/>
                    </a:cubicBezTo>
                    <a:cubicBezTo>
                      <a:pt x="1215" y="253"/>
                      <a:pt x="1231" y="253"/>
                      <a:pt x="1246" y="257"/>
                    </a:cubicBezTo>
                    <a:cubicBezTo>
                      <a:pt x="1260" y="261"/>
                      <a:pt x="1274" y="266"/>
                      <a:pt x="1287" y="269"/>
                    </a:cubicBezTo>
                    <a:cubicBezTo>
                      <a:pt x="1267" y="238"/>
                      <a:pt x="1237" y="216"/>
                      <a:pt x="1208" y="192"/>
                    </a:cubicBezTo>
                    <a:close/>
                    <a:moveTo>
                      <a:pt x="637" y="198"/>
                    </a:moveTo>
                    <a:cubicBezTo>
                      <a:pt x="636" y="202"/>
                      <a:pt x="630" y="210"/>
                      <a:pt x="633" y="212"/>
                    </a:cubicBezTo>
                    <a:cubicBezTo>
                      <a:pt x="638" y="210"/>
                      <a:pt x="636" y="203"/>
                      <a:pt x="637" y="198"/>
                    </a:cubicBezTo>
                    <a:moveTo>
                      <a:pt x="637" y="198"/>
                    </a:moveTo>
                    <a:cubicBezTo>
                      <a:pt x="640" y="198"/>
                      <a:pt x="636" y="194"/>
                      <a:pt x="637" y="198"/>
                    </a:cubicBezTo>
                    <a:moveTo>
                      <a:pt x="1072" y="226"/>
                    </a:moveTo>
                    <a:cubicBezTo>
                      <a:pt x="1076" y="226"/>
                      <a:pt x="1083" y="228"/>
                      <a:pt x="1085" y="227"/>
                    </a:cubicBezTo>
                    <a:cubicBezTo>
                      <a:pt x="1077" y="219"/>
                      <a:pt x="1070" y="209"/>
                      <a:pt x="1062" y="201"/>
                    </a:cubicBezTo>
                    <a:cubicBezTo>
                      <a:pt x="1065" y="210"/>
                      <a:pt x="1069" y="217"/>
                      <a:pt x="1072" y="226"/>
                    </a:cubicBezTo>
                    <a:close/>
                    <a:moveTo>
                      <a:pt x="342" y="207"/>
                    </a:moveTo>
                    <a:cubicBezTo>
                      <a:pt x="327" y="222"/>
                      <a:pt x="310" y="236"/>
                      <a:pt x="296" y="253"/>
                    </a:cubicBezTo>
                    <a:cubicBezTo>
                      <a:pt x="319" y="247"/>
                      <a:pt x="343" y="243"/>
                      <a:pt x="366" y="239"/>
                    </a:cubicBezTo>
                    <a:cubicBezTo>
                      <a:pt x="370" y="231"/>
                      <a:pt x="374" y="225"/>
                      <a:pt x="377" y="217"/>
                    </a:cubicBezTo>
                    <a:cubicBezTo>
                      <a:pt x="364" y="215"/>
                      <a:pt x="354" y="210"/>
                      <a:pt x="342" y="207"/>
                    </a:cubicBezTo>
                    <a:close/>
                    <a:moveTo>
                      <a:pt x="745" y="212"/>
                    </a:moveTo>
                    <a:cubicBezTo>
                      <a:pt x="745" y="226"/>
                      <a:pt x="744" y="240"/>
                      <a:pt x="743" y="254"/>
                    </a:cubicBezTo>
                    <a:cubicBezTo>
                      <a:pt x="757" y="253"/>
                      <a:pt x="774" y="255"/>
                      <a:pt x="786" y="253"/>
                    </a:cubicBezTo>
                    <a:cubicBezTo>
                      <a:pt x="784" y="241"/>
                      <a:pt x="786" y="224"/>
                      <a:pt x="784" y="212"/>
                    </a:cubicBezTo>
                    <a:cubicBezTo>
                      <a:pt x="773" y="210"/>
                      <a:pt x="756" y="210"/>
                      <a:pt x="745" y="212"/>
                    </a:cubicBezTo>
                    <a:close/>
                    <a:moveTo>
                      <a:pt x="1176" y="220"/>
                    </a:moveTo>
                    <a:cubicBezTo>
                      <a:pt x="1176" y="221"/>
                      <a:pt x="1176" y="221"/>
                      <a:pt x="1177" y="221"/>
                    </a:cubicBezTo>
                    <a:moveTo>
                      <a:pt x="1177" y="221"/>
                    </a:moveTo>
                    <a:cubicBezTo>
                      <a:pt x="1177" y="223"/>
                      <a:pt x="1178" y="221"/>
                      <a:pt x="1177" y="221"/>
                    </a:cubicBezTo>
                    <a:moveTo>
                      <a:pt x="1177" y="221"/>
                    </a:moveTo>
                    <a:cubicBezTo>
                      <a:pt x="1177" y="220"/>
                      <a:pt x="1176" y="220"/>
                      <a:pt x="1176" y="220"/>
                    </a:cubicBezTo>
                    <a:moveTo>
                      <a:pt x="1176" y="220"/>
                    </a:moveTo>
                    <a:cubicBezTo>
                      <a:pt x="1174" y="216"/>
                      <a:pt x="1171" y="207"/>
                      <a:pt x="1166" y="213"/>
                    </a:cubicBezTo>
                    <a:cubicBezTo>
                      <a:pt x="1170" y="214"/>
                      <a:pt x="1172" y="218"/>
                      <a:pt x="1176" y="220"/>
                    </a:cubicBezTo>
                    <a:moveTo>
                      <a:pt x="639" y="214"/>
                    </a:moveTo>
                    <a:cubicBezTo>
                      <a:pt x="637" y="225"/>
                      <a:pt x="635" y="238"/>
                      <a:pt x="633" y="251"/>
                    </a:cubicBezTo>
                    <a:cubicBezTo>
                      <a:pt x="669" y="252"/>
                      <a:pt x="704" y="254"/>
                      <a:pt x="741" y="254"/>
                    </a:cubicBezTo>
                    <a:cubicBezTo>
                      <a:pt x="741" y="239"/>
                      <a:pt x="742" y="225"/>
                      <a:pt x="743" y="212"/>
                    </a:cubicBezTo>
                    <a:cubicBezTo>
                      <a:pt x="707" y="211"/>
                      <a:pt x="673" y="213"/>
                      <a:pt x="639" y="214"/>
                    </a:cubicBezTo>
                    <a:close/>
                    <a:moveTo>
                      <a:pt x="787" y="212"/>
                    </a:moveTo>
                    <a:cubicBezTo>
                      <a:pt x="786" y="227"/>
                      <a:pt x="789" y="239"/>
                      <a:pt x="788" y="254"/>
                    </a:cubicBezTo>
                    <a:cubicBezTo>
                      <a:pt x="815" y="254"/>
                      <a:pt x="840" y="252"/>
                      <a:pt x="867" y="252"/>
                    </a:cubicBezTo>
                    <a:cubicBezTo>
                      <a:pt x="863" y="238"/>
                      <a:pt x="860" y="225"/>
                      <a:pt x="856" y="213"/>
                    </a:cubicBezTo>
                    <a:cubicBezTo>
                      <a:pt x="834" y="212"/>
                      <a:pt x="811" y="211"/>
                      <a:pt x="787" y="212"/>
                    </a:cubicBezTo>
                    <a:close/>
                    <a:moveTo>
                      <a:pt x="870" y="251"/>
                    </a:moveTo>
                    <a:cubicBezTo>
                      <a:pt x="891" y="251"/>
                      <a:pt x="917" y="249"/>
                      <a:pt x="938" y="247"/>
                    </a:cubicBezTo>
                    <a:cubicBezTo>
                      <a:pt x="937" y="236"/>
                      <a:pt x="934" y="227"/>
                      <a:pt x="932" y="216"/>
                    </a:cubicBezTo>
                    <a:cubicBezTo>
                      <a:pt x="909" y="214"/>
                      <a:pt x="884" y="214"/>
                      <a:pt x="861" y="213"/>
                    </a:cubicBezTo>
                    <a:cubicBezTo>
                      <a:pt x="864" y="226"/>
                      <a:pt x="868" y="237"/>
                      <a:pt x="870" y="251"/>
                    </a:cubicBezTo>
                    <a:close/>
                    <a:moveTo>
                      <a:pt x="1190" y="244"/>
                    </a:moveTo>
                    <a:cubicBezTo>
                      <a:pt x="1191" y="246"/>
                      <a:pt x="1191" y="244"/>
                      <a:pt x="1190" y="244"/>
                    </a:cubicBezTo>
                    <a:moveTo>
                      <a:pt x="1190" y="244"/>
                    </a:moveTo>
                    <a:cubicBezTo>
                      <a:pt x="1184" y="231"/>
                      <a:pt x="1173" y="222"/>
                      <a:pt x="1162" y="213"/>
                    </a:cubicBezTo>
                    <a:cubicBezTo>
                      <a:pt x="1143" y="221"/>
                      <a:pt x="1120" y="224"/>
                      <a:pt x="1099" y="230"/>
                    </a:cubicBezTo>
                    <a:cubicBezTo>
                      <a:pt x="1131" y="233"/>
                      <a:pt x="1160" y="239"/>
                      <a:pt x="1190" y="244"/>
                    </a:cubicBezTo>
                    <a:moveTo>
                      <a:pt x="632" y="214"/>
                    </a:moveTo>
                    <a:cubicBezTo>
                      <a:pt x="625" y="223"/>
                      <a:pt x="622" y="237"/>
                      <a:pt x="618" y="250"/>
                    </a:cubicBezTo>
                    <a:cubicBezTo>
                      <a:pt x="622" y="250"/>
                      <a:pt x="626" y="250"/>
                      <a:pt x="630" y="250"/>
                    </a:cubicBezTo>
                    <a:cubicBezTo>
                      <a:pt x="631" y="238"/>
                      <a:pt x="633" y="225"/>
                      <a:pt x="635" y="214"/>
                    </a:cubicBezTo>
                    <a:cubicBezTo>
                      <a:pt x="634" y="214"/>
                      <a:pt x="633" y="214"/>
                      <a:pt x="632" y="214"/>
                    </a:cubicBezTo>
                    <a:close/>
                    <a:moveTo>
                      <a:pt x="515" y="222"/>
                    </a:moveTo>
                    <a:cubicBezTo>
                      <a:pt x="512" y="228"/>
                      <a:pt x="507" y="233"/>
                      <a:pt x="505" y="239"/>
                    </a:cubicBezTo>
                    <a:cubicBezTo>
                      <a:pt x="541" y="243"/>
                      <a:pt x="576" y="248"/>
                      <a:pt x="615" y="249"/>
                    </a:cubicBezTo>
                    <a:cubicBezTo>
                      <a:pt x="619" y="237"/>
                      <a:pt x="623" y="226"/>
                      <a:pt x="628" y="215"/>
                    </a:cubicBezTo>
                    <a:cubicBezTo>
                      <a:pt x="589" y="216"/>
                      <a:pt x="552" y="218"/>
                      <a:pt x="515" y="222"/>
                    </a:cubicBezTo>
                    <a:close/>
                    <a:moveTo>
                      <a:pt x="941" y="247"/>
                    </a:moveTo>
                    <a:cubicBezTo>
                      <a:pt x="956" y="246"/>
                      <a:pt x="972" y="245"/>
                      <a:pt x="986" y="242"/>
                    </a:cubicBezTo>
                    <a:cubicBezTo>
                      <a:pt x="980" y="235"/>
                      <a:pt x="978" y="225"/>
                      <a:pt x="971" y="219"/>
                    </a:cubicBezTo>
                    <a:cubicBezTo>
                      <a:pt x="960" y="218"/>
                      <a:pt x="947" y="217"/>
                      <a:pt x="935" y="216"/>
                    </a:cubicBezTo>
                    <a:cubicBezTo>
                      <a:pt x="936" y="227"/>
                      <a:pt x="939" y="236"/>
                      <a:pt x="941" y="247"/>
                    </a:cubicBezTo>
                    <a:close/>
                    <a:moveTo>
                      <a:pt x="370" y="238"/>
                    </a:moveTo>
                    <a:cubicBezTo>
                      <a:pt x="369" y="238"/>
                      <a:pt x="370" y="239"/>
                      <a:pt x="370" y="238"/>
                    </a:cubicBezTo>
                    <a:moveTo>
                      <a:pt x="370" y="238"/>
                    </a:moveTo>
                    <a:cubicBezTo>
                      <a:pt x="384" y="235"/>
                      <a:pt x="401" y="237"/>
                      <a:pt x="406" y="225"/>
                    </a:cubicBezTo>
                    <a:cubicBezTo>
                      <a:pt x="396" y="224"/>
                      <a:pt x="389" y="220"/>
                      <a:pt x="379" y="219"/>
                    </a:cubicBezTo>
                    <a:cubicBezTo>
                      <a:pt x="377" y="226"/>
                      <a:pt x="372" y="230"/>
                      <a:pt x="370" y="238"/>
                    </a:cubicBezTo>
                    <a:moveTo>
                      <a:pt x="989" y="242"/>
                    </a:moveTo>
                    <a:cubicBezTo>
                      <a:pt x="1017" y="239"/>
                      <a:pt x="1047" y="238"/>
                      <a:pt x="1071" y="230"/>
                    </a:cubicBezTo>
                    <a:cubicBezTo>
                      <a:pt x="1042" y="224"/>
                      <a:pt x="1008" y="222"/>
                      <a:pt x="976" y="219"/>
                    </a:cubicBezTo>
                    <a:cubicBezTo>
                      <a:pt x="980" y="227"/>
                      <a:pt x="984" y="235"/>
                      <a:pt x="989" y="242"/>
                    </a:cubicBezTo>
                    <a:close/>
                    <a:moveTo>
                      <a:pt x="497" y="223"/>
                    </a:moveTo>
                    <a:cubicBezTo>
                      <a:pt x="494" y="227"/>
                      <a:pt x="494" y="233"/>
                      <a:pt x="491" y="238"/>
                    </a:cubicBezTo>
                    <a:cubicBezTo>
                      <a:pt x="495" y="237"/>
                      <a:pt x="497" y="239"/>
                      <a:pt x="502" y="239"/>
                    </a:cubicBezTo>
                    <a:cubicBezTo>
                      <a:pt x="504" y="232"/>
                      <a:pt x="509" y="228"/>
                      <a:pt x="511" y="222"/>
                    </a:cubicBezTo>
                    <a:cubicBezTo>
                      <a:pt x="507" y="223"/>
                      <a:pt x="503" y="224"/>
                      <a:pt x="497" y="223"/>
                    </a:cubicBezTo>
                    <a:close/>
                    <a:moveTo>
                      <a:pt x="1178" y="224"/>
                    </a:moveTo>
                    <a:cubicBezTo>
                      <a:pt x="1177" y="224"/>
                      <a:pt x="1178" y="225"/>
                      <a:pt x="1178" y="224"/>
                    </a:cubicBezTo>
                    <a:close/>
                    <a:moveTo>
                      <a:pt x="445" y="231"/>
                    </a:moveTo>
                    <a:cubicBezTo>
                      <a:pt x="460" y="233"/>
                      <a:pt x="475" y="235"/>
                      <a:pt x="489" y="238"/>
                    </a:cubicBezTo>
                    <a:cubicBezTo>
                      <a:pt x="490" y="232"/>
                      <a:pt x="492" y="229"/>
                      <a:pt x="493" y="224"/>
                    </a:cubicBezTo>
                    <a:cubicBezTo>
                      <a:pt x="477" y="226"/>
                      <a:pt x="459" y="226"/>
                      <a:pt x="445" y="231"/>
                    </a:cubicBezTo>
                    <a:close/>
                    <a:moveTo>
                      <a:pt x="421" y="230"/>
                    </a:moveTo>
                    <a:cubicBezTo>
                      <a:pt x="423" y="230"/>
                      <a:pt x="429" y="229"/>
                      <a:pt x="424" y="229"/>
                    </a:cubicBezTo>
                    <a:cubicBezTo>
                      <a:pt x="419" y="228"/>
                      <a:pt x="414" y="227"/>
                      <a:pt x="409" y="226"/>
                    </a:cubicBezTo>
                    <a:cubicBezTo>
                      <a:pt x="407" y="229"/>
                      <a:pt x="404" y="230"/>
                      <a:pt x="403" y="233"/>
                    </a:cubicBezTo>
                    <a:cubicBezTo>
                      <a:pt x="409" y="232"/>
                      <a:pt x="416" y="231"/>
                      <a:pt x="421" y="230"/>
                    </a:cubicBezTo>
                    <a:close/>
                    <a:moveTo>
                      <a:pt x="1079" y="230"/>
                    </a:moveTo>
                    <a:cubicBezTo>
                      <a:pt x="1078" y="229"/>
                      <a:pt x="1073" y="228"/>
                      <a:pt x="1073" y="230"/>
                    </a:cubicBezTo>
                    <a:cubicBezTo>
                      <a:pt x="1074" y="231"/>
                      <a:pt x="1078" y="232"/>
                      <a:pt x="1079" y="230"/>
                    </a:cubicBezTo>
                    <a:close/>
                    <a:moveTo>
                      <a:pt x="309" y="418"/>
                    </a:moveTo>
                    <a:cubicBezTo>
                      <a:pt x="307" y="419"/>
                      <a:pt x="309" y="419"/>
                      <a:pt x="309" y="418"/>
                    </a:cubicBezTo>
                    <a:moveTo>
                      <a:pt x="309" y="418"/>
                    </a:moveTo>
                    <a:cubicBezTo>
                      <a:pt x="345" y="412"/>
                      <a:pt x="381" y="406"/>
                      <a:pt x="418" y="401"/>
                    </a:cubicBezTo>
                    <a:cubicBezTo>
                      <a:pt x="436" y="359"/>
                      <a:pt x="455" y="318"/>
                      <a:pt x="477" y="281"/>
                    </a:cubicBezTo>
                    <a:cubicBezTo>
                      <a:pt x="479" y="266"/>
                      <a:pt x="484" y="253"/>
                      <a:pt x="488" y="239"/>
                    </a:cubicBezTo>
                    <a:cubicBezTo>
                      <a:pt x="458" y="236"/>
                      <a:pt x="431" y="227"/>
                      <a:pt x="401" y="236"/>
                    </a:cubicBezTo>
                    <a:cubicBezTo>
                      <a:pt x="376" y="263"/>
                      <a:pt x="355" y="294"/>
                      <a:pt x="333" y="324"/>
                    </a:cubicBezTo>
                    <a:cubicBezTo>
                      <a:pt x="324" y="355"/>
                      <a:pt x="314" y="384"/>
                      <a:pt x="309" y="418"/>
                    </a:cubicBezTo>
                    <a:moveTo>
                      <a:pt x="1092" y="232"/>
                    </a:moveTo>
                    <a:cubicBezTo>
                      <a:pt x="1137" y="288"/>
                      <a:pt x="1175" y="350"/>
                      <a:pt x="1208" y="417"/>
                    </a:cubicBezTo>
                    <a:cubicBezTo>
                      <a:pt x="1224" y="419"/>
                      <a:pt x="1240" y="426"/>
                      <a:pt x="1256" y="425"/>
                    </a:cubicBezTo>
                    <a:cubicBezTo>
                      <a:pt x="1244" y="360"/>
                      <a:pt x="1220" y="299"/>
                      <a:pt x="1192" y="247"/>
                    </a:cubicBezTo>
                    <a:cubicBezTo>
                      <a:pt x="1159" y="242"/>
                      <a:pt x="1128" y="235"/>
                      <a:pt x="1092" y="232"/>
                    </a:cubicBezTo>
                    <a:moveTo>
                      <a:pt x="1092" y="232"/>
                    </a:moveTo>
                    <a:cubicBezTo>
                      <a:pt x="1092" y="230"/>
                      <a:pt x="1091" y="232"/>
                      <a:pt x="1092" y="232"/>
                    </a:cubicBezTo>
                    <a:moveTo>
                      <a:pt x="1104" y="252"/>
                    </a:moveTo>
                    <a:cubicBezTo>
                      <a:pt x="1096" y="241"/>
                      <a:pt x="1089" y="225"/>
                      <a:pt x="1075" y="235"/>
                    </a:cubicBezTo>
                    <a:cubicBezTo>
                      <a:pt x="1096" y="285"/>
                      <a:pt x="1109" y="342"/>
                      <a:pt x="1119" y="403"/>
                    </a:cubicBezTo>
                    <a:cubicBezTo>
                      <a:pt x="1148" y="406"/>
                      <a:pt x="1178" y="413"/>
                      <a:pt x="1205" y="415"/>
                    </a:cubicBezTo>
                    <a:cubicBezTo>
                      <a:pt x="1178" y="360"/>
                      <a:pt x="1141" y="300"/>
                      <a:pt x="1104" y="252"/>
                    </a:cubicBezTo>
                    <a:close/>
                    <a:moveTo>
                      <a:pt x="990" y="245"/>
                    </a:moveTo>
                    <a:cubicBezTo>
                      <a:pt x="1015" y="293"/>
                      <a:pt x="1038" y="342"/>
                      <a:pt x="1057" y="395"/>
                    </a:cubicBezTo>
                    <a:cubicBezTo>
                      <a:pt x="1077" y="398"/>
                      <a:pt x="1097" y="399"/>
                      <a:pt x="1116" y="403"/>
                    </a:cubicBezTo>
                    <a:cubicBezTo>
                      <a:pt x="1108" y="349"/>
                      <a:pt x="1096" y="297"/>
                      <a:pt x="1080" y="252"/>
                    </a:cubicBezTo>
                    <a:cubicBezTo>
                      <a:pt x="1078" y="246"/>
                      <a:pt x="1076" y="238"/>
                      <a:pt x="1070" y="235"/>
                    </a:cubicBezTo>
                    <a:cubicBezTo>
                      <a:pt x="1044" y="239"/>
                      <a:pt x="1018" y="243"/>
                      <a:pt x="990" y="245"/>
                    </a:cubicBezTo>
                    <a:close/>
                    <a:moveTo>
                      <a:pt x="368" y="240"/>
                    </a:moveTo>
                    <a:cubicBezTo>
                      <a:pt x="357" y="263"/>
                      <a:pt x="345" y="288"/>
                      <a:pt x="339" y="312"/>
                    </a:cubicBezTo>
                    <a:cubicBezTo>
                      <a:pt x="353" y="289"/>
                      <a:pt x="373" y="265"/>
                      <a:pt x="390" y="245"/>
                    </a:cubicBezTo>
                    <a:cubicBezTo>
                      <a:pt x="392" y="243"/>
                      <a:pt x="395" y="239"/>
                      <a:pt x="394" y="237"/>
                    </a:cubicBezTo>
                    <a:cubicBezTo>
                      <a:pt x="386" y="238"/>
                      <a:pt x="378" y="240"/>
                      <a:pt x="368" y="240"/>
                    </a:cubicBezTo>
                    <a:close/>
                    <a:moveTo>
                      <a:pt x="483" y="268"/>
                    </a:moveTo>
                    <a:cubicBezTo>
                      <a:pt x="480" y="268"/>
                      <a:pt x="484" y="272"/>
                      <a:pt x="483" y="268"/>
                    </a:cubicBezTo>
                    <a:moveTo>
                      <a:pt x="483" y="268"/>
                    </a:moveTo>
                    <a:cubicBezTo>
                      <a:pt x="489" y="260"/>
                      <a:pt x="494" y="251"/>
                      <a:pt x="499" y="241"/>
                    </a:cubicBezTo>
                    <a:cubicBezTo>
                      <a:pt x="496" y="241"/>
                      <a:pt x="494" y="240"/>
                      <a:pt x="490" y="240"/>
                    </a:cubicBezTo>
                    <a:cubicBezTo>
                      <a:pt x="488" y="250"/>
                      <a:pt x="484" y="258"/>
                      <a:pt x="483" y="268"/>
                    </a:cubicBezTo>
                    <a:moveTo>
                      <a:pt x="327" y="249"/>
                    </a:moveTo>
                    <a:cubicBezTo>
                      <a:pt x="315" y="252"/>
                      <a:pt x="301" y="252"/>
                      <a:pt x="294" y="256"/>
                    </a:cubicBezTo>
                    <a:cubicBezTo>
                      <a:pt x="288" y="259"/>
                      <a:pt x="279" y="270"/>
                      <a:pt x="273" y="277"/>
                    </a:cubicBezTo>
                    <a:cubicBezTo>
                      <a:pt x="242" y="313"/>
                      <a:pt x="211" y="348"/>
                      <a:pt x="198" y="402"/>
                    </a:cubicBezTo>
                    <a:cubicBezTo>
                      <a:pt x="222" y="411"/>
                      <a:pt x="245" y="420"/>
                      <a:pt x="271" y="426"/>
                    </a:cubicBezTo>
                    <a:cubicBezTo>
                      <a:pt x="285" y="399"/>
                      <a:pt x="300" y="372"/>
                      <a:pt x="316" y="347"/>
                    </a:cubicBezTo>
                    <a:cubicBezTo>
                      <a:pt x="321" y="339"/>
                      <a:pt x="328" y="330"/>
                      <a:pt x="332" y="322"/>
                    </a:cubicBezTo>
                    <a:cubicBezTo>
                      <a:pt x="344" y="296"/>
                      <a:pt x="348" y="268"/>
                      <a:pt x="365" y="243"/>
                    </a:cubicBezTo>
                    <a:cubicBezTo>
                      <a:pt x="364" y="243"/>
                      <a:pt x="365" y="241"/>
                      <a:pt x="364" y="241"/>
                    </a:cubicBezTo>
                    <a:cubicBezTo>
                      <a:pt x="353" y="243"/>
                      <a:pt x="340" y="246"/>
                      <a:pt x="327" y="249"/>
                    </a:cubicBezTo>
                    <a:close/>
                    <a:moveTo>
                      <a:pt x="504" y="242"/>
                    </a:moveTo>
                    <a:cubicBezTo>
                      <a:pt x="472" y="274"/>
                      <a:pt x="465" y="338"/>
                      <a:pt x="457" y="396"/>
                    </a:cubicBezTo>
                    <a:cubicBezTo>
                      <a:pt x="495" y="392"/>
                      <a:pt x="535" y="389"/>
                      <a:pt x="575" y="385"/>
                    </a:cubicBezTo>
                    <a:cubicBezTo>
                      <a:pt x="587" y="340"/>
                      <a:pt x="599" y="294"/>
                      <a:pt x="614" y="252"/>
                    </a:cubicBezTo>
                    <a:cubicBezTo>
                      <a:pt x="576" y="250"/>
                      <a:pt x="540" y="246"/>
                      <a:pt x="504" y="242"/>
                    </a:cubicBezTo>
                    <a:close/>
                    <a:moveTo>
                      <a:pt x="1194" y="244"/>
                    </a:moveTo>
                    <a:cubicBezTo>
                      <a:pt x="1194" y="245"/>
                      <a:pt x="1194" y="245"/>
                      <a:pt x="1195" y="245"/>
                    </a:cubicBezTo>
                    <a:moveTo>
                      <a:pt x="1195" y="245"/>
                    </a:moveTo>
                    <a:cubicBezTo>
                      <a:pt x="1196" y="247"/>
                      <a:pt x="1196" y="245"/>
                      <a:pt x="1195" y="245"/>
                    </a:cubicBezTo>
                    <a:moveTo>
                      <a:pt x="1195" y="245"/>
                    </a:moveTo>
                    <a:cubicBezTo>
                      <a:pt x="1195" y="244"/>
                      <a:pt x="1195" y="244"/>
                      <a:pt x="1194" y="244"/>
                    </a:cubicBezTo>
                    <a:moveTo>
                      <a:pt x="1194" y="244"/>
                    </a:moveTo>
                    <a:cubicBezTo>
                      <a:pt x="1193" y="243"/>
                      <a:pt x="1193" y="244"/>
                      <a:pt x="1194" y="244"/>
                    </a:cubicBezTo>
                    <a:moveTo>
                      <a:pt x="942" y="250"/>
                    </a:moveTo>
                    <a:cubicBezTo>
                      <a:pt x="949" y="294"/>
                      <a:pt x="955" y="339"/>
                      <a:pt x="960" y="386"/>
                    </a:cubicBezTo>
                    <a:cubicBezTo>
                      <a:pt x="991" y="389"/>
                      <a:pt x="1024" y="391"/>
                      <a:pt x="1054" y="395"/>
                    </a:cubicBezTo>
                    <a:cubicBezTo>
                      <a:pt x="1035" y="342"/>
                      <a:pt x="1013" y="293"/>
                      <a:pt x="988" y="246"/>
                    </a:cubicBezTo>
                    <a:cubicBezTo>
                      <a:pt x="972" y="247"/>
                      <a:pt x="957" y="249"/>
                      <a:pt x="942" y="250"/>
                    </a:cubicBezTo>
                    <a:close/>
                    <a:moveTo>
                      <a:pt x="1259" y="424"/>
                    </a:moveTo>
                    <a:cubicBezTo>
                      <a:pt x="1279" y="419"/>
                      <a:pt x="1296" y="412"/>
                      <a:pt x="1314" y="407"/>
                    </a:cubicBezTo>
                    <a:cubicBezTo>
                      <a:pt x="1282" y="347"/>
                      <a:pt x="1242" y="296"/>
                      <a:pt x="1198" y="249"/>
                    </a:cubicBezTo>
                    <a:cubicBezTo>
                      <a:pt x="1197" y="249"/>
                      <a:pt x="1196" y="249"/>
                      <a:pt x="1196" y="250"/>
                    </a:cubicBezTo>
                    <a:cubicBezTo>
                      <a:pt x="1224" y="301"/>
                      <a:pt x="1245" y="359"/>
                      <a:pt x="1259" y="424"/>
                    </a:cubicBezTo>
                    <a:close/>
                    <a:moveTo>
                      <a:pt x="871" y="255"/>
                    </a:moveTo>
                    <a:cubicBezTo>
                      <a:pt x="883" y="296"/>
                      <a:pt x="891" y="339"/>
                      <a:pt x="899" y="383"/>
                    </a:cubicBezTo>
                    <a:cubicBezTo>
                      <a:pt x="918" y="384"/>
                      <a:pt x="938" y="384"/>
                      <a:pt x="957" y="386"/>
                    </a:cubicBezTo>
                    <a:cubicBezTo>
                      <a:pt x="953" y="345"/>
                      <a:pt x="948" y="301"/>
                      <a:pt x="942" y="264"/>
                    </a:cubicBezTo>
                    <a:cubicBezTo>
                      <a:pt x="941" y="260"/>
                      <a:pt x="941" y="252"/>
                      <a:pt x="936" y="250"/>
                    </a:cubicBezTo>
                    <a:cubicBezTo>
                      <a:pt x="915" y="253"/>
                      <a:pt x="892" y="252"/>
                      <a:pt x="871" y="255"/>
                    </a:cubicBezTo>
                    <a:close/>
                    <a:moveTo>
                      <a:pt x="1317" y="405"/>
                    </a:moveTo>
                    <a:cubicBezTo>
                      <a:pt x="1328" y="400"/>
                      <a:pt x="1340" y="395"/>
                      <a:pt x="1350" y="388"/>
                    </a:cubicBezTo>
                    <a:cubicBezTo>
                      <a:pt x="1332" y="347"/>
                      <a:pt x="1314" y="307"/>
                      <a:pt x="1289" y="273"/>
                    </a:cubicBezTo>
                    <a:cubicBezTo>
                      <a:pt x="1263" y="264"/>
                      <a:pt x="1231" y="255"/>
                      <a:pt x="1204" y="251"/>
                    </a:cubicBezTo>
                    <a:cubicBezTo>
                      <a:pt x="1247" y="297"/>
                      <a:pt x="1284" y="348"/>
                      <a:pt x="1317" y="405"/>
                    </a:cubicBezTo>
                    <a:close/>
                    <a:moveTo>
                      <a:pt x="616" y="253"/>
                    </a:moveTo>
                    <a:cubicBezTo>
                      <a:pt x="602" y="296"/>
                      <a:pt x="589" y="340"/>
                      <a:pt x="578" y="385"/>
                    </a:cubicBezTo>
                    <a:cubicBezTo>
                      <a:pt x="591" y="385"/>
                      <a:pt x="603" y="384"/>
                      <a:pt x="617" y="383"/>
                    </a:cubicBezTo>
                    <a:cubicBezTo>
                      <a:pt x="619" y="338"/>
                      <a:pt x="624" y="295"/>
                      <a:pt x="630" y="253"/>
                    </a:cubicBezTo>
                    <a:cubicBezTo>
                      <a:pt x="625" y="254"/>
                      <a:pt x="618" y="252"/>
                      <a:pt x="616" y="253"/>
                    </a:cubicBezTo>
                    <a:close/>
                    <a:moveTo>
                      <a:pt x="632" y="256"/>
                    </a:moveTo>
                    <a:cubicBezTo>
                      <a:pt x="628" y="298"/>
                      <a:pt x="623" y="339"/>
                      <a:pt x="621" y="383"/>
                    </a:cubicBezTo>
                    <a:cubicBezTo>
                      <a:pt x="658" y="381"/>
                      <a:pt x="697" y="381"/>
                      <a:pt x="735" y="380"/>
                    </a:cubicBezTo>
                    <a:cubicBezTo>
                      <a:pt x="737" y="339"/>
                      <a:pt x="739" y="298"/>
                      <a:pt x="740" y="257"/>
                    </a:cubicBezTo>
                    <a:cubicBezTo>
                      <a:pt x="704" y="257"/>
                      <a:pt x="670" y="255"/>
                      <a:pt x="634" y="254"/>
                    </a:cubicBezTo>
                    <a:cubicBezTo>
                      <a:pt x="634" y="252"/>
                      <a:pt x="632" y="254"/>
                      <a:pt x="632" y="256"/>
                    </a:cubicBezTo>
                    <a:close/>
                    <a:moveTo>
                      <a:pt x="788" y="257"/>
                    </a:moveTo>
                    <a:cubicBezTo>
                      <a:pt x="789" y="297"/>
                      <a:pt x="790" y="338"/>
                      <a:pt x="790" y="380"/>
                    </a:cubicBezTo>
                    <a:cubicBezTo>
                      <a:pt x="825" y="380"/>
                      <a:pt x="860" y="381"/>
                      <a:pt x="894" y="383"/>
                    </a:cubicBezTo>
                    <a:cubicBezTo>
                      <a:pt x="888" y="338"/>
                      <a:pt x="878" y="296"/>
                      <a:pt x="868" y="255"/>
                    </a:cubicBezTo>
                    <a:cubicBezTo>
                      <a:pt x="841" y="255"/>
                      <a:pt x="815" y="257"/>
                      <a:pt x="788" y="257"/>
                    </a:cubicBezTo>
                    <a:close/>
                    <a:moveTo>
                      <a:pt x="744" y="257"/>
                    </a:moveTo>
                    <a:cubicBezTo>
                      <a:pt x="740" y="296"/>
                      <a:pt x="740" y="339"/>
                      <a:pt x="738" y="380"/>
                    </a:cubicBezTo>
                    <a:cubicBezTo>
                      <a:pt x="755" y="380"/>
                      <a:pt x="771" y="380"/>
                      <a:pt x="788" y="380"/>
                    </a:cubicBezTo>
                    <a:cubicBezTo>
                      <a:pt x="788" y="338"/>
                      <a:pt x="786" y="298"/>
                      <a:pt x="786" y="257"/>
                    </a:cubicBezTo>
                    <a:cubicBezTo>
                      <a:pt x="772" y="257"/>
                      <a:pt x="758" y="257"/>
                      <a:pt x="744" y="257"/>
                    </a:cubicBezTo>
                    <a:close/>
                    <a:moveTo>
                      <a:pt x="286" y="259"/>
                    </a:moveTo>
                    <a:cubicBezTo>
                      <a:pt x="277" y="260"/>
                      <a:pt x="270" y="263"/>
                      <a:pt x="262" y="264"/>
                    </a:cubicBezTo>
                    <a:cubicBezTo>
                      <a:pt x="249" y="285"/>
                      <a:pt x="237" y="306"/>
                      <a:pt x="227" y="329"/>
                    </a:cubicBezTo>
                    <a:moveTo>
                      <a:pt x="227" y="329"/>
                    </a:moveTo>
                    <a:cubicBezTo>
                      <a:pt x="226" y="329"/>
                      <a:pt x="227" y="330"/>
                      <a:pt x="226" y="331"/>
                    </a:cubicBezTo>
                    <a:moveTo>
                      <a:pt x="226" y="331"/>
                    </a:moveTo>
                    <a:cubicBezTo>
                      <a:pt x="225" y="331"/>
                      <a:pt x="226" y="332"/>
                      <a:pt x="226" y="331"/>
                    </a:cubicBezTo>
                    <a:moveTo>
                      <a:pt x="226" y="331"/>
                    </a:moveTo>
                    <a:cubicBezTo>
                      <a:pt x="227" y="331"/>
                      <a:pt x="227" y="330"/>
                      <a:pt x="227" y="329"/>
                    </a:cubicBezTo>
                    <a:moveTo>
                      <a:pt x="286" y="259"/>
                    </a:moveTo>
                    <a:cubicBezTo>
                      <a:pt x="266" y="281"/>
                      <a:pt x="246" y="305"/>
                      <a:pt x="227" y="329"/>
                    </a:cubicBezTo>
                    <a:moveTo>
                      <a:pt x="286" y="259"/>
                    </a:moveTo>
                    <a:cubicBezTo>
                      <a:pt x="287" y="258"/>
                      <a:pt x="286" y="258"/>
                      <a:pt x="286" y="259"/>
                    </a:cubicBezTo>
                    <a:moveTo>
                      <a:pt x="257" y="266"/>
                    </a:moveTo>
                    <a:cubicBezTo>
                      <a:pt x="237" y="271"/>
                      <a:pt x="219" y="278"/>
                      <a:pt x="201" y="286"/>
                    </a:cubicBezTo>
                    <a:cubicBezTo>
                      <a:pt x="180" y="309"/>
                      <a:pt x="160" y="334"/>
                      <a:pt x="143" y="361"/>
                    </a:cubicBezTo>
                    <a:cubicBezTo>
                      <a:pt x="152" y="377"/>
                      <a:pt x="168" y="386"/>
                      <a:pt x="184" y="394"/>
                    </a:cubicBezTo>
                    <a:cubicBezTo>
                      <a:pt x="194" y="377"/>
                      <a:pt x="205" y="359"/>
                      <a:pt x="218" y="344"/>
                    </a:cubicBezTo>
                    <a:cubicBezTo>
                      <a:pt x="228" y="316"/>
                      <a:pt x="243" y="291"/>
                      <a:pt x="257" y="266"/>
                    </a:cubicBezTo>
                    <a:moveTo>
                      <a:pt x="257" y="266"/>
                    </a:moveTo>
                    <a:cubicBezTo>
                      <a:pt x="258" y="266"/>
                      <a:pt x="257" y="265"/>
                      <a:pt x="257" y="266"/>
                    </a:cubicBezTo>
                    <a:moveTo>
                      <a:pt x="1292" y="270"/>
                    </a:moveTo>
                    <a:cubicBezTo>
                      <a:pt x="1293" y="272"/>
                      <a:pt x="1293" y="270"/>
                      <a:pt x="1292" y="270"/>
                    </a:cubicBezTo>
                    <a:moveTo>
                      <a:pt x="1292" y="270"/>
                    </a:moveTo>
                    <a:cubicBezTo>
                      <a:pt x="1291" y="269"/>
                      <a:pt x="1291" y="270"/>
                      <a:pt x="1292" y="270"/>
                    </a:cubicBezTo>
                    <a:moveTo>
                      <a:pt x="1295" y="275"/>
                    </a:moveTo>
                    <a:cubicBezTo>
                      <a:pt x="1316" y="310"/>
                      <a:pt x="1336" y="347"/>
                      <a:pt x="1351" y="387"/>
                    </a:cubicBezTo>
                    <a:cubicBezTo>
                      <a:pt x="1360" y="383"/>
                      <a:pt x="1368" y="378"/>
                      <a:pt x="1373" y="371"/>
                    </a:cubicBezTo>
                    <a:cubicBezTo>
                      <a:pt x="1349" y="337"/>
                      <a:pt x="1324" y="306"/>
                      <a:pt x="1298" y="275"/>
                    </a:cubicBezTo>
                    <a:cubicBezTo>
                      <a:pt x="1297" y="275"/>
                      <a:pt x="1296" y="275"/>
                      <a:pt x="1295" y="275"/>
                    </a:cubicBezTo>
                    <a:moveTo>
                      <a:pt x="1295" y="275"/>
                    </a:moveTo>
                    <a:cubicBezTo>
                      <a:pt x="1294" y="274"/>
                      <a:pt x="1294" y="275"/>
                      <a:pt x="1295" y="275"/>
                    </a:cubicBezTo>
                    <a:moveTo>
                      <a:pt x="1375" y="370"/>
                    </a:moveTo>
                    <a:cubicBezTo>
                      <a:pt x="1380" y="364"/>
                      <a:pt x="1385" y="359"/>
                      <a:pt x="1387" y="350"/>
                    </a:cubicBezTo>
                    <a:cubicBezTo>
                      <a:pt x="1378" y="334"/>
                      <a:pt x="1367" y="319"/>
                      <a:pt x="1357" y="303"/>
                    </a:cubicBezTo>
                    <a:cubicBezTo>
                      <a:pt x="1341" y="294"/>
                      <a:pt x="1322" y="283"/>
                      <a:pt x="1303" y="279"/>
                    </a:cubicBezTo>
                    <a:cubicBezTo>
                      <a:pt x="1330" y="307"/>
                      <a:pt x="1352" y="339"/>
                      <a:pt x="1375" y="370"/>
                    </a:cubicBezTo>
                    <a:close/>
                    <a:moveTo>
                      <a:pt x="194" y="289"/>
                    </a:moveTo>
                    <a:cubicBezTo>
                      <a:pt x="177" y="295"/>
                      <a:pt x="173" y="313"/>
                      <a:pt x="164" y="326"/>
                    </a:cubicBezTo>
                    <a:moveTo>
                      <a:pt x="164" y="326"/>
                    </a:moveTo>
                    <a:cubicBezTo>
                      <a:pt x="163" y="326"/>
                      <a:pt x="163" y="326"/>
                      <a:pt x="163" y="327"/>
                    </a:cubicBezTo>
                    <a:moveTo>
                      <a:pt x="163" y="327"/>
                    </a:moveTo>
                    <a:cubicBezTo>
                      <a:pt x="162" y="327"/>
                      <a:pt x="162" y="328"/>
                      <a:pt x="162" y="329"/>
                    </a:cubicBezTo>
                    <a:moveTo>
                      <a:pt x="162" y="329"/>
                    </a:moveTo>
                    <a:cubicBezTo>
                      <a:pt x="161" y="329"/>
                      <a:pt x="162" y="330"/>
                      <a:pt x="162" y="329"/>
                    </a:cubicBezTo>
                    <a:moveTo>
                      <a:pt x="162" y="329"/>
                    </a:moveTo>
                    <a:cubicBezTo>
                      <a:pt x="163" y="329"/>
                      <a:pt x="163" y="328"/>
                      <a:pt x="163" y="327"/>
                    </a:cubicBezTo>
                    <a:moveTo>
                      <a:pt x="163" y="327"/>
                    </a:moveTo>
                    <a:cubicBezTo>
                      <a:pt x="164" y="327"/>
                      <a:pt x="164" y="326"/>
                      <a:pt x="164" y="326"/>
                    </a:cubicBezTo>
                    <a:moveTo>
                      <a:pt x="164" y="326"/>
                    </a:moveTo>
                    <a:cubicBezTo>
                      <a:pt x="174" y="314"/>
                      <a:pt x="184" y="302"/>
                      <a:pt x="194" y="289"/>
                    </a:cubicBezTo>
                    <a:moveTo>
                      <a:pt x="194" y="289"/>
                    </a:moveTo>
                    <a:cubicBezTo>
                      <a:pt x="195" y="289"/>
                      <a:pt x="194" y="288"/>
                      <a:pt x="194" y="289"/>
                    </a:cubicBezTo>
                    <a:moveTo>
                      <a:pt x="472" y="295"/>
                    </a:moveTo>
                    <a:cubicBezTo>
                      <a:pt x="472" y="295"/>
                      <a:pt x="471" y="295"/>
                      <a:pt x="471" y="295"/>
                    </a:cubicBezTo>
                    <a:cubicBezTo>
                      <a:pt x="454" y="329"/>
                      <a:pt x="436" y="362"/>
                      <a:pt x="422" y="400"/>
                    </a:cubicBezTo>
                    <a:moveTo>
                      <a:pt x="422" y="400"/>
                    </a:moveTo>
                    <a:cubicBezTo>
                      <a:pt x="421" y="400"/>
                      <a:pt x="422" y="401"/>
                      <a:pt x="422" y="400"/>
                    </a:cubicBezTo>
                    <a:moveTo>
                      <a:pt x="422" y="400"/>
                    </a:moveTo>
                    <a:cubicBezTo>
                      <a:pt x="434" y="400"/>
                      <a:pt x="442" y="397"/>
                      <a:pt x="454" y="397"/>
                    </a:cubicBezTo>
                    <a:cubicBezTo>
                      <a:pt x="458" y="361"/>
                      <a:pt x="466" y="329"/>
                      <a:pt x="472" y="295"/>
                    </a:cubicBezTo>
                    <a:moveTo>
                      <a:pt x="472" y="295"/>
                    </a:moveTo>
                    <a:cubicBezTo>
                      <a:pt x="475" y="295"/>
                      <a:pt x="471" y="291"/>
                      <a:pt x="472" y="295"/>
                    </a:cubicBezTo>
                    <a:moveTo>
                      <a:pt x="178" y="297"/>
                    </a:moveTo>
                    <a:cubicBezTo>
                      <a:pt x="158" y="308"/>
                      <a:pt x="126" y="328"/>
                      <a:pt x="141" y="359"/>
                    </a:cubicBezTo>
                    <a:cubicBezTo>
                      <a:pt x="153" y="338"/>
                      <a:pt x="165" y="317"/>
                      <a:pt x="178" y="297"/>
                    </a:cubicBezTo>
                    <a:moveTo>
                      <a:pt x="178" y="297"/>
                    </a:moveTo>
                    <a:cubicBezTo>
                      <a:pt x="180" y="296"/>
                      <a:pt x="178" y="296"/>
                      <a:pt x="178" y="297"/>
                    </a:cubicBezTo>
                    <a:moveTo>
                      <a:pt x="1364" y="309"/>
                    </a:moveTo>
                    <a:cubicBezTo>
                      <a:pt x="1364" y="309"/>
                      <a:pt x="1364" y="310"/>
                      <a:pt x="1365" y="310"/>
                    </a:cubicBezTo>
                    <a:moveTo>
                      <a:pt x="1365" y="310"/>
                    </a:moveTo>
                    <a:cubicBezTo>
                      <a:pt x="1365" y="310"/>
                      <a:pt x="1365" y="310"/>
                      <a:pt x="1366" y="311"/>
                    </a:cubicBezTo>
                    <a:moveTo>
                      <a:pt x="1366" y="311"/>
                    </a:moveTo>
                    <a:cubicBezTo>
                      <a:pt x="1366" y="312"/>
                      <a:pt x="1366" y="312"/>
                      <a:pt x="1367" y="312"/>
                    </a:cubicBezTo>
                    <a:moveTo>
                      <a:pt x="1367" y="312"/>
                    </a:moveTo>
                    <a:cubicBezTo>
                      <a:pt x="1367" y="313"/>
                      <a:pt x="1367" y="313"/>
                      <a:pt x="1368" y="313"/>
                    </a:cubicBezTo>
                    <a:moveTo>
                      <a:pt x="1368" y="313"/>
                    </a:moveTo>
                    <a:cubicBezTo>
                      <a:pt x="1374" y="324"/>
                      <a:pt x="1380" y="335"/>
                      <a:pt x="1388" y="345"/>
                    </a:cubicBezTo>
                    <a:cubicBezTo>
                      <a:pt x="1386" y="330"/>
                      <a:pt x="1375" y="324"/>
                      <a:pt x="1368" y="313"/>
                    </a:cubicBezTo>
                    <a:moveTo>
                      <a:pt x="1368" y="313"/>
                    </a:moveTo>
                    <a:cubicBezTo>
                      <a:pt x="1368" y="313"/>
                      <a:pt x="1367" y="312"/>
                      <a:pt x="1367" y="312"/>
                    </a:cubicBezTo>
                    <a:moveTo>
                      <a:pt x="1367" y="312"/>
                    </a:moveTo>
                    <a:cubicBezTo>
                      <a:pt x="1367" y="311"/>
                      <a:pt x="1367" y="311"/>
                      <a:pt x="1366" y="311"/>
                    </a:cubicBezTo>
                    <a:moveTo>
                      <a:pt x="1366" y="311"/>
                    </a:moveTo>
                    <a:cubicBezTo>
                      <a:pt x="1366" y="310"/>
                      <a:pt x="1365" y="310"/>
                      <a:pt x="1365" y="310"/>
                    </a:cubicBezTo>
                    <a:moveTo>
                      <a:pt x="1365" y="310"/>
                    </a:moveTo>
                    <a:cubicBezTo>
                      <a:pt x="1365" y="309"/>
                      <a:pt x="1365" y="309"/>
                      <a:pt x="1364" y="309"/>
                    </a:cubicBezTo>
                    <a:moveTo>
                      <a:pt x="1364" y="309"/>
                    </a:moveTo>
                    <a:cubicBezTo>
                      <a:pt x="1363" y="307"/>
                      <a:pt x="1363" y="309"/>
                      <a:pt x="1364" y="309"/>
                    </a:cubicBezTo>
                    <a:moveTo>
                      <a:pt x="1379" y="323"/>
                    </a:moveTo>
                    <a:cubicBezTo>
                      <a:pt x="1380" y="324"/>
                      <a:pt x="1380" y="323"/>
                      <a:pt x="1379" y="323"/>
                    </a:cubicBezTo>
                    <a:moveTo>
                      <a:pt x="1379" y="323"/>
                    </a:moveTo>
                    <a:cubicBezTo>
                      <a:pt x="1379" y="322"/>
                      <a:pt x="1378" y="323"/>
                      <a:pt x="1379" y="323"/>
                    </a:cubicBezTo>
                    <a:moveTo>
                      <a:pt x="160" y="332"/>
                    </a:moveTo>
                    <a:cubicBezTo>
                      <a:pt x="159" y="332"/>
                      <a:pt x="160" y="333"/>
                      <a:pt x="160" y="332"/>
                    </a:cubicBezTo>
                    <a:moveTo>
                      <a:pt x="160" y="332"/>
                    </a:moveTo>
                    <a:cubicBezTo>
                      <a:pt x="161" y="331"/>
                      <a:pt x="160" y="330"/>
                      <a:pt x="160" y="332"/>
                    </a:cubicBezTo>
                    <a:moveTo>
                      <a:pt x="224" y="334"/>
                    </a:moveTo>
                    <a:cubicBezTo>
                      <a:pt x="224" y="333"/>
                      <a:pt x="225" y="334"/>
                      <a:pt x="224" y="334"/>
                    </a:cubicBezTo>
                    <a:close/>
                    <a:moveTo>
                      <a:pt x="326" y="336"/>
                    </a:moveTo>
                    <a:cubicBezTo>
                      <a:pt x="307" y="364"/>
                      <a:pt x="290" y="395"/>
                      <a:pt x="274" y="426"/>
                    </a:cubicBezTo>
                    <a:cubicBezTo>
                      <a:pt x="285" y="423"/>
                      <a:pt x="296" y="421"/>
                      <a:pt x="306" y="419"/>
                    </a:cubicBezTo>
                    <a:cubicBezTo>
                      <a:pt x="311" y="390"/>
                      <a:pt x="319" y="364"/>
                      <a:pt x="326" y="336"/>
                    </a:cubicBezTo>
                    <a:moveTo>
                      <a:pt x="326" y="336"/>
                    </a:moveTo>
                    <a:cubicBezTo>
                      <a:pt x="329" y="336"/>
                      <a:pt x="325" y="332"/>
                      <a:pt x="326" y="336"/>
                    </a:cubicBezTo>
                    <a:moveTo>
                      <a:pt x="44" y="524"/>
                    </a:moveTo>
                    <a:cubicBezTo>
                      <a:pt x="49" y="523"/>
                      <a:pt x="54" y="514"/>
                      <a:pt x="59" y="510"/>
                    </a:cubicBezTo>
                    <a:cubicBezTo>
                      <a:pt x="80" y="455"/>
                      <a:pt x="109" y="407"/>
                      <a:pt x="139" y="360"/>
                    </a:cubicBezTo>
                    <a:cubicBezTo>
                      <a:pt x="134" y="356"/>
                      <a:pt x="135" y="347"/>
                      <a:pt x="133" y="339"/>
                    </a:cubicBezTo>
                    <a:cubicBezTo>
                      <a:pt x="97" y="394"/>
                      <a:pt x="66" y="454"/>
                      <a:pt x="44" y="524"/>
                    </a:cubicBezTo>
                    <a:close/>
                    <a:moveTo>
                      <a:pt x="1483" y="528"/>
                    </a:moveTo>
                    <a:cubicBezTo>
                      <a:pt x="1482" y="532"/>
                      <a:pt x="1486" y="529"/>
                      <a:pt x="1483" y="528"/>
                    </a:cubicBezTo>
                    <a:moveTo>
                      <a:pt x="1483" y="528"/>
                    </a:moveTo>
                    <a:cubicBezTo>
                      <a:pt x="1460" y="465"/>
                      <a:pt x="1432" y="396"/>
                      <a:pt x="1393" y="347"/>
                    </a:cubicBezTo>
                    <a:cubicBezTo>
                      <a:pt x="1393" y="347"/>
                      <a:pt x="1391" y="343"/>
                      <a:pt x="1390" y="345"/>
                    </a:cubicBezTo>
                    <a:cubicBezTo>
                      <a:pt x="1401" y="371"/>
                      <a:pt x="1415" y="395"/>
                      <a:pt x="1425" y="421"/>
                    </a:cubicBezTo>
                    <a:cubicBezTo>
                      <a:pt x="1436" y="447"/>
                      <a:pt x="1448" y="473"/>
                      <a:pt x="1455" y="503"/>
                    </a:cubicBezTo>
                    <a:cubicBezTo>
                      <a:pt x="1466" y="510"/>
                      <a:pt x="1474" y="519"/>
                      <a:pt x="1483" y="528"/>
                    </a:cubicBezTo>
                    <a:moveTo>
                      <a:pt x="1376" y="374"/>
                    </a:moveTo>
                    <a:cubicBezTo>
                      <a:pt x="1396" y="402"/>
                      <a:pt x="1417" y="437"/>
                      <a:pt x="1432" y="470"/>
                    </a:cubicBezTo>
                    <a:cubicBezTo>
                      <a:pt x="1437" y="481"/>
                      <a:pt x="1440" y="496"/>
                      <a:pt x="1452" y="499"/>
                    </a:cubicBezTo>
                    <a:cubicBezTo>
                      <a:pt x="1435" y="446"/>
                      <a:pt x="1415" y="397"/>
                      <a:pt x="1389" y="354"/>
                    </a:cubicBezTo>
                    <a:cubicBezTo>
                      <a:pt x="1386" y="362"/>
                      <a:pt x="1380" y="367"/>
                      <a:pt x="1376" y="374"/>
                    </a:cubicBezTo>
                    <a:close/>
                    <a:moveTo>
                      <a:pt x="212" y="356"/>
                    </a:moveTo>
                    <a:cubicBezTo>
                      <a:pt x="212" y="355"/>
                      <a:pt x="213" y="356"/>
                      <a:pt x="212" y="356"/>
                    </a:cubicBezTo>
                    <a:close/>
                    <a:moveTo>
                      <a:pt x="211" y="358"/>
                    </a:moveTo>
                    <a:cubicBezTo>
                      <a:pt x="202" y="370"/>
                      <a:pt x="193" y="382"/>
                      <a:pt x="186" y="396"/>
                    </a:cubicBezTo>
                    <a:cubicBezTo>
                      <a:pt x="190" y="396"/>
                      <a:pt x="192" y="399"/>
                      <a:pt x="196" y="400"/>
                    </a:cubicBezTo>
                    <a:cubicBezTo>
                      <a:pt x="201" y="386"/>
                      <a:pt x="206" y="372"/>
                      <a:pt x="211" y="358"/>
                    </a:cubicBezTo>
                    <a:moveTo>
                      <a:pt x="211" y="358"/>
                    </a:moveTo>
                    <a:cubicBezTo>
                      <a:pt x="212" y="357"/>
                      <a:pt x="211" y="356"/>
                      <a:pt x="211" y="358"/>
                    </a:cubicBezTo>
                    <a:moveTo>
                      <a:pt x="94" y="487"/>
                    </a:moveTo>
                    <a:cubicBezTo>
                      <a:pt x="109" y="477"/>
                      <a:pt x="127" y="470"/>
                      <a:pt x="146" y="463"/>
                    </a:cubicBezTo>
                    <a:cubicBezTo>
                      <a:pt x="156" y="439"/>
                      <a:pt x="170" y="418"/>
                      <a:pt x="182" y="396"/>
                    </a:cubicBezTo>
                    <a:cubicBezTo>
                      <a:pt x="166" y="389"/>
                      <a:pt x="152" y="378"/>
                      <a:pt x="141" y="365"/>
                    </a:cubicBezTo>
                    <a:cubicBezTo>
                      <a:pt x="123" y="403"/>
                      <a:pt x="103" y="444"/>
                      <a:pt x="94" y="487"/>
                    </a:cubicBezTo>
                    <a:close/>
                    <a:moveTo>
                      <a:pt x="132" y="376"/>
                    </a:moveTo>
                    <a:cubicBezTo>
                      <a:pt x="132" y="375"/>
                      <a:pt x="133" y="376"/>
                      <a:pt x="132" y="376"/>
                    </a:cubicBezTo>
                    <a:close/>
                    <a:moveTo>
                      <a:pt x="1374" y="375"/>
                    </a:moveTo>
                    <a:cubicBezTo>
                      <a:pt x="1368" y="382"/>
                      <a:pt x="1359" y="386"/>
                      <a:pt x="1352" y="391"/>
                    </a:cubicBezTo>
                    <a:cubicBezTo>
                      <a:pt x="1362" y="413"/>
                      <a:pt x="1369" y="437"/>
                      <a:pt x="1375" y="462"/>
                    </a:cubicBezTo>
                    <a:cubicBezTo>
                      <a:pt x="1398" y="469"/>
                      <a:pt x="1420" y="482"/>
                      <a:pt x="1439" y="490"/>
                    </a:cubicBezTo>
                    <a:cubicBezTo>
                      <a:pt x="1419" y="450"/>
                      <a:pt x="1399" y="409"/>
                      <a:pt x="1374" y="375"/>
                    </a:cubicBezTo>
                    <a:close/>
                    <a:moveTo>
                      <a:pt x="131" y="378"/>
                    </a:moveTo>
                    <a:cubicBezTo>
                      <a:pt x="131" y="378"/>
                      <a:pt x="131" y="378"/>
                      <a:pt x="130" y="378"/>
                    </a:cubicBezTo>
                    <a:cubicBezTo>
                      <a:pt x="106" y="418"/>
                      <a:pt x="82" y="459"/>
                      <a:pt x="64" y="505"/>
                    </a:cubicBezTo>
                    <a:moveTo>
                      <a:pt x="64" y="505"/>
                    </a:moveTo>
                    <a:cubicBezTo>
                      <a:pt x="63" y="506"/>
                      <a:pt x="64" y="507"/>
                      <a:pt x="64" y="505"/>
                    </a:cubicBezTo>
                    <a:moveTo>
                      <a:pt x="64" y="505"/>
                    </a:moveTo>
                    <a:cubicBezTo>
                      <a:pt x="73" y="500"/>
                      <a:pt x="80" y="494"/>
                      <a:pt x="90" y="489"/>
                    </a:cubicBezTo>
                    <a:cubicBezTo>
                      <a:pt x="100" y="448"/>
                      <a:pt x="116" y="413"/>
                      <a:pt x="131" y="378"/>
                    </a:cubicBezTo>
                    <a:moveTo>
                      <a:pt x="131" y="378"/>
                    </a:moveTo>
                    <a:cubicBezTo>
                      <a:pt x="133" y="377"/>
                      <a:pt x="131" y="377"/>
                      <a:pt x="131" y="378"/>
                    </a:cubicBezTo>
                    <a:moveTo>
                      <a:pt x="620" y="385"/>
                    </a:moveTo>
                    <a:cubicBezTo>
                      <a:pt x="619" y="415"/>
                      <a:pt x="617" y="444"/>
                      <a:pt x="616" y="473"/>
                    </a:cubicBezTo>
                    <a:cubicBezTo>
                      <a:pt x="654" y="475"/>
                      <a:pt x="693" y="476"/>
                      <a:pt x="732" y="477"/>
                    </a:cubicBezTo>
                    <a:cubicBezTo>
                      <a:pt x="733" y="445"/>
                      <a:pt x="734" y="414"/>
                      <a:pt x="735" y="383"/>
                    </a:cubicBezTo>
                    <a:cubicBezTo>
                      <a:pt x="695" y="382"/>
                      <a:pt x="658" y="384"/>
                      <a:pt x="620" y="385"/>
                    </a:cubicBezTo>
                    <a:close/>
                    <a:moveTo>
                      <a:pt x="739" y="383"/>
                    </a:moveTo>
                    <a:cubicBezTo>
                      <a:pt x="736" y="412"/>
                      <a:pt x="736" y="445"/>
                      <a:pt x="735" y="477"/>
                    </a:cubicBezTo>
                    <a:cubicBezTo>
                      <a:pt x="753" y="477"/>
                      <a:pt x="771" y="477"/>
                      <a:pt x="789" y="477"/>
                    </a:cubicBezTo>
                    <a:cubicBezTo>
                      <a:pt x="789" y="445"/>
                      <a:pt x="787" y="415"/>
                      <a:pt x="788" y="383"/>
                    </a:cubicBezTo>
                    <a:cubicBezTo>
                      <a:pt x="772" y="383"/>
                      <a:pt x="755" y="383"/>
                      <a:pt x="739" y="383"/>
                    </a:cubicBezTo>
                    <a:close/>
                    <a:moveTo>
                      <a:pt x="792" y="383"/>
                    </a:moveTo>
                    <a:cubicBezTo>
                      <a:pt x="790" y="412"/>
                      <a:pt x="791" y="446"/>
                      <a:pt x="791" y="477"/>
                    </a:cubicBezTo>
                    <a:cubicBezTo>
                      <a:pt x="831" y="476"/>
                      <a:pt x="871" y="475"/>
                      <a:pt x="910" y="473"/>
                    </a:cubicBezTo>
                    <a:cubicBezTo>
                      <a:pt x="905" y="443"/>
                      <a:pt x="901" y="414"/>
                      <a:pt x="895" y="385"/>
                    </a:cubicBezTo>
                    <a:cubicBezTo>
                      <a:pt x="862" y="384"/>
                      <a:pt x="827" y="382"/>
                      <a:pt x="792" y="383"/>
                    </a:cubicBezTo>
                    <a:close/>
                    <a:moveTo>
                      <a:pt x="616" y="385"/>
                    </a:moveTo>
                    <a:cubicBezTo>
                      <a:pt x="616" y="385"/>
                      <a:pt x="615" y="385"/>
                      <a:pt x="615" y="385"/>
                    </a:cubicBezTo>
                    <a:cubicBezTo>
                      <a:pt x="603" y="387"/>
                      <a:pt x="589" y="387"/>
                      <a:pt x="577" y="388"/>
                    </a:cubicBezTo>
                    <a:cubicBezTo>
                      <a:pt x="571" y="416"/>
                      <a:pt x="564" y="441"/>
                      <a:pt x="559" y="470"/>
                    </a:cubicBezTo>
                    <a:cubicBezTo>
                      <a:pt x="578" y="470"/>
                      <a:pt x="595" y="472"/>
                      <a:pt x="613" y="473"/>
                    </a:cubicBezTo>
                    <a:cubicBezTo>
                      <a:pt x="612" y="443"/>
                      <a:pt x="617" y="409"/>
                      <a:pt x="616" y="385"/>
                    </a:cubicBezTo>
                    <a:close/>
                    <a:moveTo>
                      <a:pt x="914" y="473"/>
                    </a:moveTo>
                    <a:cubicBezTo>
                      <a:pt x="930" y="472"/>
                      <a:pt x="946" y="470"/>
                      <a:pt x="963" y="470"/>
                    </a:cubicBezTo>
                    <a:cubicBezTo>
                      <a:pt x="960" y="443"/>
                      <a:pt x="960" y="414"/>
                      <a:pt x="957" y="388"/>
                    </a:cubicBezTo>
                    <a:cubicBezTo>
                      <a:pt x="937" y="388"/>
                      <a:pt x="919" y="386"/>
                      <a:pt x="900" y="385"/>
                    </a:cubicBezTo>
                    <a:cubicBezTo>
                      <a:pt x="904" y="415"/>
                      <a:pt x="910" y="442"/>
                      <a:pt x="914" y="473"/>
                    </a:cubicBezTo>
                    <a:close/>
                    <a:moveTo>
                      <a:pt x="456" y="399"/>
                    </a:moveTo>
                    <a:cubicBezTo>
                      <a:pt x="454" y="419"/>
                      <a:pt x="451" y="438"/>
                      <a:pt x="450" y="459"/>
                    </a:cubicBezTo>
                    <a:cubicBezTo>
                      <a:pt x="486" y="462"/>
                      <a:pt x="520" y="467"/>
                      <a:pt x="557" y="469"/>
                    </a:cubicBezTo>
                    <a:cubicBezTo>
                      <a:pt x="561" y="441"/>
                      <a:pt x="569" y="416"/>
                      <a:pt x="574" y="388"/>
                    </a:cubicBezTo>
                    <a:cubicBezTo>
                      <a:pt x="534" y="391"/>
                      <a:pt x="494" y="394"/>
                      <a:pt x="456" y="399"/>
                    </a:cubicBezTo>
                    <a:close/>
                    <a:moveTo>
                      <a:pt x="960" y="389"/>
                    </a:moveTo>
                    <a:cubicBezTo>
                      <a:pt x="962" y="415"/>
                      <a:pt x="964" y="441"/>
                      <a:pt x="965" y="469"/>
                    </a:cubicBezTo>
                    <a:cubicBezTo>
                      <a:pt x="1003" y="467"/>
                      <a:pt x="1042" y="464"/>
                      <a:pt x="1076" y="457"/>
                    </a:cubicBezTo>
                    <a:cubicBezTo>
                      <a:pt x="1068" y="438"/>
                      <a:pt x="1062" y="417"/>
                      <a:pt x="1055" y="397"/>
                    </a:cubicBezTo>
                    <a:cubicBezTo>
                      <a:pt x="1023" y="395"/>
                      <a:pt x="993" y="391"/>
                      <a:pt x="960" y="389"/>
                    </a:cubicBezTo>
                    <a:close/>
                    <a:moveTo>
                      <a:pt x="1349" y="392"/>
                    </a:moveTo>
                    <a:cubicBezTo>
                      <a:pt x="1340" y="398"/>
                      <a:pt x="1329" y="402"/>
                      <a:pt x="1319" y="407"/>
                    </a:cubicBezTo>
                    <a:cubicBezTo>
                      <a:pt x="1327" y="421"/>
                      <a:pt x="1335" y="436"/>
                      <a:pt x="1343" y="451"/>
                    </a:cubicBezTo>
                    <a:cubicBezTo>
                      <a:pt x="1354" y="453"/>
                      <a:pt x="1362" y="458"/>
                      <a:pt x="1373" y="460"/>
                    </a:cubicBezTo>
                    <a:cubicBezTo>
                      <a:pt x="1366" y="439"/>
                      <a:pt x="1359" y="407"/>
                      <a:pt x="1349" y="392"/>
                    </a:cubicBezTo>
                    <a:close/>
                    <a:moveTo>
                      <a:pt x="184" y="398"/>
                    </a:moveTo>
                    <a:cubicBezTo>
                      <a:pt x="173" y="419"/>
                      <a:pt x="160" y="439"/>
                      <a:pt x="150" y="461"/>
                    </a:cubicBezTo>
                    <a:cubicBezTo>
                      <a:pt x="160" y="458"/>
                      <a:pt x="170" y="454"/>
                      <a:pt x="181" y="451"/>
                    </a:cubicBezTo>
                    <a:cubicBezTo>
                      <a:pt x="185" y="434"/>
                      <a:pt x="190" y="419"/>
                      <a:pt x="195" y="403"/>
                    </a:cubicBezTo>
                    <a:cubicBezTo>
                      <a:pt x="191" y="401"/>
                      <a:pt x="188" y="399"/>
                      <a:pt x="184" y="398"/>
                    </a:cubicBezTo>
                    <a:close/>
                    <a:moveTo>
                      <a:pt x="1079" y="458"/>
                    </a:moveTo>
                    <a:cubicBezTo>
                      <a:pt x="1094" y="457"/>
                      <a:pt x="1108" y="454"/>
                      <a:pt x="1123" y="453"/>
                    </a:cubicBezTo>
                    <a:cubicBezTo>
                      <a:pt x="1122" y="436"/>
                      <a:pt x="1119" y="421"/>
                      <a:pt x="1117" y="405"/>
                    </a:cubicBezTo>
                    <a:cubicBezTo>
                      <a:pt x="1097" y="404"/>
                      <a:pt x="1077" y="398"/>
                      <a:pt x="1058" y="399"/>
                    </a:cubicBezTo>
                    <a:cubicBezTo>
                      <a:pt x="1066" y="417"/>
                      <a:pt x="1071" y="439"/>
                      <a:pt x="1079" y="458"/>
                    </a:cubicBezTo>
                    <a:close/>
                    <a:moveTo>
                      <a:pt x="420" y="403"/>
                    </a:moveTo>
                    <a:cubicBezTo>
                      <a:pt x="414" y="419"/>
                      <a:pt x="407" y="435"/>
                      <a:pt x="401" y="453"/>
                    </a:cubicBezTo>
                    <a:cubicBezTo>
                      <a:pt x="417" y="454"/>
                      <a:pt x="431" y="457"/>
                      <a:pt x="447" y="458"/>
                    </a:cubicBezTo>
                    <a:cubicBezTo>
                      <a:pt x="449" y="438"/>
                      <a:pt x="451" y="418"/>
                      <a:pt x="454" y="399"/>
                    </a:cubicBezTo>
                    <a:cubicBezTo>
                      <a:pt x="453" y="399"/>
                      <a:pt x="453" y="399"/>
                      <a:pt x="452" y="399"/>
                    </a:cubicBezTo>
                    <a:cubicBezTo>
                      <a:pt x="442" y="401"/>
                      <a:pt x="431" y="402"/>
                      <a:pt x="420" y="403"/>
                    </a:cubicBezTo>
                    <a:close/>
                    <a:moveTo>
                      <a:pt x="185" y="450"/>
                    </a:moveTo>
                    <a:cubicBezTo>
                      <a:pt x="210" y="440"/>
                      <a:pt x="240" y="435"/>
                      <a:pt x="266" y="427"/>
                    </a:cubicBezTo>
                    <a:cubicBezTo>
                      <a:pt x="241" y="421"/>
                      <a:pt x="219" y="413"/>
                      <a:pt x="198" y="404"/>
                    </a:cubicBezTo>
                    <a:cubicBezTo>
                      <a:pt x="193" y="418"/>
                      <a:pt x="187" y="436"/>
                      <a:pt x="185" y="450"/>
                    </a:cubicBezTo>
                    <a:close/>
                    <a:moveTo>
                      <a:pt x="308" y="421"/>
                    </a:moveTo>
                    <a:cubicBezTo>
                      <a:pt x="307" y="425"/>
                      <a:pt x="307" y="430"/>
                      <a:pt x="305" y="434"/>
                    </a:cubicBezTo>
                    <a:cubicBezTo>
                      <a:pt x="335" y="441"/>
                      <a:pt x="366" y="447"/>
                      <a:pt x="398" y="452"/>
                    </a:cubicBezTo>
                    <a:cubicBezTo>
                      <a:pt x="401" y="444"/>
                      <a:pt x="405" y="436"/>
                      <a:pt x="408" y="428"/>
                    </a:cubicBezTo>
                    <a:cubicBezTo>
                      <a:pt x="411" y="419"/>
                      <a:pt x="416" y="410"/>
                      <a:pt x="414" y="404"/>
                    </a:cubicBezTo>
                    <a:cubicBezTo>
                      <a:pt x="378" y="409"/>
                      <a:pt x="343" y="415"/>
                      <a:pt x="308" y="421"/>
                    </a:cubicBezTo>
                    <a:close/>
                    <a:moveTo>
                      <a:pt x="1126" y="452"/>
                    </a:moveTo>
                    <a:cubicBezTo>
                      <a:pt x="1156" y="447"/>
                      <a:pt x="1185" y="442"/>
                      <a:pt x="1213" y="435"/>
                    </a:cubicBezTo>
                    <a:cubicBezTo>
                      <a:pt x="1212" y="429"/>
                      <a:pt x="1208" y="425"/>
                      <a:pt x="1206" y="419"/>
                    </a:cubicBezTo>
                    <a:cubicBezTo>
                      <a:pt x="1178" y="415"/>
                      <a:pt x="1148" y="407"/>
                      <a:pt x="1119" y="407"/>
                    </a:cubicBezTo>
                    <a:cubicBezTo>
                      <a:pt x="1123" y="420"/>
                      <a:pt x="1123" y="437"/>
                      <a:pt x="1126" y="452"/>
                    </a:cubicBezTo>
                    <a:close/>
                    <a:moveTo>
                      <a:pt x="1317" y="408"/>
                    </a:moveTo>
                    <a:cubicBezTo>
                      <a:pt x="1298" y="416"/>
                      <a:pt x="1277" y="420"/>
                      <a:pt x="1260" y="429"/>
                    </a:cubicBezTo>
                    <a:cubicBezTo>
                      <a:pt x="1288" y="434"/>
                      <a:pt x="1313" y="441"/>
                      <a:pt x="1338" y="449"/>
                    </a:cubicBezTo>
                    <a:cubicBezTo>
                      <a:pt x="1332" y="434"/>
                      <a:pt x="1323" y="423"/>
                      <a:pt x="1317" y="408"/>
                    </a:cubicBezTo>
                    <a:close/>
                    <a:moveTo>
                      <a:pt x="1216" y="434"/>
                    </a:moveTo>
                    <a:cubicBezTo>
                      <a:pt x="1226" y="433"/>
                      <a:pt x="1237" y="431"/>
                      <a:pt x="1245" y="427"/>
                    </a:cubicBezTo>
                    <a:cubicBezTo>
                      <a:pt x="1232" y="426"/>
                      <a:pt x="1220" y="420"/>
                      <a:pt x="1209" y="421"/>
                    </a:cubicBezTo>
                    <a:cubicBezTo>
                      <a:pt x="1213" y="424"/>
                      <a:pt x="1214" y="430"/>
                      <a:pt x="1216" y="434"/>
                    </a:cubicBezTo>
                    <a:close/>
                    <a:moveTo>
                      <a:pt x="279" y="427"/>
                    </a:moveTo>
                    <a:cubicBezTo>
                      <a:pt x="285" y="431"/>
                      <a:pt x="295" y="431"/>
                      <a:pt x="303" y="433"/>
                    </a:cubicBezTo>
                    <a:cubicBezTo>
                      <a:pt x="303" y="429"/>
                      <a:pt x="305" y="426"/>
                      <a:pt x="305" y="422"/>
                    </a:cubicBezTo>
                    <a:cubicBezTo>
                      <a:pt x="296" y="423"/>
                      <a:pt x="289" y="426"/>
                      <a:pt x="279" y="427"/>
                    </a:cubicBezTo>
                    <a:close/>
                    <a:moveTo>
                      <a:pt x="1218" y="437"/>
                    </a:moveTo>
                    <a:cubicBezTo>
                      <a:pt x="1240" y="486"/>
                      <a:pt x="1259" y="538"/>
                      <a:pt x="1277" y="593"/>
                    </a:cubicBezTo>
                    <a:cubicBezTo>
                      <a:pt x="1275" y="533"/>
                      <a:pt x="1270" y="478"/>
                      <a:pt x="1257" y="430"/>
                    </a:cubicBezTo>
                    <a:cubicBezTo>
                      <a:pt x="1244" y="429"/>
                      <a:pt x="1232" y="435"/>
                      <a:pt x="1218" y="437"/>
                    </a:cubicBezTo>
                    <a:close/>
                    <a:moveTo>
                      <a:pt x="183" y="453"/>
                    </a:moveTo>
                    <a:cubicBezTo>
                      <a:pt x="169" y="514"/>
                      <a:pt x="159" y="583"/>
                      <a:pt x="163" y="659"/>
                    </a:cubicBezTo>
                    <a:cubicBezTo>
                      <a:pt x="171" y="655"/>
                      <a:pt x="179" y="652"/>
                      <a:pt x="188" y="650"/>
                    </a:cubicBezTo>
                    <a:cubicBezTo>
                      <a:pt x="208" y="570"/>
                      <a:pt x="235" y="496"/>
                      <a:pt x="270" y="430"/>
                    </a:cubicBezTo>
                    <a:cubicBezTo>
                      <a:pt x="269" y="430"/>
                      <a:pt x="268" y="430"/>
                      <a:pt x="268" y="430"/>
                    </a:cubicBezTo>
                    <a:cubicBezTo>
                      <a:pt x="239" y="437"/>
                      <a:pt x="210" y="444"/>
                      <a:pt x="183" y="453"/>
                    </a:cubicBezTo>
                    <a:close/>
                    <a:moveTo>
                      <a:pt x="192" y="648"/>
                    </a:moveTo>
                    <a:cubicBezTo>
                      <a:pt x="190" y="649"/>
                      <a:pt x="192" y="650"/>
                      <a:pt x="192" y="648"/>
                    </a:cubicBezTo>
                    <a:moveTo>
                      <a:pt x="192" y="648"/>
                    </a:moveTo>
                    <a:cubicBezTo>
                      <a:pt x="223" y="640"/>
                      <a:pt x="254" y="630"/>
                      <a:pt x="289" y="623"/>
                    </a:cubicBezTo>
                    <a:cubicBezTo>
                      <a:pt x="287" y="555"/>
                      <a:pt x="293" y="494"/>
                      <a:pt x="302" y="436"/>
                    </a:cubicBezTo>
                    <a:cubicBezTo>
                      <a:pt x="292" y="434"/>
                      <a:pt x="283" y="431"/>
                      <a:pt x="272" y="430"/>
                    </a:cubicBezTo>
                    <a:cubicBezTo>
                      <a:pt x="239" y="496"/>
                      <a:pt x="211" y="568"/>
                      <a:pt x="192" y="648"/>
                    </a:cubicBezTo>
                    <a:moveTo>
                      <a:pt x="1275" y="515"/>
                    </a:moveTo>
                    <a:cubicBezTo>
                      <a:pt x="1279" y="557"/>
                      <a:pt x="1276" y="605"/>
                      <a:pt x="1288" y="636"/>
                    </a:cubicBezTo>
                    <a:cubicBezTo>
                      <a:pt x="1316" y="643"/>
                      <a:pt x="1341" y="652"/>
                      <a:pt x="1367" y="660"/>
                    </a:cubicBezTo>
                    <a:cubicBezTo>
                      <a:pt x="1377" y="657"/>
                      <a:pt x="1386" y="652"/>
                      <a:pt x="1397" y="648"/>
                    </a:cubicBezTo>
                    <a:cubicBezTo>
                      <a:pt x="1395" y="622"/>
                      <a:pt x="1398" y="600"/>
                      <a:pt x="1394" y="577"/>
                    </a:cubicBezTo>
                    <a:cubicBezTo>
                      <a:pt x="1392" y="567"/>
                      <a:pt x="1386" y="555"/>
                      <a:pt x="1382" y="545"/>
                    </a:cubicBezTo>
                    <a:cubicBezTo>
                      <a:pt x="1370" y="512"/>
                      <a:pt x="1354" y="481"/>
                      <a:pt x="1340" y="452"/>
                    </a:cubicBezTo>
                    <a:cubicBezTo>
                      <a:pt x="1314" y="444"/>
                      <a:pt x="1288" y="437"/>
                      <a:pt x="1261" y="431"/>
                    </a:cubicBezTo>
                    <a:cubicBezTo>
                      <a:pt x="1266" y="456"/>
                      <a:pt x="1272" y="485"/>
                      <a:pt x="1275" y="515"/>
                    </a:cubicBezTo>
                    <a:close/>
                    <a:moveTo>
                      <a:pt x="305" y="437"/>
                    </a:moveTo>
                    <a:cubicBezTo>
                      <a:pt x="295" y="493"/>
                      <a:pt x="288" y="559"/>
                      <a:pt x="293" y="623"/>
                    </a:cubicBezTo>
                    <a:cubicBezTo>
                      <a:pt x="311" y="617"/>
                      <a:pt x="332" y="615"/>
                      <a:pt x="351" y="610"/>
                    </a:cubicBezTo>
                    <a:cubicBezTo>
                      <a:pt x="364" y="556"/>
                      <a:pt x="379" y="504"/>
                      <a:pt x="397" y="455"/>
                    </a:cubicBezTo>
                    <a:cubicBezTo>
                      <a:pt x="366" y="449"/>
                      <a:pt x="335" y="444"/>
                      <a:pt x="305" y="437"/>
                    </a:cubicBezTo>
                    <a:close/>
                    <a:moveTo>
                      <a:pt x="1126" y="455"/>
                    </a:moveTo>
                    <a:cubicBezTo>
                      <a:pt x="1131" y="501"/>
                      <a:pt x="1133" y="551"/>
                      <a:pt x="1133" y="603"/>
                    </a:cubicBezTo>
                    <a:cubicBezTo>
                      <a:pt x="1182" y="612"/>
                      <a:pt x="1231" y="620"/>
                      <a:pt x="1277" y="633"/>
                    </a:cubicBezTo>
                    <a:cubicBezTo>
                      <a:pt x="1279" y="602"/>
                      <a:pt x="1270" y="583"/>
                      <a:pt x="1263" y="561"/>
                    </a:cubicBezTo>
                    <a:cubicBezTo>
                      <a:pt x="1248" y="517"/>
                      <a:pt x="1234" y="477"/>
                      <a:pt x="1215" y="438"/>
                    </a:cubicBezTo>
                    <a:cubicBezTo>
                      <a:pt x="1214" y="438"/>
                      <a:pt x="1214" y="438"/>
                      <a:pt x="1213" y="438"/>
                    </a:cubicBezTo>
                    <a:cubicBezTo>
                      <a:pt x="1185" y="445"/>
                      <a:pt x="1156" y="450"/>
                      <a:pt x="1126" y="455"/>
                    </a:cubicBezTo>
                    <a:close/>
                    <a:moveTo>
                      <a:pt x="179" y="454"/>
                    </a:moveTo>
                    <a:cubicBezTo>
                      <a:pt x="168" y="457"/>
                      <a:pt x="158" y="461"/>
                      <a:pt x="147" y="465"/>
                    </a:cubicBezTo>
                    <a:cubicBezTo>
                      <a:pt x="123" y="516"/>
                      <a:pt x="101" y="568"/>
                      <a:pt x="85" y="627"/>
                    </a:cubicBezTo>
                    <a:cubicBezTo>
                      <a:pt x="108" y="640"/>
                      <a:pt x="131" y="652"/>
                      <a:pt x="159" y="660"/>
                    </a:cubicBezTo>
                    <a:cubicBezTo>
                      <a:pt x="157" y="583"/>
                      <a:pt x="168" y="513"/>
                      <a:pt x="179" y="454"/>
                    </a:cubicBezTo>
                    <a:close/>
                    <a:moveTo>
                      <a:pt x="1392" y="564"/>
                    </a:moveTo>
                    <a:cubicBezTo>
                      <a:pt x="1388" y="528"/>
                      <a:pt x="1381" y="495"/>
                      <a:pt x="1374" y="463"/>
                    </a:cubicBezTo>
                    <a:cubicBezTo>
                      <a:pt x="1363" y="461"/>
                      <a:pt x="1354" y="457"/>
                      <a:pt x="1345" y="454"/>
                    </a:cubicBezTo>
                    <a:cubicBezTo>
                      <a:pt x="1362" y="489"/>
                      <a:pt x="1378" y="525"/>
                      <a:pt x="1392" y="564"/>
                    </a:cubicBezTo>
                    <a:close/>
                    <a:moveTo>
                      <a:pt x="401" y="455"/>
                    </a:moveTo>
                    <a:cubicBezTo>
                      <a:pt x="382" y="503"/>
                      <a:pt x="367" y="556"/>
                      <a:pt x="354" y="610"/>
                    </a:cubicBezTo>
                    <a:cubicBezTo>
                      <a:pt x="383" y="605"/>
                      <a:pt x="412" y="600"/>
                      <a:pt x="442" y="597"/>
                    </a:cubicBezTo>
                    <a:cubicBezTo>
                      <a:pt x="442" y="550"/>
                      <a:pt x="443" y="504"/>
                      <a:pt x="447" y="461"/>
                    </a:cubicBezTo>
                    <a:cubicBezTo>
                      <a:pt x="432" y="459"/>
                      <a:pt x="415" y="458"/>
                      <a:pt x="401" y="455"/>
                    </a:cubicBezTo>
                    <a:close/>
                    <a:moveTo>
                      <a:pt x="1080" y="461"/>
                    </a:moveTo>
                    <a:cubicBezTo>
                      <a:pt x="1093" y="507"/>
                      <a:pt x="1106" y="553"/>
                      <a:pt x="1116" y="601"/>
                    </a:cubicBezTo>
                    <a:cubicBezTo>
                      <a:pt x="1121" y="602"/>
                      <a:pt x="1125" y="602"/>
                      <a:pt x="1130" y="603"/>
                    </a:cubicBezTo>
                    <a:cubicBezTo>
                      <a:pt x="1130" y="551"/>
                      <a:pt x="1129" y="501"/>
                      <a:pt x="1123" y="455"/>
                    </a:cubicBezTo>
                    <a:cubicBezTo>
                      <a:pt x="1108" y="457"/>
                      <a:pt x="1094" y="459"/>
                      <a:pt x="1080" y="461"/>
                    </a:cubicBezTo>
                    <a:close/>
                    <a:moveTo>
                      <a:pt x="445" y="596"/>
                    </a:moveTo>
                    <a:cubicBezTo>
                      <a:pt x="475" y="592"/>
                      <a:pt x="505" y="589"/>
                      <a:pt x="535" y="586"/>
                    </a:cubicBezTo>
                    <a:cubicBezTo>
                      <a:pt x="542" y="548"/>
                      <a:pt x="548" y="509"/>
                      <a:pt x="556" y="472"/>
                    </a:cubicBezTo>
                    <a:cubicBezTo>
                      <a:pt x="519" y="469"/>
                      <a:pt x="483" y="466"/>
                      <a:pt x="449" y="461"/>
                    </a:cubicBezTo>
                    <a:cubicBezTo>
                      <a:pt x="446" y="504"/>
                      <a:pt x="444" y="549"/>
                      <a:pt x="445" y="596"/>
                    </a:cubicBezTo>
                    <a:close/>
                    <a:moveTo>
                      <a:pt x="965" y="472"/>
                    </a:moveTo>
                    <a:cubicBezTo>
                      <a:pt x="967" y="507"/>
                      <a:pt x="966" y="546"/>
                      <a:pt x="966" y="584"/>
                    </a:cubicBezTo>
                    <a:cubicBezTo>
                      <a:pt x="1016" y="589"/>
                      <a:pt x="1065" y="594"/>
                      <a:pt x="1113" y="600"/>
                    </a:cubicBezTo>
                    <a:cubicBezTo>
                      <a:pt x="1102" y="553"/>
                      <a:pt x="1092" y="503"/>
                      <a:pt x="1075" y="461"/>
                    </a:cubicBezTo>
                    <a:cubicBezTo>
                      <a:pt x="1039" y="466"/>
                      <a:pt x="1003" y="470"/>
                      <a:pt x="965" y="472"/>
                    </a:cubicBezTo>
                    <a:close/>
                    <a:moveTo>
                      <a:pt x="1388" y="521"/>
                    </a:moveTo>
                    <a:cubicBezTo>
                      <a:pt x="1391" y="540"/>
                      <a:pt x="1392" y="559"/>
                      <a:pt x="1396" y="577"/>
                    </a:cubicBezTo>
                    <a:cubicBezTo>
                      <a:pt x="1400" y="600"/>
                      <a:pt x="1412" y="620"/>
                      <a:pt x="1416" y="640"/>
                    </a:cubicBezTo>
                    <a:cubicBezTo>
                      <a:pt x="1437" y="628"/>
                      <a:pt x="1459" y="617"/>
                      <a:pt x="1473" y="599"/>
                    </a:cubicBezTo>
                    <a:cubicBezTo>
                      <a:pt x="1470" y="557"/>
                      <a:pt x="1454" y="529"/>
                      <a:pt x="1442" y="496"/>
                    </a:cubicBezTo>
                    <a:cubicBezTo>
                      <a:pt x="1421" y="484"/>
                      <a:pt x="1400" y="473"/>
                      <a:pt x="1376" y="465"/>
                    </a:cubicBezTo>
                    <a:cubicBezTo>
                      <a:pt x="1381" y="483"/>
                      <a:pt x="1385" y="502"/>
                      <a:pt x="1388" y="521"/>
                    </a:cubicBezTo>
                    <a:close/>
                    <a:moveTo>
                      <a:pt x="91" y="491"/>
                    </a:moveTo>
                    <a:cubicBezTo>
                      <a:pt x="82" y="531"/>
                      <a:pt x="72" y="570"/>
                      <a:pt x="69" y="616"/>
                    </a:cubicBezTo>
                    <a:cubicBezTo>
                      <a:pt x="73" y="619"/>
                      <a:pt x="78" y="623"/>
                      <a:pt x="83" y="625"/>
                    </a:cubicBezTo>
                    <a:cubicBezTo>
                      <a:pt x="98" y="568"/>
                      <a:pt x="121" y="515"/>
                      <a:pt x="142" y="467"/>
                    </a:cubicBezTo>
                    <a:cubicBezTo>
                      <a:pt x="124" y="474"/>
                      <a:pt x="107" y="482"/>
                      <a:pt x="91" y="491"/>
                    </a:cubicBezTo>
                    <a:close/>
                    <a:moveTo>
                      <a:pt x="558" y="472"/>
                    </a:moveTo>
                    <a:cubicBezTo>
                      <a:pt x="551" y="509"/>
                      <a:pt x="545" y="548"/>
                      <a:pt x="538" y="586"/>
                    </a:cubicBezTo>
                    <a:cubicBezTo>
                      <a:pt x="562" y="584"/>
                      <a:pt x="586" y="582"/>
                      <a:pt x="611" y="581"/>
                    </a:cubicBezTo>
                    <a:cubicBezTo>
                      <a:pt x="611" y="545"/>
                      <a:pt x="613" y="511"/>
                      <a:pt x="612" y="476"/>
                    </a:cubicBezTo>
                    <a:cubicBezTo>
                      <a:pt x="594" y="474"/>
                      <a:pt x="576" y="474"/>
                      <a:pt x="558" y="472"/>
                    </a:cubicBezTo>
                    <a:close/>
                    <a:moveTo>
                      <a:pt x="915" y="476"/>
                    </a:moveTo>
                    <a:cubicBezTo>
                      <a:pt x="919" y="511"/>
                      <a:pt x="925" y="546"/>
                      <a:pt x="928" y="582"/>
                    </a:cubicBezTo>
                    <a:cubicBezTo>
                      <a:pt x="941" y="582"/>
                      <a:pt x="952" y="584"/>
                      <a:pt x="965" y="584"/>
                    </a:cubicBezTo>
                    <a:cubicBezTo>
                      <a:pt x="965" y="546"/>
                      <a:pt x="963" y="510"/>
                      <a:pt x="963" y="473"/>
                    </a:cubicBezTo>
                    <a:cubicBezTo>
                      <a:pt x="946" y="473"/>
                      <a:pt x="930" y="474"/>
                      <a:pt x="915" y="476"/>
                    </a:cubicBezTo>
                    <a:close/>
                    <a:moveTo>
                      <a:pt x="617" y="476"/>
                    </a:moveTo>
                    <a:cubicBezTo>
                      <a:pt x="614" y="508"/>
                      <a:pt x="615" y="545"/>
                      <a:pt x="615" y="580"/>
                    </a:cubicBezTo>
                    <a:cubicBezTo>
                      <a:pt x="653" y="579"/>
                      <a:pt x="691" y="577"/>
                      <a:pt x="729" y="576"/>
                    </a:cubicBezTo>
                    <a:cubicBezTo>
                      <a:pt x="731" y="545"/>
                      <a:pt x="731" y="511"/>
                      <a:pt x="732" y="479"/>
                    </a:cubicBezTo>
                    <a:cubicBezTo>
                      <a:pt x="693" y="479"/>
                      <a:pt x="654" y="478"/>
                      <a:pt x="617" y="476"/>
                    </a:cubicBezTo>
                    <a:close/>
                    <a:moveTo>
                      <a:pt x="791" y="479"/>
                    </a:moveTo>
                    <a:cubicBezTo>
                      <a:pt x="791" y="513"/>
                      <a:pt x="791" y="544"/>
                      <a:pt x="791" y="576"/>
                    </a:cubicBezTo>
                    <a:cubicBezTo>
                      <a:pt x="836" y="577"/>
                      <a:pt x="881" y="579"/>
                      <a:pt x="924" y="581"/>
                    </a:cubicBezTo>
                    <a:cubicBezTo>
                      <a:pt x="920" y="546"/>
                      <a:pt x="915" y="511"/>
                      <a:pt x="911" y="476"/>
                    </a:cubicBezTo>
                    <a:cubicBezTo>
                      <a:pt x="872" y="478"/>
                      <a:pt x="831" y="479"/>
                      <a:pt x="791" y="479"/>
                    </a:cubicBezTo>
                    <a:close/>
                    <a:moveTo>
                      <a:pt x="736" y="479"/>
                    </a:moveTo>
                    <a:cubicBezTo>
                      <a:pt x="732" y="509"/>
                      <a:pt x="734" y="545"/>
                      <a:pt x="732" y="576"/>
                    </a:cubicBezTo>
                    <a:cubicBezTo>
                      <a:pt x="751" y="576"/>
                      <a:pt x="770" y="576"/>
                      <a:pt x="789" y="576"/>
                    </a:cubicBezTo>
                    <a:cubicBezTo>
                      <a:pt x="789" y="544"/>
                      <a:pt x="789" y="512"/>
                      <a:pt x="789" y="479"/>
                    </a:cubicBezTo>
                    <a:cubicBezTo>
                      <a:pt x="771" y="479"/>
                      <a:pt x="754" y="479"/>
                      <a:pt x="736" y="479"/>
                    </a:cubicBezTo>
                    <a:close/>
                    <a:moveTo>
                      <a:pt x="60" y="512"/>
                    </a:moveTo>
                    <a:cubicBezTo>
                      <a:pt x="53" y="535"/>
                      <a:pt x="44" y="556"/>
                      <a:pt x="37" y="580"/>
                    </a:cubicBezTo>
                    <a:cubicBezTo>
                      <a:pt x="45" y="593"/>
                      <a:pt x="53" y="606"/>
                      <a:pt x="67" y="613"/>
                    </a:cubicBezTo>
                    <a:cubicBezTo>
                      <a:pt x="69" y="569"/>
                      <a:pt x="81" y="529"/>
                      <a:pt x="87" y="493"/>
                    </a:cubicBezTo>
                    <a:cubicBezTo>
                      <a:pt x="78" y="499"/>
                      <a:pt x="69" y="505"/>
                      <a:pt x="60" y="512"/>
                    </a:cubicBezTo>
                    <a:close/>
                    <a:moveTo>
                      <a:pt x="1462" y="539"/>
                    </a:moveTo>
                    <a:cubicBezTo>
                      <a:pt x="1461" y="543"/>
                      <a:pt x="1465" y="539"/>
                      <a:pt x="1462" y="539"/>
                    </a:cubicBezTo>
                    <a:moveTo>
                      <a:pt x="1462" y="539"/>
                    </a:moveTo>
                    <a:cubicBezTo>
                      <a:pt x="1458" y="526"/>
                      <a:pt x="1458" y="502"/>
                      <a:pt x="1446" y="501"/>
                    </a:cubicBezTo>
                    <a:cubicBezTo>
                      <a:pt x="1452" y="512"/>
                      <a:pt x="1456" y="526"/>
                      <a:pt x="1462" y="539"/>
                    </a:cubicBezTo>
                    <a:moveTo>
                      <a:pt x="1480" y="592"/>
                    </a:moveTo>
                    <a:cubicBezTo>
                      <a:pt x="1504" y="563"/>
                      <a:pt x="1482" y="521"/>
                      <a:pt x="1457" y="507"/>
                    </a:cubicBezTo>
                    <a:cubicBezTo>
                      <a:pt x="1465" y="535"/>
                      <a:pt x="1469" y="567"/>
                      <a:pt x="1480" y="592"/>
                    </a:cubicBezTo>
                    <a:close/>
                    <a:moveTo>
                      <a:pt x="36" y="575"/>
                    </a:moveTo>
                    <a:cubicBezTo>
                      <a:pt x="40" y="555"/>
                      <a:pt x="51" y="536"/>
                      <a:pt x="54" y="517"/>
                    </a:cubicBezTo>
                    <a:cubicBezTo>
                      <a:pt x="42" y="529"/>
                      <a:pt x="28" y="553"/>
                      <a:pt x="36" y="575"/>
                    </a:cubicBezTo>
                    <a:close/>
                    <a:moveTo>
                      <a:pt x="1463" y="544"/>
                    </a:moveTo>
                    <a:cubicBezTo>
                      <a:pt x="1462" y="543"/>
                      <a:pt x="1463" y="544"/>
                      <a:pt x="1463" y="544"/>
                    </a:cubicBezTo>
                    <a:close/>
                    <a:moveTo>
                      <a:pt x="1480" y="597"/>
                    </a:moveTo>
                    <a:cubicBezTo>
                      <a:pt x="1494" y="642"/>
                      <a:pt x="1503" y="692"/>
                      <a:pt x="1508" y="747"/>
                    </a:cubicBezTo>
                    <a:cubicBezTo>
                      <a:pt x="1512" y="753"/>
                      <a:pt x="1516" y="760"/>
                      <a:pt x="1519" y="767"/>
                    </a:cubicBezTo>
                    <a:cubicBezTo>
                      <a:pt x="1521" y="690"/>
                      <a:pt x="1511" y="622"/>
                      <a:pt x="1494" y="563"/>
                    </a:cubicBezTo>
                    <a:cubicBezTo>
                      <a:pt x="1493" y="578"/>
                      <a:pt x="1486" y="587"/>
                      <a:pt x="1480" y="597"/>
                    </a:cubicBezTo>
                    <a:close/>
                    <a:moveTo>
                      <a:pt x="17" y="654"/>
                    </a:moveTo>
                    <a:cubicBezTo>
                      <a:pt x="21" y="628"/>
                      <a:pt x="28" y="604"/>
                      <a:pt x="34" y="580"/>
                    </a:cubicBezTo>
                    <a:cubicBezTo>
                      <a:pt x="33" y="577"/>
                      <a:pt x="32" y="573"/>
                      <a:pt x="30" y="570"/>
                    </a:cubicBezTo>
                    <a:cubicBezTo>
                      <a:pt x="26" y="597"/>
                      <a:pt x="18" y="626"/>
                      <a:pt x="17" y="654"/>
                    </a:cubicBezTo>
                    <a:close/>
                    <a:moveTo>
                      <a:pt x="615" y="583"/>
                    </a:moveTo>
                    <a:cubicBezTo>
                      <a:pt x="616" y="635"/>
                      <a:pt x="617" y="686"/>
                      <a:pt x="620" y="736"/>
                    </a:cubicBezTo>
                    <a:cubicBezTo>
                      <a:pt x="655" y="737"/>
                      <a:pt x="690" y="739"/>
                      <a:pt x="726" y="739"/>
                    </a:cubicBezTo>
                    <a:cubicBezTo>
                      <a:pt x="728" y="686"/>
                      <a:pt x="729" y="633"/>
                      <a:pt x="729" y="579"/>
                    </a:cubicBezTo>
                    <a:cubicBezTo>
                      <a:pt x="690" y="580"/>
                      <a:pt x="652" y="581"/>
                      <a:pt x="615" y="583"/>
                    </a:cubicBezTo>
                    <a:close/>
                    <a:moveTo>
                      <a:pt x="729" y="739"/>
                    </a:moveTo>
                    <a:cubicBezTo>
                      <a:pt x="750" y="738"/>
                      <a:pt x="769" y="740"/>
                      <a:pt x="788" y="739"/>
                    </a:cubicBezTo>
                    <a:cubicBezTo>
                      <a:pt x="788" y="685"/>
                      <a:pt x="790" y="633"/>
                      <a:pt x="789" y="579"/>
                    </a:cubicBezTo>
                    <a:cubicBezTo>
                      <a:pt x="770" y="579"/>
                      <a:pt x="752" y="579"/>
                      <a:pt x="733" y="579"/>
                    </a:cubicBezTo>
                    <a:cubicBezTo>
                      <a:pt x="730" y="630"/>
                      <a:pt x="731" y="686"/>
                      <a:pt x="729" y="739"/>
                    </a:cubicBezTo>
                    <a:close/>
                    <a:moveTo>
                      <a:pt x="791" y="582"/>
                    </a:moveTo>
                    <a:cubicBezTo>
                      <a:pt x="791" y="634"/>
                      <a:pt x="791" y="687"/>
                      <a:pt x="791" y="739"/>
                    </a:cubicBezTo>
                    <a:cubicBezTo>
                      <a:pt x="842" y="739"/>
                      <a:pt x="890" y="736"/>
                      <a:pt x="938" y="734"/>
                    </a:cubicBezTo>
                    <a:cubicBezTo>
                      <a:pt x="934" y="683"/>
                      <a:pt x="930" y="633"/>
                      <a:pt x="924" y="584"/>
                    </a:cubicBezTo>
                    <a:cubicBezTo>
                      <a:pt x="881" y="581"/>
                      <a:pt x="837" y="580"/>
                      <a:pt x="792" y="579"/>
                    </a:cubicBezTo>
                    <a:cubicBezTo>
                      <a:pt x="791" y="579"/>
                      <a:pt x="791" y="581"/>
                      <a:pt x="791" y="582"/>
                    </a:cubicBezTo>
                    <a:close/>
                    <a:moveTo>
                      <a:pt x="538" y="588"/>
                    </a:moveTo>
                    <a:cubicBezTo>
                      <a:pt x="531" y="634"/>
                      <a:pt x="526" y="681"/>
                      <a:pt x="521" y="729"/>
                    </a:cubicBezTo>
                    <a:cubicBezTo>
                      <a:pt x="552" y="732"/>
                      <a:pt x="584" y="734"/>
                      <a:pt x="616" y="736"/>
                    </a:cubicBezTo>
                    <a:cubicBezTo>
                      <a:pt x="612" y="686"/>
                      <a:pt x="615" y="630"/>
                      <a:pt x="609" y="583"/>
                    </a:cubicBezTo>
                    <a:cubicBezTo>
                      <a:pt x="586" y="585"/>
                      <a:pt x="562" y="587"/>
                      <a:pt x="538" y="588"/>
                    </a:cubicBezTo>
                    <a:close/>
                    <a:moveTo>
                      <a:pt x="929" y="584"/>
                    </a:moveTo>
                    <a:cubicBezTo>
                      <a:pt x="933" y="634"/>
                      <a:pt x="939" y="682"/>
                      <a:pt x="942" y="734"/>
                    </a:cubicBezTo>
                    <a:cubicBezTo>
                      <a:pt x="946" y="733"/>
                      <a:pt x="953" y="733"/>
                      <a:pt x="959" y="733"/>
                    </a:cubicBezTo>
                    <a:cubicBezTo>
                      <a:pt x="962" y="685"/>
                      <a:pt x="963" y="636"/>
                      <a:pt x="965" y="587"/>
                    </a:cubicBezTo>
                    <a:cubicBezTo>
                      <a:pt x="953" y="585"/>
                      <a:pt x="941" y="585"/>
                      <a:pt x="929" y="584"/>
                    </a:cubicBezTo>
                    <a:close/>
                    <a:moveTo>
                      <a:pt x="13" y="752"/>
                    </a:moveTo>
                    <a:cubicBezTo>
                      <a:pt x="25" y="732"/>
                      <a:pt x="46" y="719"/>
                      <a:pt x="63" y="704"/>
                    </a:cubicBezTo>
                    <a:cubicBezTo>
                      <a:pt x="63" y="674"/>
                      <a:pt x="63" y="645"/>
                      <a:pt x="66" y="618"/>
                    </a:cubicBezTo>
                    <a:cubicBezTo>
                      <a:pt x="54" y="609"/>
                      <a:pt x="45" y="597"/>
                      <a:pt x="35" y="585"/>
                    </a:cubicBezTo>
                    <a:cubicBezTo>
                      <a:pt x="23" y="635"/>
                      <a:pt x="7" y="690"/>
                      <a:pt x="13" y="752"/>
                    </a:cubicBezTo>
                    <a:close/>
                    <a:moveTo>
                      <a:pt x="967" y="587"/>
                    </a:moveTo>
                    <a:cubicBezTo>
                      <a:pt x="965" y="635"/>
                      <a:pt x="965" y="686"/>
                      <a:pt x="961" y="732"/>
                    </a:cubicBezTo>
                    <a:cubicBezTo>
                      <a:pt x="1017" y="729"/>
                      <a:pt x="1071" y="723"/>
                      <a:pt x="1123" y="716"/>
                    </a:cubicBezTo>
                    <a:cubicBezTo>
                      <a:pt x="1132" y="675"/>
                      <a:pt x="1121" y="639"/>
                      <a:pt x="1114" y="603"/>
                    </a:cubicBezTo>
                    <a:cubicBezTo>
                      <a:pt x="1067" y="597"/>
                      <a:pt x="1018" y="591"/>
                      <a:pt x="967" y="587"/>
                    </a:cubicBezTo>
                    <a:close/>
                    <a:moveTo>
                      <a:pt x="1476" y="597"/>
                    </a:moveTo>
                    <a:cubicBezTo>
                      <a:pt x="1478" y="594"/>
                      <a:pt x="1476" y="589"/>
                      <a:pt x="1474" y="587"/>
                    </a:cubicBezTo>
                    <a:cubicBezTo>
                      <a:pt x="1475" y="590"/>
                      <a:pt x="1475" y="594"/>
                      <a:pt x="1476" y="597"/>
                    </a:cubicBezTo>
                    <a:close/>
                    <a:moveTo>
                      <a:pt x="445" y="599"/>
                    </a:moveTo>
                    <a:cubicBezTo>
                      <a:pt x="446" y="641"/>
                      <a:pt x="448" y="683"/>
                      <a:pt x="452" y="722"/>
                    </a:cubicBezTo>
                    <a:cubicBezTo>
                      <a:pt x="474" y="725"/>
                      <a:pt x="496" y="727"/>
                      <a:pt x="518" y="729"/>
                    </a:cubicBezTo>
                    <a:cubicBezTo>
                      <a:pt x="523" y="682"/>
                      <a:pt x="528" y="634"/>
                      <a:pt x="535" y="589"/>
                    </a:cubicBezTo>
                    <a:cubicBezTo>
                      <a:pt x="504" y="591"/>
                      <a:pt x="475" y="595"/>
                      <a:pt x="445" y="599"/>
                    </a:cubicBezTo>
                    <a:close/>
                    <a:moveTo>
                      <a:pt x="1398" y="592"/>
                    </a:moveTo>
                    <a:cubicBezTo>
                      <a:pt x="1398" y="610"/>
                      <a:pt x="1399" y="628"/>
                      <a:pt x="1399" y="647"/>
                    </a:cubicBezTo>
                    <a:cubicBezTo>
                      <a:pt x="1404" y="644"/>
                      <a:pt x="1410" y="644"/>
                      <a:pt x="1412" y="640"/>
                    </a:cubicBezTo>
                    <a:cubicBezTo>
                      <a:pt x="1407" y="624"/>
                      <a:pt x="1403" y="607"/>
                      <a:pt x="1398" y="592"/>
                    </a:cubicBezTo>
                    <a:moveTo>
                      <a:pt x="1398" y="592"/>
                    </a:moveTo>
                    <a:cubicBezTo>
                      <a:pt x="1399" y="587"/>
                      <a:pt x="1395" y="591"/>
                      <a:pt x="1398" y="592"/>
                    </a:cubicBezTo>
                    <a:moveTo>
                      <a:pt x="354" y="612"/>
                    </a:moveTo>
                    <a:cubicBezTo>
                      <a:pt x="346" y="641"/>
                      <a:pt x="341" y="673"/>
                      <a:pt x="335" y="705"/>
                    </a:cubicBezTo>
                    <a:cubicBezTo>
                      <a:pt x="372" y="712"/>
                      <a:pt x="409" y="718"/>
                      <a:pt x="449" y="721"/>
                    </a:cubicBezTo>
                    <a:cubicBezTo>
                      <a:pt x="445" y="682"/>
                      <a:pt x="445" y="639"/>
                      <a:pt x="441" y="599"/>
                    </a:cubicBezTo>
                    <a:cubicBezTo>
                      <a:pt x="412" y="603"/>
                      <a:pt x="383" y="607"/>
                      <a:pt x="354" y="612"/>
                    </a:cubicBezTo>
                    <a:close/>
                    <a:moveTo>
                      <a:pt x="1483" y="721"/>
                    </a:moveTo>
                    <a:cubicBezTo>
                      <a:pt x="1487" y="724"/>
                      <a:pt x="1490" y="729"/>
                      <a:pt x="1494" y="733"/>
                    </a:cubicBezTo>
                    <a:cubicBezTo>
                      <a:pt x="1498" y="736"/>
                      <a:pt x="1504" y="743"/>
                      <a:pt x="1505" y="742"/>
                    </a:cubicBezTo>
                    <a:cubicBezTo>
                      <a:pt x="1499" y="690"/>
                      <a:pt x="1492" y="641"/>
                      <a:pt x="1477" y="599"/>
                    </a:cubicBezTo>
                    <a:cubicBezTo>
                      <a:pt x="1480" y="635"/>
                      <a:pt x="1484" y="678"/>
                      <a:pt x="1483" y="721"/>
                    </a:cubicBezTo>
                    <a:close/>
                    <a:moveTo>
                      <a:pt x="1416" y="642"/>
                    </a:moveTo>
                    <a:cubicBezTo>
                      <a:pt x="1419" y="657"/>
                      <a:pt x="1423" y="671"/>
                      <a:pt x="1425" y="686"/>
                    </a:cubicBezTo>
                    <a:cubicBezTo>
                      <a:pt x="1441" y="692"/>
                      <a:pt x="1456" y="703"/>
                      <a:pt x="1468" y="711"/>
                    </a:cubicBezTo>
                    <a:cubicBezTo>
                      <a:pt x="1472" y="714"/>
                      <a:pt x="1478" y="718"/>
                      <a:pt x="1480" y="718"/>
                    </a:cubicBezTo>
                    <a:cubicBezTo>
                      <a:pt x="1480" y="677"/>
                      <a:pt x="1480" y="637"/>
                      <a:pt x="1473" y="603"/>
                    </a:cubicBezTo>
                    <a:cubicBezTo>
                      <a:pt x="1457" y="619"/>
                      <a:pt x="1438" y="632"/>
                      <a:pt x="1416" y="642"/>
                    </a:cubicBezTo>
                    <a:close/>
                    <a:moveTo>
                      <a:pt x="1128" y="658"/>
                    </a:moveTo>
                    <a:cubicBezTo>
                      <a:pt x="1128" y="640"/>
                      <a:pt x="1129" y="623"/>
                      <a:pt x="1130" y="605"/>
                    </a:cubicBezTo>
                    <a:cubicBezTo>
                      <a:pt x="1124" y="606"/>
                      <a:pt x="1122" y="604"/>
                      <a:pt x="1117" y="604"/>
                    </a:cubicBezTo>
                    <a:cubicBezTo>
                      <a:pt x="1120" y="623"/>
                      <a:pt x="1124" y="640"/>
                      <a:pt x="1128" y="658"/>
                    </a:cubicBezTo>
                    <a:close/>
                    <a:moveTo>
                      <a:pt x="1134" y="606"/>
                    </a:moveTo>
                    <a:cubicBezTo>
                      <a:pt x="1132" y="607"/>
                      <a:pt x="1132" y="607"/>
                      <a:pt x="1132" y="609"/>
                    </a:cubicBezTo>
                    <a:cubicBezTo>
                      <a:pt x="1131" y="648"/>
                      <a:pt x="1128" y="682"/>
                      <a:pt x="1136" y="714"/>
                    </a:cubicBezTo>
                    <a:cubicBezTo>
                      <a:pt x="1184" y="707"/>
                      <a:pt x="1230" y="698"/>
                      <a:pt x="1274" y="688"/>
                    </a:cubicBezTo>
                    <a:cubicBezTo>
                      <a:pt x="1276" y="671"/>
                      <a:pt x="1276" y="653"/>
                      <a:pt x="1277" y="635"/>
                    </a:cubicBezTo>
                    <a:cubicBezTo>
                      <a:pt x="1230" y="624"/>
                      <a:pt x="1183" y="614"/>
                      <a:pt x="1134" y="606"/>
                    </a:cubicBezTo>
                    <a:close/>
                    <a:moveTo>
                      <a:pt x="349" y="613"/>
                    </a:moveTo>
                    <a:cubicBezTo>
                      <a:pt x="330" y="617"/>
                      <a:pt x="311" y="621"/>
                      <a:pt x="292" y="624"/>
                    </a:cubicBezTo>
                    <a:cubicBezTo>
                      <a:pt x="292" y="650"/>
                      <a:pt x="293" y="674"/>
                      <a:pt x="295" y="697"/>
                    </a:cubicBezTo>
                    <a:cubicBezTo>
                      <a:pt x="307" y="700"/>
                      <a:pt x="319" y="703"/>
                      <a:pt x="332" y="704"/>
                    </a:cubicBezTo>
                    <a:cubicBezTo>
                      <a:pt x="337" y="674"/>
                      <a:pt x="345" y="641"/>
                      <a:pt x="349" y="613"/>
                    </a:cubicBezTo>
                    <a:close/>
                    <a:moveTo>
                      <a:pt x="1279" y="634"/>
                    </a:moveTo>
                    <a:cubicBezTo>
                      <a:pt x="1282" y="634"/>
                      <a:pt x="1283" y="634"/>
                      <a:pt x="1284" y="635"/>
                    </a:cubicBezTo>
                    <a:cubicBezTo>
                      <a:pt x="1283" y="628"/>
                      <a:pt x="1282" y="622"/>
                      <a:pt x="1279" y="617"/>
                    </a:cubicBezTo>
                    <a:cubicBezTo>
                      <a:pt x="1279" y="623"/>
                      <a:pt x="1279" y="628"/>
                      <a:pt x="1279" y="634"/>
                    </a:cubicBezTo>
                    <a:close/>
                    <a:moveTo>
                      <a:pt x="67" y="699"/>
                    </a:moveTo>
                    <a:cubicBezTo>
                      <a:pt x="70" y="674"/>
                      <a:pt x="76" y="651"/>
                      <a:pt x="82" y="628"/>
                    </a:cubicBezTo>
                    <a:cubicBezTo>
                      <a:pt x="77" y="626"/>
                      <a:pt x="74" y="621"/>
                      <a:pt x="68" y="620"/>
                    </a:cubicBezTo>
                    <a:cubicBezTo>
                      <a:pt x="67" y="645"/>
                      <a:pt x="64" y="674"/>
                      <a:pt x="67" y="699"/>
                    </a:cubicBezTo>
                    <a:close/>
                    <a:moveTo>
                      <a:pt x="288" y="625"/>
                    </a:moveTo>
                    <a:cubicBezTo>
                      <a:pt x="255" y="634"/>
                      <a:pt x="221" y="642"/>
                      <a:pt x="190" y="652"/>
                    </a:cubicBezTo>
                    <a:cubicBezTo>
                      <a:pt x="189" y="659"/>
                      <a:pt x="188" y="664"/>
                      <a:pt x="186" y="670"/>
                    </a:cubicBezTo>
                    <a:cubicBezTo>
                      <a:pt x="220" y="680"/>
                      <a:pt x="255" y="690"/>
                      <a:pt x="293" y="696"/>
                    </a:cubicBezTo>
                    <a:cubicBezTo>
                      <a:pt x="290" y="673"/>
                      <a:pt x="291" y="648"/>
                      <a:pt x="288" y="625"/>
                    </a:cubicBezTo>
                    <a:close/>
                    <a:moveTo>
                      <a:pt x="69" y="701"/>
                    </a:moveTo>
                    <a:cubicBezTo>
                      <a:pt x="95" y="687"/>
                      <a:pt x="122" y="673"/>
                      <a:pt x="152" y="663"/>
                    </a:cubicBezTo>
                    <a:cubicBezTo>
                      <a:pt x="130" y="651"/>
                      <a:pt x="104" y="643"/>
                      <a:pt x="84" y="629"/>
                    </a:cubicBezTo>
                    <a:cubicBezTo>
                      <a:pt x="79" y="653"/>
                      <a:pt x="73" y="676"/>
                      <a:pt x="69" y="701"/>
                    </a:cubicBezTo>
                    <a:close/>
                    <a:moveTo>
                      <a:pt x="1277" y="687"/>
                    </a:moveTo>
                    <a:cubicBezTo>
                      <a:pt x="1283" y="685"/>
                      <a:pt x="1289" y="684"/>
                      <a:pt x="1296" y="682"/>
                    </a:cubicBezTo>
                    <a:cubicBezTo>
                      <a:pt x="1292" y="667"/>
                      <a:pt x="1290" y="652"/>
                      <a:pt x="1285" y="638"/>
                    </a:cubicBezTo>
                    <a:cubicBezTo>
                      <a:pt x="1284" y="637"/>
                      <a:pt x="1281" y="637"/>
                      <a:pt x="1279" y="636"/>
                    </a:cubicBezTo>
                    <a:cubicBezTo>
                      <a:pt x="1278" y="652"/>
                      <a:pt x="1278" y="670"/>
                      <a:pt x="1277" y="687"/>
                    </a:cubicBezTo>
                    <a:close/>
                    <a:moveTo>
                      <a:pt x="1298" y="681"/>
                    </a:moveTo>
                    <a:cubicBezTo>
                      <a:pt x="1320" y="675"/>
                      <a:pt x="1342" y="670"/>
                      <a:pt x="1362" y="661"/>
                    </a:cubicBezTo>
                    <a:cubicBezTo>
                      <a:pt x="1338" y="654"/>
                      <a:pt x="1315" y="645"/>
                      <a:pt x="1289" y="639"/>
                    </a:cubicBezTo>
                    <a:cubicBezTo>
                      <a:pt x="1291" y="653"/>
                      <a:pt x="1296" y="666"/>
                      <a:pt x="1298" y="681"/>
                    </a:cubicBezTo>
                    <a:close/>
                    <a:moveTo>
                      <a:pt x="1399" y="649"/>
                    </a:moveTo>
                    <a:cubicBezTo>
                      <a:pt x="1399" y="657"/>
                      <a:pt x="1399" y="665"/>
                      <a:pt x="1399" y="673"/>
                    </a:cubicBezTo>
                    <a:cubicBezTo>
                      <a:pt x="1407" y="677"/>
                      <a:pt x="1415" y="680"/>
                      <a:pt x="1422" y="684"/>
                    </a:cubicBezTo>
                    <a:cubicBezTo>
                      <a:pt x="1419" y="671"/>
                      <a:pt x="1418" y="655"/>
                      <a:pt x="1412" y="644"/>
                    </a:cubicBezTo>
                    <a:cubicBezTo>
                      <a:pt x="1409" y="646"/>
                      <a:pt x="1404" y="648"/>
                      <a:pt x="1399" y="649"/>
                    </a:cubicBezTo>
                    <a:close/>
                    <a:moveTo>
                      <a:pt x="1371" y="662"/>
                    </a:moveTo>
                    <a:cubicBezTo>
                      <a:pt x="1379" y="665"/>
                      <a:pt x="1388" y="668"/>
                      <a:pt x="1397" y="672"/>
                    </a:cubicBezTo>
                    <a:cubicBezTo>
                      <a:pt x="1396" y="666"/>
                      <a:pt x="1398" y="656"/>
                      <a:pt x="1396" y="651"/>
                    </a:cubicBezTo>
                    <a:cubicBezTo>
                      <a:pt x="1388" y="655"/>
                      <a:pt x="1379" y="658"/>
                      <a:pt x="1371" y="662"/>
                    </a:cubicBezTo>
                    <a:close/>
                    <a:moveTo>
                      <a:pt x="162" y="662"/>
                    </a:moveTo>
                    <a:cubicBezTo>
                      <a:pt x="169" y="664"/>
                      <a:pt x="175" y="668"/>
                      <a:pt x="184" y="669"/>
                    </a:cubicBezTo>
                    <a:cubicBezTo>
                      <a:pt x="184" y="663"/>
                      <a:pt x="187" y="659"/>
                      <a:pt x="187" y="653"/>
                    </a:cubicBezTo>
                    <a:cubicBezTo>
                      <a:pt x="178" y="656"/>
                      <a:pt x="170" y="658"/>
                      <a:pt x="162" y="662"/>
                    </a:cubicBezTo>
                    <a:close/>
                    <a:moveTo>
                      <a:pt x="109" y="683"/>
                    </a:moveTo>
                    <a:cubicBezTo>
                      <a:pt x="98" y="688"/>
                      <a:pt x="72" y="698"/>
                      <a:pt x="68" y="707"/>
                    </a:cubicBezTo>
                    <a:cubicBezTo>
                      <a:pt x="63" y="717"/>
                      <a:pt x="68" y="742"/>
                      <a:pt x="70" y="755"/>
                    </a:cubicBezTo>
                    <a:cubicBezTo>
                      <a:pt x="76" y="807"/>
                      <a:pt x="83" y="853"/>
                      <a:pt x="96" y="893"/>
                    </a:cubicBezTo>
                    <a:cubicBezTo>
                      <a:pt x="107" y="898"/>
                      <a:pt x="117" y="903"/>
                      <a:pt x="127" y="908"/>
                    </a:cubicBezTo>
                    <a:cubicBezTo>
                      <a:pt x="138" y="901"/>
                      <a:pt x="150" y="898"/>
                      <a:pt x="158" y="889"/>
                    </a:cubicBezTo>
                    <a:cubicBezTo>
                      <a:pt x="157" y="859"/>
                      <a:pt x="160" y="834"/>
                      <a:pt x="162" y="808"/>
                    </a:cubicBezTo>
                    <a:cubicBezTo>
                      <a:pt x="163" y="790"/>
                      <a:pt x="168" y="772"/>
                      <a:pt x="168" y="756"/>
                    </a:cubicBezTo>
                    <a:cubicBezTo>
                      <a:pt x="168" y="741"/>
                      <a:pt x="163" y="727"/>
                      <a:pt x="162" y="712"/>
                    </a:cubicBezTo>
                    <a:cubicBezTo>
                      <a:pt x="161" y="696"/>
                      <a:pt x="161" y="681"/>
                      <a:pt x="159" y="665"/>
                    </a:cubicBezTo>
                    <a:cubicBezTo>
                      <a:pt x="159" y="664"/>
                      <a:pt x="159" y="664"/>
                      <a:pt x="158" y="664"/>
                    </a:cubicBezTo>
                    <a:cubicBezTo>
                      <a:pt x="145" y="667"/>
                      <a:pt x="128" y="674"/>
                      <a:pt x="109" y="683"/>
                    </a:cubicBezTo>
                    <a:close/>
                    <a:moveTo>
                      <a:pt x="1367" y="664"/>
                    </a:moveTo>
                    <a:cubicBezTo>
                      <a:pt x="1347" y="670"/>
                      <a:pt x="1321" y="678"/>
                      <a:pt x="1299" y="685"/>
                    </a:cubicBezTo>
                    <a:cubicBezTo>
                      <a:pt x="1311" y="742"/>
                      <a:pt x="1319" y="805"/>
                      <a:pt x="1322" y="872"/>
                    </a:cubicBezTo>
                    <a:cubicBezTo>
                      <a:pt x="1336" y="877"/>
                      <a:pt x="1347" y="884"/>
                      <a:pt x="1362" y="888"/>
                    </a:cubicBezTo>
                    <a:cubicBezTo>
                      <a:pt x="1380" y="824"/>
                      <a:pt x="1394" y="754"/>
                      <a:pt x="1397" y="674"/>
                    </a:cubicBezTo>
                    <a:cubicBezTo>
                      <a:pt x="1386" y="672"/>
                      <a:pt x="1378" y="666"/>
                      <a:pt x="1367" y="664"/>
                    </a:cubicBezTo>
                    <a:close/>
                    <a:moveTo>
                      <a:pt x="170" y="745"/>
                    </a:moveTo>
                    <a:cubicBezTo>
                      <a:pt x="172" y="719"/>
                      <a:pt x="178" y="695"/>
                      <a:pt x="183" y="671"/>
                    </a:cubicBezTo>
                    <a:cubicBezTo>
                      <a:pt x="175" y="670"/>
                      <a:pt x="169" y="667"/>
                      <a:pt x="162" y="665"/>
                    </a:cubicBezTo>
                    <a:cubicBezTo>
                      <a:pt x="164" y="692"/>
                      <a:pt x="164" y="722"/>
                      <a:pt x="170" y="745"/>
                    </a:cubicBezTo>
                    <a:close/>
                    <a:moveTo>
                      <a:pt x="185" y="672"/>
                    </a:moveTo>
                    <a:cubicBezTo>
                      <a:pt x="185" y="673"/>
                      <a:pt x="185" y="674"/>
                      <a:pt x="185" y="675"/>
                    </a:cubicBezTo>
                    <a:cubicBezTo>
                      <a:pt x="182" y="704"/>
                      <a:pt x="169" y="731"/>
                      <a:pt x="171" y="761"/>
                    </a:cubicBezTo>
                    <a:cubicBezTo>
                      <a:pt x="172" y="801"/>
                      <a:pt x="188" y="839"/>
                      <a:pt x="195" y="875"/>
                    </a:cubicBezTo>
                    <a:cubicBezTo>
                      <a:pt x="232" y="860"/>
                      <a:pt x="272" y="848"/>
                      <a:pt x="314" y="837"/>
                    </a:cubicBezTo>
                    <a:cubicBezTo>
                      <a:pt x="306" y="792"/>
                      <a:pt x="297" y="749"/>
                      <a:pt x="294" y="700"/>
                    </a:cubicBezTo>
                    <a:cubicBezTo>
                      <a:pt x="256" y="692"/>
                      <a:pt x="219" y="683"/>
                      <a:pt x="185" y="672"/>
                    </a:cubicBezTo>
                    <a:close/>
                    <a:moveTo>
                      <a:pt x="1364" y="890"/>
                    </a:moveTo>
                    <a:cubicBezTo>
                      <a:pt x="1375" y="896"/>
                      <a:pt x="1385" y="902"/>
                      <a:pt x="1397" y="908"/>
                    </a:cubicBezTo>
                    <a:cubicBezTo>
                      <a:pt x="1411" y="900"/>
                      <a:pt x="1428" y="894"/>
                      <a:pt x="1441" y="885"/>
                    </a:cubicBezTo>
                    <a:cubicBezTo>
                      <a:pt x="1442" y="811"/>
                      <a:pt x="1435" y="747"/>
                      <a:pt x="1423" y="687"/>
                    </a:cubicBezTo>
                    <a:cubicBezTo>
                      <a:pt x="1415" y="684"/>
                      <a:pt x="1408" y="679"/>
                      <a:pt x="1398" y="676"/>
                    </a:cubicBezTo>
                    <a:cubicBezTo>
                      <a:pt x="1397" y="757"/>
                      <a:pt x="1382" y="826"/>
                      <a:pt x="1364" y="890"/>
                    </a:cubicBezTo>
                    <a:close/>
                    <a:moveTo>
                      <a:pt x="1127" y="716"/>
                    </a:moveTo>
                    <a:cubicBezTo>
                      <a:pt x="1127" y="713"/>
                      <a:pt x="1132" y="715"/>
                      <a:pt x="1134" y="715"/>
                    </a:cubicBezTo>
                    <a:cubicBezTo>
                      <a:pt x="1132" y="705"/>
                      <a:pt x="1131" y="694"/>
                      <a:pt x="1129" y="685"/>
                    </a:cubicBezTo>
                    <a:cubicBezTo>
                      <a:pt x="1128" y="694"/>
                      <a:pt x="1125" y="707"/>
                      <a:pt x="1127" y="716"/>
                    </a:cubicBezTo>
                    <a:close/>
                    <a:moveTo>
                      <a:pt x="1277" y="690"/>
                    </a:moveTo>
                    <a:cubicBezTo>
                      <a:pt x="1272" y="746"/>
                      <a:pt x="1263" y="798"/>
                      <a:pt x="1252" y="848"/>
                    </a:cubicBezTo>
                    <a:cubicBezTo>
                      <a:pt x="1275" y="855"/>
                      <a:pt x="1298" y="862"/>
                      <a:pt x="1319" y="871"/>
                    </a:cubicBezTo>
                    <a:cubicBezTo>
                      <a:pt x="1316" y="804"/>
                      <a:pt x="1310" y="740"/>
                      <a:pt x="1295" y="685"/>
                    </a:cubicBezTo>
                    <a:cubicBezTo>
                      <a:pt x="1289" y="687"/>
                      <a:pt x="1283" y="688"/>
                      <a:pt x="1277" y="690"/>
                    </a:cubicBezTo>
                    <a:close/>
                    <a:moveTo>
                      <a:pt x="1443" y="884"/>
                    </a:moveTo>
                    <a:cubicBezTo>
                      <a:pt x="1447" y="884"/>
                      <a:pt x="1454" y="877"/>
                      <a:pt x="1459" y="875"/>
                    </a:cubicBezTo>
                    <a:cubicBezTo>
                      <a:pt x="1470" y="828"/>
                      <a:pt x="1478" y="779"/>
                      <a:pt x="1480" y="723"/>
                    </a:cubicBezTo>
                    <a:cubicBezTo>
                      <a:pt x="1465" y="709"/>
                      <a:pt x="1446" y="699"/>
                      <a:pt x="1426" y="689"/>
                    </a:cubicBezTo>
                    <a:cubicBezTo>
                      <a:pt x="1437" y="748"/>
                      <a:pt x="1446" y="814"/>
                      <a:pt x="1443" y="884"/>
                    </a:cubicBezTo>
                    <a:close/>
                    <a:moveTo>
                      <a:pt x="1136" y="718"/>
                    </a:moveTo>
                    <a:cubicBezTo>
                      <a:pt x="1142" y="751"/>
                      <a:pt x="1146" y="785"/>
                      <a:pt x="1148" y="822"/>
                    </a:cubicBezTo>
                    <a:cubicBezTo>
                      <a:pt x="1182" y="830"/>
                      <a:pt x="1216" y="838"/>
                      <a:pt x="1249" y="847"/>
                    </a:cubicBezTo>
                    <a:cubicBezTo>
                      <a:pt x="1260" y="798"/>
                      <a:pt x="1269" y="747"/>
                      <a:pt x="1274" y="691"/>
                    </a:cubicBezTo>
                    <a:cubicBezTo>
                      <a:pt x="1273" y="691"/>
                      <a:pt x="1272" y="691"/>
                      <a:pt x="1272" y="691"/>
                    </a:cubicBezTo>
                    <a:cubicBezTo>
                      <a:pt x="1229" y="702"/>
                      <a:pt x="1181" y="708"/>
                      <a:pt x="1136" y="718"/>
                    </a:cubicBezTo>
                    <a:close/>
                    <a:moveTo>
                      <a:pt x="317" y="834"/>
                    </a:moveTo>
                    <a:cubicBezTo>
                      <a:pt x="320" y="790"/>
                      <a:pt x="325" y="747"/>
                      <a:pt x="332" y="707"/>
                    </a:cubicBezTo>
                    <a:cubicBezTo>
                      <a:pt x="319" y="706"/>
                      <a:pt x="307" y="703"/>
                      <a:pt x="295" y="700"/>
                    </a:cubicBezTo>
                    <a:cubicBezTo>
                      <a:pt x="301" y="747"/>
                      <a:pt x="306" y="792"/>
                      <a:pt x="317" y="834"/>
                    </a:cubicBezTo>
                    <a:close/>
                    <a:moveTo>
                      <a:pt x="334" y="708"/>
                    </a:moveTo>
                    <a:cubicBezTo>
                      <a:pt x="329" y="749"/>
                      <a:pt x="320" y="792"/>
                      <a:pt x="320" y="836"/>
                    </a:cubicBezTo>
                    <a:cubicBezTo>
                      <a:pt x="364" y="824"/>
                      <a:pt x="411" y="815"/>
                      <a:pt x="460" y="809"/>
                    </a:cubicBezTo>
                    <a:cubicBezTo>
                      <a:pt x="456" y="781"/>
                      <a:pt x="452" y="754"/>
                      <a:pt x="450" y="724"/>
                    </a:cubicBezTo>
                    <a:cubicBezTo>
                      <a:pt x="410" y="721"/>
                      <a:pt x="372" y="714"/>
                      <a:pt x="334" y="708"/>
                    </a:cubicBezTo>
                    <a:close/>
                    <a:moveTo>
                      <a:pt x="12" y="759"/>
                    </a:moveTo>
                    <a:cubicBezTo>
                      <a:pt x="10" y="769"/>
                      <a:pt x="13" y="784"/>
                      <a:pt x="14" y="796"/>
                    </a:cubicBezTo>
                    <a:cubicBezTo>
                      <a:pt x="15" y="809"/>
                      <a:pt x="15" y="823"/>
                      <a:pt x="18" y="833"/>
                    </a:cubicBezTo>
                    <a:cubicBezTo>
                      <a:pt x="21" y="843"/>
                      <a:pt x="38" y="854"/>
                      <a:pt x="45" y="860"/>
                    </a:cubicBezTo>
                    <a:cubicBezTo>
                      <a:pt x="48" y="862"/>
                      <a:pt x="50" y="867"/>
                      <a:pt x="54" y="865"/>
                    </a:cubicBezTo>
                    <a:cubicBezTo>
                      <a:pt x="52" y="809"/>
                      <a:pt x="59" y="757"/>
                      <a:pt x="63" y="710"/>
                    </a:cubicBezTo>
                    <a:cubicBezTo>
                      <a:pt x="63" y="709"/>
                      <a:pt x="63" y="709"/>
                      <a:pt x="62" y="709"/>
                    </a:cubicBezTo>
                    <a:cubicBezTo>
                      <a:pt x="50" y="719"/>
                      <a:pt x="16" y="741"/>
                      <a:pt x="12" y="759"/>
                    </a:cubicBezTo>
                    <a:close/>
                    <a:moveTo>
                      <a:pt x="1134" y="718"/>
                    </a:moveTo>
                    <a:cubicBezTo>
                      <a:pt x="1133" y="716"/>
                      <a:pt x="1129" y="719"/>
                      <a:pt x="1126" y="718"/>
                    </a:cubicBezTo>
                    <a:cubicBezTo>
                      <a:pt x="1122" y="751"/>
                      <a:pt x="1118" y="785"/>
                      <a:pt x="1112" y="816"/>
                    </a:cubicBezTo>
                    <a:cubicBezTo>
                      <a:pt x="1124" y="818"/>
                      <a:pt x="1134" y="821"/>
                      <a:pt x="1146" y="822"/>
                    </a:cubicBezTo>
                    <a:cubicBezTo>
                      <a:pt x="1143" y="787"/>
                      <a:pt x="1139" y="752"/>
                      <a:pt x="1134" y="718"/>
                    </a:cubicBezTo>
                    <a:close/>
                    <a:moveTo>
                      <a:pt x="961" y="735"/>
                    </a:moveTo>
                    <a:cubicBezTo>
                      <a:pt x="960" y="755"/>
                      <a:pt x="958" y="775"/>
                      <a:pt x="956" y="795"/>
                    </a:cubicBezTo>
                    <a:cubicBezTo>
                      <a:pt x="1009" y="801"/>
                      <a:pt x="1060" y="807"/>
                      <a:pt x="1110" y="815"/>
                    </a:cubicBezTo>
                    <a:cubicBezTo>
                      <a:pt x="1113" y="784"/>
                      <a:pt x="1123" y="748"/>
                      <a:pt x="1121" y="719"/>
                    </a:cubicBezTo>
                    <a:cubicBezTo>
                      <a:pt x="1070" y="726"/>
                      <a:pt x="1016" y="732"/>
                      <a:pt x="961" y="735"/>
                    </a:cubicBezTo>
                    <a:close/>
                    <a:moveTo>
                      <a:pt x="1462" y="872"/>
                    </a:moveTo>
                    <a:cubicBezTo>
                      <a:pt x="1480" y="862"/>
                      <a:pt x="1495" y="848"/>
                      <a:pt x="1507" y="832"/>
                    </a:cubicBezTo>
                    <a:cubicBezTo>
                      <a:pt x="1507" y="814"/>
                      <a:pt x="1508" y="802"/>
                      <a:pt x="1507" y="786"/>
                    </a:cubicBezTo>
                    <a:cubicBezTo>
                      <a:pt x="1506" y="773"/>
                      <a:pt x="1508" y="759"/>
                      <a:pt x="1506" y="750"/>
                    </a:cubicBezTo>
                    <a:cubicBezTo>
                      <a:pt x="1503" y="738"/>
                      <a:pt x="1488" y="733"/>
                      <a:pt x="1482" y="724"/>
                    </a:cubicBezTo>
                    <a:cubicBezTo>
                      <a:pt x="1481" y="779"/>
                      <a:pt x="1472" y="827"/>
                      <a:pt x="1462" y="872"/>
                    </a:cubicBezTo>
                    <a:close/>
                    <a:moveTo>
                      <a:pt x="462" y="808"/>
                    </a:moveTo>
                    <a:cubicBezTo>
                      <a:pt x="479" y="806"/>
                      <a:pt x="496" y="804"/>
                      <a:pt x="512" y="801"/>
                    </a:cubicBezTo>
                    <a:cubicBezTo>
                      <a:pt x="515" y="778"/>
                      <a:pt x="516" y="755"/>
                      <a:pt x="518" y="732"/>
                    </a:cubicBezTo>
                    <a:cubicBezTo>
                      <a:pt x="496" y="729"/>
                      <a:pt x="474" y="727"/>
                      <a:pt x="452" y="725"/>
                    </a:cubicBezTo>
                    <a:cubicBezTo>
                      <a:pt x="455" y="753"/>
                      <a:pt x="458" y="780"/>
                      <a:pt x="462" y="808"/>
                    </a:cubicBezTo>
                    <a:close/>
                    <a:moveTo>
                      <a:pt x="56" y="868"/>
                    </a:moveTo>
                    <a:cubicBezTo>
                      <a:pt x="66" y="877"/>
                      <a:pt x="79" y="884"/>
                      <a:pt x="92" y="890"/>
                    </a:cubicBezTo>
                    <a:cubicBezTo>
                      <a:pt x="79" y="840"/>
                      <a:pt x="69" y="787"/>
                      <a:pt x="64" y="728"/>
                    </a:cubicBezTo>
                    <a:cubicBezTo>
                      <a:pt x="58" y="772"/>
                      <a:pt x="55" y="818"/>
                      <a:pt x="56" y="868"/>
                    </a:cubicBezTo>
                    <a:close/>
                    <a:moveTo>
                      <a:pt x="522" y="732"/>
                    </a:moveTo>
                    <a:cubicBezTo>
                      <a:pt x="518" y="753"/>
                      <a:pt x="518" y="778"/>
                      <a:pt x="515" y="801"/>
                    </a:cubicBezTo>
                    <a:cubicBezTo>
                      <a:pt x="549" y="797"/>
                      <a:pt x="584" y="794"/>
                      <a:pt x="619" y="791"/>
                    </a:cubicBezTo>
                    <a:cubicBezTo>
                      <a:pt x="619" y="773"/>
                      <a:pt x="617" y="756"/>
                      <a:pt x="616" y="739"/>
                    </a:cubicBezTo>
                    <a:cubicBezTo>
                      <a:pt x="585" y="736"/>
                      <a:pt x="553" y="735"/>
                      <a:pt x="522" y="732"/>
                    </a:cubicBezTo>
                    <a:close/>
                    <a:moveTo>
                      <a:pt x="8" y="761"/>
                    </a:moveTo>
                    <a:cubicBezTo>
                      <a:pt x="10" y="754"/>
                      <a:pt x="10" y="740"/>
                      <a:pt x="8" y="733"/>
                    </a:cubicBezTo>
                    <a:cubicBezTo>
                      <a:pt x="10" y="743"/>
                      <a:pt x="6" y="753"/>
                      <a:pt x="8" y="761"/>
                    </a:cubicBezTo>
                    <a:close/>
                    <a:moveTo>
                      <a:pt x="942" y="737"/>
                    </a:moveTo>
                    <a:cubicBezTo>
                      <a:pt x="943" y="757"/>
                      <a:pt x="945" y="775"/>
                      <a:pt x="945" y="795"/>
                    </a:cubicBezTo>
                    <a:cubicBezTo>
                      <a:pt x="948" y="795"/>
                      <a:pt x="950" y="795"/>
                      <a:pt x="953" y="795"/>
                    </a:cubicBezTo>
                    <a:cubicBezTo>
                      <a:pt x="956" y="776"/>
                      <a:pt x="957" y="756"/>
                      <a:pt x="958" y="736"/>
                    </a:cubicBezTo>
                    <a:cubicBezTo>
                      <a:pt x="953" y="736"/>
                      <a:pt x="946" y="735"/>
                      <a:pt x="942" y="737"/>
                    </a:cubicBezTo>
                    <a:close/>
                    <a:moveTo>
                      <a:pt x="790" y="742"/>
                    </a:moveTo>
                    <a:cubicBezTo>
                      <a:pt x="790" y="757"/>
                      <a:pt x="790" y="772"/>
                      <a:pt x="790" y="788"/>
                    </a:cubicBezTo>
                    <a:cubicBezTo>
                      <a:pt x="843" y="788"/>
                      <a:pt x="892" y="791"/>
                      <a:pt x="942" y="794"/>
                    </a:cubicBezTo>
                    <a:cubicBezTo>
                      <a:pt x="940" y="776"/>
                      <a:pt x="940" y="755"/>
                      <a:pt x="938" y="737"/>
                    </a:cubicBezTo>
                    <a:cubicBezTo>
                      <a:pt x="889" y="739"/>
                      <a:pt x="841" y="742"/>
                      <a:pt x="790" y="742"/>
                    </a:cubicBezTo>
                    <a:close/>
                    <a:moveTo>
                      <a:pt x="621" y="739"/>
                    </a:moveTo>
                    <a:cubicBezTo>
                      <a:pt x="619" y="755"/>
                      <a:pt x="623" y="774"/>
                      <a:pt x="623" y="791"/>
                    </a:cubicBezTo>
                    <a:cubicBezTo>
                      <a:pt x="657" y="790"/>
                      <a:pt x="691" y="788"/>
                      <a:pt x="726" y="788"/>
                    </a:cubicBezTo>
                    <a:cubicBezTo>
                      <a:pt x="726" y="772"/>
                      <a:pt x="726" y="757"/>
                      <a:pt x="726" y="742"/>
                    </a:cubicBezTo>
                    <a:cubicBezTo>
                      <a:pt x="690" y="742"/>
                      <a:pt x="656" y="740"/>
                      <a:pt x="621" y="739"/>
                    </a:cubicBezTo>
                    <a:close/>
                    <a:moveTo>
                      <a:pt x="729" y="742"/>
                    </a:moveTo>
                    <a:cubicBezTo>
                      <a:pt x="729" y="757"/>
                      <a:pt x="729" y="772"/>
                      <a:pt x="729" y="788"/>
                    </a:cubicBezTo>
                    <a:cubicBezTo>
                      <a:pt x="749" y="788"/>
                      <a:pt x="768" y="788"/>
                      <a:pt x="787" y="788"/>
                    </a:cubicBezTo>
                    <a:cubicBezTo>
                      <a:pt x="788" y="773"/>
                      <a:pt x="788" y="757"/>
                      <a:pt x="788" y="742"/>
                    </a:cubicBezTo>
                    <a:cubicBezTo>
                      <a:pt x="768" y="742"/>
                      <a:pt x="749" y="742"/>
                      <a:pt x="729" y="742"/>
                    </a:cubicBezTo>
                    <a:close/>
                    <a:moveTo>
                      <a:pt x="1508" y="753"/>
                    </a:moveTo>
                    <a:cubicBezTo>
                      <a:pt x="1508" y="753"/>
                      <a:pt x="1509" y="754"/>
                      <a:pt x="1508" y="753"/>
                    </a:cubicBezTo>
                    <a:close/>
                    <a:moveTo>
                      <a:pt x="1511" y="827"/>
                    </a:moveTo>
                    <a:cubicBezTo>
                      <a:pt x="1520" y="808"/>
                      <a:pt x="1524" y="768"/>
                      <a:pt x="1509" y="754"/>
                    </a:cubicBezTo>
                    <a:cubicBezTo>
                      <a:pt x="1510" y="778"/>
                      <a:pt x="1509" y="804"/>
                      <a:pt x="1511" y="827"/>
                    </a:cubicBezTo>
                    <a:close/>
                    <a:moveTo>
                      <a:pt x="15" y="828"/>
                    </a:moveTo>
                    <a:cubicBezTo>
                      <a:pt x="12" y="808"/>
                      <a:pt x="12" y="784"/>
                      <a:pt x="8" y="765"/>
                    </a:cubicBezTo>
                    <a:cubicBezTo>
                      <a:pt x="6" y="784"/>
                      <a:pt x="4" y="816"/>
                      <a:pt x="15" y="828"/>
                    </a:cubicBezTo>
                    <a:close/>
                    <a:moveTo>
                      <a:pt x="162" y="890"/>
                    </a:moveTo>
                    <a:cubicBezTo>
                      <a:pt x="171" y="884"/>
                      <a:pt x="184" y="881"/>
                      <a:pt x="193" y="875"/>
                    </a:cubicBezTo>
                    <a:cubicBezTo>
                      <a:pt x="182" y="842"/>
                      <a:pt x="176" y="805"/>
                      <a:pt x="169" y="768"/>
                    </a:cubicBezTo>
                    <a:cubicBezTo>
                      <a:pt x="165" y="806"/>
                      <a:pt x="159" y="852"/>
                      <a:pt x="162" y="890"/>
                    </a:cubicBezTo>
                    <a:close/>
                    <a:moveTo>
                      <a:pt x="5" y="797"/>
                    </a:moveTo>
                    <a:cubicBezTo>
                      <a:pt x="5" y="793"/>
                      <a:pt x="5" y="784"/>
                      <a:pt x="4" y="780"/>
                    </a:cubicBezTo>
                    <a:cubicBezTo>
                      <a:pt x="2" y="787"/>
                      <a:pt x="4" y="811"/>
                      <a:pt x="5" y="797"/>
                    </a:cubicBezTo>
                    <a:close/>
                    <a:moveTo>
                      <a:pt x="624" y="794"/>
                    </a:moveTo>
                    <a:cubicBezTo>
                      <a:pt x="627" y="863"/>
                      <a:pt x="635" y="934"/>
                      <a:pt x="643" y="1001"/>
                    </a:cubicBezTo>
                    <a:cubicBezTo>
                      <a:pt x="670" y="999"/>
                      <a:pt x="698" y="998"/>
                      <a:pt x="726" y="997"/>
                    </a:cubicBezTo>
                    <a:cubicBezTo>
                      <a:pt x="726" y="928"/>
                      <a:pt x="725" y="858"/>
                      <a:pt x="726" y="791"/>
                    </a:cubicBezTo>
                    <a:cubicBezTo>
                      <a:pt x="694" y="790"/>
                      <a:pt x="656" y="792"/>
                      <a:pt x="624" y="794"/>
                    </a:cubicBezTo>
                    <a:close/>
                    <a:moveTo>
                      <a:pt x="729" y="792"/>
                    </a:moveTo>
                    <a:cubicBezTo>
                      <a:pt x="727" y="859"/>
                      <a:pt x="729" y="929"/>
                      <a:pt x="728" y="997"/>
                    </a:cubicBezTo>
                    <a:cubicBezTo>
                      <a:pt x="747" y="997"/>
                      <a:pt x="765" y="997"/>
                      <a:pt x="783" y="997"/>
                    </a:cubicBezTo>
                    <a:cubicBezTo>
                      <a:pt x="785" y="929"/>
                      <a:pt x="787" y="860"/>
                      <a:pt x="787" y="790"/>
                    </a:cubicBezTo>
                    <a:cubicBezTo>
                      <a:pt x="768" y="790"/>
                      <a:pt x="749" y="790"/>
                      <a:pt x="730" y="790"/>
                    </a:cubicBezTo>
                    <a:cubicBezTo>
                      <a:pt x="729" y="790"/>
                      <a:pt x="729" y="791"/>
                      <a:pt x="729" y="792"/>
                    </a:cubicBezTo>
                    <a:close/>
                    <a:moveTo>
                      <a:pt x="790" y="792"/>
                    </a:moveTo>
                    <a:cubicBezTo>
                      <a:pt x="789" y="861"/>
                      <a:pt x="788" y="929"/>
                      <a:pt x="786" y="997"/>
                    </a:cubicBezTo>
                    <a:cubicBezTo>
                      <a:pt x="834" y="997"/>
                      <a:pt x="881" y="1003"/>
                      <a:pt x="927" y="998"/>
                    </a:cubicBezTo>
                    <a:cubicBezTo>
                      <a:pt x="937" y="935"/>
                      <a:pt x="950" y="870"/>
                      <a:pt x="942" y="797"/>
                    </a:cubicBezTo>
                    <a:cubicBezTo>
                      <a:pt x="894" y="792"/>
                      <a:pt x="842" y="791"/>
                      <a:pt x="791" y="790"/>
                    </a:cubicBezTo>
                    <a:cubicBezTo>
                      <a:pt x="790" y="790"/>
                      <a:pt x="790" y="791"/>
                      <a:pt x="790" y="792"/>
                    </a:cubicBezTo>
                    <a:close/>
                    <a:moveTo>
                      <a:pt x="1521" y="796"/>
                    </a:moveTo>
                    <a:cubicBezTo>
                      <a:pt x="1521" y="795"/>
                      <a:pt x="1522" y="788"/>
                      <a:pt x="1520" y="791"/>
                    </a:cubicBezTo>
                    <a:cubicBezTo>
                      <a:pt x="1520" y="793"/>
                      <a:pt x="1520" y="799"/>
                      <a:pt x="1521" y="796"/>
                    </a:cubicBezTo>
                    <a:close/>
                    <a:moveTo>
                      <a:pt x="515" y="804"/>
                    </a:moveTo>
                    <a:cubicBezTo>
                      <a:pt x="511" y="864"/>
                      <a:pt x="510" y="926"/>
                      <a:pt x="510" y="991"/>
                    </a:cubicBezTo>
                    <a:cubicBezTo>
                      <a:pt x="552" y="995"/>
                      <a:pt x="598" y="999"/>
                      <a:pt x="640" y="1000"/>
                    </a:cubicBezTo>
                    <a:cubicBezTo>
                      <a:pt x="631" y="934"/>
                      <a:pt x="624" y="865"/>
                      <a:pt x="620" y="794"/>
                    </a:cubicBezTo>
                    <a:cubicBezTo>
                      <a:pt x="584" y="797"/>
                      <a:pt x="549" y="799"/>
                      <a:pt x="515" y="804"/>
                    </a:cubicBezTo>
                    <a:close/>
                    <a:moveTo>
                      <a:pt x="948" y="845"/>
                    </a:moveTo>
                    <a:cubicBezTo>
                      <a:pt x="950" y="830"/>
                      <a:pt x="952" y="814"/>
                      <a:pt x="953" y="798"/>
                    </a:cubicBezTo>
                    <a:cubicBezTo>
                      <a:pt x="950" y="798"/>
                      <a:pt x="949" y="797"/>
                      <a:pt x="945" y="797"/>
                    </a:cubicBezTo>
                    <a:cubicBezTo>
                      <a:pt x="947" y="812"/>
                      <a:pt x="946" y="830"/>
                      <a:pt x="948" y="845"/>
                    </a:cubicBezTo>
                    <a:close/>
                    <a:moveTo>
                      <a:pt x="950" y="997"/>
                    </a:moveTo>
                    <a:cubicBezTo>
                      <a:pt x="991" y="993"/>
                      <a:pt x="1030" y="989"/>
                      <a:pt x="1070" y="985"/>
                    </a:cubicBezTo>
                    <a:cubicBezTo>
                      <a:pt x="1087" y="933"/>
                      <a:pt x="1099" y="877"/>
                      <a:pt x="1110" y="818"/>
                    </a:cubicBezTo>
                    <a:cubicBezTo>
                      <a:pt x="1061" y="809"/>
                      <a:pt x="1009" y="803"/>
                      <a:pt x="957" y="798"/>
                    </a:cubicBezTo>
                    <a:cubicBezTo>
                      <a:pt x="944" y="857"/>
                      <a:pt x="952" y="927"/>
                      <a:pt x="950" y="997"/>
                    </a:cubicBezTo>
                    <a:close/>
                    <a:moveTo>
                      <a:pt x="462" y="811"/>
                    </a:moveTo>
                    <a:cubicBezTo>
                      <a:pt x="470" y="866"/>
                      <a:pt x="483" y="925"/>
                      <a:pt x="495" y="975"/>
                    </a:cubicBezTo>
                    <a:cubicBezTo>
                      <a:pt x="497" y="982"/>
                      <a:pt x="496" y="993"/>
                      <a:pt x="508" y="991"/>
                    </a:cubicBezTo>
                    <a:cubicBezTo>
                      <a:pt x="507" y="935"/>
                      <a:pt x="508" y="873"/>
                      <a:pt x="511" y="820"/>
                    </a:cubicBezTo>
                    <a:cubicBezTo>
                      <a:pt x="512" y="816"/>
                      <a:pt x="515" y="807"/>
                      <a:pt x="510" y="804"/>
                    </a:cubicBezTo>
                    <a:cubicBezTo>
                      <a:pt x="494" y="807"/>
                      <a:pt x="477" y="808"/>
                      <a:pt x="462" y="811"/>
                    </a:cubicBezTo>
                    <a:close/>
                    <a:moveTo>
                      <a:pt x="318" y="839"/>
                    </a:moveTo>
                    <a:cubicBezTo>
                      <a:pt x="326" y="887"/>
                      <a:pt x="341" y="928"/>
                      <a:pt x="354" y="970"/>
                    </a:cubicBezTo>
                    <a:cubicBezTo>
                      <a:pt x="400" y="977"/>
                      <a:pt x="448" y="987"/>
                      <a:pt x="496" y="988"/>
                    </a:cubicBezTo>
                    <a:cubicBezTo>
                      <a:pt x="480" y="933"/>
                      <a:pt x="470" y="871"/>
                      <a:pt x="459" y="811"/>
                    </a:cubicBezTo>
                    <a:cubicBezTo>
                      <a:pt x="411" y="819"/>
                      <a:pt x="363" y="827"/>
                      <a:pt x="318" y="839"/>
                    </a:cubicBezTo>
                    <a:close/>
                    <a:moveTo>
                      <a:pt x="1113" y="819"/>
                    </a:moveTo>
                    <a:cubicBezTo>
                      <a:pt x="1113" y="819"/>
                      <a:pt x="1113" y="818"/>
                      <a:pt x="1112" y="818"/>
                    </a:cubicBezTo>
                    <a:cubicBezTo>
                      <a:pt x="1102" y="876"/>
                      <a:pt x="1089" y="932"/>
                      <a:pt x="1074" y="984"/>
                    </a:cubicBezTo>
                    <a:cubicBezTo>
                      <a:pt x="1100" y="981"/>
                      <a:pt x="1126" y="978"/>
                      <a:pt x="1151" y="973"/>
                    </a:cubicBezTo>
                    <a:cubicBezTo>
                      <a:pt x="1151" y="922"/>
                      <a:pt x="1149" y="873"/>
                      <a:pt x="1146" y="825"/>
                    </a:cubicBezTo>
                    <a:cubicBezTo>
                      <a:pt x="1135" y="823"/>
                      <a:pt x="1125" y="820"/>
                      <a:pt x="1113" y="819"/>
                    </a:cubicBezTo>
                    <a:close/>
                    <a:moveTo>
                      <a:pt x="46" y="1018"/>
                    </a:moveTo>
                    <a:cubicBezTo>
                      <a:pt x="45" y="1002"/>
                      <a:pt x="48" y="990"/>
                      <a:pt x="54" y="980"/>
                    </a:cubicBezTo>
                    <a:cubicBezTo>
                      <a:pt x="37" y="936"/>
                      <a:pt x="24" y="889"/>
                      <a:pt x="17" y="837"/>
                    </a:cubicBezTo>
                    <a:cubicBezTo>
                      <a:pt x="13" y="832"/>
                      <a:pt x="11" y="826"/>
                      <a:pt x="7" y="821"/>
                    </a:cubicBezTo>
                    <a:cubicBezTo>
                      <a:pt x="12" y="895"/>
                      <a:pt x="24" y="961"/>
                      <a:pt x="46" y="1018"/>
                    </a:cubicBezTo>
                    <a:close/>
                    <a:moveTo>
                      <a:pt x="1507" y="887"/>
                    </a:moveTo>
                    <a:cubicBezTo>
                      <a:pt x="1509" y="865"/>
                      <a:pt x="1516" y="844"/>
                      <a:pt x="1515" y="823"/>
                    </a:cubicBezTo>
                    <a:cubicBezTo>
                      <a:pt x="1506" y="838"/>
                      <a:pt x="1508" y="868"/>
                      <a:pt x="1507" y="887"/>
                    </a:cubicBezTo>
                    <a:close/>
                    <a:moveTo>
                      <a:pt x="1149" y="826"/>
                    </a:moveTo>
                    <a:cubicBezTo>
                      <a:pt x="1152" y="873"/>
                      <a:pt x="1154" y="922"/>
                      <a:pt x="1154" y="973"/>
                    </a:cubicBezTo>
                    <a:cubicBezTo>
                      <a:pt x="1174" y="969"/>
                      <a:pt x="1195" y="965"/>
                      <a:pt x="1215" y="961"/>
                    </a:cubicBezTo>
                    <a:cubicBezTo>
                      <a:pt x="1227" y="925"/>
                      <a:pt x="1240" y="889"/>
                      <a:pt x="1248" y="849"/>
                    </a:cubicBezTo>
                    <a:cubicBezTo>
                      <a:pt x="1215" y="841"/>
                      <a:pt x="1184" y="832"/>
                      <a:pt x="1149" y="826"/>
                    </a:cubicBezTo>
                    <a:close/>
                    <a:moveTo>
                      <a:pt x="1461" y="878"/>
                    </a:moveTo>
                    <a:cubicBezTo>
                      <a:pt x="1455" y="899"/>
                      <a:pt x="1449" y="921"/>
                      <a:pt x="1442" y="941"/>
                    </a:cubicBezTo>
                    <a:cubicBezTo>
                      <a:pt x="1456" y="956"/>
                      <a:pt x="1469" y="972"/>
                      <a:pt x="1476" y="993"/>
                    </a:cubicBezTo>
                    <a:cubicBezTo>
                      <a:pt x="1493" y="949"/>
                      <a:pt x="1507" y="896"/>
                      <a:pt x="1506" y="837"/>
                    </a:cubicBezTo>
                    <a:cubicBezTo>
                      <a:pt x="1495" y="854"/>
                      <a:pt x="1476" y="865"/>
                      <a:pt x="1461" y="878"/>
                    </a:cubicBezTo>
                    <a:close/>
                    <a:moveTo>
                      <a:pt x="196" y="877"/>
                    </a:moveTo>
                    <a:cubicBezTo>
                      <a:pt x="201" y="898"/>
                      <a:pt x="208" y="918"/>
                      <a:pt x="215" y="938"/>
                    </a:cubicBezTo>
                    <a:cubicBezTo>
                      <a:pt x="247" y="946"/>
                      <a:pt x="278" y="956"/>
                      <a:pt x="313" y="961"/>
                    </a:cubicBezTo>
                    <a:cubicBezTo>
                      <a:pt x="311" y="919"/>
                      <a:pt x="316" y="878"/>
                      <a:pt x="315" y="839"/>
                    </a:cubicBezTo>
                    <a:cubicBezTo>
                      <a:pt x="314" y="839"/>
                      <a:pt x="313" y="839"/>
                      <a:pt x="313" y="839"/>
                    </a:cubicBezTo>
                    <a:cubicBezTo>
                      <a:pt x="272" y="850"/>
                      <a:pt x="233" y="863"/>
                      <a:pt x="196" y="877"/>
                    </a:cubicBezTo>
                    <a:close/>
                    <a:moveTo>
                      <a:pt x="55" y="977"/>
                    </a:moveTo>
                    <a:cubicBezTo>
                      <a:pt x="56" y="970"/>
                      <a:pt x="61" y="968"/>
                      <a:pt x="63" y="962"/>
                    </a:cubicBezTo>
                    <a:cubicBezTo>
                      <a:pt x="57" y="935"/>
                      <a:pt x="56" y="902"/>
                      <a:pt x="54" y="871"/>
                    </a:cubicBezTo>
                    <a:cubicBezTo>
                      <a:pt x="42" y="861"/>
                      <a:pt x="30" y="852"/>
                      <a:pt x="20" y="840"/>
                    </a:cubicBezTo>
                    <a:cubicBezTo>
                      <a:pt x="27" y="890"/>
                      <a:pt x="39" y="936"/>
                      <a:pt x="55" y="977"/>
                    </a:cubicBezTo>
                    <a:close/>
                    <a:moveTo>
                      <a:pt x="1251" y="851"/>
                    </a:moveTo>
                    <a:cubicBezTo>
                      <a:pt x="1241" y="889"/>
                      <a:pt x="1230" y="925"/>
                      <a:pt x="1218" y="960"/>
                    </a:cubicBezTo>
                    <a:cubicBezTo>
                      <a:pt x="1253" y="953"/>
                      <a:pt x="1288" y="945"/>
                      <a:pt x="1320" y="935"/>
                    </a:cubicBezTo>
                    <a:cubicBezTo>
                      <a:pt x="1320" y="914"/>
                      <a:pt x="1320" y="893"/>
                      <a:pt x="1319" y="873"/>
                    </a:cubicBezTo>
                    <a:cubicBezTo>
                      <a:pt x="1296" y="866"/>
                      <a:pt x="1275" y="857"/>
                      <a:pt x="1251" y="851"/>
                    </a:cubicBezTo>
                    <a:close/>
                    <a:moveTo>
                      <a:pt x="316" y="962"/>
                    </a:moveTo>
                    <a:cubicBezTo>
                      <a:pt x="327" y="965"/>
                      <a:pt x="339" y="967"/>
                      <a:pt x="351" y="969"/>
                    </a:cubicBezTo>
                    <a:cubicBezTo>
                      <a:pt x="338" y="932"/>
                      <a:pt x="328" y="893"/>
                      <a:pt x="318" y="853"/>
                    </a:cubicBezTo>
                    <a:cubicBezTo>
                      <a:pt x="316" y="889"/>
                      <a:pt x="315" y="925"/>
                      <a:pt x="316" y="962"/>
                    </a:cubicBezTo>
                    <a:close/>
                    <a:moveTo>
                      <a:pt x="65" y="959"/>
                    </a:moveTo>
                    <a:cubicBezTo>
                      <a:pt x="75" y="948"/>
                      <a:pt x="90" y="935"/>
                      <a:pt x="102" y="923"/>
                    </a:cubicBezTo>
                    <a:cubicBezTo>
                      <a:pt x="99" y="914"/>
                      <a:pt x="96" y="904"/>
                      <a:pt x="94" y="894"/>
                    </a:cubicBezTo>
                    <a:cubicBezTo>
                      <a:pt x="80" y="889"/>
                      <a:pt x="69" y="880"/>
                      <a:pt x="56" y="873"/>
                    </a:cubicBezTo>
                    <a:cubicBezTo>
                      <a:pt x="59" y="902"/>
                      <a:pt x="60" y="932"/>
                      <a:pt x="65" y="959"/>
                    </a:cubicBezTo>
                    <a:close/>
                    <a:moveTo>
                      <a:pt x="1322" y="934"/>
                    </a:moveTo>
                    <a:cubicBezTo>
                      <a:pt x="1332" y="932"/>
                      <a:pt x="1340" y="928"/>
                      <a:pt x="1350" y="925"/>
                    </a:cubicBezTo>
                    <a:cubicBezTo>
                      <a:pt x="1354" y="914"/>
                      <a:pt x="1357" y="903"/>
                      <a:pt x="1360" y="891"/>
                    </a:cubicBezTo>
                    <a:cubicBezTo>
                      <a:pt x="1347" y="886"/>
                      <a:pt x="1335" y="880"/>
                      <a:pt x="1322" y="875"/>
                    </a:cubicBezTo>
                    <a:cubicBezTo>
                      <a:pt x="1323" y="895"/>
                      <a:pt x="1323" y="913"/>
                      <a:pt x="1322" y="934"/>
                    </a:cubicBezTo>
                    <a:close/>
                    <a:moveTo>
                      <a:pt x="194" y="879"/>
                    </a:moveTo>
                    <a:cubicBezTo>
                      <a:pt x="181" y="882"/>
                      <a:pt x="173" y="889"/>
                      <a:pt x="161" y="892"/>
                    </a:cubicBezTo>
                    <a:cubicBezTo>
                      <a:pt x="161" y="902"/>
                      <a:pt x="161" y="911"/>
                      <a:pt x="161" y="921"/>
                    </a:cubicBezTo>
                    <a:cubicBezTo>
                      <a:pt x="179" y="925"/>
                      <a:pt x="195" y="935"/>
                      <a:pt x="212" y="935"/>
                    </a:cubicBezTo>
                    <a:cubicBezTo>
                      <a:pt x="205" y="917"/>
                      <a:pt x="199" y="899"/>
                      <a:pt x="194" y="879"/>
                    </a:cubicBezTo>
                    <a:close/>
                    <a:moveTo>
                      <a:pt x="1457" y="881"/>
                    </a:moveTo>
                    <a:cubicBezTo>
                      <a:pt x="1457" y="880"/>
                      <a:pt x="1456" y="880"/>
                      <a:pt x="1455" y="880"/>
                    </a:cubicBezTo>
                    <a:cubicBezTo>
                      <a:pt x="1452" y="883"/>
                      <a:pt x="1447" y="885"/>
                      <a:pt x="1443" y="887"/>
                    </a:cubicBezTo>
                    <a:cubicBezTo>
                      <a:pt x="1443" y="905"/>
                      <a:pt x="1440" y="923"/>
                      <a:pt x="1441" y="937"/>
                    </a:cubicBezTo>
                    <a:cubicBezTo>
                      <a:pt x="1443" y="919"/>
                      <a:pt x="1456" y="899"/>
                      <a:pt x="1457" y="881"/>
                    </a:cubicBezTo>
                    <a:close/>
                    <a:moveTo>
                      <a:pt x="1505" y="889"/>
                    </a:moveTo>
                    <a:cubicBezTo>
                      <a:pt x="1506" y="893"/>
                      <a:pt x="1506" y="886"/>
                      <a:pt x="1505" y="889"/>
                    </a:cubicBezTo>
                    <a:close/>
                    <a:moveTo>
                      <a:pt x="1399" y="909"/>
                    </a:moveTo>
                    <a:cubicBezTo>
                      <a:pt x="1411" y="918"/>
                      <a:pt x="1425" y="927"/>
                      <a:pt x="1437" y="936"/>
                    </a:cubicBezTo>
                    <a:cubicBezTo>
                      <a:pt x="1438" y="922"/>
                      <a:pt x="1441" y="904"/>
                      <a:pt x="1439" y="889"/>
                    </a:cubicBezTo>
                    <a:cubicBezTo>
                      <a:pt x="1427" y="897"/>
                      <a:pt x="1413" y="903"/>
                      <a:pt x="1399" y="909"/>
                    </a:cubicBezTo>
                    <a:close/>
                    <a:moveTo>
                      <a:pt x="1354" y="924"/>
                    </a:moveTo>
                    <a:cubicBezTo>
                      <a:pt x="1366" y="919"/>
                      <a:pt x="1379" y="914"/>
                      <a:pt x="1392" y="910"/>
                    </a:cubicBezTo>
                    <a:cubicBezTo>
                      <a:pt x="1384" y="902"/>
                      <a:pt x="1373" y="898"/>
                      <a:pt x="1363" y="893"/>
                    </a:cubicBezTo>
                    <a:cubicBezTo>
                      <a:pt x="1360" y="903"/>
                      <a:pt x="1354" y="915"/>
                      <a:pt x="1354" y="924"/>
                    </a:cubicBezTo>
                    <a:close/>
                    <a:moveTo>
                      <a:pt x="131" y="910"/>
                    </a:moveTo>
                    <a:cubicBezTo>
                      <a:pt x="141" y="912"/>
                      <a:pt x="148" y="917"/>
                      <a:pt x="158" y="919"/>
                    </a:cubicBezTo>
                    <a:cubicBezTo>
                      <a:pt x="158" y="911"/>
                      <a:pt x="159" y="901"/>
                      <a:pt x="157" y="894"/>
                    </a:cubicBezTo>
                    <a:cubicBezTo>
                      <a:pt x="149" y="900"/>
                      <a:pt x="139" y="903"/>
                      <a:pt x="131" y="910"/>
                    </a:cubicBezTo>
                    <a:close/>
                    <a:moveTo>
                      <a:pt x="929" y="998"/>
                    </a:moveTo>
                    <a:cubicBezTo>
                      <a:pt x="936" y="999"/>
                      <a:pt x="939" y="996"/>
                      <a:pt x="945" y="997"/>
                    </a:cubicBezTo>
                    <a:cubicBezTo>
                      <a:pt x="947" y="964"/>
                      <a:pt x="945" y="928"/>
                      <a:pt x="944" y="895"/>
                    </a:cubicBezTo>
                    <a:cubicBezTo>
                      <a:pt x="941" y="931"/>
                      <a:pt x="935" y="964"/>
                      <a:pt x="929" y="998"/>
                    </a:cubicBezTo>
                    <a:close/>
                    <a:moveTo>
                      <a:pt x="98" y="897"/>
                    </a:moveTo>
                    <a:cubicBezTo>
                      <a:pt x="99" y="906"/>
                      <a:pt x="103" y="913"/>
                      <a:pt x="104" y="922"/>
                    </a:cubicBezTo>
                    <a:cubicBezTo>
                      <a:pt x="112" y="918"/>
                      <a:pt x="119" y="915"/>
                      <a:pt x="125" y="909"/>
                    </a:cubicBezTo>
                    <a:cubicBezTo>
                      <a:pt x="115" y="906"/>
                      <a:pt x="107" y="900"/>
                      <a:pt x="98" y="897"/>
                    </a:cubicBezTo>
                    <a:moveTo>
                      <a:pt x="98" y="897"/>
                    </a:moveTo>
                    <a:cubicBezTo>
                      <a:pt x="97" y="896"/>
                      <a:pt x="97" y="897"/>
                      <a:pt x="98" y="897"/>
                    </a:cubicBezTo>
                    <a:moveTo>
                      <a:pt x="128" y="911"/>
                    </a:moveTo>
                    <a:cubicBezTo>
                      <a:pt x="121" y="916"/>
                      <a:pt x="111" y="919"/>
                      <a:pt x="106" y="927"/>
                    </a:cubicBezTo>
                    <a:cubicBezTo>
                      <a:pt x="126" y="981"/>
                      <a:pt x="148" y="1032"/>
                      <a:pt x="176" y="1078"/>
                    </a:cubicBezTo>
                    <a:cubicBezTo>
                      <a:pt x="166" y="1030"/>
                      <a:pt x="160" y="978"/>
                      <a:pt x="158" y="922"/>
                    </a:cubicBezTo>
                    <a:cubicBezTo>
                      <a:pt x="148" y="919"/>
                      <a:pt x="138" y="915"/>
                      <a:pt x="128" y="911"/>
                    </a:cubicBezTo>
                    <a:close/>
                    <a:moveTo>
                      <a:pt x="1396" y="911"/>
                    </a:moveTo>
                    <a:cubicBezTo>
                      <a:pt x="1381" y="916"/>
                      <a:pt x="1367" y="923"/>
                      <a:pt x="1351" y="927"/>
                    </a:cubicBezTo>
                    <a:cubicBezTo>
                      <a:pt x="1341" y="957"/>
                      <a:pt x="1330" y="985"/>
                      <a:pt x="1317" y="1011"/>
                    </a:cubicBezTo>
                    <a:cubicBezTo>
                      <a:pt x="1313" y="1047"/>
                      <a:pt x="1308" y="1080"/>
                      <a:pt x="1301" y="1111"/>
                    </a:cubicBezTo>
                    <a:cubicBezTo>
                      <a:pt x="1314" y="1119"/>
                      <a:pt x="1324" y="1130"/>
                      <a:pt x="1336" y="1139"/>
                    </a:cubicBezTo>
                    <a:cubicBezTo>
                      <a:pt x="1376" y="1079"/>
                      <a:pt x="1414" y="1018"/>
                      <a:pt x="1437" y="941"/>
                    </a:cubicBezTo>
                    <a:cubicBezTo>
                      <a:pt x="1425" y="929"/>
                      <a:pt x="1410" y="920"/>
                      <a:pt x="1396" y="911"/>
                    </a:cubicBezTo>
                    <a:close/>
                    <a:moveTo>
                      <a:pt x="161" y="927"/>
                    </a:moveTo>
                    <a:cubicBezTo>
                      <a:pt x="163" y="985"/>
                      <a:pt x="170" y="1038"/>
                      <a:pt x="181" y="1087"/>
                    </a:cubicBezTo>
                    <a:cubicBezTo>
                      <a:pt x="190" y="1099"/>
                      <a:pt x="197" y="1113"/>
                      <a:pt x="206" y="1125"/>
                    </a:cubicBezTo>
                    <a:cubicBezTo>
                      <a:pt x="227" y="1107"/>
                      <a:pt x="251" y="1093"/>
                      <a:pt x="277" y="1081"/>
                    </a:cubicBezTo>
                    <a:cubicBezTo>
                      <a:pt x="255" y="1036"/>
                      <a:pt x="231" y="992"/>
                      <a:pt x="214" y="940"/>
                    </a:cubicBezTo>
                    <a:cubicBezTo>
                      <a:pt x="195" y="936"/>
                      <a:pt x="179" y="929"/>
                      <a:pt x="161" y="924"/>
                    </a:cubicBezTo>
                    <a:cubicBezTo>
                      <a:pt x="161" y="925"/>
                      <a:pt x="161" y="926"/>
                      <a:pt x="161" y="927"/>
                    </a:cubicBezTo>
                    <a:close/>
                    <a:moveTo>
                      <a:pt x="66" y="965"/>
                    </a:moveTo>
                    <a:cubicBezTo>
                      <a:pt x="64" y="977"/>
                      <a:pt x="71" y="992"/>
                      <a:pt x="74" y="1005"/>
                    </a:cubicBezTo>
                    <a:cubicBezTo>
                      <a:pt x="77" y="1019"/>
                      <a:pt x="78" y="1032"/>
                      <a:pt x="82" y="1043"/>
                    </a:cubicBezTo>
                    <a:cubicBezTo>
                      <a:pt x="93" y="1070"/>
                      <a:pt x="112" y="1092"/>
                      <a:pt x="122" y="1112"/>
                    </a:cubicBezTo>
                    <a:cubicBezTo>
                      <a:pt x="142" y="1123"/>
                      <a:pt x="164" y="1137"/>
                      <a:pt x="186" y="1144"/>
                    </a:cubicBezTo>
                    <a:cubicBezTo>
                      <a:pt x="195" y="1137"/>
                      <a:pt x="189" y="1127"/>
                      <a:pt x="186" y="1118"/>
                    </a:cubicBezTo>
                    <a:cubicBezTo>
                      <a:pt x="183" y="1108"/>
                      <a:pt x="181" y="1097"/>
                      <a:pt x="179" y="1087"/>
                    </a:cubicBezTo>
                    <a:cubicBezTo>
                      <a:pt x="149" y="1039"/>
                      <a:pt x="124" y="986"/>
                      <a:pt x="104" y="928"/>
                    </a:cubicBezTo>
                    <a:cubicBezTo>
                      <a:pt x="104" y="927"/>
                      <a:pt x="104" y="927"/>
                      <a:pt x="103" y="927"/>
                    </a:cubicBezTo>
                    <a:cubicBezTo>
                      <a:pt x="95" y="937"/>
                      <a:pt x="68" y="952"/>
                      <a:pt x="66" y="965"/>
                    </a:cubicBezTo>
                    <a:close/>
                    <a:moveTo>
                      <a:pt x="1322" y="936"/>
                    </a:moveTo>
                    <a:cubicBezTo>
                      <a:pt x="1322" y="959"/>
                      <a:pt x="1319" y="983"/>
                      <a:pt x="1319" y="1003"/>
                    </a:cubicBezTo>
                    <a:cubicBezTo>
                      <a:pt x="1329" y="979"/>
                      <a:pt x="1339" y="954"/>
                      <a:pt x="1349" y="929"/>
                    </a:cubicBezTo>
                    <a:cubicBezTo>
                      <a:pt x="1339" y="930"/>
                      <a:pt x="1332" y="935"/>
                      <a:pt x="1322" y="936"/>
                    </a:cubicBezTo>
                    <a:close/>
                    <a:moveTo>
                      <a:pt x="1216" y="963"/>
                    </a:moveTo>
                    <a:cubicBezTo>
                      <a:pt x="1206" y="996"/>
                      <a:pt x="1192" y="1025"/>
                      <a:pt x="1179" y="1055"/>
                    </a:cubicBezTo>
                    <a:cubicBezTo>
                      <a:pt x="1212" y="1065"/>
                      <a:pt x="1242" y="1078"/>
                      <a:pt x="1271" y="1093"/>
                    </a:cubicBezTo>
                    <a:cubicBezTo>
                      <a:pt x="1278" y="1080"/>
                      <a:pt x="1286" y="1067"/>
                      <a:pt x="1294" y="1053"/>
                    </a:cubicBezTo>
                    <a:cubicBezTo>
                      <a:pt x="1300" y="1041"/>
                      <a:pt x="1312" y="1023"/>
                      <a:pt x="1315" y="1010"/>
                    </a:cubicBezTo>
                    <a:cubicBezTo>
                      <a:pt x="1320" y="988"/>
                      <a:pt x="1316" y="966"/>
                      <a:pt x="1319" y="938"/>
                    </a:cubicBezTo>
                    <a:cubicBezTo>
                      <a:pt x="1318" y="938"/>
                      <a:pt x="1318" y="938"/>
                      <a:pt x="1317" y="938"/>
                    </a:cubicBezTo>
                    <a:cubicBezTo>
                      <a:pt x="1285" y="948"/>
                      <a:pt x="1252" y="957"/>
                      <a:pt x="1216" y="963"/>
                    </a:cubicBezTo>
                    <a:close/>
                    <a:moveTo>
                      <a:pt x="280" y="1079"/>
                    </a:moveTo>
                    <a:cubicBezTo>
                      <a:pt x="293" y="1075"/>
                      <a:pt x="305" y="1068"/>
                      <a:pt x="319" y="1064"/>
                    </a:cubicBezTo>
                    <a:cubicBezTo>
                      <a:pt x="315" y="1033"/>
                      <a:pt x="314" y="998"/>
                      <a:pt x="313" y="964"/>
                    </a:cubicBezTo>
                    <a:cubicBezTo>
                      <a:pt x="279" y="958"/>
                      <a:pt x="248" y="950"/>
                      <a:pt x="217" y="941"/>
                    </a:cubicBezTo>
                    <a:cubicBezTo>
                      <a:pt x="234" y="991"/>
                      <a:pt x="256" y="1036"/>
                      <a:pt x="280" y="1079"/>
                    </a:cubicBezTo>
                    <a:close/>
                    <a:moveTo>
                      <a:pt x="1403" y="1111"/>
                    </a:moveTo>
                    <a:cubicBezTo>
                      <a:pt x="1431" y="1098"/>
                      <a:pt x="1442" y="1073"/>
                      <a:pt x="1454" y="1045"/>
                    </a:cubicBezTo>
                    <a:cubicBezTo>
                      <a:pt x="1461" y="1029"/>
                      <a:pt x="1470" y="1013"/>
                      <a:pt x="1474" y="997"/>
                    </a:cubicBezTo>
                    <a:cubicBezTo>
                      <a:pt x="1468" y="975"/>
                      <a:pt x="1455" y="958"/>
                      <a:pt x="1440" y="944"/>
                    </a:cubicBezTo>
                    <a:cubicBezTo>
                      <a:pt x="1433" y="1004"/>
                      <a:pt x="1418" y="1062"/>
                      <a:pt x="1403" y="1111"/>
                    </a:cubicBezTo>
                    <a:close/>
                    <a:moveTo>
                      <a:pt x="1491" y="959"/>
                    </a:moveTo>
                    <a:cubicBezTo>
                      <a:pt x="1492" y="962"/>
                      <a:pt x="1492" y="955"/>
                      <a:pt x="1491" y="959"/>
                    </a:cubicBezTo>
                    <a:close/>
                    <a:moveTo>
                      <a:pt x="1434" y="961"/>
                    </a:moveTo>
                    <a:cubicBezTo>
                      <a:pt x="1434" y="961"/>
                      <a:pt x="1435" y="962"/>
                      <a:pt x="1434" y="961"/>
                    </a:cubicBezTo>
                    <a:close/>
                    <a:moveTo>
                      <a:pt x="1490" y="963"/>
                    </a:moveTo>
                    <a:cubicBezTo>
                      <a:pt x="1489" y="963"/>
                      <a:pt x="1489" y="963"/>
                      <a:pt x="1489" y="963"/>
                    </a:cubicBezTo>
                    <a:cubicBezTo>
                      <a:pt x="1487" y="979"/>
                      <a:pt x="1474" y="992"/>
                      <a:pt x="1479" y="1008"/>
                    </a:cubicBezTo>
                    <a:cubicBezTo>
                      <a:pt x="1482" y="992"/>
                      <a:pt x="1488" y="980"/>
                      <a:pt x="1490" y="963"/>
                    </a:cubicBezTo>
                    <a:moveTo>
                      <a:pt x="1490" y="963"/>
                    </a:moveTo>
                    <a:cubicBezTo>
                      <a:pt x="1493" y="962"/>
                      <a:pt x="1489" y="958"/>
                      <a:pt x="1490" y="963"/>
                    </a:cubicBezTo>
                    <a:moveTo>
                      <a:pt x="1350" y="1123"/>
                    </a:moveTo>
                    <a:cubicBezTo>
                      <a:pt x="1346" y="1129"/>
                      <a:pt x="1339" y="1135"/>
                      <a:pt x="1338" y="1144"/>
                    </a:cubicBezTo>
                    <a:cubicBezTo>
                      <a:pt x="1361" y="1136"/>
                      <a:pt x="1379" y="1125"/>
                      <a:pt x="1398" y="1114"/>
                    </a:cubicBezTo>
                    <a:cubicBezTo>
                      <a:pt x="1414" y="1068"/>
                      <a:pt x="1429" y="1017"/>
                      <a:pt x="1433" y="963"/>
                    </a:cubicBezTo>
                    <a:cubicBezTo>
                      <a:pt x="1411" y="1021"/>
                      <a:pt x="1383" y="1076"/>
                      <a:pt x="1350" y="1123"/>
                    </a:cubicBezTo>
                    <a:close/>
                    <a:moveTo>
                      <a:pt x="1213" y="965"/>
                    </a:moveTo>
                    <a:cubicBezTo>
                      <a:pt x="1195" y="967"/>
                      <a:pt x="1173" y="973"/>
                      <a:pt x="1153" y="976"/>
                    </a:cubicBezTo>
                    <a:cubicBezTo>
                      <a:pt x="1153" y="1000"/>
                      <a:pt x="1152" y="1023"/>
                      <a:pt x="1150" y="1046"/>
                    </a:cubicBezTo>
                    <a:cubicBezTo>
                      <a:pt x="1160" y="1048"/>
                      <a:pt x="1167" y="1052"/>
                      <a:pt x="1177" y="1054"/>
                    </a:cubicBezTo>
                    <a:cubicBezTo>
                      <a:pt x="1190" y="1025"/>
                      <a:pt x="1202" y="996"/>
                      <a:pt x="1213" y="965"/>
                    </a:cubicBezTo>
                    <a:close/>
                    <a:moveTo>
                      <a:pt x="321" y="1062"/>
                    </a:moveTo>
                    <a:cubicBezTo>
                      <a:pt x="341" y="1057"/>
                      <a:pt x="360" y="1049"/>
                      <a:pt x="380" y="1044"/>
                    </a:cubicBezTo>
                    <a:cubicBezTo>
                      <a:pt x="370" y="1020"/>
                      <a:pt x="361" y="996"/>
                      <a:pt x="352" y="972"/>
                    </a:cubicBezTo>
                    <a:cubicBezTo>
                      <a:pt x="339" y="970"/>
                      <a:pt x="328" y="967"/>
                      <a:pt x="316" y="965"/>
                    </a:cubicBezTo>
                    <a:cubicBezTo>
                      <a:pt x="316" y="999"/>
                      <a:pt x="319" y="1030"/>
                      <a:pt x="321" y="1062"/>
                    </a:cubicBezTo>
                    <a:close/>
                    <a:moveTo>
                      <a:pt x="75" y="1024"/>
                    </a:moveTo>
                    <a:cubicBezTo>
                      <a:pt x="70" y="1006"/>
                      <a:pt x="68" y="985"/>
                      <a:pt x="62" y="968"/>
                    </a:cubicBezTo>
                    <a:cubicBezTo>
                      <a:pt x="50" y="986"/>
                      <a:pt x="69" y="1007"/>
                      <a:pt x="75" y="1024"/>
                    </a:cubicBezTo>
                    <a:close/>
                    <a:moveTo>
                      <a:pt x="382" y="1043"/>
                    </a:moveTo>
                    <a:cubicBezTo>
                      <a:pt x="421" y="1032"/>
                      <a:pt x="463" y="1025"/>
                      <a:pt x="504" y="1016"/>
                    </a:cubicBezTo>
                    <a:cubicBezTo>
                      <a:pt x="501" y="1009"/>
                      <a:pt x="499" y="1001"/>
                      <a:pt x="497" y="992"/>
                    </a:cubicBezTo>
                    <a:cubicBezTo>
                      <a:pt x="448" y="988"/>
                      <a:pt x="402" y="981"/>
                      <a:pt x="356" y="973"/>
                    </a:cubicBezTo>
                    <a:cubicBezTo>
                      <a:pt x="363" y="998"/>
                      <a:pt x="374" y="1019"/>
                      <a:pt x="382" y="1043"/>
                    </a:cubicBezTo>
                    <a:close/>
                    <a:moveTo>
                      <a:pt x="1150" y="976"/>
                    </a:moveTo>
                    <a:cubicBezTo>
                      <a:pt x="1125" y="981"/>
                      <a:pt x="1099" y="984"/>
                      <a:pt x="1073" y="987"/>
                    </a:cubicBezTo>
                    <a:cubicBezTo>
                      <a:pt x="1069" y="1000"/>
                      <a:pt x="1065" y="1012"/>
                      <a:pt x="1062" y="1025"/>
                    </a:cubicBezTo>
                    <a:cubicBezTo>
                      <a:pt x="1092" y="1029"/>
                      <a:pt x="1121" y="1039"/>
                      <a:pt x="1148" y="1044"/>
                    </a:cubicBezTo>
                    <a:cubicBezTo>
                      <a:pt x="1148" y="1021"/>
                      <a:pt x="1151" y="996"/>
                      <a:pt x="1150" y="976"/>
                    </a:cubicBezTo>
                    <a:close/>
                    <a:moveTo>
                      <a:pt x="95" y="1092"/>
                    </a:moveTo>
                    <a:cubicBezTo>
                      <a:pt x="95" y="1093"/>
                      <a:pt x="96" y="1092"/>
                      <a:pt x="95" y="1092"/>
                    </a:cubicBezTo>
                    <a:moveTo>
                      <a:pt x="95" y="1092"/>
                    </a:moveTo>
                    <a:cubicBezTo>
                      <a:pt x="84" y="1053"/>
                      <a:pt x="70" y="1017"/>
                      <a:pt x="54" y="984"/>
                    </a:cubicBezTo>
                    <a:cubicBezTo>
                      <a:pt x="36" y="1032"/>
                      <a:pt x="67" y="1071"/>
                      <a:pt x="95" y="1092"/>
                    </a:cubicBezTo>
                    <a:moveTo>
                      <a:pt x="950" y="1000"/>
                    </a:moveTo>
                    <a:cubicBezTo>
                      <a:pt x="950" y="1002"/>
                      <a:pt x="950" y="1004"/>
                      <a:pt x="950" y="1007"/>
                    </a:cubicBezTo>
                    <a:cubicBezTo>
                      <a:pt x="986" y="1013"/>
                      <a:pt x="1024" y="1017"/>
                      <a:pt x="1059" y="1024"/>
                    </a:cubicBezTo>
                    <a:cubicBezTo>
                      <a:pt x="1063" y="1013"/>
                      <a:pt x="1066" y="1000"/>
                      <a:pt x="1070" y="988"/>
                    </a:cubicBezTo>
                    <a:cubicBezTo>
                      <a:pt x="1030" y="992"/>
                      <a:pt x="990" y="996"/>
                      <a:pt x="950" y="1000"/>
                    </a:cubicBezTo>
                    <a:close/>
                    <a:moveTo>
                      <a:pt x="508" y="1016"/>
                    </a:moveTo>
                    <a:cubicBezTo>
                      <a:pt x="508" y="1009"/>
                      <a:pt x="508" y="1001"/>
                      <a:pt x="508" y="994"/>
                    </a:cubicBezTo>
                    <a:cubicBezTo>
                      <a:pt x="506" y="993"/>
                      <a:pt x="503" y="993"/>
                      <a:pt x="500" y="993"/>
                    </a:cubicBezTo>
                    <a:cubicBezTo>
                      <a:pt x="502" y="1001"/>
                      <a:pt x="502" y="1011"/>
                      <a:pt x="508" y="1016"/>
                    </a:cubicBezTo>
                    <a:close/>
                    <a:moveTo>
                      <a:pt x="510" y="994"/>
                    </a:moveTo>
                    <a:cubicBezTo>
                      <a:pt x="511" y="1001"/>
                      <a:pt x="509" y="1011"/>
                      <a:pt x="511" y="1016"/>
                    </a:cubicBezTo>
                    <a:cubicBezTo>
                      <a:pt x="545" y="1009"/>
                      <a:pt x="584" y="1008"/>
                      <a:pt x="619" y="1002"/>
                    </a:cubicBezTo>
                    <a:cubicBezTo>
                      <a:pt x="581" y="1001"/>
                      <a:pt x="546" y="997"/>
                      <a:pt x="510" y="994"/>
                    </a:cubicBezTo>
                    <a:close/>
                    <a:moveTo>
                      <a:pt x="684" y="1002"/>
                    </a:moveTo>
                    <a:cubicBezTo>
                      <a:pt x="696" y="1003"/>
                      <a:pt x="716" y="1005"/>
                      <a:pt x="726" y="1001"/>
                    </a:cubicBezTo>
                    <a:cubicBezTo>
                      <a:pt x="714" y="999"/>
                      <a:pt x="697" y="1001"/>
                      <a:pt x="684" y="1002"/>
                    </a:cubicBezTo>
                    <a:close/>
                    <a:moveTo>
                      <a:pt x="728" y="1002"/>
                    </a:moveTo>
                    <a:cubicBezTo>
                      <a:pt x="729" y="1002"/>
                      <a:pt x="729" y="1003"/>
                      <a:pt x="730" y="1003"/>
                    </a:cubicBezTo>
                    <a:cubicBezTo>
                      <a:pt x="740" y="1004"/>
                      <a:pt x="752" y="1004"/>
                      <a:pt x="763" y="1004"/>
                    </a:cubicBezTo>
                    <a:cubicBezTo>
                      <a:pt x="770" y="1004"/>
                      <a:pt x="780" y="1006"/>
                      <a:pt x="783" y="1001"/>
                    </a:cubicBezTo>
                    <a:cubicBezTo>
                      <a:pt x="767" y="1000"/>
                      <a:pt x="743" y="998"/>
                      <a:pt x="728" y="1002"/>
                    </a:cubicBezTo>
                    <a:close/>
                    <a:moveTo>
                      <a:pt x="786" y="1002"/>
                    </a:moveTo>
                    <a:cubicBezTo>
                      <a:pt x="802" y="1003"/>
                      <a:pt x="826" y="1004"/>
                      <a:pt x="840" y="1001"/>
                    </a:cubicBezTo>
                    <a:cubicBezTo>
                      <a:pt x="822" y="1003"/>
                      <a:pt x="801" y="997"/>
                      <a:pt x="786" y="1002"/>
                    </a:cubicBezTo>
                    <a:close/>
                    <a:moveTo>
                      <a:pt x="928" y="1005"/>
                    </a:moveTo>
                    <a:cubicBezTo>
                      <a:pt x="933" y="1006"/>
                      <a:pt x="939" y="1006"/>
                      <a:pt x="945" y="1007"/>
                    </a:cubicBezTo>
                    <a:cubicBezTo>
                      <a:pt x="945" y="1004"/>
                      <a:pt x="945" y="1002"/>
                      <a:pt x="945" y="1000"/>
                    </a:cubicBezTo>
                    <a:cubicBezTo>
                      <a:pt x="939" y="1001"/>
                      <a:pt x="929" y="998"/>
                      <a:pt x="928" y="1005"/>
                    </a:cubicBezTo>
                    <a:close/>
                    <a:moveTo>
                      <a:pt x="905" y="1003"/>
                    </a:moveTo>
                    <a:cubicBezTo>
                      <a:pt x="911" y="1002"/>
                      <a:pt x="924" y="1008"/>
                      <a:pt x="926" y="1002"/>
                    </a:cubicBezTo>
                    <a:cubicBezTo>
                      <a:pt x="921" y="1001"/>
                      <a:pt x="911" y="1002"/>
                      <a:pt x="905" y="1003"/>
                    </a:cubicBezTo>
                    <a:close/>
                    <a:moveTo>
                      <a:pt x="510" y="1018"/>
                    </a:moveTo>
                    <a:cubicBezTo>
                      <a:pt x="512" y="1043"/>
                      <a:pt x="518" y="1061"/>
                      <a:pt x="525" y="1080"/>
                    </a:cubicBezTo>
                    <a:cubicBezTo>
                      <a:pt x="539" y="1124"/>
                      <a:pt x="556" y="1165"/>
                      <a:pt x="573" y="1204"/>
                    </a:cubicBezTo>
                    <a:cubicBezTo>
                      <a:pt x="605" y="1200"/>
                      <a:pt x="636" y="1195"/>
                      <a:pt x="671" y="1193"/>
                    </a:cubicBezTo>
                    <a:cubicBezTo>
                      <a:pt x="658" y="1137"/>
                      <a:pt x="651" y="1072"/>
                      <a:pt x="641" y="1014"/>
                    </a:cubicBezTo>
                    <a:cubicBezTo>
                      <a:pt x="641" y="1011"/>
                      <a:pt x="643" y="1004"/>
                      <a:pt x="637" y="1004"/>
                    </a:cubicBezTo>
                    <a:cubicBezTo>
                      <a:pt x="594" y="1007"/>
                      <a:pt x="552" y="1012"/>
                      <a:pt x="510" y="1018"/>
                    </a:cubicBezTo>
                    <a:close/>
                    <a:moveTo>
                      <a:pt x="675" y="1192"/>
                    </a:moveTo>
                    <a:cubicBezTo>
                      <a:pt x="693" y="1192"/>
                      <a:pt x="708" y="1189"/>
                      <a:pt x="726" y="1190"/>
                    </a:cubicBezTo>
                    <a:cubicBezTo>
                      <a:pt x="727" y="1128"/>
                      <a:pt x="725" y="1068"/>
                      <a:pt x="726" y="1006"/>
                    </a:cubicBezTo>
                    <a:cubicBezTo>
                      <a:pt x="697" y="1006"/>
                      <a:pt x="672" y="1004"/>
                      <a:pt x="645" y="1004"/>
                    </a:cubicBezTo>
                    <a:cubicBezTo>
                      <a:pt x="650" y="1067"/>
                      <a:pt x="663" y="1131"/>
                      <a:pt x="675" y="1192"/>
                    </a:cubicBezTo>
                    <a:close/>
                    <a:moveTo>
                      <a:pt x="786" y="1006"/>
                    </a:moveTo>
                    <a:cubicBezTo>
                      <a:pt x="784" y="1067"/>
                      <a:pt x="782" y="1128"/>
                      <a:pt x="780" y="1189"/>
                    </a:cubicBezTo>
                    <a:cubicBezTo>
                      <a:pt x="815" y="1190"/>
                      <a:pt x="851" y="1191"/>
                      <a:pt x="883" y="1196"/>
                    </a:cubicBezTo>
                    <a:cubicBezTo>
                      <a:pt x="899" y="1135"/>
                      <a:pt x="913" y="1072"/>
                      <a:pt x="925" y="1007"/>
                    </a:cubicBezTo>
                    <a:cubicBezTo>
                      <a:pt x="882" y="1000"/>
                      <a:pt x="834" y="1007"/>
                      <a:pt x="786" y="1006"/>
                    </a:cubicBezTo>
                    <a:close/>
                    <a:moveTo>
                      <a:pt x="1439" y="1083"/>
                    </a:moveTo>
                    <a:cubicBezTo>
                      <a:pt x="1437" y="1084"/>
                      <a:pt x="1439" y="1084"/>
                      <a:pt x="1439" y="1083"/>
                    </a:cubicBezTo>
                    <a:moveTo>
                      <a:pt x="1439" y="1083"/>
                    </a:moveTo>
                    <a:cubicBezTo>
                      <a:pt x="1439" y="1083"/>
                      <a:pt x="1440" y="1083"/>
                      <a:pt x="1440" y="1083"/>
                    </a:cubicBezTo>
                    <a:cubicBezTo>
                      <a:pt x="1458" y="1065"/>
                      <a:pt x="1478" y="1037"/>
                      <a:pt x="1474" y="1004"/>
                    </a:cubicBezTo>
                    <a:cubicBezTo>
                      <a:pt x="1465" y="1033"/>
                      <a:pt x="1451" y="1057"/>
                      <a:pt x="1439" y="1083"/>
                    </a:cubicBezTo>
                    <a:moveTo>
                      <a:pt x="729" y="1190"/>
                    </a:moveTo>
                    <a:cubicBezTo>
                      <a:pt x="744" y="1188"/>
                      <a:pt x="762" y="1189"/>
                      <a:pt x="777" y="1189"/>
                    </a:cubicBezTo>
                    <a:cubicBezTo>
                      <a:pt x="780" y="1129"/>
                      <a:pt x="782" y="1067"/>
                      <a:pt x="783" y="1006"/>
                    </a:cubicBezTo>
                    <a:cubicBezTo>
                      <a:pt x="765" y="1006"/>
                      <a:pt x="747" y="1006"/>
                      <a:pt x="729" y="1006"/>
                    </a:cubicBezTo>
                    <a:cubicBezTo>
                      <a:pt x="727" y="1066"/>
                      <a:pt x="729" y="1129"/>
                      <a:pt x="729" y="1190"/>
                    </a:cubicBezTo>
                    <a:close/>
                    <a:moveTo>
                      <a:pt x="928" y="1007"/>
                    </a:moveTo>
                    <a:cubicBezTo>
                      <a:pt x="915" y="1072"/>
                      <a:pt x="903" y="1136"/>
                      <a:pt x="885" y="1196"/>
                    </a:cubicBezTo>
                    <a:cubicBezTo>
                      <a:pt x="903" y="1197"/>
                      <a:pt x="920" y="1200"/>
                      <a:pt x="937" y="1202"/>
                    </a:cubicBezTo>
                    <a:cubicBezTo>
                      <a:pt x="941" y="1140"/>
                      <a:pt x="945" y="1077"/>
                      <a:pt x="945" y="1009"/>
                    </a:cubicBezTo>
                    <a:cubicBezTo>
                      <a:pt x="940" y="1009"/>
                      <a:pt x="934" y="1008"/>
                      <a:pt x="928" y="1007"/>
                    </a:cubicBezTo>
                    <a:close/>
                    <a:moveTo>
                      <a:pt x="951" y="1010"/>
                    </a:moveTo>
                    <a:cubicBezTo>
                      <a:pt x="947" y="1074"/>
                      <a:pt x="947" y="1142"/>
                      <a:pt x="941" y="1203"/>
                    </a:cubicBezTo>
                    <a:cubicBezTo>
                      <a:pt x="955" y="1205"/>
                      <a:pt x="968" y="1208"/>
                      <a:pt x="981" y="1211"/>
                    </a:cubicBezTo>
                    <a:cubicBezTo>
                      <a:pt x="1010" y="1153"/>
                      <a:pt x="1037" y="1093"/>
                      <a:pt x="1058" y="1026"/>
                    </a:cubicBezTo>
                    <a:cubicBezTo>
                      <a:pt x="1022" y="1020"/>
                      <a:pt x="989" y="1013"/>
                      <a:pt x="951" y="1010"/>
                    </a:cubicBezTo>
                    <a:close/>
                    <a:moveTo>
                      <a:pt x="507" y="1020"/>
                    </a:moveTo>
                    <a:cubicBezTo>
                      <a:pt x="508" y="1024"/>
                      <a:pt x="508" y="1016"/>
                      <a:pt x="507" y="1020"/>
                    </a:cubicBezTo>
                    <a:close/>
                    <a:moveTo>
                      <a:pt x="384" y="1045"/>
                    </a:moveTo>
                    <a:cubicBezTo>
                      <a:pt x="411" y="1107"/>
                      <a:pt x="441" y="1167"/>
                      <a:pt x="479" y="1218"/>
                    </a:cubicBezTo>
                    <a:cubicBezTo>
                      <a:pt x="493" y="1223"/>
                      <a:pt x="508" y="1219"/>
                      <a:pt x="522" y="1216"/>
                    </a:cubicBezTo>
                    <a:cubicBezTo>
                      <a:pt x="517" y="1173"/>
                      <a:pt x="513" y="1126"/>
                      <a:pt x="510" y="1081"/>
                    </a:cubicBezTo>
                    <a:cubicBezTo>
                      <a:pt x="509" y="1066"/>
                      <a:pt x="511" y="1049"/>
                      <a:pt x="509" y="1034"/>
                    </a:cubicBezTo>
                    <a:cubicBezTo>
                      <a:pt x="508" y="1030"/>
                      <a:pt x="506" y="1023"/>
                      <a:pt x="502" y="1020"/>
                    </a:cubicBezTo>
                    <a:cubicBezTo>
                      <a:pt x="460" y="1026"/>
                      <a:pt x="422" y="1036"/>
                      <a:pt x="384" y="1045"/>
                    </a:cubicBezTo>
                    <a:close/>
                    <a:moveTo>
                      <a:pt x="1274" y="1095"/>
                    </a:moveTo>
                    <a:cubicBezTo>
                      <a:pt x="1283" y="1099"/>
                      <a:pt x="1290" y="1105"/>
                      <a:pt x="1299" y="1109"/>
                    </a:cubicBezTo>
                    <a:cubicBezTo>
                      <a:pt x="1304" y="1081"/>
                      <a:pt x="1312" y="1050"/>
                      <a:pt x="1312" y="1021"/>
                    </a:cubicBezTo>
                    <a:cubicBezTo>
                      <a:pt x="1301" y="1047"/>
                      <a:pt x="1286" y="1070"/>
                      <a:pt x="1274" y="1095"/>
                    </a:cubicBezTo>
                    <a:close/>
                    <a:moveTo>
                      <a:pt x="508" y="1025"/>
                    </a:moveTo>
                    <a:cubicBezTo>
                      <a:pt x="507" y="1024"/>
                      <a:pt x="508" y="1025"/>
                      <a:pt x="508" y="1025"/>
                    </a:cubicBezTo>
                    <a:close/>
                    <a:moveTo>
                      <a:pt x="75" y="1026"/>
                    </a:moveTo>
                    <a:cubicBezTo>
                      <a:pt x="75" y="1026"/>
                      <a:pt x="74" y="1025"/>
                      <a:pt x="75" y="1026"/>
                    </a:cubicBezTo>
                    <a:close/>
                    <a:moveTo>
                      <a:pt x="1062" y="1027"/>
                    </a:moveTo>
                    <a:cubicBezTo>
                      <a:pt x="1038" y="1091"/>
                      <a:pt x="1014" y="1154"/>
                      <a:pt x="984" y="1211"/>
                    </a:cubicBezTo>
                    <a:cubicBezTo>
                      <a:pt x="1013" y="1223"/>
                      <a:pt x="1049" y="1219"/>
                      <a:pt x="1083" y="1213"/>
                    </a:cubicBezTo>
                    <a:cubicBezTo>
                      <a:pt x="1092" y="1199"/>
                      <a:pt x="1103" y="1185"/>
                      <a:pt x="1112" y="1170"/>
                    </a:cubicBezTo>
                    <a:cubicBezTo>
                      <a:pt x="1121" y="1156"/>
                      <a:pt x="1134" y="1140"/>
                      <a:pt x="1139" y="1124"/>
                    </a:cubicBezTo>
                    <a:cubicBezTo>
                      <a:pt x="1146" y="1101"/>
                      <a:pt x="1143" y="1075"/>
                      <a:pt x="1147" y="1047"/>
                    </a:cubicBezTo>
                    <a:cubicBezTo>
                      <a:pt x="1119" y="1040"/>
                      <a:pt x="1091" y="1033"/>
                      <a:pt x="1062" y="1027"/>
                    </a:cubicBezTo>
                    <a:close/>
                    <a:moveTo>
                      <a:pt x="526" y="1215"/>
                    </a:moveTo>
                    <a:cubicBezTo>
                      <a:pt x="539" y="1211"/>
                      <a:pt x="555" y="1208"/>
                      <a:pt x="570" y="1205"/>
                    </a:cubicBezTo>
                    <a:cubicBezTo>
                      <a:pt x="548" y="1154"/>
                      <a:pt x="529" y="1101"/>
                      <a:pt x="511" y="1046"/>
                    </a:cubicBezTo>
                    <a:cubicBezTo>
                      <a:pt x="514" y="1104"/>
                      <a:pt x="518" y="1162"/>
                      <a:pt x="526" y="1215"/>
                    </a:cubicBezTo>
                    <a:close/>
                    <a:moveTo>
                      <a:pt x="322" y="1065"/>
                    </a:moveTo>
                    <a:cubicBezTo>
                      <a:pt x="325" y="1103"/>
                      <a:pt x="332" y="1137"/>
                      <a:pt x="339" y="1171"/>
                    </a:cubicBezTo>
                    <a:cubicBezTo>
                      <a:pt x="345" y="1180"/>
                      <a:pt x="353" y="1188"/>
                      <a:pt x="359" y="1198"/>
                    </a:cubicBezTo>
                    <a:cubicBezTo>
                      <a:pt x="396" y="1205"/>
                      <a:pt x="436" y="1213"/>
                      <a:pt x="474" y="1217"/>
                    </a:cubicBezTo>
                    <a:cubicBezTo>
                      <a:pt x="441" y="1168"/>
                      <a:pt x="410" y="1113"/>
                      <a:pt x="386" y="1057"/>
                    </a:cubicBezTo>
                    <a:cubicBezTo>
                      <a:pt x="384" y="1054"/>
                      <a:pt x="384" y="1048"/>
                      <a:pt x="379" y="1047"/>
                    </a:cubicBezTo>
                    <a:cubicBezTo>
                      <a:pt x="359" y="1052"/>
                      <a:pt x="341" y="1059"/>
                      <a:pt x="322" y="1065"/>
                    </a:cubicBezTo>
                    <a:close/>
                    <a:moveTo>
                      <a:pt x="1144" y="1118"/>
                    </a:moveTo>
                    <a:cubicBezTo>
                      <a:pt x="1154" y="1097"/>
                      <a:pt x="1166" y="1078"/>
                      <a:pt x="1175" y="1055"/>
                    </a:cubicBezTo>
                    <a:cubicBezTo>
                      <a:pt x="1166" y="1054"/>
                      <a:pt x="1159" y="1050"/>
                      <a:pt x="1150" y="1049"/>
                    </a:cubicBezTo>
                    <a:cubicBezTo>
                      <a:pt x="1149" y="1072"/>
                      <a:pt x="1144" y="1097"/>
                      <a:pt x="1144" y="1118"/>
                    </a:cubicBezTo>
                    <a:close/>
                    <a:moveTo>
                      <a:pt x="87" y="1057"/>
                    </a:moveTo>
                    <a:cubicBezTo>
                      <a:pt x="94" y="1077"/>
                      <a:pt x="96" y="1100"/>
                      <a:pt x="115" y="1107"/>
                    </a:cubicBezTo>
                    <a:cubicBezTo>
                      <a:pt x="106" y="1091"/>
                      <a:pt x="96" y="1074"/>
                      <a:pt x="87" y="1057"/>
                    </a:cubicBezTo>
                    <a:moveTo>
                      <a:pt x="87" y="1057"/>
                    </a:moveTo>
                    <a:cubicBezTo>
                      <a:pt x="88" y="1053"/>
                      <a:pt x="84" y="1057"/>
                      <a:pt x="87" y="1057"/>
                    </a:cubicBezTo>
                    <a:moveTo>
                      <a:pt x="1177" y="1057"/>
                    </a:moveTo>
                    <a:cubicBezTo>
                      <a:pt x="1172" y="1069"/>
                      <a:pt x="1167" y="1081"/>
                      <a:pt x="1160" y="1093"/>
                    </a:cubicBezTo>
                    <a:cubicBezTo>
                      <a:pt x="1155" y="1103"/>
                      <a:pt x="1146" y="1113"/>
                      <a:pt x="1142" y="1125"/>
                    </a:cubicBezTo>
                    <a:cubicBezTo>
                      <a:pt x="1138" y="1137"/>
                      <a:pt x="1139" y="1152"/>
                      <a:pt x="1136" y="1165"/>
                    </a:cubicBezTo>
                    <a:cubicBezTo>
                      <a:pt x="1134" y="1178"/>
                      <a:pt x="1131" y="1190"/>
                      <a:pt x="1129" y="1204"/>
                    </a:cubicBezTo>
                    <a:cubicBezTo>
                      <a:pt x="1155" y="1201"/>
                      <a:pt x="1179" y="1194"/>
                      <a:pt x="1204" y="1189"/>
                    </a:cubicBezTo>
                    <a:cubicBezTo>
                      <a:pt x="1227" y="1159"/>
                      <a:pt x="1250" y="1129"/>
                      <a:pt x="1269" y="1095"/>
                    </a:cubicBezTo>
                    <a:cubicBezTo>
                      <a:pt x="1240" y="1080"/>
                      <a:pt x="1211" y="1066"/>
                      <a:pt x="1177" y="1057"/>
                    </a:cubicBezTo>
                    <a:close/>
                    <a:moveTo>
                      <a:pt x="64" y="1065"/>
                    </a:moveTo>
                    <a:cubicBezTo>
                      <a:pt x="88" y="1121"/>
                      <a:pt x="118" y="1171"/>
                      <a:pt x="154" y="1215"/>
                    </a:cubicBezTo>
                    <a:moveTo>
                      <a:pt x="154" y="1215"/>
                    </a:moveTo>
                    <a:cubicBezTo>
                      <a:pt x="154" y="1216"/>
                      <a:pt x="155" y="1216"/>
                      <a:pt x="155" y="1216"/>
                    </a:cubicBezTo>
                    <a:moveTo>
                      <a:pt x="155" y="1216"/>
                    </a:moveTo>
                    <a:cubicBezTo>
                      <a:pt x="155" y="1217"/>
                      <a:pt x="155" y="1218"/>
                      <a:pt x="156" y="1218"/>
                    </a:cubicBezTo>
                    <a:moveTo>
                      <a:pt x="156" y="1218"/>
                    </a:moveTo>
                    <a:cubicBezTo>
                      <a:pt x="156" y="1219"/>
                      <a:pt x="157" y="1219"/>
                      <a:pt x="157" y="1219"/>
                    </a:cubicBezTo>
                    <a:moveTo>
                      <a:pt x="157" y="1219"/>
                    </a:moveTo>
                    <a:cubicBezTo>
                      <a:pt x="158" y="1220"/>
                      <a:pt x="158" y="1219"/>
                      <a:pt x="157" y="1219"/>
                    </a:cubicBezTo>
                    <a:moveTo>
                      <a:pt x="157" y="1219"/>
                    </a:moveTo>
                    <a:cubicBezTo>
                      <a:pt x="157" y="1218"/>
                      <a:pt x="157" y="1218"/>
                      <a:pt x="156" y="1218"/>
                    </a:cubicBezTo>
                    <a:moveTo>
                      <a:pt x="156" y="1218"/>
                    </a:moveTo>
                    <a:cubicBezTo>
                      <a:pt x="156" y="1217"/>
                      <a:pt x="156" y="1216"/>
                      <a:pt x="155" y="1216"/>
                    </a:cubicBezTo>
                    <a:moveTo>
                      <a:pt x="155" y="1216"/>
                    </a:moveTo>
                    <a:cubicBezTo>
                      <a:pt x="155" y="1215"/>
                      <a:pt x="155" y="1215"/>
                      <a:pt x="154" y="1215"/>
                    </a:cubicBezTo>
                    <a:moveTo>
                      <a:pt x="154" y="1215"/>
                    </a:moveTo>
                    <a:cubicBezTo>
                      <a:pt x="134" y="1178"/>
                      <a:pt x="113" y="1142"/>
                      <a:pt x="99" y="1099"/>
                    </a:cubicBezTo>
                    <a:cubicBezTo>
                      <a:pt x="85" y="1089"/>
                      <a:pt x="75" y="1077"/>
                      <a:pt x="64" y="1065"/>
                    </a:cubicBezTo>
                    <a:moveTo>
                      <a:pt x="64" y="1065"/>
                    </a:moveTo>
                    <a:cubicBezTo>
                      <a:pt x="63" y="1064"/>
                      <a:pt x="63" y="1065"/>
                      <a:pt x="64" y="1065"/>
                    </a:cubicBezTo>
                    <a:moveTo>
                      <a:pt x="282" y="1081"/>
                    </a:moveTo>
                    <a:cubicBezTo>
                      <a:pt x="297" y="1111"/>
                      <a:pt x="315" y="1138"/>
                      <a:pt x="335" y="1164"/>
                    </a:cubicBezTo>
                    <a:cubicBezTo>
                      <a:pt x="327" y="1133"/>
                      <a:pt x="324" y="1098"/>
                      <a:pt x="318" y="1066"/>
                    </a:cubicBezTo>
                    <a:cubicBezTo>
                      <a:pt x="307" y="1072"/>
                      <a:pt x="294" y="1076"/>
                      <a:pt x="282" y="1081"/>
                    </a:cubicBezTo>
                    <a:close/>
                    <a:moveTo>
                      <a:pt x="1457" y="1068"/>
                    </a:moveTo>
                    <a:cubicBezTo>
                      <a:pt x="1458" y="1069"/>
                      <a:pt x="1457" y="1068"/>
                      <a:pt x="1457" y="1068"/>
                    </a:cubicBezTo>
                    <a:close/>
                    <a:moveTo>
                      <a:pt x="1361" y="1232"/>
                    </a:moveTo>
                    <a:cubicBezTo>
                      <a:pt x="1360" y="1233"/>
                      <a:pt x="1361" y="1233"/>
                      <a:pt x="1361" y="1232"/>
                    </a:cubicBezTo>
                    <a:moveTo>
                      <a:pt x="1361" y="1232"/>
                    </a:moveTo>
                    <a:cubicBezTo>
                      <a:pt x="1399" y="1185"/>
                      <a:pt x="1434" y="1129"/>
                      <a:pt x="1456" y="1069"/>
                    </a:cubicBezTo>
                    <a:cubicBezTo>
                      <a:pt x="1450" y="1078"/>
                      <a:pt x="1442" y="1085"/>
                      <a:pt x="1433" y="1092"/>
                    </a:cubicBezTo>
                    <a:cubicBezTo>
                      <a:pt x="1414" y="1130"/>
                      <a:pt x="1388" y="1162"/>
                      <a:pt x="1365" y="1196"/>
                    </a:cubicBezTo>
                    <a:cubicBezTo>
                      <a:pt x="1367" y="1209"/>
                      <a:pt x="1364" y="1221"/>
                      <a:pt x="1361" y="1232"/>
                    </a:cubicBezTo>
                    <a:moveTo>
                      <a:pt x="341" y="1193"/>
                    </a:moveTo>
                    <a:cubicBezTo>
                      <a:pt x="341" y="1194"/>
                      <a:pt x="342" y="1193"/>
                      <a:pt x="341" y="1193"/>
                    </a:cubicBezTo>
                    <a:moveTo>
                      <a:pt x="341" y="1193"/>
                    </a:moveTo>
                    <a:cubicBezTo>
                      <a:pt x="340" y="1185"/>
                      <a:pt x="337" y="1179"/>
                      <a:pt x="337" y="1172"/>
                    </a:cubicBezTo>
                    <a:cubicBezTo>
                      <a:pt x="315" y="1144"/>
                      <a:pt x="298" y="1113"/>
                      <a:pt x="278" y="1083"/>
                    </a:cubicBezTo>
                    <a:cubicBezTo>
                      <a:pt x="261" y="1092"/>
                      <a:pt x="240" y="1102"/>
                      <a:pt x="222" y="1114"/>
                    </a:cubicBezTo>
                    <a:cubicBezTo>
                      <a:pt x="220" y="1116"/>
                      <a:pt x="207" y="1125"/>
                      <a:pt x="207" y="1127"/>
                    </a:cubicBezTo>
                    <a:cubicBezTo>
                      <a:pt x="207" y="1129"/>
                      <a:pt x="219" y="1144"/>
                      <a:pt x="221" y="1146"/>
                    </a:cubicBezTo>
                    <a:cubicBezTo>
                      <a:pt x="226" y="1153"/>
                      <a:pt x="230" y="1157"/>
                      <a:pt x="234" y="1164"/>
                    </a:cubicBezTo>
                    <a:cubicBezTo>
                      <a:pt x="269" y="1174"/>
                      <a:pt x="303" y="1186"/>
                      <a:pt x="341" y="1193"/>
                    </a:cubicBezTo>
                    <a:moveTo>
                      <a:pt x="183" y="1096"/>
                    </a:moveTo>
                    <a:cubicBezTo>
                      <a:pt x="183" y="1095"/>
                      <a:pt x="184" y="1096"/>
                      <a:pt x="183" y="1096"/>
                    </a:cubicBezTo>
                    <a:close/>
                    <a:moveTo>
                      <a:pt x="195" y="1134"/>
                    </a:moveTo>
                    <a:cubicBezTo>
                      <a:pt x="197" y="1130"/>
                      <a:pt x="202" y="1130"/>
                      <a:pt x="203" y="1125"/>
                    </a:cubicBezTo>
                    <a:cubicBezTo>
                      <a:pt x="196" y="1116"/>
                      <a:pt x="191" y="1106"/>
                      <a:pt x="184" y="1097"/>
                    </a:cubicBezTo>
                    <a:cubicBezTo>
                      <a:pt x="187" y="1110"/>
                      <a:pt x="190" y="1123"/>
                      <a:pt x="195" y="1134"/>
                    </a:cubicBezTo>
                    <a:close/>
                    <a:moveTo>
                      <a:pt x="1271" y="1097"/>
                    </a:moveTo>
                    <a:cubicBezTo>
                      <a:pt x="1271" y="1098"/>
                      <a:pt x="1270" y="1099"/>
                      <a:pt x="1270" y="1100"/>
                    </a:cubicBezTo>
                    <a:cubicBezTo>
                      <a:pt x="1254" y="1126"/>
                      <a:pt x="1234" y="1154"/>
                      <a:pt x="1216" y="1177"/>
                    </a:cubicBezTo>
                    <a:cubicBezTo>
                      <a:pt x="1214" y="1180"/>
                      <a:pt x="1210" y="1183"/>
                      <a:pt x="1210" y="1187"/>
                    </a:cubicBezTo>
                    <a:cubicBezTo>
                      <a:pt x="1235" y="1180"/>
                      <a:pt x="1261" y="1174"/>
                      <a:pt x="1284" y="1165"/>
                    </a:cubicBezTo>
                    <a:cubicBezTo>
                      <a:pt x="1289" y="1147"/>
                      <a:pt x="1294" y="1131"/>
                      <a:pt x="1298" y="1112"/>
                    </a:cubicBezTo>
                    <a:cubicBezTo>
                      <a:pt x="1289" y="1107"/>
                      <a:pt x="1281" y="1100"/>
                      <a:pt x="1271" y="1097"/>
                    </a:cubicBezTo>
                    <a:close/>
                    <a:moveTo>
                      <a:pt x="1426" y="1099"/>
                    </a:moveTo>
                    <a:cubicBezTo>
                      <a:pt x="1417" y="1104"/>
                      <a:pt x="1408" y="1111"/>
                      <a:pt x="1399" y="1117"/>
                    </a:cubicBezTo>
                    <a:cubicBezTo>
                      <a:pt x="1394" y="1137"/>
                      <a:pt x="1385" y="1154"/>
                      <a:pt x="1377" y="1173"/>
                    </a:cubicBezTo>
                    <a:moveTo>
                      <a:pt x="1377" y="1173"/>
                    </a:moveTo>
                    <a:cubicBezTo>
                      <a:pt x="1376" y="1173"/>
                      <a:pt x="1377" y="1174"/>
                      <a:pt x="1376" y="1175"/>
                    </a:cubicBezTo>
                    <a:moveTo>
                      <a:pt x="1376" y="1175"/>
                    </a:moveTo>
                    <a:cubicBezTo>
                      <a:pt x="1375" y="1175"/>
                      <a:pt x="1377" y="1176"/>
                      <a:pt x="1376" y="1175"/>
                    </a:cubicBezTo>
                    <a:moveTo>
                      <a:pt x="1376" y="1175"/>
                    </a:moveTo>
                    <a:cubicBezTo>
                      <a:pt x="1377" y="1174"/>
                      <a:pt x="1377" y="1173"/>
                      <a:pt x="1377" y="1173"/>
                    </a:cubicBezTo>
                    <a:moveTo>
                      <a:pt x="1377" y="1173"/>
                    </a:moveTo>
                    <a:cubicBezTo>
                      <a:pt x="1396" y="1150"/>
                      <a:pt x="1412" y="1125"/>
                      <a:pt x="1426" y="1099"/>
                    </a:cubicBezTo>
                    <a:moveTo>
                      <a:pt x="1426" y="1099"/>
                    </a:moveTo>
                    <a:cubicBezTo>
                      <a:pt x="1428" y="1098"/>
                      <a:pt x="1426" y="1098"/>
                      <a:pt x="1426" y="1099"/>
                    </a:cubicBezTo>
                    <a:moveTo>
                      <a:pt x="159" y="1216"/>
                    </a:moveTo>
                    <a:cubicBezTo>
                      <a:pt x="156" y="1201"/>
                      <a:pt x="160" y="1188"/>
                      <a:pt x="164" y="1176"/>
                    </a:cubicBezTo>
                    <a:cubicBezTo>
                      <a:pt x="148" y="1157"/>
                      <a:pt x="133" y="1136"/>
                      <a:pt x="120" y="1113"/>
                    </a:cubicBezTo>
                    <a:cubicBezTo>
                      <a:pt x="113" y="1111"/>
                      <a:pt x="109" y="1105"/>
                      <a:pt x="102" y="1103"/>
                    </a:cubicBezTo>
                    <a:cubicBezTo>
                      <a:pt x="118" y="1144"/>
                      <a:pt x="137" y="1181"/>
                      <a:pt x="159" y="1216"/>
                    </a:cubicBezTo>
                    <a:close/>
                    <a:moveTo>
                      <a:pt x="1287" y="1164"/>
                    </a:moveTo>
                    <a:cubicBezTo>
                      <a:pt x="1303" y="1157"/>
                      <a:pt x="1323" y="1155"/>
                      <a:pt x="1333" y="1143"/>
                    </a:cubicBezTo>
                    <a:cubicBezTo>
                      <a:pt x="1325" y="1131"/>
                      <a:pt x="1312" y="1123"/>
                      <a:pt x="1301" y="1114"/>
                    </a:cubicBezTo>
                    <a:cubicBezTo>
                      <a:pt x="1296" y="1131"/>
                      <a:pt x="1292" y="1148"/>
                      <a:pt x="1287" y="1164"/>
                    </a:cubicBezTo>
                    <a:close/>
                    <a:moveTo>
                      <a:pt x="126" y="1118"/>
                    </a:moveTo>
                    <a:cubicBezTo>
                      <a:pt x="138" y="1138"/>
                      <a:pt x="150" y="1157"/>
                      <a:pt x="166" y="1174"/>
                    </a:cubicBezTo>
                    <a:cubicBezTo>
                      <a:pt x="169" y="1162"/>
                      <a:pt x="177" y="1155"/>
                      <a:pt x="182" y="1146"/>
                    </a:cubicBezTo>
                    <a:cubicBezTo>
                      <a:pt x="161" y="1138"/>
                      <a:pt x="144" y="1127"/>
                      <a:pt x="126" y="1118"/>
                    </a:cubicBezTo>
                    <a:moveTo>
                      <a:pt x="126" y="1118"/>
                    </a:moveTo>
                    <a:cubicBezTo>
                      <a:pt x="125" y="1116"/>
                      <a:pt x="124" y="1118"/>
                      <a:pt x="126" y="1118"/>
                    </a:cubicBezTo>
                    <a:moveTo>
                      <a:pt x="1342" y="1146"/>
                    </a:moveTo>
                    <a:cubicBezTo>
                      <a:pt x="1351" y="1159"/>
                      <a:pt x="1360" y="1173"/>
                      <a:pt x="1365" y="1190"/>
                    </a:cubicBezTo>
                    <a:cubicBezTo>
                      <a:pt x="1377" y="1168"/>
                      <a:pt x="1387" y="1145"/>
                      <a:pt x="1396" y="1120"/>
                    </a:cubicBezTo>
                    <a:cubicBezTo>
                      <a:pt x="1397" y="1120"/>
                      <a:pt x="1396" y="1119"/>
                      <a:pt x="1395" y="1119"/>
                    </a:cubicBezTo>
                    <a:cubicBezTo>
                      <a:pt x="1379" y="1129"/>
                      <a:pt x="1361" y="1138"/>
                      <a:pt x="1342" y="1146"/>
                    </a:cubicBezTo>
                    <a:close/>
                    <a:moveTo>
                      <a:pt x="204" y="1128"/>
                    </a:moveTo>
                    <a:cubicBezTo>
                      <a:pt x="202" y="1133"/>
                      <a:pt x="196" y="1134"/>
                      <a:pt x="195" y="1139"/>
                    </a:cubicBezTo>
                    <a:cubicBezTo>
                      <a:pt x="197" y="1142"/>
                      <a:pt x="198" y="1146"/>
                      <a:pt x="198" y="1151"/>
                    </a:cubicBezTo>
                    <a:cubicBezTo>
                      <a:pt x="209" y="1153"/>
                      <a:pt x="219" y="1160"/>
                      <a:pt x="229" y="1160"/>
                    </a:cubicBezTo>
                    <a:cubicBezTo>
                      <a:pt x="220" y="1151"/>
                      <a:pt x="214" y="1138"/>
                      <a:pt x="204" y="1128"/>
                    </a:cubicBezTo>
                    <a:close/>
                    <a:moveTo>
                      <a:pt x="1100" y="1194"/>
                    </a:moveTo>
                    <a:cubicBezTo>
                      <a:pt x="1095" y="1200"/>
                      <a:pt x="1088" y="1206"/>
                      <a:pt x="1088" y="1212"/>
                    </a:cubicBezTo>
                    <a:cubicBezTo>
                      <a:pt x="1101" y="1209"/>
                      <a:pt x="1114" y="1208"/>
                      <a:pt x="1126" y="1205"/>
                    </a:cubicBezTo>
                    <a:cubicBezTo>
                      <a:pt x="1129" y="1181"/>
                      <a:pt x="1137" y="1156"/>
                      <a:pt x="1137" y="1132"/>
                    </a:cubicBezTo>
                    <a:cubicBezTo>
                      <a:pt x="1126" y="1153"/>
                      <a:pt x="1113" y="1175"/>
                      <a:pt x="1100" y="1194"/>
                    </a:cubicBezTo>
                    <a:close/>
                    <a:moveTo>
                      <a:pt x="187" y="1146"/>
                    </a:moveTo>
                    <a:cubicBezTo>
                      <a:pt x="190" y="1145"/>
                      <a:pt x="194" y="1150"/>
                      <a:pt x="196" y="1148"/>
                    </a:cubicBezTo>
                    <a:cubicBezTo>
                      <a:pt x="193" y="1146"/>
                      <a:pt x="194" y="1141"/>
                      <a:pt x="192" y="1140"/>
                    </a:cubicBezTo>
                    <a:cubicBezTo>
                      <a:pt x="191" y="1142"/>
                      <a:pt x="188" y="1143"/>
                      <a:pt x="187" y="1146"/>
                    </a:cubicBezTo>
                    <a:close/>
                    <a:moveTo>
                      <a:pt x="1333" y="1147"/>
                    </a:moveTo>
                    <a:cubicBezTo>
                      <a:pt x="1335" y="1147"/>
                      <a:pt x="1336" y="1146"/>
                      <a:pt x="1337" y="1145"/>
                    </a:cubicBezTo>
                    <a:cubicBezTo>
                      <a:pt x="1335" y="1143"/>
                      <a:pt x="1334" y="1145"/>
                      <a:pt x="1333" y="1147"/>
                    </a:cubicBezTo>
                    <a:close/>
                    <a:moveTo>
                      <a:pt x="241" y="1257"/>
                    </a:moveTo>
                    <a:cubicBezTo>
                      <a:pt x="241" y="1258"/>
                      <a:pt x="242" y="1257"/>
                      <a:pt x="241" y="1257"/>
                    </a:cubicBezTo>
                    <a:moveTo>
                      <a:pt x="241" y="1257"/>
                    </a:moveTo>
                    <a:cubicBezTo>
                      <a:pt x="224" y="1224"/>
                      <a:pt x="209" y="1190"/>
                      <a:pt x="197" y="1152"/>
                    </a:cubicBezTo>
                    <a:cubicBezTo>
                      <a:pt x="194" y="1150"/>
                      <a:pt x="189" y="1150"/>
                      <a:pt x="187" y="1148"/>
                    </a:cubicBezTo>
                    <a:cubicBezTo>
                      <a:pt x="177" y="1154"/>
                      <a:pt x="173" y="1166"/>
                      <a:pt x="167" y="1175"/>
                    </a:cubicBezTo>
                    <a:cubicBezTo>
                      <a:pt x="189" y="1205"/>
                      <a:pt x="214" y="1232"/>
                      <a:pt x="241" y="1257"/>
                    </a:cubicBezTo>
                    <a:moveTo>
                      <a:pt x="1207" y="1335"/>
                    </a:moveTo>
                    <a:cubicBezTo>
                      <a:pt x="1206" y="1335"/>
                      <a:pt x="1208" y="1336"/>
                      <a:pt x="1207" y="1335"/>
                    </a:cubicBezTo>
                    <a:moveTo>
                      <a:pt x="1207" y="1335"/>
                    </a:moveTo>
                    <a:cubicBezTo>
                      <a:pt x="1267" y="1295"/>
                      <a:pt x="1319" y="1248"/>
                      <a:pt x="1362" y="1192"/>
                    </a:cubicBezTo>
                    <a:cubicBezTo>
                      <a:pt x="1357" y="1174"/>
                      <a:pt x="1350" y="1158"/>
                      <a:pt x="1337" y="1148"/>
                    </a:cubicBezTo>
                    <a:cubicBezTo>
                      <a:pt x="1322" y="1158"/>
                      <a:pt x="1312" y="1174"/>
                      <a:pt x="1300" y="1189"/>
                    </a:cubicBezTo>
                    <a:cubicBezTo>
                      <a:pt x="1294" y="1196"/>
                      <a:pt x="1288" y="1203"/>
                      <a:pt x="1281" y="1210"/>
                    </a:cubicBezTo>
                    <a:cubicBezTo>
                      <a:pt x="1275" y="1217"/>
                      <a:pt x="1267" y="1223"/>
                      <a:pt x="1263" y="1230"/>
                    </a:cubicBezTo>
                    <a:cubicBezTo>
                      <a:pt x="1258" y="1239"/>
                      <a:pt x="1255" y="1249"/>
                      <a:pt x="1251" y="1258"/>
                    </a:cubicBezTo>
                    <a:cubicBezTo>
                      <a:pt x="1237" y="1285"/>
                      <a:pt x="1225" y="1311"/>
                      <a:pt x="1207" y="1335"/>
                    </a:cubicBezTo>
                    <a:moveTo>
                      <a:pt x="1324" y="1154"/>
                    </a:moveTo>
                    <a:cubicBezTo>
                      <a:pt x="1310" y="1158"/>
                      <a:pt x="1300" y="1164"/>
                      <a:pt x="1286" y="1167"/>
                    </a:cubicBezTo>
                    <a:cubicBezTo>
                      <a:pt x="1282" y="1186"/>
                      <a:pt x="1272" y="1204"/>
                      <a:pt x="1269" y="1221"/>
                    </a:cubicBezTo>
                    <a:cubicBezTo>
                      <a:pt x="1287" y="1199"/>
                      <a:pt x="1307" y="1178"/>
                      <a:pt x="1324" y="1154"/>
                    </a:cubicBezTo>
                    <a:moveTo>
                      <a:pt x="1324" y="1154"/>
                    </a:moveTo>
                    <a:cubicBezTo>
                      <a:pt x="1325" y="1154"/>
                      <a:pt x="1324" y="1153"/>
                      <a:pt x="1324" y="1154"/>
                    </a:cubicBezTo>
                    <a:moveTo>
                      <a:pt x="222" y="1212"/>
                    </a:moveTo>
                    <a:cubicBezTo>
                      <a:pt x="231" y="1230"/>
                      <a:pt x="237" y="1251"/>
                      <a:pt x="247" y="1264"/>
                    </a:cubicBezTo>
                    <a:cubicBezTo>
                      <a:pt x="252" y="1270"/>
                      <a:pt x="260" y="1275"/>
                      <a:pt x="267" y="1280"/>
                    </a:cubicBezTo>
                    <a:cubicBezTo>
                      <a:pt x="287" y="1297"/>
                      <a:pt x="306" y="1314"/>
                      <a:pt x="328" y="1328"/>
                    </a:cubicBezTo>
                    <a:cubicBezTo>
                      <a:pt x="334" y="1313"/>
                      <a:pt x="344" y="1302"/>
                      <a:pt x="354" y="1291"/>
                    </a:cubicBezTo>
                    <a:cubicBezTo>
                      <a:pt x="308" y="1254"/>
                      <a:pt x="269" y="1211"/>
                      <a:pt x="232" y="1165"/>
                    </a:cubicBezTo>
                    <a:cubicBezTo>
                      <a:pt x="220" y="1162"/>
                      <a:pt x="212" y="1157"/>
                      <a:pt x="200" y="1154"/>
                    </a:cubicBezTo>
                    <a:cubicBezTo>
                      <a:pt x="206" y="1174"/>
                      <a:pt x="214" y="1193"/>
                      <a:pt x="222" y="1212"/>
                    </a:cubicBezTo>
                    <a:close/>
                    <a:moveTo>
                      <a:pt x="356" y="1290"/>
                    </a:moveTo>
                    <a:cubicBezTo>
                      <a:pt x="359" y="1285"/>
                      <a:pt x="365" y="1284"/>
                      <a:pt x="367" y="1278"/>
                    </a:cubicBezTo>
                    <a:cubicBezTo>
                      <a:pt x="358" y="1252"/>
                      <a:pt x="349" y="1226"/>
                      <a:pt x="342" y="1197"/>
                    </a:cubicBezTo>
                    <a:cubicBezTo>
                      <a:pt x="306" y="1189"/>
                      <a:pt x="270" y="1177"/>
                      <a:pt x="238" y="1169"/>
                    </a:cubicBezTo>
                    <a:cubicBezTo>
                      <a:pt x="274" y="1212"/>
                      <a:pt x="312" y="1254"/>
                      <a:pt x="356" y="1290"/>
                    </a:cubicBezTo>
                    <a:close/>
                    <a:moveTo>
                      <a:pt x="1223" y="1265"/>
                    </a:moveTo>
                    <a:cubicBezTo>
                      <a:pt x="1235" y="1254"/>
                      <a:pt x="1255" y="1239"/>
                      <a:pt x="1263" y="1225"/>
                    </a:cubicBezTo>
                    <a:cubicBezTo>
                      <a:pt x="1273" y="1209"/>
                      <a:pt x="1274" y="1190"/>
                      <a:pt x="1282" y="1170"/>
                    </a:cubicBezTo>
                    <a:cubicBezTo>
                      <a:pt x="1282" y="1169"/>
                      <a:pt x="1282" y="1169"/>
                      <a:pt x="1281" y="1169"/>
                    </a:cubicBezTo>
                    <a:cubicBezTo>
                      <a:pt x="1257" y="1177"/>
                      <a:pt x="1232" y="1184"/>
                      <a:pt x="1206" y="1191"/>
                    </a:cubicBezTo>
                    <a:cubicBezTo>
                      <a:pt x="1184" y="1218"/>
                      <a:pt x="1160" y="1242"/>
                      <a:pt x="1137" y="1268"/>
                    </a:cubicBezTo>
                    <a:cubicBezTo>
                      <a:pt x="1155" y="1276"/>
                      <a:pt x="1167" y="1289"/>
                      <a:pt x="1181" y="1301"/>
                    </a:cubicBezTo>
                    <a:cubicBezTo>
                      <a:pt x="1195" y="1290"/>
                      <a:pt x="1208" y="1278"/>
                      <a:pt x="1223" y="1265"/>
                    </a:cubicBezTo>
                    <a:close/>
                    <a:moveTo>
                      <a:pt x="344" y="1195"/>
                    </a:moveTo>
                    <a:cubicBezTo>
                      <a:pt x="349" y="1194"/>
                      <a:pt x="353" y="1198"/>
                      <a:pt x="355" y="1196"/>
                    </a:cubicBezTo>
                    <a:cubicBezTo>
                      <a:pt x="350" y="1190"/>
                      <a:pt x="346" y="1183"/>
                      <a:pt x="341" y="1178"/>
                    </a:cubicBezTo>
                    <a:cubicBezTo>
                      <a:pt x="342" y="1184"/>
                      <a:pt x="343" y="1189"/>
                      <a:pt x="344" y="1195"/>
                    </a:cubicBezTo>
                    <a:close/>
                    <a:moveTo>
                      <a:pt x="289" y="1331"/>
                    </a:moveTo>
                    <a:cubicBezTo>
                      <a:pt x="289" y="1332"/>
                      <a:pt x="290" y="1331"/>
                      <a:pt x="289" y="1331"/>
                    </a:cubicBezTo>
                    <a:moveTo>
                      <a:pt x="289" y="1331"/>
                    </a:moveTo>
                    <a:cubicBezTo>
                      <a:pt x="274" y="1310"/>
                      <a:pt x="258" y="1290"/>
                      <a:pt x="246" y="1266"/>
                    </a:cubicBezTo>
                    <a:cubicBezTo>
                      <a:pt x="216" y="1240"/>
                      <a:pt x="192" y="1209"/>
                      <a:pt x="165" y="1180"/>
                    </a:cubicBezTo>
                    <a:cubicBezTo>
                      <a:pt x="163" y="1194"/>
                      <a:pt x="158" y="1209"/>
                      <a:pt x="163" y="1223"/>
                    </a:cubicBezTo>
                    <a:cubicBezTo>
                      <a:pt x="169" y="1238"/>
                      <a:pt x="189" y="1257"/>
                      <a:pt x="203" y="1271"/>
                    </a:cubicBezTo>
                    <a:cubicBezTo>
                      <a:pt x="217" y="1284"/>
                      <a:pt x="236" y="1304"/>
                      <a:pt x="249" y="1313"/>
                    </a:cubicBezTo>
                    <a:cubicBezTo>
                      <a:pt x="261" y="1321"/>
                      <a:pt x="278" y="1326"/>
                      <a:pt x="289" y="1331"/>
                    </a:cubicBezTo>
                    <a:moveTo>
                      <a:pt x="676" y="1195"/>
                    </a:moveTo>
                    <a:cubicBezTo>
                      <a:pt x="677" y="1209"/>
                      <a:pt x="682" y="1221"/>
                      <a:pt x="683" y="1235"/>
                    </a:cubicBezTo>
                    <a:cubicBezTo>
                      <a:pt x="697" y="1236"/>
                      <a:pt x="712" y="1236"/>
                      <a:pt x="727" y="1236"/>
                    </a:cubicBezTo>
                    <a:cubicBezTo>
                      <a:pt x="726" y="1222"/>
                      <a:pt x="730" y="1202"/>
                      <a:pt x="725" y="1192"/>
                    </a:cubicBezTo>
                    <a:cubicBezTo>
                      <a:pt x="709" y="1193"/>
                      <a:pt x="691" y="1193"/>
                      <a:pt x="676" y="1195"/>
                    </a:cubicBezTo>
                    <a:close/>
                    <a:moveTo>
                      <a:pt x="729" y="1192"/>
                    </a:moveTo>
                    <a:cubicBezTo>
                      <a:pt x="729" y="1207"/>
                      <a:pt x="731" y="1220"/>
                      <a:pt x="730" y="1236"/>
                    </a:cubicBezTo>
                    <a:cubicBezTo>
                      <a:pt x="744" y="1238"/>
                      <a:pt x="761" y="1236"/>
                      <a:pt x="775" y="1237"/>
                    </a:cubicBezTo>
                    <a:cubicBezTo>
                      <a:pt x="777" y="1222"/>
                      <a:pt x="777" y="1207"/>
                      <a:pt x="777" y="1192"/>
                    </a:cubicBezTo>
                    <a:cubicBezTo>
                      <a:pt x="761" y="1192"/>
                      <a:pt x="745" y="1192"/>
                      <a:pt x="729" y="1192"/>
                    </a:cubicBezTo>
                    <a:close/>
                    <a:moveTo>
                      <a:pt x="780" y="1192"/>
                    </a:moveTo>
                    <a:cubicBezTo>
                      <a:pt x="779" y="1206"/>
                      <a:pt x="779" y="1222"/>
                      <a:pt x="778" y="1237"/>
                    </a:cubicBezTo>
                    <a:cubicBezTo>
                      <a:pt x="809" y="1235"/>
                      <a:pt x="841" y="1236"/>
                      <a:pt x="871" y="1234"/>
                    </a:cubicBezTo>
                    <a:cubicBezTo>
                      <a:pt x="875" y="1222"/>
                      <a:pt x="879" y="1210"/>
                      <a:pt x="882" y="1198"/>
                    </a:cubicBezTo>
                    <a:cubicBezTo>
                      <a:pt x="849" y="1195"/>
                      <a:pt x="816" y="1192"/>
                      <a:pt x="780" y="1192"/>
                    </a:cubicBezTo>
                    <a:close/>
                    <a:moveTo>
                      <a:pt x="1200" y="1193"/>
                    </a:moveTo>
                    <a:cubicBezTo>
                      <a:pt x="1176" y="1197"/>
                      <a:pt x="1153" y="1204"/>
                      <a:pt x="1128" y="1207"/>
                    </a:cubicBezTo>
                    <a:cubicBezTo>
                      <a:pt x="1124" y="1224"/>
                      <a:pt x="1120" y="1239"/>
                      <a:pt x="1116" y="1255"/>
                    </a:cubicBezTo>
                    <a:cubicBezTo>
                      <a:pt x="1122" y="1258"/>
                      <a:pt x="1128" y="1262"/>
                      <a:pt x="1134" y="1265"/>
                    </a:cubicBezTo>
                    <a:cubicBezTo>
                      <a:pt x="1158" y="1242"/>
                      <a:pt x="1180" y="1219"/>
                      <a:pt x="1200" y="1193"/>
                    </a:cubicBezTo>
                    <a:moveTo>
                      <a:pt x="1200" y="1193"/>
                    </a:moveTo>
                    <a:cubicBezTo>
                      <a:pt x="1201" y="1192"/>
                      <a:pt x="1200" y="1192"/>
                      <a:pt x="1200" y="1193"/>
                    </a:cubicBezTo>
                    <a:moveTo>
                      <a:pt x="671" y="1195"/>
                    </a:moveTo>
                    <a:cubicBezTo>
                      <a:pt x="638" y="1198"/>
                      <a:pt x="605" y="1201"/>
                      <a:pt x="575" y="1207"/>
                    </a:cubicBezTo>
                    <a:cubicBezTo>
                      <a:pt x="578" y="1215"/>
                      <a:pt x="580" y="1224"/>
                      <a:pt x="586" y="1229"/>
                    </a:cubicBezTo>
                    <a:cubicBezTo>
                      <a:pt x="616" y="1232"/>
                      <a:pt x="650" y="1235"/>
                      <a:pt x="680" y="1234"/>
                    </a:cubicBezTo>
                    <a:cubicBezTo>
                      <a:pt x="676" y="1222"/>
                      <a:pt x="675" y="1207"/>
                      <a:pt x="671" y="1195"/>
                    </a:cubicBezTo>
                    <a:close/>
                    <a:moveTo>
                      <a:pt x="369" y="1277"/>
                    </a:moveTo>
                    <a:cubicBezTo>
                      <a:pt x="382" y="1271"/>
                      <a:pt x="394" y="1263"/>
                      <a:pt x="406" y="1255"/>
                    </a:cubicBezTo>
                    <a:cubicBezTo>
                      <a:pt x="389" y="1237"/>
                      <a:pt x="373" y="1219"/>
                      <a:pt x="358" y="1199"/>
                    </a:cubicBezTo>
                    <a:cubicBezTo>
                      <a:pt x="353" y="1200"/>
                      <a:pt x="350" y="1197"/>
                      <a:pt x="345" y="1198"/>
                    </a:cubicBezTo>
                    <a:cubicBezTo>
                      <a:pt x="352" y="1226"/>
                      <a:pt x="361" y="1251"/>
                      <a:pt x="369" y="1277"/>
                    </a:cubicBezTo>
                    <a:close/>
                    <a:moveTo>
                      <a:pt x="884" y="1199"/>
                    </a:moveTo>
                    <a:cubicBezTo>
                      <a:pt x="882" y="1211"/>
                      <a:pt x="877" y="1221"/>
                      <a:pt x="874" y="1234"/>
                    </a:cubicBezTo>
                    <a:cubicBezTo>
                      <a:pt x="894" y="1233"/>
                      <a:pt x="914" y="1231"/>
                      <a:pt x="934" y="1230"/>
                    </a:cubicBezTo>
                    <a:cubicBezTo>
                      <a:pt x="934" y="1221"/>
                      <a:pt x="936" y="1215"/>
                      <a:pt x="936" y="1205"/>
                    </a:cubicBezTo>
                    <a:cubicBezTo>
                      <a:pt x="919" y="1202"/>
                      <a:pt x="903" y="1199"/>
                      <a:pt x="884" y="1199"/>
                    </a:cubicBezTo>
                    <a:close/>
                    <a:moveTo>
                      <a:pt x="1360" y="1199"/>
                    </a:moveTo>
                    <a:cubicBezTo>
                      <a:pt x="1360" y="1199"/>
                      <a:pt x="1361" y="1200"/>
                      <a:pt x="1360" y="1199"/>
                    </a:cubicBezTo>
                    <a:close/>
                    <a:moveTo>
                      <a:pt x="363" y="1201"/>
                    </a:moveTo>
                    <a:cubicBezTo>
                      <a:pt x="378" y="1220"/>
                      <a:pt x="392" y="1239"/>
                      <a:pt x="410" y="1254"/>
                    </a:cubicBezTo>
                    <a:cubicBezTo>
                      <a:pt x="432" y="1244"/>
                      <a:pt x="454" y="1234"/>
                      <a:pt x="480" y="1227"/>
                    </a:cubicBezTo>
                    <a:cubicBezTo>
                      <a:pt x="477" y="1217"/>
                      <a:pt x="463" y="1219"/>
                      <a:pt x="454" y="1218"/>
                    </a:cubicBezTo>
                    <a:cubicBezTo>
                      <a:pt x="424" y="1213"/>
                      <a:pt x="391" y="1206"/>
                      <a:pt x="363" y="1201"/>
                    </a:cubicBezTo>
                    <a:moveTo>
                      <a:pt x="363" y="1201"/>
                    </a:moveTo>
                    <a:cubicBezTo>
                      <a:pt x="362" y="1200"/>
                      <a:pt x="361" y="1201"/>
                      <a:pt x="363" y="1201"/>
                    </a:cubicBezTo>
                    <a:moveTo>
                      <a:pt x="1359" y="1201"/>
                    </a:moveTo>
                    <a:cubicBezTo>
                      <a:pt x="1318" y="1253"/>
                      <a:pt x="1263" y="1298"/>
                      <a:pt x="1208" y="1338"/>
                    </a:cubicBezTo>
                    <a:cubicBezTo>
                      <a:pt x="1206" y="1339"/>
                      <a:pt x="1201" y="1341"/>
                      <a:pt x="1202" y="1345"/>
                    </a:cubicBezTo>
                    <a:cubicBezTo>
                      <a:pt x="1217" y="1339"/>
                      <a:pt x="1232" y="1333"/>
                      <a:pt x="1247" y="1326"/>
                    </a:cubicBezTo>
                    <a:cubicBezTo>
                      <a:pt x="1261" y="1320"/>
                      <a:pt x="1277" y="1313"/>
                      <a:pt x="1289" y="1304"/>
                    </a:cubicBezTo>
                    <a:cubicBezTo>
                      <a:pt x="1303" y="1293"/>
                      <a:pt x="1316" y="1270"/>
                      <a:pt x="1326" y="1255"/>
                    </a:cubicBezTo>
                    <a:cubicBezTo>
                      <a:pt x="1338" y="1238"/>
                      <a:pt x="1350" y="1220"/>
                      <a:pt x="1359" y="1201"/>
                    </a:cubicBezTo>
                    <a:moveTo>
                      <a:pt x="1359" y="1201"/>
                    </a:moveTo>
                    <a:cubicBezTo>
                      <a:pt x="1361" y="1201"/>
                      <a:pt x="1359" y="1200"/>
                      <a:pt x="1359" y="1201"/>
                    </a:cubicBezTo>
                    <a:moveTo>
                      <a:pt x="1301" y="1295"/>
                    </a:moveTo>
                    <a:cubicBezTo>
                      <a:pt x="1299" y="1296"/>
                      <a:pt x="1301" y="1297"/>
                      <a:pt x="1301" y="1295"/>
                    </a:cubicBezTo>
                    <a:moveTo>
                      <a:pt x="1301" y="1295"/>
                    </a:moveTo>
                    <a:cubicBezTo>
                      <a:pt x="1315" y="1282"/>
                      <a:pt x="1343" y="1260"/>
                      <a:pt x="1354" y="1241"/>
                    </a:cubicBezTo>
                    <a:cubicBezTo>
                      <a:pt x="1360" y="1231"/>
                      <a:pt x="1364" y="1215"/>
                      <a:pt x="1362" y="1201"/>
                    </a:cubicBezTo>
                    <a:cubicBezTo>
                      <a:pt x="1345" y="1236"/>
                      <a:pt x="1323" y="1266"/>
                      <a:pt x="1301" y="1295"/>
                    </a:cubicBezTo>
                    <a:moveTo>
                      <a:pt x="938" y="1229"/>
                    </a:moveTo>
                    <a:cubicBezTo>
                      <a:pt x="950" y="1230"/>
                      <a:pt x="958" y="1227"/>
                      <a:pt x="970" y="1227"/>
                    </a:cubicBezTo>
                    <a:cubicBezTo>
                      <a:pt x="975" y="1224"/>
                      <a:pt x="977" y="1218"/>
                      <a:pt x="979" y="1213"/>
                    </a:cubicBezTo>
                    <a:cubicBezTo>
                      <a:pt x="967" y="1210"/>
                      <a:pt x="953" y="1208"/>
                      <a:pt x="941" y="1205"/>
                    </a:cubicBezTo>
                    <a:cubicBezTo>
                      <a:pt x="939" y="1212"/>
                      <a:pt x="940" y="1222"/>
                      <a:pt x="938" y="1229"/>
                    </a:cubicBezTo>
                    <a:close/>
                    <a:moveTo>
                      <a:pt x="526" y="1219"/>
                    </a:moveTo>
                    <a:cubicBezTo>
                      <a:pt x="526" y="1221"/>
                      <a:pt x="526" y="1222"/>
                      <a:pt x="527" y="1223"/>
                    </a:cubicBezTo>
                    <a:cubicBezTo>
                      <a:pt x="544" y="1226"/>
                      <a:pt x="565" y="1229"/>
                      <a:pt x="582" y="1228"/>
                    </a:cubicBezTo>
                    <a:cubicBezTo>
                      <a:pt x="577" y="1222"/>
                      <a:pt x="575" y="1213"/>
                      <a:pt x="571" y="1207"/>
                    </a:cubicBezTo>
                    <a:cubicBezTo>
                      <a:pt x="557" y="1212"/>
                      <a:pt x="538" y="1212"/>
                      <a:pt x="526" y="1219"/>
                    </a:cubicBezTo>
                    <a:close/>
                    <a:moveTo>
                      <a:pt x="1084" y="1215"/>
                    </a:moveTo>
                    <a:cubicBezTo>
                      <a:pt x="1080" y="1223"/>
                      <a:pt x="1071" y="1229"/>
                      <a:pt x="1070" y="1236"/>
                    </a:cubicBezTo>
                    <a:cubicBezTo>
                      <a:pt x="1086" y="1240"/>
                      <a:pt x="1099" y="1248"/>
                      <a:pt x="1113" y="1253"/>
                    </a:cubicBezTo>
                    <a:cubicBezTo>
                      <a:pt x="1118" y="1240"/>
                      <a:pt x="1120" y="1224"/>
                      <a:pt x="1125" y="1210"/>
                    </a:cubicBezTo>
                    <a:cubicBezTo>
                      <a:pt x="1125" y="1209"/>
                      <a:pt x="1125" y="1208"/>
                      <a:pt x="1123" y="1208"/>
                    </a:cubicBezTo>
                    <a:cubicBezTo>
                      <a:pt x="1111" y="1211"/>
                      <a:pt x="1097" y="1213"/>
                      <a:pt x="1084" y="1215"/>
                    </a:cubicBezTo>
                    <a:close/>
                    <a:moveTo>
                      <a:pt x="982" y="1214"/>
                    </a:moveTo>
                    <a:cubicBezTo>
                      <a:pt x="980" y="1218"/>
                      <a:pt x="977" y="1222"/>
                      <a:pt x="975" y="1226"/>
                    </a:cubicBezTo>
                    <a:cubicBezTo>
                      <a:pt x="988" y="1225"/>
                      <a:pt x="1003" y="1224"/>
                      <a:pt x="1015" y="1222"/>
                    </a:cubicBezTo>
                    <a:cubicBezTo>
                      <a:pt x="1005" y="1219"/>
                      <a:pt x="994" y="1216"/>
                      <a:pt x="982" y="1214"/>
                    </a:cubicBezTo>
                    <a:close/>
                    <a:moveTo>
                      <a:pt x="1031" y="1223"/>
                    </a:moveTo>
                    <a:cubicBezTo>
                      <a:pt x="1044" y="1226"/>
                      <a:pt x="1054" y="1231"/>
                      <a:pt x="1066" y="1234"/>
                    </a:cubicBezTo>
                    <a:cubicBezTo>
                      <a:pt x="1070" y="1229"/>
                      <a:pt x="1080" y="1220"/>
                      <a:pt x="1078" y="1216"/>
                    </a:cubicBezTo>
                    <a:cubicBezTo>
                      <a:pt x="1063" y="1219"/>
                      <a:pt x="1045" y="1220"/>
                      <a:pt x="1031" y="1223"/>
                    </a:cubicBezTo>
                    <a:close/>
                    <a:moveTo>
                      <a:pt x="509" y="1223"/>
                    </a:moveTo>
                    <a:cubicBezTo>
                      <a:pt x="515" y="1222"/>
                      <a:pt x="518" y="1224"/>
                      <a:pt x="524" y="1223"/>
                    </a:cubicBezTo>
                    <a:cubicBezTo>
                      <a:pt x="523" y="1222"/>
                      <a:pt x="524" y="1217"/>
                      <a:pt x="521" y="1218"/>
                    </a:cubicBezTo>
                    <a:cubicBezTo>
                      <a:pt x="518" y="1220"/>
                      <a:pt x="511" y="1219"/>
                      <a:pt x="509" y="1223"/>
                    </a:cubicBezTo>
                    <a:close/>
                    <a:moveTo>
                      <a:pt x="482" y="1225"/>
                    </a:moveTo>
                    <a:cubicBezTo>
                      <a:pt x="487" y="1226"/>
                      <a:pt x="490" y="1224"/>
                      <a:pt x="493" y="1223"/>
                    </a:cubicBezTo>
                    <a:cubicBezTo>
                      <a:pt x="488" y="1223"/>
                      <a:pt x="483" y="1220"/>
                      <a:pt x="480" y="1223"/>
                    </a:cubicBezTo>
                    <a:cubicBezTo>
                      <a:pt x="481" y="1223"/>
                      <a:pt x="482" y="1224"/>
                      <a:pt x="482" y="1225"/>
                    </a:cubicBezTo>
                    <a:close/>
                    <a:moveTo>
                      <a:pt x="535" y="1295"/>
                    </a:moveTo>
                    <a:cubicBezTo>
                      <a:pt x="536" y="1296"/>
                      <a:pt x="537" y="1294"/>
                      <a:pt x="535" y="1295"/>
                    </a:cubicBezTo>
                    <a:moveTo>
                      <a:pt x="535" y="1295"/>
                    </a:moveTo>
                    <a:cubicBezTo>
                      <a:pt x="532" y="1272"/>
                      <a:pt x="527" y="1251"/>
                      <a:pt x="525" y="1227"/>
                    </a:cubicBezTo>
                    <a:cubicBezTo>
                      <a:pt x="512" y="1224"/>
                      <a:pt x="497" y="1223"/>
                      <a:pt x="486" y="1227"/>
                    </a:cubicBezTo>
                    <a:cubicBezTo>
                      <a:pt x="498" y="1250"/>
                      <a:pt x="518" y="1273"/>
                      <a:pt x="535" y="1295"/>
                    </a:cubicBezTo>
                    <a:moveTo>
                      <a:pt x="1022" y="1223"/>
                    </a:moveTo>
                    <a:cubicBezTo>
                      <a:pt x="1007" y="1223"/>
                      <a:pt x="991" y="1230"/>
                      <a:pt x="973" y="1229"/>
                    </a:cubicBezTo>
                    <a:cubicBezTo>
                      <a:pt x="960" y="1255"/>
                      <a:pt x="945" y="1280"/>
                      <a:pt x="928" y="1303"/>
                    </a:cubicBezTo>
                    <a:cubicBezTo>
                      <a:pt x="927" y="1316"/>
                      <a:pt x="925" y="1329"/>
                      <a:pt x="922" y="1342"/>
                    </a:cubicBezTo>
                    <a:cubicBezTo>
                      <a:pt x="920" y="1353"/>
                      <a:pt x="915" y="1367"/>
                      <a:pt x="917" y="1376"/>
                    </a:cubicBezTo>
                    <a:cubicBezTo>
                      <a:pt x="925" y="1381"/>
                      <a:pt x="933" y="1372"/>
                      <a:pt x="939" y="1367"/>
                    </a:cubicBezTo>
                    <a:cubicBezTo>
                      <a:pt x="986" y="1330"/>
                      <a:pt x="1029" y="1283"/>
                      <a:pt x="1064" y="1236"/>
                    </a:cubicBezTo>
                    <a:cubicBezTo>
                      <a:pt x="1050" y="1234"/>
                      <a:pt x="1038" y="1224"/>
                      <a:pt x="1022" y="1223"/>
                    </a:cubicBezTo>
                    <a:close/>
                    <a:moveTo>
                      <a:pt x="539" y="1299"/>
                    </a:moveTo>
                    <a:cubicBezTo>
                      <a:pt x="563" y="1325"/>
                      <a:pt x="587" y="1352"/>
                      <a:pt x="615" y="1374"/>
                    </a:cubicBezTo>
                    <a:cubicBezTo>
                      <a:pt x="628" y="1368"/>
                      <a:pt x="645" y="1367"/>
                      <a:pt x="658" y="1362"/>
                    </a:cubicBezTo>
                    <a:cubicBezTo>
                      <a:pt x="630" y="1322"/>
                      <a:pt x="605" y="1279"/>
                      <a:pt x="583" y="1232"/>
                    </a:cubicBezTo>
                    <a:cubicBezTo>
                      <a:pt x="564" y="1230"/>
                      <a:pt x="545" y="1229"/>
                      <a:pt x="527" y="1226"/>
                    </a:cubicBezTo>
                    <a:cubicBezTo>
                      <a:pt x="530" y="1251"/>
                      <a:pt x="535" y="1275"/>
                      <a:pt x="539" y="1299"/>
                    </a:cubicBezTo>
                    <a:close/>
                    <a:moveTo>
                      <a:pt x="537" y="1300"/>
                    </a:moveTo>
                    <a:cubicBezTo>
                      <a:pt x="517" y="1278"/>
                      <a:pt x="500" y="1252"/>
                      <a:pt x="481" y="1229"/>
                    </a:cubicBezTo>
                    <a:cubicBezTo>
                      <a:pt x="456" y="1237"/>
                      <a:pt x="433" y="1246"/>
                      <a:pt x="412" y="1256"/>
                    </a:cubicBezTo>
                    <a:cubicBezTo>
                      <a:pt x="452" y="1302"/>
                      <a:pt x="504" y="1344"/>
                      <a:pt x="558" y="1379"/>
                    </a:cubicBezTo>
                    <a:cubicBezTo>
                      <a:pt x="550" y="1354"/>
                      <a:pt x="543" y="1328"/>
                      <a:pt x="537" y="1300"/>
                    </a:cubicBezTo>
                    <a:close/>
                    <a:moveTo>
                      <a:pt x="938" y="1232"/>
                    </a:moveTo>
                    <a:cubicBezTo>
                      <a:pt x="936" y="1253"/>
                      <a:pt x="931" y="1276"/>
                      <a:pt x="931" y="1295"/>
                    </a:cubicBezTo>
                    <a:cubicBezTo>
                      <a:pt x="945" y="1275"/>
                      <a:pt x="957" y="1253"/>
                      <a:pt x="970" y="1231"/>
                    </a:cubicBezTo>
                    <a:cubicBezTo>
                      <a:pt x="970" y="1230"/>
                      <a:pt x="970" y="1229"/>
                      <a:pt x="968" y="1229"/>
                    </a:cubicBezTo>
                    <a:cubicBezTo>
                      <a:pt x="959" y="1231"/>
                      <a:pt x="948" y="1232"/>
                      <a:pt x="938" y="1232"/>
                    </a:cubicBezTo>
                    <a:close/>
                    <a:moveTo>
                      <a:pt x="663" y="1362"/>
                    </a:moveTo>
                    <a:cubicBezTo>
                      <a:pt x="679" y="1359"/>
                      <a:pt x="696" y="1357"/>
                      <a:pt x="712" y="1355"/>
                    </a:cubicBezTo>
                    <a:cubicBezTo>
                      <a:pt x="700" y="1317"/>
                      <a:pt x="690" y="1278"/>
                      <a:pt x="680" y="1238"/>
                    </a:cubicBezTo>
                    <a:cubicBezTo>
                      <a:pt x="649" y="1236"/>
                      <a:pt x="616" y="1235"/>
                      <a:pt x="586" y="1232"/>
                    </a:cubicBezTo>
                    <a:cubicBezTo>
                      <a:pt x="608" y="1279"/>
                      <a:pt x="632" y="1324"/>
                      <a:pt x="663" y="1362"/>
                    </a:cubicBezTo>
                    <a:close/>
                    <a:moveTo>
                      <a:pt x="872" y="1237"/>
                    </a:moveTo>
                    <a:cubicBezTo>
                      <a:pt x="861" y="1280"/>
                      <a:pt x="845" y="1318"/>
                      <a:pt x="829" y="1357"/>
                    </a:cubicBezTo>
                    <a:cubicBezTo>
                      <a:pt x="845" y="1360"/>
                      <a:pt x="862" y="1361"/>
                      <a:pt x="876" y="1366"/>
                    </a:cubicBezTo>
                    <a:cubicBezTo>
                      <a:pt x="895" y="1349"/>
                      <a:pt x="908" y="1326"/>
                      <a:pt x="924" y="1306"/>
                    </a:cubicBezTo>
                    <a:cubicBezTo>
                      <a:pt x="927" y="1282"/>
                      <a:pt x="932" y="1259"/>
                      <a:pt x="933" y="1233"/>
                    </a:cubicBezTo>
                    <a:cubicBezTo>
                      <a:pt x="912" y="1234"/>
                      <a:pt x="892" y="1235"/>
                      <a:pt x="872" y="1237"/>
                    </a:cubicBezTo>
                    <a:close/>
                    <a:moveTo>
                      <a:pt x="1182" y="1304"/>
                    </a:moveTo>
                    <a:cubicBezTo>
                      <a:pt x="1190" y="1314"/>
                      <a:pt x="1196" y="1326"/>
                      <a:pt x="1200" y="1341"/>
                    </a:cubicBezTo>
                    <a:cubicBezTo>
                      <a:pt x="1222" y="1309"/>
                      <a:pt x="1244" y="1273"/>
                      <a:pt x="1257" y="1235"/>
                    </a:cubicBezTo>
                    <a:cubicBezTo>
                      <a:pt x="1234" y="1260"/>
                      <a:pt x="1208" y="1282"/>
                      <a:pt x="1182" y="1304"/>
                    </a:cubicBezTo>
                    <a:close/>
                    <a:moveTo>
                      <a:pt x="778" y="1239"/>
                    </a:moveTo>
                    <a:cubicBezTo>
                      <a:pt x="776" y="1277"/>
                      <a:pt x="774" y="1315"/>
                      <a:pt x="773" y="1353"/>
                    </a:cubicBezTo>
                    <a:cubicBezTo>
                      <a:pt x="791" y="1354"/>
                      <a:pt x="810" y="1355"/>
                      <a:pt x="826" y="1357"/>
                    </a:cubicBezTo>
                    <a:cubicBezTo>
                      <a:pt x="843" y="1319"/>
                      <a:pt x="857" y="1279"/>
                      <a:pt x="870" y="1237"/>
                    </a:cubicBezTo>
                    <a:cubicBezTo>
                      <a:pt x="840" y="1238"/>
                      <a:pt x="810" y="1239"/>
                      <a:pt x="778" y="1239"/>
                    </a:cubicBezTo>
                    <a:close/>
                    <a:moveTo>
                      <a:pt x="170" y="1239"/>
                    </a:moveTo>
                    <a:cubicBezTo>
                      <a:pt x="177" y="1254"/>
                      <a:pt x="187" y="1266"/>
                      <a:pt x="198" y="1276"/>
                    </a:cubicBezTo>
                    <a:moveTo>
                      <a:pt x="198" y="1276"/>
                    </a:moveTo>
                    <a:cubicBezTo>
                      <a:pt x="199" y="1278"/>
                      <a:pt x="200" y="1276"/>
                      <a:pt x="198" y="1276"/>
                    </a:cubicBezTo>
                    <a:moveTo>
                      <a:pt x="198" y="1276"/>
                    </a:moveTo>
                    <a:cubicBezTo>
                      <a:pt x="189" y="1264"/>
                      <a:pt x="180" y="1250"/>
                      <a:pt x="170" y="1239"/>
                    </a:cubicBezTo>
                    <a:moveTo>
                      <a:pt x="170" y="1239"/>
                    </a:moveTo>
                    <a:cubicBezTo>
                      <a:pt x="169" y="1237"/>
                      <a:pt x="169" y="1239"/>
                      <a:pt x="170" y="1239"/>
                    </a:cubicBezTo>
                    <a:moveTo>
                      <a:pt x="716" y="1355"/>
                    </a:moveTo>
                    <a:cubicBezTo>
                      <a:pt x="722" y="1356"/>
                      <a:pt x="725" y="1353"/>
                      <a:pt x="731" y="1354"/>
                    </a:cubicBezTo>
                    <a:cubicBezTo>
                      <a:pt x="729" y="1317"/>
                      <a:pt x="729" y="1277"/>
                      <a:pt x="727" y="1239"/>
                    </a:cubicBezTo>
                    <a:cubicBezTo>
                      <a:pt x="713" y="1240"/>
                      <a:pt x="696" y="1237"/>
                      <a:pt x="684" y="1239"/>
                    </a:cubicBezTo>
                    <a:cubicBezTo>
                      <a:pt x="694" y="1278"/>
                      <a:pt x="704" y="1318"/>
                      <a:pt x="716" y="1355"/>
                    </a:cubicBezTo>
                    <a:close/>
                    <a:moveTo>
                      <a:pt x="1067" y="1238"/>
                    </a:moveTo>
                    <a:cubicBezTo>
                      <a:pt x="1026" y="1291"/>
                      <a:pt x="978" y="1338"/>
                      <a:pt x="927" y="1381"/>
                    </a:cubicBezTo>
                    <a:cubicBezTo>
                      <a:pt x="939" y="1385"/>
                      <a:pt x="948" y="1391"/>
                      <a:pt x="959" y="1396"/>
                    </a:cubicBezTo>
                    <a:cubicBezTo>
                      <a:pt x="1011" y="1367"/>
                      <a:pt x="1058" y="1334"/>
                      <a:pt x="1101" y="1296"/>
                    </a:cubicBezTo>
                    <a:cubicBezTo>
                      <a:pt x="1104" y="1282"/>
                      <a:pt x="1110" y="1271"/>
                      <a:pt x="1112" y="1256"/>
                    </a:cubicBezTo>
                    <a:cubicBezTo>
                      <a:pt x="1098" y="1249"/>
                      <a:pt x="1084" y="1242"/>
                      <a:pt x="1067" y="1238"/>
                    </a:cubicBezTo>
                    <a:close/>
                    <a:moveTo>
                      <a:pt x="731" y="1239"/>
                    </a:moveTo>
                    <a:cubicBezTo>
                      <a:pt x="730" y="1276"/>
                      <a:pt x="733" y="1316"/>
                      <a:pt x="733" y="1354"/>
                    </a:cubicBezTo>
                    <a:cubicBezTo>
                      <a:pt x="745" y="1354"/>
                      <a:pt x="757" y="1353"/>
                      <a:pt x="770" y="1353"/>
                    </a:cubicBezTo>
                    <a:cubicBezTo>
                      <a:pt x="772" y="1316"/>
                      <a:pt x="774" y="1278"/>
                      <a:pt x="775" y="1240"/>
                    </a:cubicBezTo>
                    <a:cubicBezTo>
                      <a:pt x="761" y="1239"/>
                      <a:pt x="747" y="1238"/>
                      <a:pt x="731" y="1239"/>
                    </a:cubicBezTo>
                    <a:close/>
                    <a:moveTo>
                      <a:pt x="559" y="1383"/>
                    </a:moveTo>
                    <a:cubicBezTo>
                      <a:pt x="502" y="1348"/>
                      <a:pt x="454" y="1304"/>
                      <a:pt x="408" y="1258"/>
                    </a:cubicBezTo>
                    <a:cubicBezTo>
                      <a:pt x="395" y="1265"/>
                      <a:pt x="383" y="1272"/>
                      <a:pt x="371" y="1280"/>
                    </a:cubicBezTo>
                    <a:cubicBezTo>
                      <a:pt x="377" y="1308"/>
                      <a:pt x="393" y="1320"/>
                      <a:pt x="414" y="1334"/>
                    </a:cubicBezTo>
                    <a:cubicBezTo>
                      <a:pt x="445" y="1356"/>
                      <a:pt x="480" y="1376"/>
                      <a:pt x="511" y="1392"/>
                    </a:cubicBezTo>
                    <a:cubicBezTo>
                      <a:pt x="529" y="1393"/>
                      <a:pt x="548" y="1399"/>
                      <a:pt x="564" y="1398"/>
                    </a:cubicBezTo>
                    <a:cubicBezTo>
                      <a:pt x="563" y="1393"/>
                      <a:pt x="560" y="1389"/>
                      <a:pt x="559" y="1383"/>
                    </a:cubicBezTo>
                    <a:close/>
                    <a:moveTo>
                      <a:pt x="1106" y="1293"/>
                    </a:moveTo>
                    <a:cubicBezTo>
                      <a:pt x="1114" y="1284"/>
                      <a:pt x="1124" y="1276"/>
                      <a:pt x="1133" y="1267"/>
                    </a:cubicBezTo>
                    <a:cubicBezTo>
                      <a:pt x="1126" y="1264"/>
                      <a:pt x="1122" y="1260"/>
                      <a:pt x="1115" y="1258"/>
                    </a:cubicBezTo>
                    <a:cubicBezTo>
                      <a:pt x="1112" y="1269"/>
                      <a:pt x="1106" y="1282"/>
                      <a:pt x="1106" y="1293"/>
                    </a:cubicBezTo>
                    <a:close/>
                    <a:moveTo>
                      <a:pt x="193" y="1264"/>
                    </a:moveTo>
                    <a:cubicBezTo>
                      <a:pt x="193" y="1265"/>
                      <a:pt x="193" y="1265"/>
                      <a:pt x="194" y="1265"/>
                    </a:cubicBezTo>
                    <a:moveTo>
                      <a:pt x="194" y="1265"/>
                    </a:moveTo>
                    <a:cubicBezTo>
                      <a:pt x="194" y="1266"/>
                      <a:pt x="194" y="1266"/>
                      <a:pt x="195" y="1266"/>
                    </a:cubicBezTo>
                    <a:moveTo>
                      <a:pt x="195" y="1266"/>
                    </a:moveTo>
                    <a:cubicBezTo>
                      <a:pt x="205" y="1280"/>
                      <a:pt x="216" y="1293"/>
                      <a:pt x="232" y="1301"/>
                    </a:cubicBezTo>
                    <a:moveTo>
                      <a:pt x="232" y="1301"/>
                    </a:moveTo>
                    <a:cubicBezTo>
                      <a:pt x="232" y="1302"/>
                      <a:pt x="232" y="1302"/>
                      <a:pt x="233" y="1302"/>
                    </a:cubicBezTo>
                    <a:moveTo>
                      <a:pt x="233" y="1302"/>
                    </a:moveTo>
                    <a:cubicBezTo>
                      <a:pt x="234" y="1304"/>
                      <a:pt x="234" y="1302"/>
                      <a:pt x="233" y="1302"/>
                    </a:cubicBezTo>
                    <a:moveTo>
                      <a:pt x="233" y="1302"/>
                    </a:moveTo>
                    <a:cubicBezTo>
                      <a:pt x="233" y="1301"/>
                      <a:pt x="233" y="1301"/>
                      <a:pt x="232" y="1301"/>
                    </a:cubicBezTo>
                    <a:moveTo>
                      <a:pt x="195" y="1266"/>
                    </a:moveTo>
                    <a:cubicBezTo>
                      <a:pt x="207" y="1278"/>
                      <a:pt x="219" y="1290"/>
                      <a:pt x="232" y="1301"/>
                    </a:cubicBezTo>
                    <a:moveTo>
                      <a:pt x="195" y="1266"/>
                    </a:moveTo>
                    <a:cubicBezTo>
                      <a:pt x="195" y="1265"/>
                      <a:pt x="194" y="1265"/>
                      <a:pt x="194" y="1265"/>
                    </a:cubicBezTo>
                    <a:moveTo>
                      <a:pt x="194" y="1265"/>
                    </a:moveTo>
                    <a:cubicBezTo>
                      <a:pt x="194" y="1264"/>
                      <a:pt x="193" y="1264"/>
                      <a:pt x="193" y="1264"/>
                    </a:cubicBezTo>
                    <a:moveTo>
                      <a:pt x="193" y="1264"/>
                    </a:moveTo>
                    <a:cubicBezTo>
                      <a:pt x="192" y="1262"/>
                      <a:pt x="192" y="1264"/>
                      <a:pt x="193" y="1264"/>
                    </a:cubicBezTo>
                    <a:moveTo>
                      <a:pt x="1071" y="1373"/>
                    </a:moveTo>
                    <a:cubicBezTo>
                      <a:pt x="1070" y="1374"/>
                      <a:pt x="1071" y="1374"/>
                      <a:pt x="1071" y="1373"/>
                    </a:cubicBezTo>
                    <a:moveTo>
                      <a:pt x="1071" y="1373"/>
                    </a:moveTo>
                    <a:cubicBezTo>
                      <a:pt x="1096" y="1361"/>
                      <a:pt x="1127" y="1341"/>
                      <a:pt x="1154" y="1321"/>
                    </a:cubicBezTo>
                    <a:cubicBezTo>
                      <a:pt x="1159" y="1318"/>
                      <a:pt x="1178" y="1306"/>
                      <a:pt x="1178" y="1302"/>
                    </a:cubicBezTo>
                    <a:cubicBezTo>
                      <a:pt x="1178" y="1299"/>
                      <a:pt x="1160" y="1286"/>
                      <a:pt x="1158" y="1284"/>
                    </a:cubicBezTo>
                    <a:cubicBezTo>
                      <a:pt x="1149" y="1277"/>
                      <a:pt x="1143" y="1273"/>
                      <a:pt x="1134" y="1269"/>
                    </a:cubicBezTo>
                    <a:cubicBezTo>
                      <a:pt x="1124" y="1279"/>
                      <a:pt x="1114" y="1289"/>
                      <a:pt x="1102" y="1298"/>
                    </a:cubicBezTo>
                    <a:cubicBezTo>
                      <a:pt x="1094" y="1326"/>
                      <a:pt x="1082" y="1349"/>
                      <a:pt x="1071" y="1373"/>
                    </a:cubicBezTo>
                    <a:moveTo>
                      <a:pt x="253" y="1272"/>
                    </a:moveTo>
                    <a:cubicBezTo>
                      <a:pt x="253" y="1273"/>
                      <a:pt x="254" y="1273"/>
                      <a:pt x="254" y="1273"/>
                    </a:cubicBezTo>
                    <a:moveTo>
                      <a:pt x="254" y="1273"/>
                    </a:moveTo>
                    <a:cubicBezTo>
                      <a:pt x="266" y="1296"/>
                      <a:pt x="280" y="1316"/>
                      <a:pt x="295" y="1335"/>
                    </a:cubicBezTo>
                    <a:cubicBezTo>
                      <a:pt x="305" y="1338"/>
                      <a:pt x="314" y="1343"/>
                      <a:pt x="324" y="1345"/>
                    </a:cubicBezTo>
                    <a:cubicBezTo>
                      <a:pt x="324" y="1340"/>
                      <a:pt x="326" y="1335"/>
                      <a:pt x="327" y="1331"/>
                    </a:cubicBezTo>
                    <a:cubicBezTo>
                      <a:pt x="302" y="1313"/>
                      <a:pt x="277" y="1294"/>
                      <a:pt x="254" y="1273"/>
                    </a:cubicBezTo>
                    <a:moveTo>
                      <a:pt x="254" y="1273"/>
                    </a:moveTo>
                    <a:cubicBezTo>
                      <a:pt x="254" y="1273"/>
                      <a:pt x="254" y="1272"/>
                      <a:pt x="253" y="1272"/>
                    </a:cubicBezTo>
                    <a:moveTo>
                      <a:pt x="253" y="1272"/>
                    </a:moveTo>
                    <a:cubicBezTo>
                      <a:pt x="253" y="1271"/>
                      <a:pt x="252" y="1273"/>
                      <a:pt x="253" y="1272"/>
                    </a:cubicBezTo>
                    <a:moveTo>
                      <a:pt x="379" y="1308"/>
                    </a:moveTo>
                    <a:cubicBezTo>
                      <a:pt x="380" y="1309"/>
                      <a:pt x="380" y="1308"/>
                      <a:pt x="379" y="1308"/>
                    </a:cubicBezTo>
                    <a:moveTo>
                      <a:pt x="379" y="1308"/>
                    </a:moveTo>
                    <a:cubicBezTo>
                      <a:pt x="376" y="1299"/>
                      <a:pt x="372" y="1290"/>
                      <a:pt x="368" y="1282"/>
                    </a:cubicBezTo>
                    <a:cubicBezTo>
                      <a:pt x="365" y="1285"/>
                      <a:pt x="361" y="1288"/>
                      <a:pt x="358" y="1292"/>
                    </a:cubicBezTo>
                    <a:cubicBezTo>
                      <a:pt x="365" y="1297"/>
                      <a:pt x="371" y="1303"/>
                      <a:pt x="379" y="1308"/>
                    </a:cubicBezTo>
                    <a:moveTo>
                      <a:pt x="383" y="1315"/>
                    </a:moveTo>
                    <a:cubicBezTo>
                      <a:pt x="373" y="1308"/>
                      <a:pt x="366" y="1299"/>
                      <a:pt x="355" y="1294"/>
                    </a:cubicBezTo>
                    <a:cubicBezTo>
                      <a:pt x="345" y="1304"/>
                      <a:pt x="335" y="1315"/>
                      <a:pt x="330" y="1330"/>
                    </a:cubicBezTo>
                    <a:cubicBezTo>
                      <a:pt x="356" y="1345"/>
                      <a:pt x="378" y="1368"/>
                      <a:pt x="413" y="1371"/>
                    </a:cubicBezTo>
                    <a:cubicBezTo>
                      <a:pt x="401" y="1354"/>
                      <a:pt x="391" y="1335"/>
                      <a:pt x="383" y="1315"/>
                    </a:cubicBezTo>
                    <a:close/>
                    <a:moveTo>
                      <a:pt x="929" y="1297"/>
                    </a:moveTo>
                    <a:cubicBezTo>
                      <a:pt x="929" y="1297"/>
                      <a:pt x="930" y="1298"/>
                      <a:pt x="929" y="1297"/>
                    </a:cubicBezTo>
                    <a:close/>
                    <a:moveTo>
                      <a:pt x="224" y="1300"/>
                    </a:moveTo>
                    <a:cubicBezTo>
                      <a:pt x="224" y="1301"/>
                      <a:pt x="225" y="1301"/>
                      <a:pt x="225" y="1301"/>
                    </a:cubicBezTo>
                    <a:moveTo>
                      <a:pt x="225" y="1301"/>
                    </a:moveTo>
                    <a:cubicBezTo>
                      <a:pt x="259" y="1340"/>
                      <a:pt x="299" y="1371"/>
                      <a:pt x="343" y="1399"/>
                    </a:cubicBezTo>
                    <a:cubicBezTo>
                      <a:pt x="340" y="1392"/>
                      <a:pt x="333" y="1387"/>
                      <a:pt x="331" y="1378"/>
                    </a:cubicBezTo>
                    <a:cubicBezTo>
                      <a:pt x="326" y="1374"/>
                      <a:pt x="321" y="1369"/>
                      <a:pt x="317" y="1364"/>
                    </a:cubicBezTo>
                    <a:cubicBezTo>
                      <a:pt x="283" y="1346"/>
                      <a:pt x="259" y="1319"/>
                      <a:pt x="225" y="1301"/>
                    </a:cubicBezTo>
                    <a:moveTo>
                      <a:pt x="225" y="1301"/>
                    </a:moveTo>
                    <a:cubicBezTo>
                      <a:pt x="226" y="1300"/>
                      <a:pt x="225" y="1300"/>
                      <a:pt x="224" y="1300"/>
                    </a:cubicBezTo>
                    <a:moveTo>
                      <a:pt x="224" y="1300"/>
                    </a:moveTo>
                    <a:cubicBezTo>
                      <a:pt x="224" y="1299"/>
                      <a:pt x="223" y="1300"/>
                      <a:pt x="224" y="1300"/>
                    </a:cubicBezTo>
                    <a:moveTo>
                      <a:pt x="961" y="1398"/>
                    </a:moveTo>
                    <a:cubicBezTo>
                      <a:pt x="996" y="1395"/>
                      <a:pt x="1039" y="1392"/>
                      <a:pt x="1066" y="1377"/>
                    </a:cubicBezTo>
                    <a:cubicBezTo>
                      <a:pt x="1077" y="1353"/>
                      <a:pt x="1091" y="1328"/>
                      <a:pt x="1097" y="1302"/>
                    </a:cubicBezTo>
                    <a:cubicBezTo>
                      <a:pt x="1057" y="1339"/>
                      <a:pt x="1010" y="1370"/>
                      <a:pt x="961" y="1398"/>
                    </a:cubicBezTo>
                    <a:close/>
                    <a:moveTo>
                      <a:pt x="1294" y="1304"/>
                    </a:moveTo>
                    <a:cubicBezTo>
                      <a:pt x="1293" y="1304"/>
                      <a:pt x="1294" y="1305"/>
                      <a:pt x="1294" y="1304"/>
                    </a:cubicBezTo>
                    <a:close/>
                    <a:moveTo>
                      <a:pt x="1292" y="1305"/>
                    </a:moveTo>
                    <a:cubicBezTo>
                      <a:pt x="1292" y="1305"/>
                      <a:pt x="1293" y="1306"/>
                      <a:pt x="1292" y="1305"/>
                    </a:cubicBezTo>
                    <a:close/>
                    <a:moveTo>
                      <a:pt x="561" y="1382"/>
                    </a:moveTo>
                    <a:cubicBezTo>
                      <a:pt x="567" y="1384"/>
                      <a:pt x="571" y="1388"/>
                      <a:pt x="577" y="1391"/>
                    </a:cubicBezTo>
                    <a:cubicBezTo>
                      <a:pt x="587" y="1385"/>
                      <a:pt x="597" y="1379"/>
                      <a:pt x="610" y="1376"/>
                    </a:cubicBezTo>
                    <a:cubicBezTo>
                      <a:pt x="587" y="1352"/>
                      <a:pt x="562" y="1331"/>
                      <a:pt x="541" y="1305"/>
                    </a:cubicBezTo>
                    <a:cubicBezTo>
                      <a:pt x="546" y="1332"/>
                      <a:pt x="554" y="1357"/>
                      <a:pt x="561" y="1382"/>
                    </a:cubicBezTo>
                    <a:close/>
                    <a:moveTo>
                      <a:pt x="1179" y="1305"/>
                    </a:moveTo>
                    <a:cubicBezTo>
                      <a:pt x="1162" y="1320"/>
                      <a:pt x="1142" y="1333"/>
                      <a:pt x="1122" y="1345"/>
                    </a:cubicBezTo>
                    <a:cubicBezTo>
                      <a:pt x="1103" y="1357"/>
                      <a:pt x="1083" y="1369"/>
                      <a:pt x="1066" y="1382"/>
                    </a:cubicBezTo>
                    <a:cubicBezTo>
                      <a:pt x="1112" y="1371"/>
                      <a:pt x="1168" y="1364"/>
                      <a:pt x="1197" y="1341"/>
                    </a:cubicBezTo>
                    <a:cubicBezTo>
                      <a:pt x="1194" y="1326"/>
                      <a:pt x="1188" y="1314"/>
                      <a:pt x="1179" y="1305"/>
                    </a:cubicBezTo>
                    <a:close/>
                    <a:moveTo>
                      <a:pt x="1283" y="1311"/>
                    </a:moveTo>
                    <a:cubicBezTo>
                      <a:pt x="1257" y="1325"/>
                      <a:pt x="1230" y="1338"/>
                      <a:pt x="1200" y="1348"/>
                    </a:cubicBezTo>
                    <a:cubicBezTo>
                      <a:pt x="1201" y="1361"/>
                      <a:pt x="1197" y="1369"/>
                      <a:pt x="1194" y="1378"/>
                    </a:cubicBezTo>
                    <a:moveTo>
                      <a:pt x="1194" y="1378"/>
                    </a:moveTo>
                    <a:cubicBezTo>
                      <a:pt x="1193" y="1379"/>
                      <a:pt x="1194" y="1379"/>
                      <a:pt x="1194" y="1378"/>
                    </a:cubicBezTo>
                    <a:moveTo>
                      <a:pt x="1194" y="1378"/>
                    </a:moveTo>
                    <a:cubicBezTo>
                      <a:pt x="1227" y="1358"/>
                      <a:pt x="1258" y="1338"/>
                      <a:pt x="1283" y="1311"/>
                    </a:cubicBezTo>
                    <a:moveTo>
                      <a:pt x="1283" y="1311"/>
                    </a:moveTo>
                    <a:cubicBezTo>
                      <a:pt x="1285" y="1310"/>
                      <a:pt x="1283" y="1310"/>
                      <a:pt x="1283" y="1311"/>
                    </a:cubicBezTo>
                    <a:moveTo>
                      <a:pt x="881" y="1367"/>
                    </a:moveTo>
                    <a:cubicBezTo>
                      <a:pt x="892" y="1368"/>
                      <a:pt x="901" y="1372"/>
                      <a:pt x="911" y="1374"/>
                    </a:cubicBezTo>
                    <a:cubicBezTo>
                      <a:pt x="916" y="1355"/>
                      <a:pt x="921" y="1331"/>
                      <a:pt x="922" y="1312"/>
                    </a:cubicBezTo>
                    <a:cubicBezTo>
                      <a:pt x="910" y="1331"/>
                      <a:pt x="895" y="1349"/>
                      <a:pt x="881" y="1367"/>
                    </a:cubicBezTo>
                    <a:close/>
                    <a:moveTo>
                      <a:pt x="388" y="1319"/>
                    </a:moveTo>
                    <a:cubicBezTo>
                      <a:pt x="395" y="1338"/>
                      <a:pt x="406" y="1356"/>
                      <a:pt x="416" y="1373"/>
                    </a:cubicBezTo>
                    <a:cubicBezTo>
                      <a:pt x="444" y="1379"/>
                      <a:pt x="470" y="1386"/>
                      <a:pt x="500" y="1390"/>
                    </a:cubicBezTo>
                    <a:moveTo>
                      <a:pt x="500" y="1390"/>
                    </a:moveTo>
                    <a:cubicBezTo>
                      <a:pt x="500" y="1392"/>
                      <a:pt x="504" y="1389"/>
                      <a:pt x="500" y="1390"/>
                    </a:cubicBezTo>
                    <a:moveTo>
                      <a:pt x="388" y="1319"/>
                    </a:moveTo>
                    <a:cubicBezTo>
                      <a:pt x="423" y="1344"/>
                      <a:pt x="460" y="1368"/>
                      <a:pt x="500" y="1390"/>
                    </a:cubicBezTo>
                    <a:moveTo>
                      <a:pt x="388" y="1319"/>
                    </a:moveTo>
                    <a:cubicBezTo>
                      <a:pt x="387" y="1317"/>
                      <a:pt x="386" y="1319"/>
                      <a:pt x="388" y="1319"/>
                    </a:cubicBezTo>
                    <a:moveTo>
                      <a:pt x="261" y="1322"/>
                    </a:moveTo>
                    <a:cubicBezTo>
                      <a:pt x="260" y="1322"/>
                      <a:pt x="262" y="1323"/>
                      <a:pt x="261" y="1322"/>
                    </a:cubicBezTo>
                    <a:close/>
                    <a:moveTo>
                      <a:pt x="264" y="1323"/>
                    </a:moveTo>
                    <a:cubicBezTo>
                      <a:pt x="264" y="1324"/>
                      <a:pt x="264" y="1324"/>
                      <a:pt x="264" y="1324"/>
                    </a:cubicBezTo>
                    <a:cubicBezTo>
                      <a:pt x="279" y="1334"/>
                      <a:pt x="292" y="1346"/>
                      <a:pt x="308" y="1355"/>
                    </a:cubicBezTo>
                    <a:moveTo>
                      <a:pt x="308" y="1355"/>
                    </a:moveTo>
                    <a:cubicBezTo>
                      <a:pt x="308" y="1356"/>
                      <a:pt x="308" y="1356"/>
                      <a:pt x="309" y="1356"/>
                    </a:cubicBezTo>
                    <a:moveTo>
                      <a:pt x="309" y="1356"/>
                    </a:moveTo>
                    <a:cubicBezTo>
                      <a:pt x="309" y="1357"/>
                      <a:pt x="310" y="1356"/>
                      <a:pt x="309" y="1356"/>
                    </a:cubicBezTo>
                    <a:moveTo>
                      <a:pt x="309" y="1356"/>
                    </a:moveTo>
                    <a:cubicBezTo>
                      <a:pt x="309" y="1355"/>
                      <a:pt x="309" y="1355"/>
                      <a:pt x="308" y="1355"/>
                    </a:cubicBezTo>
                    <a:moveTo>
                      <a:pt x="308" y="1355"/>
                    </a:moveTo>
                    <a:cubicBezTo>
                      <a:pt x="299" y="1338"/>
                      <a:pt x="282" y="1330"/>
                      <a:pt x="264" y="1323"/>
                    </a:cubicBezTo>
                    <a:moveTo>
                      <a:pt x="264" y="1323"/>
                    </a:moveTo>
                    <a:cubicBezTo>
                      <a:pt x="263" y="1322"/>
                      <a:pt x="263" y="1323"/>
                      <a:pt x="264" y="1323"/>
                    </a:cubicBezTo>
                    <a:moveTo>
                      <a:pt x="327" y="1347"/>
                    </a:moveTo>
                    <a:cubicBezTo>
                      <a:pt x="343" y="1351"/>
                      <a:pt x="359" y="1360"/>
                      <a:pt x="374" y="1361"/>
                    </a:cubicBezTo>
                    <a:cubicBezTo>
                      <a:pt x="358" y="1353"/>
                      <a:pt x="345" y="1342"/>
                      <a:pt x="329" y="1333"/>
                    </a:cubicBezTo>
                    <a:cubicBezTo>
                      <a:pt x="328" y="1337"/>
                      <a:pt x="327" y="1341"/>
                      <a:pt x="327" y="1347"/>
                    </a:cubicBezTo>
                    <a:close/>
                    <a:moveTo>
                      <a:pt x="299" y="1340"/>
                    </a:moveTo>
                    <a:cubicBezTo>
                      <a:pt x="308" y="1349"/>
                      <a:pt x="314" y="1361"/>
                      <a:pt x="326" y="1367"/>
                    </a:cubicBezTo>
                    <a:cubicBezTo>
                      <a:pt x="325" y="1362"/>
                      <a:pt x="324" y="1356"/>
                      <a:pt x="324" y="1348"/>
                    </a:cubicBezTo>
                    <a:cubicBezTo>
                      <a:pt x="315" y="1346"/>
                      <a:pt x="309" y="1342"/>
                      <a:pt x="299" y="1340"/>
                    </a:cubicBezTo>
                    <a:moveTo>
                      <a:pt x="299" y="1340"/>
                    </a:moveTo>
                    <a:cubicBezTo>
                      <a:pt x="299" y="1338"/>
                      <a:pt x="298" y="1340"/>
                      <a:pt x="299" y="1340"/>
                    </a:cubicBezTo>
                    <a:moveTo>
                      <a:pt x="1254" y="1341"/>
                    </a:moveTo>
                    <a:cubicBezTo>
                      <a:pt x="1254" y="1340"/>
                      <a:pt x="1254" y="1341"/>
                      <a:pt x="1254" y="1342"/>
                    </a:cubicBezTo>
                    <a:moveTo>
                      <a:pt x="1254" y="1342"/>
                    </a:moveTo>
                    <a:cubicBezTo>
                      <a:pt x="1253" y="1341"/>
                      <a:pt x="1253" y="1342"/>
                      <a:pt x="1253" y="1343"/>
                    </a:cubicBezTo>
                    <a:moveTo>
                      <a:pt x="1253" y="1343"/>
                    </a:moveTo>
                    <a:cubicBezTo>
                      <a:pt x="1252" y="1342"/>
                      <a:pt x="1252" y="1343"/>
                      <a:pt x="1252" y="1343"/>
                    </a:cubicBezTo>
                    <a:moveTo>
                      <a:pt x="1252" y="1343"/>
                    </a:moveTo>
                    <a:cubicBezTo>
                      <a:pt x="1231" y="1356"/>
                      <a:pt x="1213" y="1372"/>
                      <a:pt x="1191" y="1383"/>
                    </a:cubicBezTo>
                    <a:cubicBezTo>
                      <a:pt x="1188" y="1390"/>
                      <a:pt x="1182" y="1395"/>
                      <a:pt x="1178" y="1402"/>
                    </a:cubicBezTo>
                    <a:moveTo>
                      <a:pt x="1178" y="1402"/>
                    </a:moveTo>
                    <a:cubicBezTo>
                      <a:pt x="1177" y="1402"/>
                      <a:pt x="1177" y="1402"/>
                      <a:pt x="1177" y="1403"/>
                    </a:cubicBezTo>
                    <a:moveTo>
                      <a:pt x="1177" y="1403"/>
                    </a:moveTo>
                    <a:cubicBezTo>
                      <a:pt x="1175" y="1404"/>
                      <a:pt x="1177" y="1404"/>
                      <a:pt x="1177" y="1403"/>
                    </a:cubicBezTo>
                    <a:moveTo>
                      <a:pt x="1177" y="1403"/>
                    </a:moveTo>
                    <a:cubicBezTo>
                      <a:pt x="1178" y="1403"/>
                      <a:pt x="1178" y="1403"/>
                      <a:pt x="1178" y="1402"/>
                    </a:cubicBezTo>
                    <a:moveTo>
                      <a:pt x="1178" y="1402"/>
                    </a:moveTo>
                    <a:cubicBezTo>
                      <a:pt x="1205" y="1385"/>
                      <a:pt x="1229" y="1365"/>
                      <a:pt x="1252" y="1343"/>
                    </a:cubicBezTo>
                    <a:moveTo>
                      <a:pt x="1252" y="1343"/>
                    </a:moveTo>
                    <a:cubicBezTo>
                      <a:pt x="1252" y="1344"/>
                      <a:pt x="1253" y="1343"/>
                      <a:pt x="1253" y="1343"/>
                    </a:cubicBezTo>
                    <a:moveTo>
                      <a:pt x="1253" y="1343"/>
                    </a:moveTo>
                    <a:cubicBezTo>
                      <a:pt x="1253" y="1343"/>
                      <a:pt x="1253" y="1342"/>
                      <a:pt x="1254" y="1342"/>
                    </a:cubicBezTo>
                    <a:moveTo>
                      <a:pt x="1254" y="1342"/>
                    </a:moveTo>
                    <a:cubicBezTo>
                      <a:pt x="1254" y="1342"/>
                      <a:pt x="1254" y="1341"/>
                      <a:pt x="1254" y="1341"/>
                    </a:cubicBezTo>
                    <a:moveTo>
                      <a:pt x="1254" y="1341"/>
                    </a:moveTo>
                    <a:cubicBezTo>
                      <a:pt x="1256" y="1340"/>
                      <a:pt x="1254" y="1339"/>
                      <a:pt x="1254" y="1341"/>
                    </a:cubicBezTo>
                    <a:moveTo>
                      <a:pt x="1193" y="1348"/>
                    </a:moveTo>
                    <a:cubicBezTo>
                      <a:pt x="1193" y="1348"/>
                      <a:pt x="1194" y="1349"/>
                      <a:pt x="1193" y="1348"/>
                    </a:cubicBezTo>
                    <a:close/>
                    <a:moveTo>
                      <a:pt x="330" y="1369"/>
                    </a:moveTo>
                    <a:cubicBezTo>
                      <a:pt x="368" y="1393"/>
                      <a:pt x="409" y="1413"/>
                      <a:pt x="454" y="1429"/>
                    </a:cubicBezTo>
                    <a:cubicBezTo>
                      <a:pt x="444" y="1415"/>
                      <a:pt x="432" y="1403"/>
                      <a:pt x="423" y="1388"/>
                    </a:cubicBezTo>
                    <a:cubicBezTo>
                      <a:pt x="395" y="1370"/>
                      <a:pt x="360" y="1360"/>
                      <a:pt x="326" y="1349"/>
                    </a:cubicBezTo>
                    <a:cubicBezTo>
                      <a:pt x="327" y="1357"/>
                      <a:pt x="327" y="1364"/>
                      <a:pt x="330" y="1369"/>
                    </a:cubicBezTo>
                    <a:close/>
                    <a:moveTo>
                      <a:pt x="1151" y="1402"/>
                    </a:moveTo>
                    <a:cubicBezTo>
                      <a:pt x="1149" y="1403"/>
                      <a:pt x="1151" y="1403"/>
                      <a:pt x="1151" y="1402"/>
                    </a:cubicBezTo>
                    <a:moveTo>
                      <a:pt x="1151" y="1402"/>
                    </a:moveTo>
                    <a:cubicBezTo>
                      <a:pt x="1165" y="1397"/>
                      <a:pt x="1176" y="1388"/>
                      <a:pt x="1189" y="1382"/>
                    </a:cubicBezTo>
                    <a:cubicBezTo>
                      <a:pt x="1193" y="1373"/>
                      <a:pt x="1197" y="1363"/>
                      <a:pt x="1198" y="1350"/>
                    </a:cubicBezTo>
                    <a:cubicBezTo>
                      <a:pt x="1183" y="1365"/>
                      <a:pt x="1168" y="1386"/>
                      <a:pt x="1151" y="1402"/>
                    </a:cubicBezTo>
                    <a:moveTo>
                      <a:pt x="1191" y="1352"/>
                    </a:moveTo>
                    <a:cubicBezTo>
                      <a:pt x="1142" y="1377"/>
                      <a:pt x="1096" y="1406"/>
                      <a:pt x="1039" y="1424"/>
                    </a:cubicBezTo>
                    <a:cubicBezTo>
                      <a:pt x="1033" y="1434"/>
                      <a:pt x="1025" y="1443"/>
                      <a:pt x="1017" y="1452"/>
                    </a:cubicBezTo>
                    <a:moveTo>
                      <a:pt x="1017" y="1452"/>
                    </a:moveTo>
                    <a:cubicBezTo>
                      <a:pt x="1016" y="1453"/>
                      <a:pt x="1017" y="1453"/>
                      <a:pt x="1017" y="1452"/>
                    </a:cubicBezTo>
                    <a:moveTo>
                      <a:pt x="1017" y="1452"/>
                    </a:moveTo>
                    <a:cubicBezTo>
                      <a:pt x="1063" y="1442"/>
                      <a:pt x="1102" y="1425"/>
                      <a:pt x="1141" y="1408"/>
                    </a:cubicBezTo>
                    <a:cubicBezTo>
                      <a:pt x="1159" y="1390"/>
                      <a:pt x="1176" y="1372"/>
                      <a:pt x="1191" y="1352"/>
                    </a:cubicBezTo>
                    <a:moveTo>
                      <a:pt x="1191" y="1352"/>
                    </a:moveTo>
                    <a:cubicBezTo>
                      <a:pt x="1193" y="1352"/>
                      <a:pt x="1191" y="1351"/>
                      <a:pt x="1191" y="1352"/>
                    </a:cubicBezTo>
                    <a:moveTo>
                      <a:pt x="735" y="1356"/>
                    </a:moveTo>
                    <a:cubicBezTo>
                      <a:pt x="733" y="1373"/>
                      <a:pt x="736" y="1393"/>
                      <a:pt x="736" y="1411"/>
                    </a:cubicBezTo>
                    <a:cubicBezTo>
                      <a:pt x="746" y="1411"/>
                      <a:pt x="756" y="1411"/>
                      <a:pt x="766" y="1411"/>
                    </a:cubicBezTo>
                    <a:cubicBezTo>
                      <a:pt x="768" y="1393"/>
                      <a:pt x="768" y="1374"/>
                      <a:pt x="770" y="1356"/>
                    </a:cubicBezTo>
                    <a:cubicBezTo>
                      <a:pt x="758" y="1356"/>
                      <a:pt x="747" y="1356"/>
                      <a:pt x="735" y="1356"/>
                    </a:cubicBezTo>
                    <a:close/>
                    <a:moveTo>
                      <a:pt x="773" y="1356"/>
                    </a:moveTo>
                    <a:cubicBezTo>
                      <a:pt x="771" y="1374"/>
                      <a:pt x="770" y="1392"/>
                      <a:pt x="769" y="1411"/>
                    </a:cubicBezTo>
                    <a:cubicBezTo>
                      <a:pt x="779" y="1411"/>
                      <a:pt x="789" y="1411"/>
                      <a:pt x="799" y="1411"/>
                    </a:cubicBezTo>
                    <a:cubicBezTo>
                      <a:pt x="809" y="1394"/>
                      <a:pt x="817" y="1376"/>
                      <a:pt x="825" y="1359"/>
                    </a:cubicBezTo>
                    <a:cubicBezTo>
                      <a:pt x="807" y="1358"/>
                      <a:pt x="791" y="1356"/>
                      <a:pt x="773" y="1356"/>
                    </a:cubicBezTo>
                    <a:close/>
                    <a:moveTo>
                      <a:pt x="718" y="1358"/>
                    </a:moveTo>
                    <a:cubicBezTo>
                      <a:pt x="721" y="1371"/>
                      <a:pt x="728" y="1389"/>
                      <a:pt x="733" y="1403"/>
                    </a:cubicBezTo>
                    <a:cubicBezTo>
                      <a:pt x="732" y="1388"/>
                      <a:pt x="731" y="1373"/>
                      <a:pt x="731" y="1357"/>
                    </a:cubicBezTo>
                    <a:cubicBezTo>
                      <a:pt x="727" y="1357"/>
                      <a:pt x="721" y="1356"/>
                      <a:pt x="718" y="1358"/>
                    </a:cubicBezTo>
                    <a:close/>
                    <a:moveTo>
                      <a:pt x="664" y="1365"/>
                    </a:moveTo>
                    <a:cubicBezTo>
                      <a:pt x="673" y="1379"/>
                      <a:pt x="687" y="1397"/>
                      <a:pt x="701" y="1410"/>
                    </a:cubicBezTo>
                    <a:cubicBezTo>
                      <a:pt x="712" y="1408"/>
                      <a:pt x="723" y="1413"/>
                      <a:pt x="732" y="1410"/>
                    </a:cubicBezTo>
                    <a:cubicBezTo>
                      <a:pt x="724" y="1394"/>
                      <a:pt x="719" y="1376"/>
                      <a:pt x="713" y="1358"/>
                    </a:cubicBezTo>
                    <a:cubicBezTo>
                      <a:pt x="696" y="1359"/>
                      <a:pt x="679" y="1361"/>
                      <a:pt x="664" y="1365"/>
                    </a:cubicBezTo>
                    <a:close/>
                    <a:moveTo>
                      <a:pt x="1171" y="1359"/>
                    </a:moveTo>
                    <a:cubicBezTo>
                      <a:pt x="1137" y="1369"/>
                      <a:pt x="1101" y="1378"/>
                      <a:pt x="1064" y="1386"/>
                    </a:cubicBezTo>
                    <a:cubicBezTo>
                      <a:pt x="1058" y="1397"/>
                      <a:pt x="1050" y="1409"/>
                      <a:pt x="1043" y="1420"/>
                    </a:cubicBezTo>
                    <a:cubicBezTo>
                      <a:pt x="1090" y="1404"/>
                      <a:pt x="1132" y="1383"/>
                      <a:pt x="1171" y="1359"/>
                    </a:cubicBezTo>
                    <a:moveTo>
                      <a:pt x="1171" y="1359"/>
                    </a:moveTo>
                    <a:cubicBezTo>
                      <a:pt x="1172" y="1358"/>
                      <a:pt x="1171" y="1358"/>
                      <a:pt x="1171" y="1359"/>
                    </a:cubicBezTo>
                    <a:moveTo>
                      <a:pt x="827" y="1360"/>
                    </a:moveTo>
                    <a:cubicBezTo>
                      <a:pt x="820" y="1378"/>
                      <a:pt x="811" y="1394"/>
                      <a:pt x="802" y="1411"/>
                    </a:cubicBezTo>
                    <a:cubicBezTo>
                      <a:pt x="813" y="1409"/>
                      <a:pt x="828" y="1411"/>
                      <a:pt x="838" y="1409"/>
                    </a:cubicBezTo>
                    <a:cubicBezTo>
                      <a:pt x="847" y="1399"/>
                      <a:pt x="859" y="1388"/>
                      <a:pt x="868" y="1378"/>
                    </a:cubicBezTo>
                    <a:cubicBezTo>
                      <a:pt x="871" y="1375"/>
                      <a:pt x="876" y="1371"/>
                      <a:pt x="874" y="1367"/>
                    </a:cubicBezTo>
                    <a:cubicBezTo>
                      <a:pt x="860" y="1364"/>
                      <a:pt x="844" y="1361"/>
                      <a:pt x="827" y="1360"/>
                    </a:cubicBezTo>
                    <a:close/>
                    <a:moveTo>
                      <a:pt x="375" y="1363"/>
                    </a:moveTo>
                    <a:cubicBezTo>
                      <a:pt x="375" y="1362"/>
                      <a:pt x="376" y="1363"/>
                      <a:pt x="375" y="1363"/>
                    </a:cubicBezTo>
                    <a:close/>
                    <a:moveTo>
                      <a:pt x="618" y="1375"/>
                    </a:moveTo>
                    <a:cubicBezTo>
                      <a:pt x="621" y="1381"/>
                      <a:pt x="628" y="1387"/>
                      <a:pt x="635" y="1392"/>
                    </a:cubicBezTo>
                    <a:cubicBezTo>
                      <a:pt x="641" y="1397"/>
                      <a:pt x="650" y="1406"/>
                      <a:pt x="657" y="1408"/>
                    </a:cubicBezTo>
                    <a:cubicBezTo>
                      <a:pt x="669" y="1411"/>
                      <a:pt x="681" y="1407"/>
                      <a:pt x="695" y="1410"/>
                    </a:cubicBezTo>
                    <a:cubicBezTo>
                      <a:pt x="685" y="1397"/>
                      <a:pt x="672" y="1379"/>
                      <a:pt x="659" y="1366"/>
                    </a:cubicBezTo>
                    <a:cubicBezTo>
                      <a:pt x="644" y="1368"/>
                      <a:pt x="632" y="1372"/>
                      <a:pt x="618" y="1375"/>
                    </a:cubicBezTo>
                    <a:close/>
                    <a:moveTo>
                      <a:pt x="879" y="1368"/>
                    </a:moveTo>
                    <a:cubicBezTo>
                      <a:pt x="870" y="1379"/>
                      <a:pt x="860" y="1391"/>
                      <a:pt x="850" y="1400"/>
                    </a:cubicBezTo>
                    <a:cubicBezTo>
                      <a:pt x="848" y="1403"/>
                      <a:pt x="842" y="1405"/>
                      <a:pt x="844" y="1409"/>
                    </a:cubicBezTo>
                    <a:cubicBezTo>
                      <a:pt x="857" y="1409"/>
                      <a:pt x="870" y="1407"/>
                      <a:pt x="884" y="1407"/>
                    </a:cubicBezTo>
                    <a:cubicBezTo>
                      <a:pt x="892" y="1402"/>
                      <a:pt x="900" y="1396"/>
                      <a:pt x="908" y="1391"/>
                    </a:cubicBezTo>
                    <a:cubicBezTo>
                      <a:pt x="908" y="1385"/>
                      <a:pt x="910" y="1381"/>
                      <a:pt x="911" y="1377"/>
                    </a:cubicBezTo>
                    <a:cubicBezTo>
                      <a:pt x="900" y="1374"/>
                      <a:pt x="890" y="1371"/>
                      <a:pt x="879" y="1368"/>
                    </a:cubicBezTo>
                    <a:close/>
                    <a:moveTo>
                      <a:pt x="419" y="1382"/>
                    </a:moveTo>
                    <a:cubicBezTo>
                      <a:pt x="416" y="1375"/>
                      <a:pt x="405" y="1372"/>
                      <a:pt x="398" y="1372"/>
                    </a:cubicBezTo>
                    <a:cubicBezTo>
                      <a:pt x="405" y="1375"/>
                      <a:pt x="413" y="1382"/>
                      <a:pt x="419" y="1382"/>
                    </a:cubicBezTo>
                    <a:close/>
                    <a:moveTo>
                      <a:pt x="332" y="1374"/>
                    </a:moveTo>
                    <a:cubicBezTo>
                      <a:pt x="368" y="1419"/>
                      <a:pt x="423" y="1445"/>
                      <a:pt x="487" y="1461"/>
                    </a:cubicBezTo>
                    <a:moveTo>
                      <a:pt x="487" y="1461"/>
                    </a:moveTo>
                    <a:cubicBezTo>
                      <a:pt x="488" y="1462"/>
                      <a:pt x="489" y="1461"/>
                      <a:pt x="487" y="1461"/>
                    </a:cubicBezTo>
                    <a:moveTo>
                      <a:pt x="487" y="1461"/>
                    </a:moveTo>
                    <a:cubicBezTo>
                      <a:pt x="476" y="1454"/>
                      <a:pt x="470" y="1441"/>
                      <a:pt x="458" y="1434"/>
                    </a:cubicBezTo>
                    <a:cubicBezTo>
                      <a:pt x="438" y="1423"/>
                      <a:pt x="414" y="1417"/>
                      <a:pt x="392" y="1407"/>
                    </a:cubicBezTo>
                    <a:cubicBezTo>
                      <a:pt x="371" y="1397"/>
                      <a:pt x="351" y="1384"/>
                      <a:pt x="332" y="1374"/>
                    </a:cubicBezTo>
                    <a:moveTo>
                      <a:pt x="332" y="1374"/>
                    </a:moveTo>
                    <a:cubicBezTo>
                      <a:pt x="331" y="1373"/>
                      <a:pt x="331" y="1374"/>
                      <a:pt x="332" y="1374"/>
                    </a:cubicBezTo>
                    <a:moveTo>
                      <a:pt x="419" y="1377"/>
                    </a:moveTo>
                    <a:cubicBezTo>
                      <a:pt x="420" y="1381"/>
                      <a:pt x="424" y="1383"/>
                      <a:pt x="425" y="1387"/>
                    </a:cubicBezTo>
                    <a:cubicBezTo>
                      <a:pt x="461" y="1403"/>
                      <a:pt x="496" y="1420"/>
                      <a:pt x="536" y="1431"/>
                    </a:cubicBezTo>
                    <a:cubicBezTo>
                      <a:pt x="537" y="1422"/>
                      <a:pt x="546" y="1417"/>
                      <a:pt x="546" y="1411"/>
                    </a:cubicBezTo>
                    <a:cubicBezTo>
                      <a:pt x="533" y="1406"/>
                      <a:pt x="522" y="1401"/>
                      <a:pt x="511" y="1394"/>
                    </a:cubicBezTo>
                    <a:cubicBezTo>
                      <a:pt x="479" y="1390"/>
                      <a:pt x="450" y="1383"/>
                      <a:pt x="419" y="1377"/>
                    </a:cubicBezTo>
                    <a:moveTo>
                      <a:pt x="419" y="1377"/>
                    </a:moveTo>
                    <a:cubicBezTo>
                      <a:pt x="419" y="1376"/>
                      <a:pt x="418" y="1377"/>
                      <a:pt x="419" y="1377"/>
                    </a:cubicBezTo>
                    <a:moveTo>
                      <a:pt x="612" y="1377"/>
                    </a:moveTo>
                    <a:cubicBezTo>
                      <a:pt x="601" y="1382"/>
                      <a:pt x="588" y="1386"/>
                      <a:pt x="579" y="1392"/>
                    </a:cubicBezTo>
                    <a:cubicBezTo>
                      <a:pt x="593" y="1405"/>
                      <a:pt x="625" y="1407"/>
                      <a:pt x="650" y="1406"/>
                    </a:cubicBezTo>
                    <a:cubicBezTo>
                      <a:pt x="636" y="1397"/>
                      <a:pt x="626" y="1386"/>
                      <a:pt x="612" y="1377"/>
                    </a:cubicBezTo>
                    <a:close/>
                    <a:moveTo>
                      <a:pt x="914" y="1387"/>
                    </a:moveTo>
                    <a:cubicBezTo>
                      <a:pt x="915" y="1384"/>
                      <a:pt x="920" y="1384"/>
                      <a:pt x="920" y="1380"/>
                    </a:cubicBezTo>
                    <a:cubicBezTo>
                      <a:pt x="917" y="1380"/>
                      <a:pt x="917" y="1378"/>
                      <a:pt x="914" y="1379"/>
                    </a:cubicBezTo>
                    <a:cubicBezTo>
                      <a:pt x="915" y="1382"/>
                      <a:pt x="911" y="1385"/>
                      <a:pt x="914" y="1387"/>
                    </a:cubicBezTo>
                    <a:close/>
                    <a:moveTo>
                      <a:pt x="1062" y="1382"/>
                    </a:moveTo>
                    <a:cubicBezTo>
                      <a:pt x="1061" y="1382"/>
                      <a:pt x="1059" y="1383"/>
                      <a:pt x="1059" y="1384"/>
                    </a:cubicBezTo>
                    <a:cubicBezTo>
                      <a:pt x="1061" y="1384"/>
                      <a:pt x="1062" y="1384"/>
                      <a:pt x="1062" y="1382"/>
                    </a:cubicBezTo>
                    <a:moveTo>
                      <a:pt x="1062" y="1382"/>
                    </a:moveTo>
                    <a:cubicBezTo>
                      <a:pt x="1064" y="1381"/>
                      <a:pt x="1062" y="1381"/>
                      <a:pt x="1062" y="1382"/>
                    </a:cubicBezTo>
                    <a:moveTo>
                      <a:pt x="911" y="1391"/>
                    </a:moveTo>
                    <a:cubicBezTo>
                      <a:pt x="911" y="1397"/>
                      <a:pt x="908" y="1400"/>
                      <a:pt x="908" y="1405"/>
                    </a:cubicBezTo>
                    <a:cubicBezTo>
                      <a:pt x="923" y="1401"/>
                      <a:pt x="944" y="1404"/>
                      <a:pt x="956" y="1397"/>
                    </a:cubicBezTo>
                    <a:cubicBezTo>
                      <a:pt x="941" y="1391"/>
                      <a:pt x="923" y="1374"/>
                      <a:pt x="911" y="1391"/>
                    </a:cubicBezTo>
                    <a:close/>
                    <a:moveTo>
                      <a:pt x="339" y="1387"/>
                    </a:moveTo>
                    <a:cubicBezTo>
                      <a:pt x="338" y="1387"/>
                      <a:pt x="339" y="1388"/>
                      <a:pt x="340" y="1388"/>
                    </a:cubicBezTo>
                    <a:moveTo>
                      <a:pt x="340" y="1388"/>
                    </a:moveTo>
                    <a:cubicBezTo>
                      <a:pt x="346" y="1400"/>
                      <a:pt x="356" y="1408"/>
                      <a:pt x="369" y="1414"/>
                    </a:cubicBezTo>
                    <a:moveTo>
                      <a:pt x="369" y="1414"/>
                    </a:moveTo>
                    <a:cubicBezTo>
                      <a:pt x="369" y="1414"/>
                      <a:pt x="371" y="1414"/>
                      <a:pt x="371" y="1415"/>
                    </a:cubicBezTo>
                    <a:moveTo>
                      <a:pt x="371" y="1415"/>
                    </a:moveTo>
                    <a:cubicBezTo>
                      <a:pt x="372" y="1416"/>
                      <a:pt x="372" y="1414"/>
                      <a:pt x="371" y="1415"/>
                    </a:cubicBezTo>
                    <a:moveTo>
                      <a:pt x="371" y="1415"/>
                    </a:moveTo>
                    <a:cubicBezTo>
                      <a:pt x="371" y="1414"/>
                      <a:pt x="370" y="1414"/>
                      <a:pt x="369" y="1414"/>
                    </a:cubicBezTo>
                    <a:moveTo>
                      <a:pt x="369" y="1414"/>
                    </a:moveTo>
                    <a:cubicBezTo>
                      <a:pt x="360" y="1405"/>
                      <a:pt x="349" y="1396"/>
                      <a:pt x="340" y="1388"/>
                    </a:cubicBezTo>
                    <a:moveTo>
                      <a:pt x="340" y="1388"/>
                    </a:moveTo>
                    <a:cubicBezTo>
                      <a:pt x="340" y="1387"/>
                      <a:pt x="339" y="1387"/>
                      <a:pt x="339" y="1387"/>
                    </a:cubicBezTo>
                    <a:moveTo>
                      <a:pt x="339" y="1387"/>
                    </a:moveTo>
                    <a:cubicBezTo>
                      <a:pt x="338" y="1385"/>
                      <a:pt x="337" y="1387"/>
                      <a:pt x="339" y="1387"/>
                    </a:cubicBezTo>
                    <a:moveTo>
                      <a:pt x="567" y="1396"/>
                    </a:moveTo>
                    <a:cubicBezTo>
                      <a:pt x="568" y="1393"/>
                      <a:pt x="572" y="1394"/>
                      <a:pt x="573" y="1391"/>
                    </a:cubicBezTo>
                    <a:cubicBezTo>
                      <a:pt x="570" y="1390"/>
                      <a:pt x="566" y="1388"/>
                      <a:pt x="563" y="1386"/>
                    </a:cubicBezTo>
                    <a:cubicBezTo>
                      <a:pt x="564" y="1390"/>
                      <a:pt x="565" y="1394"/>
                      <a:pt x="567" y="1396"/>
                    </a:cubicBezTo>
                    <a:close/>
                    <a:moveTo>
                      <a:pt x="982" y="1419"/>
                    </a:moveTo>
                    <a:cubicBezTo>
                      <a:pt x="986" y="1424"/>
                      <a:pt x="989" y="1430"/>
                      <a:pt x="989" y="1439"/>
                    </a:cubicBezTo>
                    <a:cubicBezTo>
                      <a:pt x="1006" y="1434"/>
                      <a:pt x="1021" y="1428"/>
                      <a:pt x="1038" y="1423"/>
                    </a:cubicBezTo>
                    <a:cubicBezTo>
                      <a:pt x="1040" y="1417"/>
                      <a:pt x="1046" y="1411"/>
                      <a:pt x="1050" y="1405"/>
                    </a:cubicBezTo>
                    <a:cubicBezTo>
                      <a:pt x="1054" y="1399"/>
                      <a:pt x="1059" y="1390"/>
                      <a:pt x="1059" y="1387"/>
                    </a:cubicBezTo>
                    <a:cubicBezTo>
                      <a:pt x="1030" y="1395"/>
                      <a:pt x="1008" y="1409"/>
                      <a:pt x="982" y="1419"/>
                    </a:cubicBezTo>
                    <a:close/>
                    <a:moveTo>
                      <a:pt x="1184" y="1388"/>
                    </a:moveTo>
                    <a:cubicBezTo>
                      <a:pt x="1153" y="1402"/>
                      <a:pt x="1127" y="1421"/>
                      <a:pt x="1103" y="1442"/>
                    </a:cubicBezTo>
                    <a:moveTo>
                      <a:pt x="1103" y="1442"/>
                    </a:moveTo>
                    <a:cubicBezTo>
                      <a:pt x="1102" y="1442"/>
                      <a:pt x="1101" y="1443"/>
                      <a:pt x="1101" y="1443"/>
                    </a:cubicBezTo>
                    <a:moveTo>
                      <a:pt x="1101" y="1443"/>
                    </a:moveTo>
                    <a:cubicBezTo>
                      <a:pt x="1099" y="1444"/>
                      <a:pt x="1101" y="1444"/>
                      <a:pt x="1101" y="1443"/>
                    </a:cubicBezTo>
                    <a:moveTo>
                      <a:pt x="1101" y="1443"/>
                    </a:moveTo>
                    <a:cubicBezTo>
                      <a:pt x="1102" y="1443"/>
                      <a:pt x="1103" y="1443"/>
                      <a:pt x="1103" y="1442"/>
                    </a:cubicBezTo>
                    <a:moveTo>
                      <a:pt x="1103" y="1442"/>
                    </a:moveTo>
                    <a:cubicBezTo>
                      <a:pt x="1134" y="1428"/>
                      <a:pt x="1167" y="1416"/>
                      <a:pt x="1184" y="1388"/>
                    </a:cubicBezTo>
                    <a:moveTo>
                      <a:pt x="1184" y="1388"/>
                    </a:moveTo>
                    <a:cubicBezTo>
                      <a:pt x="1186" y="1387"/>
                      <a:pt x="1184" y="1386"/>
                      <a:pt x="1184" y="1388"/>
                    </a:cubicBezTo>
                    <a:moveTo>
                      <a:pt x="429" y="1391"/>
                    </a:moveTo>
                    <a:cubicBezTo>
                      <a:pt x="438" y="1406"/>
                      <a:pt x="450" y="1419"/>
                      <a:pt x="461" y="1432"/>
                    </a:cubicBezTo>
                    <a:cubicBezTo>
                      <a:pt x="485" y="1439"/>
                      <a:pt x="511" y="1450"/>
                      <a:pt x="537" y="1452"/>
                    </a:cubicBezTo>
                    <a:cubicBezTo>
                      <a:pt x="534" y="1448"/>
                      <a:pt x="536" y="1440"/>
                      <a:pt x="535" y="1434"/>
                    </a:cubicBezTo>
                    <a:cubicBezTo>
                      <a:pt x="497" y="1422"/>
                      <a:pt x="463" y="1407"/>
                      <a:pt x="429" y="1391"/>
                    </a:cubicBezTo>
                    <a:moveTo>
                      <a:pt x="429" y="1391"/>
                    </a:moveTo>
                    <a:cubicBezTo>
                      <a:pt x="428" y="1390"/>
                      <a:pt x="428" y="1392"/>
                      <a:pt x="429" y="1391"/>
                    </a:cubicBezTo>
                    <a:moveTo>
                      <a:pt x="966" y="1402"/>
                    </a:moveTo>
                    <a:cubicBezTo>
                      <a:pt x="971" y="1406"/>
                      <a:pt x="976" y="1410"/>
                      <a:pt x="980" y="1416"/>
                    </a:cubicBezTo>
                    <a:cubicBezTo>
                      <a:pt x="1001" y="1409"/>
                      <a:pt x="1020" y="1400"/>
                      <a:pt x="1038" y="1391"/>
                    </a:cubicBezTo>
                    <a:cubicBezTo>
                      <a:pt x="1015" y="1395"/>
                      <a:pt x="989" y="1397"/>
                      <a:pt x="966" y="1402"/>
                    </a:cubicBezTo>
                    <a:close/>
                    <a:moveTo>
                      <a:pt x="567" y="1399"/>
                    </a:moveTo>
                    <a:cubicBezTo>
                      <a:pt x="573" y="1400"/>
                      <a:pt x="584" y="1403"/>
                      <a:pt x="589" y="1401"/>
                    </a:cubicBezTo>
                    <a:cubicBezTo>
                      <a:pt x="581" y="1397"/>
                      <a:pt x="574" y="1390"/>
                      <a:pt x="567" y="1399"/>
                    </a:cubicBezTo>
                    <a:close/>
                    <a:moveTo>
                      <a:pt x="891" y="1406"/>
                    </a:moveTo>
                    <a:cubicBezTo>
                      <a:pt x="896" y="1407"/>
                      <a:pt x="899" y="1404"/>
                      <a:pt x="904" y="1405"/>
                    </a:cubicBezTo>
                    <a:cubicBezTo>
                      <a:pt x="903" y="1401"/>
                      <a:pt x="907" y="1397"/>
                      <a:pt x="905" y="1395"/>
                    </a:cubicBezTo>
                    <a:cubicBezTo>
                      <a:pt x="901" y="1399"/>
                      <a:pt x="895" y="1402"/>
                      <a:pt x="891" y="1406"/>
                    </a:cubicBezTo>
                    <a:close/>
                    <a:moveTo>
                      <a:pt x="548" y="1410"/>
                    </a:moveTo>
                    <a:cubicBezTo>
                      <a:pt x="552" y="1408"/>
                      <a:pt x="555" y="1404"/>
                      <a:pt x="558" y="1401"/>
                    </a:cubicBezTo>
                    <a:cubicBezTo>
                      <a:pt x="546" y="1401"/>
                      <a:pt x="532" y="1396"/>
                      <a:pt x="521" y="1397"/>
                    </a:cubicBezTo>
                    <a:cubicBezTo>
                      <a:pt x="530" y="1401"/>
                      <a:pt x="539" y="1405"/>
                      <a:pt x="548" y="1410"/>
                    </a:cubicBezTo>
                    <a:close/>
                    <a:moveTo>
                      <a:pt x="552" y="1412"/>
                    </a:moveTo>
                    <a:cubicBezTo>
                      <a:pt x="559" y="1414"/>
                      <a:pt x="565" y="1417"/>
                      <a:pt x="572" y="1419"/>
                    </a:cubicBezTo>
                    <a:cubicBezTo>
                      <a:pt x="571" y="1413"/>
                      <a:pt x="567" y="1409"/>
                      <a:pt x="566" y="1402"/>
                    </a:cubicBezTo>
                    <a:cubicBezTo>
                      <a:pt x="558" y="1402"/>
                      <a:pt x="556" y="1408"/>
                      <a:pt x="552" y="1412"/>
                    </a:cubicBezTo>
                    <a:close/>
                    <a:moveTo>
                      <a:pt x="950" y="1403"/>
                    </a:moveTo>
                    <a:cubicBezTo>
                      <a:pt x="936" y="1407"/>
                      <a:pt x="915" y="1424"/>
                      <a:pt x="901" y="1427"/>
                    </a:cubicBezTo>
                    <a:cubicBezTo>
                      <a:pt x="899" y="1433"/>
                      <a:pt x="898" y="1439"/>
                      <a:pt x="895" y="1444"/>
                    </a:cubicBezTo>
                    <a:cubicBezTo>
                      <a:pt x="925" y="1438"/>
                      <a:pt x="950" y="1427"/>
                      <a:pt x="977" y="1418"/>
                    </a:cubicBezTo>
                    <a:cubicBezTo>
                      <a:pt x="971" y="1409"/>
                      <a:pt x="964" y="1399"/>
                      <a:pt x="950" y="1403"/>
                    </a:cubicBezTo>
                    <a:close/>
                    <a:moveTo>
                      <a:pt x="576" y="1421"/>
                    </a:moveTo>
                    <a:cubicBezTo>
                      <a:pt x="625" y="1439"/>
                      <a:pt x="678" y="1457"/>
                      <a:pt x="736" y="1463"/>
                    </a:cubicBezTo>
                    <a:cubicBezTo>
                      <a:pt x="684" y="1449"/>
                      <a:pt x="638" y="1429"/>
                      <a:pt x="596" y="1405"/>
                    </a:cubicBezTo>
                    <a:cubicBezTo>
                      <a:pt x="586" y="1405"/>
                      <a:pt x="579" y="1403"/>
                      <a:pt x="569" y="1403"/>
                    </a:cubicBezTo>
                    <a:cubicBezTo>
                      <a:pt x="571" y="1409"/>
                      <a:pt x="574" y="1415"/>
                      <a:pt x="576" y="1421"/>
                    </a:cubicBezTo>
                    <a:close/>
                    <a:moveTo>
                      <a:pt x="908" y="1407"/>
                    </a:moveTo>
                    <a:cubicBezTo>
                      <a:pt x="905" y="1412"/>
                      <a:pt x="905" y="1418"/>
                      <a:pt x="902" y="1423"/>
                    </a:cubicBezTo>
                    <a:cubicBezTo>
                      <a:pt x="917" y="1418"/>
                      <a:pt x="930" y="1411"/>
                      <a:pt x="942" y="1404"/>
                    </a:cubicBezTo>
                    <a:cubicBezTo>
                      <a:pt x="931" y="1405"/>
                      <a:pt x="920" y="1407"/>
                      <a:pt x="908" y="1407"/>
                    </a:cubicBezTo>
                    <a:close/>
                    <a:moveTo>
                      <a:pt x="606" y="1407"/>
                    </a:moveTo>
                    <a:cubicBezTo>
                      <a:pt x="645" y="1429"/>
                      <a:pt x="691" y="1449"/>
                      <a:pt x="737" y="1461"/>
                    </a:cubicBezTo>
                    <a:cubicBezTo>
                      <a:pt x="716" y="1449"/>
                      <a:pt x="695" y="1437"/>
                      <a:pt x="674" y="1423"/>
                    </a:cubicBezTo>
                    <a:cubicBezTo>
                      <a:pt x="667" y="1419"/>
                      <a:pt x="660" y="1411"/>
                      <a:pt x="654" y="1410"/>
                    </a:cubicBezTo>
                    <a:cubicBezTo>
                      <a:pt x="638" y="1406"/>
                      <a:pt x="624" y="1410"/>
                      <a:pt x="606" y="1407"/>
                    </a:cubicBezTo>
                    <a:moveTo>
                      <a:pt x="606" y="1407"/>
                    </a:moveTo>
                    <a:cubicBezTo>
                      <a:pt x="605" y="1404"/>
                      <a:pt x="602" y="1408"/>
                      <a:pt x="606" y="1407"/>
                    </a:cubicBezTo>
                    <a:moveTo>
                      <a:pt x="886" y="1409"/>
                    </a:moveTo>
                    <a:cubicBezTo>
                      <a:pt x="854" y="1430"/>
                      <a:pt x="820" y="1448"/>
                      <a:pt x="783" y="1463"/>
                    </a:cubicBezTo>
                    <a:cubicBezTo>
                      <a:pt x="824" y="1454"/>
                      <a:pt x="862" y="1441"/>
                      <a:pt x="897" y="1426"/>
                    </a:cubicBezTo>
                    <a:cubicBezTo>
                      <a:pt x="899" y="1420"/>
                      <a:pt x="901" y="1413"/>
                      <a:pt x="903" y="1408"/>
                    </a:cubicBezTo>
                    <a:cubicBezTo>
                      <a:pt x="897" y="1407"/>
                      <a:pt x="893" y="1410"/>
                      <a:pt x="886" y="1409"/>
                    </a:cubicBezTo>
                    <a:close/>
                    <a:moveTo>
                      <a:pt x="839" y="1412"/>
                    </a:moveTo>
                    <a:cubicBezTo>
                      <a:pt x="819" y="1430"/>
                      <a:pt x="798" y="1447"/>
                      <a:pt x="776" y="1463"/>
                    </a:cubicBezTo>
                    <a:cubicBezTo>
                      <a:pt x="814" y="1448"/>
                      <a:pt x="848" y="1430"/>
                      <a:pt x="879" y="1410"/>
                    </a:cubicBezTo>
                    <a:cubicBezTo>
                      <a:pt x="865" y="1410"/>
                      <a:pt x="853" y="1412"/>
                      <a:pt x="839" y="1412"/>
                    </a:cubicBezTo>
                    <a:close/>
                    <a:moveTo>
                      <a:pt x="736" y="1456"/>
                    </a:moveTo>
                    <a:cubicBezTo>
                      <a:pt x="735" y="1447"/>
                      <a:pt x="725" y="1440"/>
                      <a:pt x="718" y="1433"/>
                    </a:cubicBezTo>
                    <a:cubicBezTo>
                      <a:pt x="712" y="1427"/>
                      <a:pt x="704" y="1415"/>
                      <a:pt x="697" y="1413"/>
                    </a:cubicBezTo>
                    <a:cubicBezTo>
                      <a:pt x="687" y="1409"/>
                      <a:pt x="674" y="1412"/>
                      <a:pt x="661" y="1412"/>
                    </a:cubicBezTo>
                    <a:cubicBezTo>
                      <a:pt x="685" y="1428"/>
                      <a:pt x="708" y="1444"/>
                      <a:pt x="736" y="1456"/>
                    </a:cubicBezTo>
                    <a:close/>
                    <a:moveTo>
                      <a:pt x="770" y="1463"/>
                    </a:moveTo>
                    <a:cubicBezTo>
                      <a:pt x="769" y="1462"/>
                      <a:pt x="769" y="1463"/>
                      <a:pt x="769" y="1463"/>
                    </a:cubicBezTo>
                    <a:moveTo>
                      <a:pt x="769" y="1463"/>
                    </a:moveTo>
                    <a:cubicBezTo>
                      <a:pt x="767" y="1464"/>
                      <a:pt x="769" y="1465"/>
                      <a:pt x="769" y="1463"/>
                    </a:cubicBezTo>
                    <a:moveTo>
                      <a:pt x="769" y="1463"/>
                    </a:moveTo>
                    <a:cubicBezTo>
                      <a:pt x="770" y="1464"/>
                      <a:pt x="770" y="1463"/>
                      <a:pt x="770" y="1463"/>
                    </a:cubicBezTo>
                    <a:moveTo>
                      <a:pt x="770" y="1463"/>
                    </a:moveTo>
                    <a:cubicBezTo>
                      <a:pt x="789" y="1450"/>
                      <a:pt x="811" y="1435"/>
                      <a:pt x="828" y="1418"/>
                    </a:cubicBezTo>
                    <a:cubicBezTo>
                      <a:pt x="830" y="1417"/>
                      <a:pt x="834" y="1414"/>
                      <a:pt x="832" y="1412"/>
                    </a:cubicBezTo>
                    <a:cubicBezTo>
                      <a:pt x="824" y="1414"/>
                      <a:pt x="811" y="1412"/>
                      <a:pt x="801" y="1413"/>
                    </a:cubicBezTo>
                    <a:cubicBezTo>
                      <a:pt x="792" y="1430"/>
                      <a:pt x="781" y="1446"/>
                      <a:pt x="770" y="1463"/>
                    </a:cubicBezTo>
                    <a:moveTo>
                      <a:pt x="735" y="1445"/>
                    </a:moveTo>
                    <a:cubicBezTo>
                      <a:pt x="735" y="1434"/>
                      <a:pt x="734" y="1424"/>
                      <a:pt x="733" y="1414"/>
                    </a:cubicBezTo>
                    <a:cubicBezTo>
                      <a:pt x="724" y="1414"/>
                      <a:pt x="712" y="1411"/>
                      <a:pt x="702" y="1414"/>
                    </a:cubicBezTo>
                    <a:cubicBezTo>
                      <a:pt x="713" y="1424"/>
                      <a:pt x="723" y="1436"/>
                      <a:pt x="735" y="1445"/>
                    </a:cubicBezTo>
                    <a:close/>
                    <a:moveTo>
                      <a:pt x="574" y="1423"/>
                    </a:moveTo>
                    <a:cubicBezTo>
                      <a:pt x="566" y="1420"/>
                      <a:pt x="558" y="1416"/>
                      <a:pt x="549" y="1414"/>
                    </a:cubicBezTo>
                    <a:cubicBezTo>
                      <a:pt x="545" y="1420"/>
                      <a:pt x="540" y="1423"/>
                      <a:pt x="539" y="1433"/>
                    </a:cubicBezTo>
                    <a:cubicBezTo>
                      <a:pt x="554" y="1436"/>
                      <a:pt x="571" y="1443"/>
                      <a:pt x="584" y="1444"/>
                    </a:cubicBezTo>
                    <a:cubicBezTo>
                      <a:pt x="580" y="1438"/>
                      <a:pt x="578" y="1430"/>
                      <a:pt x="574" y="1423"/>
                    </a:cubicBezTo>
                    <a:close/>
                    <a:moveTo>
                      <a:pt x="761" y="1463"/>
                    </a:moveTo>
                    <a:cubicBezTo>
                      <a:pt x="763" y="1448"/>
                      <a:pt x="764" y="1430"/>
                      <a:pt x="766" y="1414"/>
                    </a:cubicBezTo>
                    <a:cubicBezTo>
                      <a:pt x="757" y="1414"/>
                      <a:pt x="745" y="1412"/>
                      <a:pt x="737" y="1415"/>
                    </a:cubicBezTo>
                    <a:cubicBezTo>
                      <a:pt x="745" y="1431"/>
                      <a:pt x="752" y="1449"/>
                      <a:pt x="761" y="1463"/>
                    </a:cubicBezTo>
                    <a:close/>
                    <a:moveTo>
                      <a:pt x="765" y="1464"/>
                    </a:moveTo>
                    <a:cubicBezTo>
                      <a:pt x="776" y="1448"/>
                      <a:pt x="788" y="1432"/>
                      <a:pt x="798" y="1414"/>
                    </a:cubicBezTo>
                    <a:cubicBezTo>
                      <a:pt x="788" y="1414"/>
                      <a:pt x="778" y="1414"/>
                      <a:pt x="768" y="1414"/>
                    </a:cubicBezTo>
                    <a:cubicBezTo>
                      <a:pt x="768" y="1431"/>
                      <a:pt x="764" y="1449"/>
                      <a:pt x="765" y="1464"/>
                    </a:cubicBezTo>
                    <a:close/>
                    <a:moveTo>
                      <a:pt x="366" y="1415"/>
                    </a:moveTo>
                    <a:cubicBezTo>
                      <a:pt x="366" y="1416"/>
                      <a:pt x="367" y="1416"/>
                      <a:pt x="367" y="1416"/>
                    </a:cubicBezTo>
                    <a:moveTo>
                      <a:pt x="367" y="1416"/>
                    </a:moveTo>
                    <a:cubicBezTo>
                      <a:pt x="382" y="1430"/>
                      <a:pt x="403" y="1442"/>
                      <a:pt x="422" y="1448"/>
                    </a:cubicBezTo>
                    <a:cubicBezTo>
                      <a:pt x="403" y="1438"/>
                      <a:pt x="388" y="1425"/>
                      <a:pt x="367" y="1416"/>
                    </a:cubicBezTo>
                    <a:moveTo>
                      <a:pt x="367" y="1416"/>
                    </a:moveTo>
                    <a:cubicBezTo>
                      <a:pt x="367" y="1416"/>
                      <a:pt x="366" y="1416"/>
                      <a:pt x="366" y="1415"/>
                    </a:cubicBezTo>
                    <a:moveTo>
                      <a:pt x="366" y="1415"/>
                    </a:moveTo>
                    <a:cubicBezTo>
                      <a:pt x="365" y="1414"/>
                      <a:pt x="364" y="1416"/>
                      <a:pt x="366" y="1415"/>
                    </a:cubicBezTo>
                    <a:moveTo>
                      <a:pt x="1132" y="1415"/>
                    </a:moveTo>
                    <a:cubicBezTo>
                      <a:pt x="1094" y="1431"/>
                      <a:pt x="1057" y="1446"/>
                      <a:pt x="1014" y="1456"/>
                    </a:cubicBezTo>
                    <a:cubicBezTo>
                      <a:pt x="1007" y="1463"/>
                      <a:pt x="999" y="1470"/>
                      <a:pt x="991" y="1477"/>
                    </a:cubicBezTo>
                    <a:cubicBezTo>
                      <a:pt x="1048" y="1467"/>
                      <a:pt x="1099" y="1450"/>
                      <a:pt x="1132" y="1415"/>
                    </a:cubicBezTo>
                    <a:moveTo>
                      <a:pt x="1132" y="1415"/>
                    </a:moveTo>
                    <a:cubicBezTo>
                      <a:pt x="1133" y="1415"/>
                      <a:pt x="1132" y="1414"/>
                      <a:pt x="1132" y="1415"/>
                    </a:cubicBezTo>
                    <a:moveTo>
                      <a:pt x="979" y="1419"/>
                    </a:moveTo>
                    <a:cubicBezTo>
                      <a:pt x="953" y="1430"/>
                      <a:pt x="925" y="1440"/>
                      <a:pt x="894" y="1447"/>
                    </a:cubicBezTo>
                    <a:cubicBezTo>
                      <a:pt x="893" y="1451"/>
                      <a:pt x="891" y="1455"/>
                      <a:pt x="890" y="1460"/>
                    </a:cubicBezTo>
                    <a:cubicBezTo>
                      <a:pt x="924" y="1455"/>
                      <a:pt x="955" y="1447"/>
                      <a:pt x="987" y="1439"/>
                    </a:cubicBezTo>
                    <a:cubicBezTo>
                      <a:pt x="986" y="1431"/>
                      <a:pt x="983" y="1424"/>
                      <a:pt x="979" y="1419"/>
                    </a:cubicBezTo>
                    <a:close/>
                    <a:moveTo>
                      <a:pt x="755" y="1463"/>
                    </a:moveTo>
                    <a:cubicBezTo>
                      <a:pt x="756" y="1464"/>
                      <a:pt x="756" y="1462"/>
                      <a:pt x="755" y="1463"/>
                    </a:cubicBezTo>
                    <a:moveTo>
                      <a:pt x="755" y="1463"/>
                    </a:moveTo>
                    <a:cubicBezTo>
                      <a:pt x="749" y="1449"/>
                      <a:pt x="743" y="1437"/>
                      <a:pt x="737" y="1424"/>
                    </a:cubicBezTo>
                    <a:cubicBezTo>
                      <a:pt x="736" y="1433"/>
                      <a:pt x="739" y="1439"/>
                      <a:pt x="738" y="1448"/>
                    </a:cubicBezTo>
                    <a:cubicBezTo>
                      <a:pt x="743" y="1453"/>
                      <a:pt x="749" y="1458"/>
                      <a:pt x="755" y="1463"/>
                    </a:cubicBezTo>
                    <a:moveTo>
                      <a:pt x="587" y="1446"/>
                    </a:moveTo>
                    <a:cubicBezTo>
                      <a:pt x="632" y="1456"/>
                      <a:pt x="682" y="1466"/>
                      <a:pt x="733" y="1466"/>
                    </a:cubicBezTo>
                    <a:cubicBezTo>
                      <a:pt x="676" y="1459"/>
                      <a:pt x="625" y="1440"/>
                      <a:pt x="578" y="1426"/>
                    </a:cubicBezTo>
                    <a:cubicBezTo>
                      <a:pt x="582" y="1432"/>
                      <a:pt x="584" y="1439"/>
                      <a:pt x="587" y="1446"/>
                    </a:cubicBezTo>
                    <a:close/>
                    <a:moveTo>
                      <a:pt x="1034" y="1427"/>
                    </a:moveTo>
                    <a:cubicBezTo>
                      <a:pt x="1019" y="1432"/>
                      <a:pt x="1004" y="1437"/>
                      <a:pt x="989" y="1441"/>
                    </a:cubicBezTo>
                    <a:cubicBezTo>
                      <a:pt x="989" y="1450"/>
                      <a:pt x="986" y="1454"/>
                      <a:pt x="984" y="1460"/>
                    </a:cubicBezTo>
                    <a:moveTo>
                      <a:pt x="984" y="1460"/>
                    </a:moveTo>
                    <a:cubicBezTo>
                      <a:pt x="982" y="1460"/>
                      <a:pt x="984" y="1461"/>
                      <a:pt x="984" y="1460"/>
                    </a:cubicBezTo>
                    <a:moveTo>
                      <a:pt x="984" y="1460"/>
                    </a:moveTo>
                    <a:cubicBezTo>
                      <a:pt x="994" y="1459"/>
                      <a:pt x="1001" y="1456"/>
                      <a:pt x="1011" y="1455"/>
                    </a:cubicBezTo>
                    <a:cubicBezTo>
                      <a:pt x="1019" y="1446"/>
                      <a:pt x="1027" y="1437"/>
                      <a:pt x="1034" y="1427"/>
                    </a:cubicBezTo>
                    <a:moveTo>
                      <a:pt x="1034" y="1427"/>
                    </a:moveTo>
                    <a:cubicBezTo>
                      <a:pt x="1035" y="1426"/>
                      <a:pt x="1034" y="1426"/>
                      <a:pt x="1034" y="1427"/>
                    </a:cubicBezTo>
                    <a:moveTo>
                      <a:pt x="1141" y="1428"/>
                    </a:moveTo>
                    <a:cubicBezTo>
                      <a:pt x="1141" y="1428"/>
                      <a:pt x="1142" y="1429"/>
                      <a:pt x="1141" y="1428"/>
                    </a:cubicBezTo>
                    <a:close/>
                    <a:moveTo>
                      <a:pt x="1139" y="1429"/>
                    </a:moveTo>
                    <a:cubicBezTo>
                      <a:pt x="1138" y="1429"/>
                      <a:pt x="1138" y="1429"/>
                      <a:pt x="1137" y="1430"/>
                    </a:cubicBezTo>
                    <a:moveTo>
                      <a:pt x="1137" y="1430"/>
                    </a:moveTo>
                    <a:cubicBezTo>
                      <a:pt x="1136" y="1430"/>
                      <a:pt x="1136" y="1430"/>
                      <a:pt x="1135" y="1431"/>
                    </a:cubicBezTo>
                    <a:moveTo>
                      <a:pt x="1135" y="1431"/>
                    </a:moveTo>
                    <a:cubicBezTo>
                      <a:pt x="1116" y="1441"/>
                      <a:pt x="1092" y="1448"/>
                      <a:pt x="1074" y="1461"/>
                    </a:cubicBezTo>
                    <a:cubicBezTo>
                      <a:pt x="1096" y="1452"/>
                      <a:pt x="1118" y="1443"/>
                      <a:pt x="1135" y="1431"/>
                    </a:cubicBezTo>
                    <a:moveTo>
                      <a:pt x="1135" y="1431"/>
                    </a:moveTo>
                    <a:cubicBezTo>
                      <a:pt x="1137" y="1431"/>
                      <a:pt x="1137" y="1431"/>
                      <a:pt x="1137" y="1430"/>
                    </a:cubicBezTo>
                    <a:moveTo>
                      <a:pt x="1137" y="1430"/>
                    </a:moveTo>
                    <a:cubicBezTo>
                      <a:pt x="1138" y="1430"/>
                      <a:pt x="1139" y="1430"/>
                      <a:pt x="1139" y="1429"/>
                    </a:cubicBezTo>
                    <a:moveTo>
                      <a:pt x="1139" y="1429"/>
                    </a:moveTo>
                    <a:cubicBezTo>
                      <a:pt x="1141" y="1428"/>
                      <a:pt x="1139" y="1428"/>
                      <a:pt x="1139" y="1429"/>
                    </a:cubicBezTo>
                    <a:moveTo>
                      <a:pt x="789" y="1465"/>
                    </a:moveTo>
                    <a:cubicBezTo>
                      <a:pt x="825" y="1461"/>
                      <a:pt x="858" y="1454"/>
                      <a:pt x="891" y="1446"/>
                    </a:cubicBezTo>
                    <a:cubicBezTo>
                      <a:pt x="892" y="1440"/>
                      <a:pt x="897" y="1434"/>
                      <a:pt x="895" y="1429"/>
                    </a:cubicBezTo>
                    <a:cubicBezTo>
                      <a:pt x="863" y="1444"/>
                      <a:pt x="826" y="1455"/>
                      <a:pt x="789" y="1465"/>
                    </a:cubicBezTo>
                    <a:close/>
                    <a:moveTo>
                      <a:pt x="404" y="1435"/>
                    </a:moveTo>
                    <a:cubicBezTo>
                      <a:pt x="404" y="1434"/>
                      <a:pt x="405" y="1435"/>
                      <a:pt x="404" y="1435"/>
                    </a:cubicBezTo>
                    <a:close/>
                    <a:moveTo>
                      <a:pt x="407" y="1436"/>
                    </a:moveTo>
                    <a:cubicBezTo>
                      <a:pt x="407" y="1437"/>
                      <a:pt x="408" y="1436"/>
                      <a:pt x="409" y="1437"/>
                    </a:cubicBezTo>
                    <a:moveTo>
                      <a:pt x="409" y="1437"/>
                    </a:moveTo>
                    <a:cubicBezTo>
                      <a:pt x="409" y="1437"/>
                      <a:pt x="409" y="1437"/>
                      <a:pt x="409" y="1438"/>
                    </a:cubicBezTo>
                    <a:cubicBezTo>
                      <a:pt x="439" y="1456"/>
                      <a:pt x="472" y="1472"/>
                      <a:pt x="513" y="1480"/>
                    </a:cubicBezTo>
                    <a:moveTo>
                      <a:pt x="513" y="1480"/>
                    </a:moveTo>
                    <a:cubicBezTo>
                      <a:pt x="514" y="1483"/>
                      <a:pt x="517" y="1479"/>
                      <a:pt x="513" y="1480"/>
                    </a:cubicBezTo>
                    <a:moveTo>
                      <a:pt x="513" y="1480"/>
                    </a:moveTo>
                    <a:cubicBezTo>
                      <a:pt x="487" y="1457"/>
                      <a:pt x="441" y="1454"/>
                      <a:pt x="409" y="1437"/>
                    </a:cubicBezTo>
                    <a:moveTo>
                      <a:pt x="409" y="1437"/>
                    </a:moveTo>
                    <a:cubicBezTo>
                      <a:pt x="409" y="1436"/>
                      <a:pt x="408" y="1436"/>
                      <a:pt x="407" y="1436"/>
                    </a:cubicBezTo>
                    <a:moveTo>
                      <a:pt x="407" y="1436"/>
                    </a:moveTo>
                    <a:cubicBezTo>
                      <a:pt x="406" y="1434"/>
                      <a:pt x="406" y="1436"/>
                      <a:pt x="407" y="1436"/>
                    </a:cubicBezTo>
                    <a:moveTo>
                      <a:pt x="541" y="1455"/>
                    </a:moveTo>
                    <a:cubicBezTo>
                      <a:pt x="559" y="1457"/>
                      <a:pt x="575" y="1462"/>
                      <a:pt x="594" y="1463"/>
                    </a:cubicBezTo>
                    <a:cubicBezTo>
                      <a:pt x="592" y="1458"/>
                      <a:pt x="588" y="1454"/>
                      <a:pt x="586" y="1448"/>
                    </a:cubicBezTo>
                    <a:cubicBezTo>
                      <a:pt x="570" y="1444"/>
                      <a:pt x="554" y="1440"/>
                      <a:pt x="538" y="1435"/>
                    </a:cubicBezTo>
                    <a:cubicBezTo>
                      <a:pt x="536" y="1441"/>
                      <a:pt x="539" y="1450"/>
                      <a:pt x="541" y="1455"/>
                    </a:cubicBezTo>
                    <a:close/>
                    <a:moveTo>
                      <a:pt x="466" y="1437"/>
                    </a:moveTo>
                    <a:cubicBezTo>
                      <a:pt x="466" y="1437"/>
                      <a:pt x="466" y="1437"/>
                      <a:pt x="466" y="1438"/>
                    </a:cubicBezTo>
                    <a:cubicBezTo>
                      <a:pt x="476" y="1446"/>
                      <a:pt x="485" y="1455"/>
                      <a:pt x="495" y="1463"/>
                    </a:cubicBezTo>
                    <a:cubicBezTo>
                      <a:pt x="514" y="1467"/>
                      <a:pt x="531" y="1473"/>
                      <a:pt x="552" y="1474"/>
                    </a:cubicBezTo>
                    <a:moveTo>
                      <a:pt x="552" y="1474"/>
                    </a:moveTo>
                    <a:cubicBezTo>
                      <a:pt x="552" y="1475"/>
                      <a:pt x="553" y="1474"/>
                      <a:pt x="552" y="1474"/>
                    </a:cubicBezTo>
                    <a:moveTo>
                      <a:pt x="552" y="1474"/>
                    </a:moveTo>
                    <a:cubicBezTo>
                      <a:pt x="547" y="1468"/>
                      <a:pt x="542" y="1463"/>
                      <a:pt x="538" y="1456"/>
                    </a:cubicBezTo>
                    <a:cubicBezTo>
                      <a:pt x="512" y="1451"/>
                      <a:pt x="490" y="1443"/>
                      <a:pt x="466" y="1437"/>
                    </a:cubicBezTo>
                    <a:moveTo>
                      <a:pt x="466" y="1437"/>
                    </a:moveTo>
                    <a:cubicBezTo>
                      <a:pt x="466" y="1435"/>
                      <a:pt x="465" y="1437"/>
                      <a:pt x="466" y="1437"/>
                    </a:cubicBezTo>
                    <a:moveTo>
                      <a:pt x="888" y="1463"/>
                    </a:moveTo>
                    <a:cubicBezTo>
                      <a:pt x="888" y="1467"/>
                      <a:pt x="885" y="1469"/>
                      <a:pt x="884" y="1472"/>
                    </a:cubicBezTo>
                    <a:cubicBezTo>
                      <a:pt x="919" y="1472"/>
                      <a:pt x="949" y="1466"/>
                      <a:pt x="980" y="1462"/>
                    </a:cubicBezTo>
                    <a:cubicBezTo>
                      <a:pt x="982" y="1456"/>
                      <a:pt x="988" y="1448"/>
                      <a:pt x="986" y="1441"/>
                    </a:cubicBezTo>
                    <a:cubicBezTo>
                      <a:pt x="956" y="1451"/>
                      <a:pt x="922" y="1458"/>
                      <a:pt x="888" y="1463"/>
                    </a:cubicBezTo>
                    <a:close/>
                    <a:moveTo>
                      <a:pt x="1098" y="1445"/>
                    </a:moveTo>
                    <a:cubicBezTo>
                      <a:pt x="1098" y="1445"/>
                      <a:pt x="1099" y="1446"/>
                      <a:pt x="1098" y="1445"/>
                    </a:cubicBezTo>
                    <a:close/>
                    <a:moveTo>
                      <a:pt x="423" y="1450"/>
                    </a:moveTo>
                    <a:cubicBezTo>
                      <a:pt x="423" y="1450"/>
                      <a:pt x="424" y="1451"/>
                      <a:pt x="423" y="1450"/>
                    </a:cubicBezTo>
                    <a:close/>
                    <a:moveTo>
                      <a:pt x="600" y="1464"/>
                    </a:moveTo>
                    <a:cubicBezTo>
                      <a:pt x="639" y="1469"/>
                      <a:pt x="688" y="1474"/>
                      <a:pt x="730" y="1469"/>
                    </a:cubicBezTo>
                    <a:cubicBezTo>
                      <a:pt x="679" y="1467"/>
                      <a:pt x="633" y="1459"/>
                      <a:pt x="590" y="1449"/>
                    </a:cubicBezTo>
                    <a:cubicBezTo>
                      <a:pt x="593" y="1455"/>
                      <a:pt x="595" y="1461"/>
                      <a:pt x="600" y="1464"/>
                    </a:cubicBezTo>
                    <a:close/>
                    <a:moveTo>
                      <a:pt x="888" y="1449"/>
                    </a:moveTo>
                    <a:cubicBezTo>
                      <a:pt x="859" y="1457"/>
                      <a:pt x="828" y="1462"/>
                      <a:pt x="797" y="1467"/>
                    </a:cubicBezTo>
                    <a:cubicBezTo>
                      <a:pt x="795" y="1467"/>
                      <a:pt x="793" y="1467"/>
                      <a:pt x="792" y="1467"/>
                    </a:cubicBezTo>
                    <a:cubicBezTo>
                      <a:pt x="790" y="1468"/>
                      <a:pt x="792" y="1469"/>
                      <a:pt x="794" y="1468"/>
                    </a:cubicBezTo>
                    <a:cubicBezTo>
                      <a:pt x="826" y="1467"/>
                      <a:pt x="856" y="1465"/>
                      <a:pt x="885" y="1461"/>
                    </a:cubicBezTo>
                    <a:cubicBezTo>
                      <a:pt x="887" y="1457"/>
                      <a:pt x="888" y="1453"/>
                      <a:pt x="890" y="1449"/>
                    </a:cubicBezTo>
                    <a:cubicBezTo>
                      <a:pt x="889" y="1449"/>
                      <a:pt x="888" y="1449"/>
                      <a:pt x="888" y="1449"/>
                    </a:cubicBezTo>
                    <a:close/>
                    <a:moveTo>
                      <a:pt x="425" y="1451"/>
                    </a:moveTo>
                    <a:cubicBezTo>
                      <a:pt x="425" y="1451"/>
                      <a:pt x="426" y="1452"/>
                      <a:pt x="425" y="1451"/>
                    </a:cubicBezTo>
                    <a:close/>
                    <a:moveTo>
                      <a:pt x="427" y="1452"/>
                    </a:moveTo>
                    <a:cubicBezTo>
                      <a:pt x="427" y="1452"/>
                      <a:pt x="428" y="1453"/>
                      <a:pt x="427" y="1452"/>
                    </a:cubicBezTo>
                    <a:close/>
                    <a:moveTo>
                      <a:pt x="429" y="1453"/>
                    </a:moveTo>
                    <a:cubicBezTo>
                      <a:pt x="428" y="1453"/>
                      <a:pt x="430" y="1454"/>
                      <a:pt x="429" y="1453"/>
                    </a:cubicBezTo>
                    <a:close/>
                    <a:moveTo>
                      <a:pt x="749" y="1462"/>
                    </a:moveTo>
                    <a:cubicBezTo>
                      <a:pt x="749" y="1462"/>
                      <a:pt x="750" y="1462"/>
                      <a:pt x="750" y="1463"/>
                    </a:cubicBezTo>
                    <a:moveTo>
                      <a:pt x="750" y="1463"/>
                    </a:moveTo>
                    <a:cubicBezTo>
                      <a:pt x="751" y="1464"/>
                      <a:pt x="752" y="1462"/>
                      <a:pt x="750" y="1463"/>
                    </a:cubicBezTo>
                    <a:moveTo>
                      <a:pt x="750" y="1463"/>
                    </a:moveTo>
                    <a:cubicBezTo>
                      <a:pt x="750" y="1462"/>
                      <a:pt x="749" y="1462"/>
                      <a:pt x="749" y="1462"/>
                    </a:cubicBezTo>
                    <a:moveTo>
                      <a:pt x="749" y="1462"/>
                    </a:moveTo>
                    <a:cubicBezTo>
                      <a:pt x="746" y="1458"/>
                      <a:pt x="742" y="1456"/>
                      <a:pt x="739" y="1453"/>
                    </a:cubicBezTo>
                    <a:cubicBezTo>
                      <a:pt x="738" y="1460"/>
                      <a:pt x="744" y="1460"/>
                      <a:pt x="749" y="1462"/>
                    </a:cubicBezTo>
                    <a:moveTo>
                      <a:pt x="559" y="1476"/>
                    </a:moveTo>
                    <a:cubicBezTo>
                      <a:pt x="572" y="1480"/>
                      <a:pt x="590" y="1477"/>
                      <a:pt x="605" y="1480"/>
                    </a:cubicBezTo>
                    <a:cubicBezTo>
                      <a:pt x="605" y="1476"/>
                      <a:pt x="598" y="1472"/>
                      <a:pt x="597" y="1466"/>
                    </a:cubicBezTo>
                    <a:cubicBezTo>
                      <a:pt x="577" y="1465"/>
                      <a:pt x="561" y="1460"/>
                      <a:pt x="543" y="1458"/>
                    </a:cubicBezTo>
                    <a:cubicBezTo>
                      <a:pt x="547" y="1464"/>
                      <a:pt x="551" y="1473"/>
                      <a:pt x="559" y="1476"/>
                    </a:cubicBezTo>
                    <a:close/>
                    <a:moveTo>
                      <a:pt x="981" y="1463"/>
                    </a:moveTo>
                    <a:cubicBezTo>
                      <a:pt x="976" y="1471"/>
                      <a:pt x="970" y="1476"/>
                      <a:pt x="964" y="1481"/>
                    </a:cubicBezTo>
                    <a:cubicBezTo>
                      <a:pt x="972" y="1480"/>
                      <a:pt x="978" y="1479"/>
                      <a:pt x="986" y="1478"/>
                    </a:cubicBezTo>
                    <a:cubicBezTo>
                      <a:pt x="993" y="1472"/>
                      <a:pt x="1000" y="1466"/>
                      <a:pt x="1007" y="1460"/>
                    </a:cubicBezTo>
                    <a:cubicBezTo>
                      <a:pt x="1007" y="1458"/>
                      <a:pt x="1008" y="1458"/>
                      <a:pt x="1006" y="1458"/>
                    </a:cubicBezTo>
                    <a:cubicBezTo>
                      <a:pt x="998" y="1460"/>
                      <a:pt x="989" y="1461"/>
                      <a:pt x="981" y="1463"/>
                    </a:cubicBezTo>
                    <a:close/>
                    <a:moveTo>
                      <a:pt x="1069" y="1460"/>
                    </a:moveTo>
                    <a:cubicBezTo>
                      <a:pt x="1069" y="1459"/>
                      <a:pt x="1070" y="1460"/>
                      <a:pt x="1069" y="1460"/>
                    </a:cubicBezTo>
                    <a:close/>
                    <a:moveTo>
                      <a:pt x="1066" y="1461"/>
                    </a:moveTo>
                    <a:cubicBezTo>
                      <a:pt x="1041" y="1468"/>
                      <a:pt x="1016" y="1476"/>
                      <a:pt x="987" y="1480"/>
                    </a:cubicBezTo>
                    <a:cubicBezTo>
                      <a:pt x="984" y="1484"/>
                      <a:pt x="979" y="1485"/>
                      <a:pt x="976" y="1488"/>
                    </a:cubicBezTo>
                    <a:cubicBezTo>
                      <a:pt x="1008" y="1481"/>
                      <a:pt x="1042" y="1475"/>
                      <a:pt x="1066" y="1461"/>
                    </a:cubicBezTo>
                    <a:moveTo>
                      <a:pt x="1066" y="1461"/>
                    </a:moveTo>
                    <a:cubicBezTo>
                      <a:pt x="1070" y="1462"/>
                      <a:pt x="1067" y="1458"/>
                      <a:pt x="1066" y="1461"/>
                    </a:cubicBezTo>
                    <a:moveTo>
                      <a:pt x="742" y="1463"/>
                    </a:moveTo>
                    <a:cubicBezTo>
                      <a:pt x="742" y="1465"/>
                      <a:pt x="746" y="1462"/>
                      <a:pt x="742" y="1463"/>
                    </a:cubicBezTo>
                    <a:moveTo>
                      <a:pt x="742" y="1463"/>
                    </a:moveTo>
                    <a:cubicBezTo>
                      <a:pt x="741" y="1462"/>
                      <a:pt x="740" y="1461"/>
                      <a:pt x="739" y="1461"/>
                    </a:cubicBezTo>
                    <a:cubicBezTo>
                      <a:pt x="739" y="1463"/>
                      <a:pt x="740" y="1462"/>
                      <a:pt x="742" y="1463"/>
                    </a:cubicBezTo>
                    <a:moveTo>
                      <a:pt x="1072" y="1462"/>
                    </a:moveTo>
                    <a:cubicBezTo>
                      <a:pt x="1072" y="1461"/>
                      <a:pt x="1073" y="1462"/>
                      <a:pt x="1072" y="1462"/>
                    </a:cubicBezTo>
                    <a:close/>
                    <a:moveTo>
                      <a:pt x="774" y="1463"/>
                    </a:moveTo>
                    <a:cubicBezTo>
                      <a:pt x="774" y="1463"/>
                      <a:pt x="775" y="1464"/>
                      <a:pt x="774" y="1463"/>
                    </a:cubicBezTo>
                    <a:close/>
                    <a:moveTo>
                      <a:pt x="746" y="1464"/>
                    </a:moveTo>
                    <a:cubicBezTo>
                      <a:pt x="745" y="1464"/>
                      <a:pt x="746" y="1465"/>
                      <a:pt x="746" y="1464"/>
                    </a:cubicBezTo>
                    <a:close/>
                    <a:moveTo>
                      <a:pt x="780" y="1464"/>
                    </a:moveTo>
                    <a:cubicBezTo>
                      <a:pt x="780" y="1464"/>
                      <a:pt x="781" y="1465"/>
                      <a:pt x="780" y="1464"/>
                    </a:cubicBezTo>
                    <a:close/>
                    <a:moveTo>
                      <a:pt x="796" y="1472"/>
                    </a:moveTo>
                    <a:cubicBezTo>
                      <a:pt x="823" y="1473"/>
                      <a:pt x="851" y="1473"/>
                      <a:pt x="879" y="1473"/>
                    </a:cubicBezTo>
                    <a:cubicBezTo>
                      <a:pt x="879" y="1470"/>
                      <a:pt x="886" y="1464"/>
                      <a:pt x="882" y="1463"/>
                    </a:cubicBezTo>
                    <a:cubicBezTo>
                      <a:pt x="855" y="1469"/>
                      <a:pt x="823" y="1468"/>
                      <a:pt x="796" y="1472"/>
                    </a:cubicBezTo>
                    <a:close/>
                    <a:moveTo>
                      <a:pt x="882" y="1475"/>
                    </a:moveTo>
                    <a:cubicBezTo>
                      <a:pt x="882" y="1479"/>
                      <a:pt x="879" y="1481"/>
                      <a:pt x="878" y="1485"/>
                    </a:cubicBezTo>
                    <a:cubicBezTo>
                      <a:pt x="901" y="1482"/>
                      <a:pt x="937" y="1489"/>
                      <a:pt x="958" y="1482"/>
                    </a:cubicBezTo>
                    <a:cubicBezTo>
                      <a:pt x="961" y="1480"/>
                      <a:pt x="965" y="1476"/>
                      <a:pt x="968" y="1473"/>
                    </a:cubicBezTo>
                    <a:cubicBezTo>
                      <a:pt x="971" y="1470"/>
                      <a:pt x="977" y="1467"/>
                      <a:pt x="975" y="1464"/>
                    </a:cubicBezTo>
                    <a:cubicBezTo>
                      <a:pt x="946" y="1470"/>
                      <a:pt x="916" y="1474"/>
                      <a:pt x="882" y="1475"/>
                    </a:cubicBezTo>
                    <a:close/>
                    <a:moveTo>
                      <a:pt x="784" y="1466"/>
                    </a:moveTo>
                    <a:cubicBezTo>
                      <a:pt x="784" y="1466"/>
                      <a:pt x="785" y="1467"/>
                      <a:pt x="784" y="1466"/>
                    </a:cubicBezTo>
                    <a:close/>
                    <a:moveTo>
                      <a:pt x="503" y="1468"/>
                    </a:moveTo>
                    <a:cubicBezTo>
                      <a:pt x="520" y="1486"/>
                      <a:pt x="554" y="1491"/>
                      <a:pt x="582" y="1493"/>
                    </a:cubicBezTo>
                    <a:cubicBezTo>
                      <a:pt x="572" y="1490"/>
                      <a:pt x="565" y="1483"/>
                      <a:pt x="556" y="1478"/>
                    </a:cubicBezTo>
                    <a:cubicBezTo>
                      <a:pt x="537" y="1475"/>
                      <a:pt x="521" y="1471"/>
                      <a:pt x="503" y="1468"/>
                    </a:cubicBezTo>
                    <a:moveTo>
                      <a:pt x="503" y="1468"/>
                    </a:moveTo>
                    <a:cubicBezTo>
                      <a:pt x="502" y="1467"/>
                      <a:pt x="502" y="1468"/>
                      <a:pt x="503" y="1468"/>
                    </a:cubicBezTo>
                    <a:moveTo>
                      <a:pt x="611" y="1480"/>
                    </a:moveTo>
                    <a:cubicBezTo>
                      <a:pt x="653" y="1483"/>
                      <a:pt x="697" y="1480"/>
                      <a:pt x="732" y="1473"/>
                    </a:cubicBezTo>
                    <a:cubicBezTo>
                      <a:pt x="687" y="1475"/>
                      <a:pt x="642" y="1473"/>
                      <a:pt x="601" y="1467"/>
                    </a:cubicBezTo>
                    <a:cubicBezTo>
                      <a:pt x="604" y="1472"/>
                      <a:pt x="605" y="1478"/>
                      <a:pt x="611" y="1480"/>
                    </a:cubicBezTo>
                    <a:close/>
                    <a:moveTo>
                      <a:pt x="738" y="1472"/>
                    </a:moveTo>
                    <a:cubicBezTo>
                      <a:pt x="737" y="1472"/>
                      <a:pt x="736" y="1472"/>
                      <a:pt x="736" y="1473"/>
                    </a:cubicBezTo>
                    <a:cubicBezTo>
                      <a:pt x="737" y="1473"/>
                      <a:pt x="738" y="1473"/>
                      <a:pt x="738" y="1472"/>
                    </a:cubicBezTo>
                    <a:close/>
                    <a:moveTo>
                      <a:pt x="789" y="1473"/>
                    </a:moveTo>
                    <a:cubicBezTo>
                      <a:pt x="788" y="1473"/>
                      <a:pt x="786" y="1473"/>
                      <a:pt x="786" y="1474"/>
                    </a:cubicBezTo>
                    <a:cubicBezTo>
                      <a:pt x="787" y="1474"/>
                      <a:pt x="789" y="1474"/>
                      <a:pt x="789" y="1473"/>
                    </a:cubicBezTo>
                    <a:close/>
                    <a:moveTo>
                      <a:pt x="742" y="1475"/>
                    </a:moveTo>
                    <a:cubicBezTo>
                      <a:pt x="741" y="1475"/>
                      <a:pt x="742" y="1476"/>
                      <a:pt x="742" y="1475"/>
                    </a:cubicBezTo>
                    <a:close/>
                    <a:moveTo>
                      <a:pt x="745" y="1509"/>
                    </a:moveTo>
                    <a:cubicBezTo>
                      <a:pt x="748" y="1509"/>
                      <a:pt x="752" y="1509"/>
                      <a:pt x="755" y="1509"/>
                    </a:cubicBezTo>
                    <a:cubicBezTo>
                      <a:pt x="757" y="1498"/>
                      <a:pt x="761" y="1484"/>
                      <a:pt x="759" y="1474"/>
                    </a:cubicBezTo>
                    <a:cubicBezTo>
                      <a:pt x="754" y="1485"/>
                      <a:pt x="737" y="1490"/>
                      <a:pt x="745" y="1509"/>
                    </a:cubicBezTo>
                    <a:close/>
                    <a:moveTo>
                      <a:pt x="877" y="1476"/>
                    </a:moveTo>
                    <a:cubicBezTo>
                      <a:pt x="879" y="1475"/>
                      <a:pt x="877" y="1475"/>
                      <a:pt x="877" y="1476"/>
                    </a:cubicBezTo>
                    <a:moveTo>
                      <a:pt x="877" y="1476"/>
                    </a:moveTo>
                    <a:cubicBezTo>
                      <a:pt x="848" y="1477"/>
                      <a:pt x="817" y="1475"/>
                      <a:pt x="791" y="1475"/>
                    </a:cubicBezTo>
                    <a:cubicBezTo>
                      <a:pt x="817" y="1479"/>
                      <a:pt x="844" y="1483"/>
                      <a:pt x="873" y="1485"/>
                    </a:cubicBezTo>
                    <a:cubicBezTo>
                      <a:pt x="875" y="1482"/>
                      <a:pt x="877" y="1480"/>
                      <a:pt x="877" y="1476"/>
                    </a:cubicBezTo>
                    <a:moveTo>
                      <a:pt x="655" y="1493"/>
                    </a:moveTo>
                    <a:cubicBezTo>
                      <a:pt x="685" y="1490"/>
                      <a:pt x="715" y="1482"/>
                      <a:pt x="737" y="1477"/>
                    </a:cubicBezTo>
                    <a:cubicBezTo>
                      <a:pt x="737" y="1476"/>
                      <a:pt x="739" y="1475"/>
                      <a:pt x="736" y="1475"/>
                    </a:cubicBezTo>
                    <a:cubicBezTo>
                      <a:pt x="700" y="1482"/>
                      <a:pt x="655" y="1485"/>
                      <a:pt x="612" y="1483"/>
                    </a:cubicBezTo>
                    <a:cubicBezTo>
                      <a:pt x="615" y="1498"/>
                      <a:pt x="635" y="1496"/>
                      <a:pt x="655" y="1493"/>
                    </a:cubicBezTo>
                    <a:close/>
                    <a:moveTo>
                      <a:pt x="749" y="1476"/>
                    </a:moveTo>
                    <a:cubicBezTo>
                      <a:pt x="748" y="1476"/>
                      <a:pt x="749" y="1477"/>
                      <a:pt x="749" y="1476"/>
                    </a:cubicBezTo>
                    <a:close/>
                    <a:moveTo>
                      <a:pt x="754" y="1476"/>
                    </a:moveTo>
                    <a:cubicBezTo>
                      <a:pt x="749" y="1477"/>
                      <a:pt x="746" y="1481"/>
                      <a:pt x="741" y="1483"/>
                    </a:cubicBezTo>
                    <a:cubicBezTo>
                      <a:pt x="742" y="1484"/>
                      <a:pt x="741" y="1488"/>
                      <a:pt x="743" y="1489"/>
                    </a:cubicBezTo>
                    <a:cubicBezTo>
                      <a:pt x="746" y="1485"/>
                      <a:pt x="752" y="1481"/>
                      <a:pt x="754" y="1476"/>
                    </a:cubicBezTo>
                    <a:moveTo>
                      <a:pt x="754" y="1476"/>
                    </a:moveTo>
                    <a:cubicBezTo>
                      <a:pt x="756" y="1475"/>
                      <a:pt x="754" y="1475"/>
                      <a:pt x="754" y="1476"/>
                    </a:cubicBezTo>
                    <a:moveTo>
                      <a:pt x="773" y="1476"/>
                    </a:moveTo>
                    <a:cubicBezTo>
                      <a:pt x="772" y="1476"/>
                      <a:pt x="773" y="1477"/>
                      <a:pt x="773" y="1476"/>
                    </a:cubicBezTo>
                    <a:close/>
                    <a:moveTo>
                      <a:pt x="782" y="1475"/>
                    </a:moveTo>
                    <a:cubicBezTo>
                      <a:pt x="781" y="1475"/>
                      <a:pt x="780" y="1475"/>
                      <a:pt x="780" y="1476"/>
                    </a:cubicBezTo>
                    <a:cubicBezTo>
                      <a:pt x="781" y="1476"/>
                      <a:pt x="782" y="1476"/>
                      <a:pt x="782" y="1475"/>
                    </a:cubicBezTo>
                    <a:close/>
                    <a:moveTo>
                      <a:pt x="746" y="1477"/>
                    </a:moveTo>
                    <a:cubicBezTo>
                      <a:pt x="743" y="1476"/>
                      <a:pt x="739" y="1478"/>
                      <a:pt x="742" y="1480"/>
                    </a:cubicBezTo>
                    <a:cubicBezTo>
                      <a:pt x="742" y="1478"/>
                      <a:pt x="745" y="1479"/>
                      <a:pt x="746" y="1477"/>
                    </a:cubicBezTo>
                    <a:moveTo>
                      <a:pt x="746" y="1477"/>
                    </a:moveTo>
                    <a:cubicBezTo>
                      <a:pt x="750" y="1478"/>
                      <a:pt x="746" y="1474"/>
                      <a:pt x="746" y="1477"/>
                    </a:cubicBezTo>
                    <a:moveTo>
                      <a:pt x="758" y="1509"/>
                    </a:moveTo>
                    <a:cubicBezTo>
                      <a:pt x="768" y="1509"/>
                      <a:pt x="777" y="1509"/>
                      <a:pt x="787" y="1509"/>
                    </a:cubicBezTo>
                    <a:cubicBezTo>
                      <a:pt x="781" y="1500"/>
                      <a:pt x="770" y="1487"/>
                      <a:pt x="763" y="1476"/>
                    </a:cubicBezTo>
                    <a:cubicBezTo>
                      <a:pt x="761" y="1486"/>
                      <a:pt x="760" y="1498"/>
                      <a:pt x="758" y="1509"/>
                    </a:cubicBezTo>
                    <a:close/>
                    <a:moveTo>
                      <a:pt x="796" y="1509"/>
                    </a:moveTo>
                    <a:cubicBezTo>
                      <a:pt x="804" y="1511"/>
                      <a:pt x="813" y="1505"/>
                      <a:pt x="826" y="1508"/>
                    </a:cubicBezTo>
                    <a:cubicBezTo>
                      <a:pt x="807" y="1497"/>
                      <a:pt x="786" y="1489"/>
                      <a:pt x="769" y="1476"/>
                    </a:cubicBezTo>
                    <a:cubicBezTo>
                      <a:pt x="777" y="1485"/>
                      <a:pt x="782" y="1505"/>
                      <a:pt x="796" y="1509"/>
                    </a:cubicBezTo>
                    <a:close/>
                    <a:moveTo>
                      <a:pt x="837" y="1507"/>
                    </a:moveTo>
                    <a:cubicBezTo>
                      <a:pt x="844" y="1507"/>
                      <a:pt x="860" y="1507"/>
                      <a:pt x="864" y="1499"/>
                    </a:cubicBezTo>
                    <a:cubicBezTo>
                      <a:pt x="831" y="1496"/>
                      <a:pt x="800" y="1484"/>
                      <a:pt x="774" y="1477"/>
                    </a:cubicBezTo>
                    <a:cubicBezTo>
                      <a:pt x="791" y="1485"/>
                      <a:pt x="814" y="1505"/>
                      <a:pt x="837" y="1507"/>
                    </a:cubicBezTo>
                    <a:close/>
                    <a:moveTo>
                      <a:pt x="865" y="1497"/>
                    </a:moveTo>
                    <a:cubicBezTo>
                      <a:pt x="867" y="1494"/>
                      <a:pt x="870" y="1491"/>
                      <a:pt x="871" y="1487"/>
                    </a:cubicBezTo>
                    <a:cubicBezTo>
                      <a:pt x="839" y="1487"/>
                      <a:pt x="810" y="1479"/>
                      <a:pt x="783" y="1477"/>
                    </a:cubicBezTo>
                    <a:cubicBezTo>
                      <a:pt x="809" y="1485"/>
                      <a:pt x="835" y="1493"/>
                      <a:pt x="865" y="1497"/>
                    </a:cubicBezTo>
                    <a:close/>
                    <a:moveTo>
                      <a:pt x="617" y="1495"/>
                    </a:moveTo>
                    <a:cubicBezTo>
                      <a:pt x="616" y="1492"/>
                      <a:pt x="610" y="1486"/>
                      <a:pt x="606" y="1483"/>
                    </a:cubicBezTo>
                    <a:cubicBezTo>
                      <a:pt x="592" y="1483"/>
                      <a:pt x="576" y="1479"/>
                      <a:pt x="563" y="1480"/>
                    </a:cubicBezTo>
                    <a:cubicBezTo>
                      <a:pt x="577" y="1489"/>
                      <a:pt x="591" y="1498"/>
                      <a:pt x="617" y="1495"/>
                    </a:cubicBezTo>
                    <a:close/>
                    <a:moveTo>
                      <a:pt x="626" y="1499"/>
                    </a:moveTo>
                    <a:cubicBezTo>
                      <a:pt x="667" y="1513"/>
                      <a:pt x="710" y="1498"/>
                      <a:pt x="738" y="1480"/>
                    </a:cubicBezTo>
                    <a:cubicBezTo>
                      <a:pt x="706" y="1488"/>
                      <a:pt x="665" y="1495"/>
                      <a:pt x="626" y="1499"/>
                    </a:cubicBezTo>
                    <a:close/>
                    <a:moveTo>
                      <a:pt x="1025" y="1480"/>
                    </a:moveTo>
                    <a:cubicBezTo>
                      <a:pt x="1025" y="1479"/>
                      <a:pt x="1026" y="1480"/>
                      <a:pt x="1025" y="1480"/>
                    </a:cubicBezTo>
                    <a:close/>
                    <a:moveTo>
                      <a:pt x="1022" y="1481"/>
                    </a:moveTo>
                    <a:cubicBezTo>
                      <a:pt x="1023" y="1481"/>
                      <a:pt x="1022" y="1480"/>
                      <a:pt x="1022" y="1481"/>
                    </a:cubicBezTo>
                    <a:close/>
                    <a:moveTo>
                      <a:pt x="516" y="1482"/>
                    </a:moveTo>
                    <a:cubicBezTo>
                      <a:pt x="516" y="1481"/>
                      <a:pt x="517" y="1482"/>
                      <a:pt x="516" y="1482"/>
                    </a:cubicBezTo>
                    <a:close/>
                    <a:moveTo>
                      <a:pt x="1018" y="1482"/>
                    </a:moveTo>
                    <a:cubicBezTo>
                      <a:pt x="1001" y="1486"/>
                      <a:pt x="981" y="1488"/>
                      <a:pt x="966" y="1495"/>
                    </a:cubicBezTo>
                    <a:moveTo>
                      <a:pt x="966" y="1495"/>
                    </a:moveTo>
                    <a:cubicBezTo>
                      <a:pt x="962" y="1494"/>
                      <a:pt x="965" y="1498"/>
                      <a:pt x="966" y="1495"/>
                    </a:cubicBezTo>
                    <a:moveTo>
                      <a:pt x="966" y="1495"/>
                    </a:moveTo>
                    <a:cubicBezTo>
                      <a:pt x="985" y="1493"/>
                      <a:pt x="1002" y="1488"/>
                      <a:pt x="1018" y="1482"/>
                    </a:cubicBezTo>
                    <a:moveTo>
                      <a:pt x="1018" y="1482"/>
                    </a:moveTo>
                    <a:cubicBezTo>
                      <a:pt x="1022" y="1483"/>
                      <a:pt x="1019" y="1479"/>
                      <a:pt x="1018" y="1482"/>
                    </a:cubicBezTo>
                    <a:moveTo>
                      <a:pt x="940" y="1495"/>
                    </a:moveTo>
                    <a:cubicBezTo>
                      <a:pt x="955" y="1492"/>
                      <a:pt x="972" y="1491"/>
                      <a:pt x="980" y="1482"/>
                    </a:cubicBezTo>
                    <a:cubicBezTo>
                      <a:pt x="962" y="1482"/>
                      <a:pt x="950" y="1488"/>
                      <a:pt x="940" y="1495"/>
                    </a:cubicBezTo>
                    <a:close/>
                    <a:moveTo>
                      <a:pt x="681" y="1507"/>
                    </a:moveTo>
                    <a:cubicBezTo>
                      <a:pt x="694" y="1507"/>
                      <a:pt x="707" y="1507"/>
                      <a:pt x="719" y="1509"/>
                    </a:cubicBezTo>
                    <a:cubicBezTo>
                      <a:pt x="726" y="1503"/>
                      <a:pt x="734" y="1498"/>
                      <a:pt x="740" y="1491"/>
                    </a:cubicBezTo>
                    <a:cubicBezTo>
                      <a:pt x="737" y="1491"/>
                      <a:pt x="741" y="1484"/>
                      <a:pt x="738" y="1484"/>
                    </a:cubicBezTo>
                    <a:cubicBezTo>
                      <a:pt x="722" y="1494"/>
                      <a:pt x="700" y="1499"/>
                      <a:pt x="681" y="1507"/>
                    </a:cubicBezTo>
                    <a:close/>
                    <a:moveTo>
                      <a:pt x="876" y="1487"/>
                    </a:moveTo>
                    <a:cubicBezTo>
                      <a:pt x="874" y="1491"/>
                      <a:pt x="871" y="1493"/>
                      <a:pt x="870" y="1498"/>
                    </a:cubicBezTo>
                    <a:cubicBezTo>
                      <a:pt x="900" y="1502"/>
                      <a:pt x="934" y="1501"/>
                      <a:pt x="950" y="1486"/>
                    </a:cubicBezTo>
                    <a:cubicBezTo>
                      <a:pt x="927" y="1487"/>
                      <a:pt x="902" y="1488"/>
                      <a:pt x="876" y="1487"/>
                    </a:cubicBezTo>
                    <a:close/>
                    <a:moveTo>
                      <a:pt x="542" y="1492"/>
                    </a:moveTo>
                    <a:cubicBezTo>
                      <a:pt x="542" y="1492"/>
                      <a:pt x="543" y="1493"/>
                      <a:pt x="542" y="1492"/>
                    </a:cubicBezTo>
                    <a:close/>
                    <a:moveTo>
                      <a:pt x="570" y="1495"/>
                    </a:moveTo>
                    <a:cubicBezTo>
                      <a:pt x="565" y="1495"/>
                      <a:pt x="538" y="1491"/>
                      <a:pt x="548" y="1494"/>
                    </a:cubicBezTo>
                    <a:cubicBezTo>
                      <a:pt x="571" y="1502"/>
                      <a:pt x="600" y="1512"/>
                      <a:pt x="625" y="1510"/>
                    </a:cubicBezTo>
                    <a:cubicBezTo>
                      <a:pt x="606" y="1504"/>
                      <a:pt x="592" y="1498"/>
                      <a:pt x="570" y="1495"/>
                    </a:cubicBezTo>
                    <a:close/>
                    <a:moveTo>
                      <a:pt x="958" y="1495"/>
                    </a:moveTo>
                    <a:cubicBezTo>
                      <a:pt x="949" y="1496"/>
                      <a:pt x="942" y="1497"/>
                      <a:pt x="935" y="1499"/>
                    </a:cubicBezTo>
                    <a:cubicBezTo>
                      <a:pt x="943" y="1498"/>
                      <a:pt x="953" y="1499"/>
                      <a:pt x="958" y="1495"/>
                    </a:cubicBezTo>
                    <a:moveTo>
                      <a:pt x="958" y="1495"/>
                    </a:moveTo>
                    <a:cubicBezTo>
                      <a:pt x="962" y="1496"/>
                      <a:pt x="958" y="1492"/>
                      <a:pt x="958" y="1495"/>
                    </a:cubicBezTo>
                    <a:moveTo>
                      <a:pt x="724" y="1509"/>
                    </a:moveTo>
                    <a:cubicBezTo>
                      <a:pt x="730" y="1509"/>
                      <a:pt x="736" y="1509"/>
                      <a:pt x="742" y="1509"/>
                    </a:cubicBezTo>
                    <a:cubicBezTo>
                      <a:pt x="740" y="1505"/>
                      <a:pt x="741" y="1498"/>
                      <a:pt x="739" y="1495"/>
                    </a:cubicBezTo>
                    <a:cubicBezTo>
                      <a:pt x="735" y="1501"/>
                      <a:pt x="728" y="1504"/>
                      <a:pt x="724" y="1509"/>
                    </a:cubicBezTo>
                    <a:close/>
                    <a:moveTo>
                      <a:pt x="613" y="1499"/>
                    </a:moveTo>
                    <a:cubicBezTo>
                      <a:pt x="615" y="1500"/>
                      <a:pt x="623" y="1501"/>
                      <a:pt x="624" y="1500"/>
                    </a:cubicBezTo>
                    <a:cubicBezTo>
                      <a:pt x="622" y="1496"/>
                      <a:pt x="599" y="1499"/>
                      <a:pt x="613" y="1499"/>
                    </a:cubicBezTo>
                    <a:close/>
                    <a:moveTo>
                      <a:pt x="929" y="1500"/>
                    </a:moveTo>
                    <a:cubicBezTo>
                      <a:pt x="929" y="1500"/>
                      <a:pt x="930" y="1501"/>
                      <a:pt x="929" y="1500"/>
                    </a:cubicBezTo>
                    <a:close/>
                    <a:moveTo>
                      <a:pt x="865" y="1505"/>
                    </a:moveTo>
                    <a:cubicBezTo>
                      <a:pt x="871" y="1503"/>
                      <a:pt x="880" y="1504"/>
                      <a:pt x="886" y="1502"/>
                    </a:cubicBezTo>
                    <a:cubicBezTo>
                      <a:pt x="879" y="1502"/>
                      <a:pt x="867" y="1497"/>
                      <a:pt x="865" y="1505"/>
                    </a:cubicBezTo>
                    <a:close/>
                    <a:moveTo>
                      <a:pt x="608" y="1501"/>
                    </a:moveTo>
                    <a:cubicBezTo>
                      <a:pt x="608" y="1501"/>
                      <a:pt x="607" y="1501"/>
                      <a:pt x="606" y="1502"/>
                    </a:cubicBezTo>
                    <a:cubicBezTo>
                      <a:pt x="607" y="1502"/>
                      <a:pt x="608" y="1502"/>
                      <a:pt x="608" y="1501"/>
                    </a:cubicBezTo>
                    <a:close/>
                    <a:moveTo>
                      <a:pt x="885" y="1514"/>
                    </a:moveTo>
                    <a:cubicBezTo>
                      <a:pt x="909" y="1514"/>
                      <a:pt x="929" y="1509"/>
                      <a:pt x="946" y="1501"/>
                    </a:cubicBezTo>
                    <a:cubicBezTo>
                      <a:pt x="921" y="1500"/>
                      <a:pt x="904" y="1509"/>
                      <a:pt x="885" y="1514"/>
                    </a:cubicBezTo>
                    <a:close/>
                    <a:moveTo>
                      <a:pt x="633" y="1509"/>
                    </a:moveTo>
                    <a:cubicBezTo>
                      <a:pt x="629" y="1504"/>
                      <a:pt x="618" y="1501"/>
                      <a:pt x="609" y="1503"/>
                    </a:cubicBezTo>
                    <a:cubicBezTo>
                      <a:pt x="618" y="1504"/>
                      <a:pt x="626" y="1509"/>
                      <a:pt x="633" y="1509"/>
                    </a:cubicBezTo>
                    <a:close/>
                    <a:moveTo>
                      <a:pt x="858" y="1512"/>
                    </a:moveTo>
                    <a:cubicBezTo>
                      <a:pt x="879" y="1516"/>
                      <a:pt x="896" y="1508"/>
                      <a:pt x="912" y="1503"/>
                    </a:cubicBezTo>
                    <a:cubicBezTo>
                      <a:pt x="893" y="1506"/>
                      <a:pt x="869" y="1502"/>
                      <a:pt x="858" y="1512"/>
                    </a:cubicBezTo>
                    <a:close/>
                    <a:moveTo>
                      <a:pt x="659" y="1507"/>
                    </a:moveTo>
                    <a:cubicBezTo>
                      <a:pt x="650" y="1508"/>
                      <a:pt x="641" y="1503"/>
                      <a:pt x="633" y="1506"/>
                    </a:cubicBezTo>
                    <a:cubicBezTo>
                      <a:pt x="638" y="1512"/>
                      <a:pt x="652" y="1509"/>
                      <a:pt x="659" y="1507"/>
                    </a:cubicBezTo>
                    <a:close/>
                    <a:moveTo>
                      <a:pt x="645" y="1512"/>
                    </a:moveTo>
                    <a:cubicBezTo>
                      <a:pt x="667" y="1518"/>
                      <a:pt x="698" y="1526"/>
                      <a:pt x="714" y="1511"/>
                    </a:cubicBezTo>
                    <a:cubicBezTo>
                      <a:pt x="688" y="1510"/>
                      <a:pt x="666" y="1506"/>
                      <a:pt x="645" y="1512"/>
                    </a:cubicBezTo>
                    <a:close/>
                    <a:moveTo>
                      <a:pt x="845" y="1510"/>
                    </a:moveTo>
                    <a:cubicBezTo>
                      <a:pt x="849" y="1510"/>
                      <a:pt x="855" y="1512"/>
                      <a:pt x="856" y="1508"/>
                    </a:cubicBezTo>
                    <a:cubicBezTo>
                      <a:pt x="852" y="1509"/>
                      <a:pt x="847" y="1508"/>
                      <a:pt x="845" y="1510"/>
                    </a:cubicBezTo>
                    <a:close/>
                    <a:moveTo>
                      <a:pt x="798" y="1512"/>
                    </a:moveTo>
                    <a:cubicBezTo>
                      <a:pt x="808" y="1524"/>
                      <a:pt x="839" y="1525"/>
                      <a:pt x="850" y="1513"/>
                    </a:cubicBezTo>
                    <a:cubicBezTo>
                      <a:pt x="837" y="1508"/>
                      <a:pt x="813" y="1509"/>
                      <a:pt x="798" y="1512"/>
                    </a:cubicBezTo>
                    <a:close/>
                    <a:moveTo>
                      <a:pt x="699" y="1522"/>
                    </a:moveTo>
                    <a:cubicBezTo>
                      <a:pt x="714" y="1522"/>
                      <a:pt x="731" y="1526"/>
                      <a:pt x="746" y="1524"/>
                    </a:cubicBezTo>
                    <a:cubicBezTo>
                      <a:pt x="743" y="1521"/>
                      <a:pt x="744" y="1515"/>
                      <a:pt x="742" y="1511"/>
                    </a:cubicBezTo>
                    <a:cubicBezTo>
                      <a:pt x="721" y="1509"/>
                      <a:pt x="710" y="1514"/>
                      <a:pt x="699" y="1522"/>
                    </a:cubicBezTo>
                    <a:close/>
                    <a:moveTo>
                      <a:pt x="750" y="1525"/>
                    </a:moveTo>
                    <a:cubicBezTo>
                      <a:pt x="753" y="1522"/>
                      <a:pt x="754" y="1517"/>
                      <a:pt x="754" y="1511"/>
                    </a:cubicBezTo>
                    <a:cubicBezTo>
                      <a:pt x="751" y="1511"/>
                      <a:pt x="748" y="1511"/>
                      <a:pt x="745" y="1511"/>
                    </a:cubicBezTo>
                    <a:cubicBezTo>
                      <a:pt x="747" y="1516"/>
                      <a:pt x="745" y="1524"/>
                      <a:pt x="750" y="1525"/>
                    </a:cubicBezTo>
                    <a:close/>
                    <a:moveTo>
                      <a:pt x="790" y="1511"/>
                    </a:moveTo>
                    <a:cubicBezTo>
                      <a:pt x="779" y="1511"/>
                      <a:pt x="768" y="1511"/>
                      <a:pt x="757" y="1511"/>
                    </a:cubicBezTo>
                    <a:cubicBezTo>
                      <a:pt x="757" y="1517"/>
                      <a:pt x="755" y="1520"/>
                      <a:pt x="754" y="1525"/>
                    </a:cubicBezTo>
                    <a:cubicBezTo>
                      <a:pt x="773" y="1525"/>
                      <a:pt x="792" y="1526"/>
                      <a:pt x="807" y="1522"/>
                    </a:cubicBezTo>
                    <a:cubicBezTo>
                      <a:pt x="800" y="1520"/>
                      <a:pt x="797" y="1514"/>
                      <a:pt x="790" y="1511"/>
                    </a:cubicBezTo>
                    <a:close/>
                    <a:moveTo>
                      <a:pt x="852" y="1517"/>
                    </a:moveTo>
                    <a:cubicBezTo>
                      <a:pt x="851" y="1518"/>
                      <a:pt x="852" y="1518"/>
                      <a:pt x="852" y="1517"/>
                    </a:cubicBezTo>
                    <a:moveTo>
                      <a:pt x="852" y="1517"/>
                    </a:moveTo>
                    <a:cubicBezTo>
                      <a:pt x="857" y="1517"/>
                      <a:pt x="861" y="1517"/>
                      <a:pt x="864" y="1515"/>
                    </a:cubicBezTo>
                    <a:cubicBezTo>
                      <a:pt x="859" y="1515"/>
                      <a:pt x="854" y="1513"/>
                      <a:pt x="852" y="1517"/>
                    </a:cubicBezTo>
                    <a:moveTo>
                      <a:pt x="655" y="1518"/>
                    </a:moveTo>
                    <a:cubicBezTo>
                      <a:pt x="655" y="1518"/>
                      <a:pt x="656" y="1519"/>
                      <a:pt x="655" y="1518"/>
                    </a:cubicBezTo>
                    <a:close/>
                    <a:moveTo>
                      <a:pt x="674" y="1522"/>
                    </a:moveTo>
                    <a:cubicBezTo>
                      <a:pt x="679" y="1522"/>
                      <a:pt x="678" y="1522"/>
                      <a:pt x="674" y="1521"/>
                    </a:cubicBezTo>
                    <a:cubicBezTo>
                      <a:pt x="672" y="1521"/>
                      <a:pt x="662" y="1518"/>
                      <a:pt x="658" y="1519"/>
                    </a:cubicBezTo>
                    <a:cubicBezTo>
                      <a:pt x="665" y="1520"/>
                      <a:pt x="671" y="1522"/>
                      <a:pt x="674" y="1522"/>
                    </a:cubicBezTo>
                    <a:close/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 dirty="0">
                  <a:latin typeface="+mj-lt"/>
                </a:endParaRPr>
              </a:p>
            </p:txBody>
          </p:sp>
          <p:sp>
            <p:nvSpPr>
              <p:cNvPr id="71" name="Freeform 39">
                <a:extLst>
                  <a:ext uri="{FF2B5EF4-FFF2-40B4-BE49-F238E27FC236}">
                    <a16:creationId xmlns:a16="http://schemas.microsoft.com/office/drawing/2014/main" id="{6D440335-BAF8-4585-BAE0-1C81117B0B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34475" y="1798638"/>
                <a:ext cx="1660544" cy="1665709"/>
              </a:xfrm>
              <a:custGeom>
                <a:avLst/>
                <a:gdLst/>
                <a:ahLst/>
                <a:cxnLst>
                  <a:cxn ang="0">
                    <a:pos x="43" y="519"/>
                  </a:cxn>
                  <a:cxn ang="0">
                    <a:pos x="688" y="16"/>
                  </a:cxn>
                  <a:cxn ang="0">
                    <a:pos x="710" y="20"/>
                  </a:cxn>
                  <a:cxn ang="0">
                    <a:pos x="799" y="22"/>
                  </a:cxn>
                  <a:cxn ang="0">
                    <a:pos x="581" y="42"/>
                  </a:cxn>
                  <a:cxn ang="0">
                    <a:pos x="530" y="61"/>
                  </a:cxn>
                  <a:cxn ang="0">
                    <a:pos x="991" y="49"/>
                  </a:cxn>
                  <a:cxn ang="0">
                    <a:pos x="372" y="115"/>
                  </a:cxn>
                  <a:cxn ang="0">
                    <a:pos x="428" y="107"/>
                  </a:cxn>
                  <a:cxn ang="0">
                    <a:pos x="818" y="92"/>
                  </a:cxn>
                  <a:cxn ang="0">
                    <a:pos x="1055" y="192"/>
                  </a:cxn>
                  <a:cxn ang="0">
                    <a:pos x="825" y="120"/>
                  </a:cxn>
                  <a:cxn ang="0">
                    <a:pos x="386" y="131"/>
                  </a:cxn>
                  <a:cxn ang="0">
                    <a:pos x="360" y="122"/>
                  </a:cxn>
                  <a:cxn ang="0">
                    <a:pos x="307" y="157"/>
                  </a:cxn>
                  <a:cxn ang="0">
                    <a:pos x="1281" y="215"/>
                  </a:cxn>
                  <a:cxn ang="0">
                    <a:pos x="262" y="197"/>
                  </a:cxn>
                  <a:cxn ang="0">
                    <a:pos x="342" y="207"/>
                  </a:cxn>
                  <a:cxn ang="0">
                    <a:pos x="515" y="222"/>
                  </a:cxn>
                  <a:cxn ang="0">
                    <a:pos x="1092" y="232"/>
                  </a:cxn>
                  <a:cxn ang="0">
                    <a:pos x="1054" y="395"/>
                  </a:cxn>
                  <a:cxn ang="0">
                    <a:pos x="286" y="259"/>
                  </a:cxn>
                  <a:cxn ang="0">
                    <a:pos x="422" y="400"/>
                  </a:cxn>
                  <a:cxn ang="0">
                    <a:pos x="139" y="360"/>
                  </a:cxn>
                  <a:cxn ang="0">
                    <a:pos x="735" y="383"/>
                  </a:cxn>
                  <a:cxn ang="0">
                    <a:pos x="401" y="453"/>
                  </a:cxn>
                  <a:cxn ang="0">
                    <a:pos x="1275" y="515"/>
                  </a:cxn>
                  <a:cxn ang="0">
                    <a:pos x="965" y="472"/>
                  </a:cxn>
                  <a:cxn ang="0">
                    <a:pos x="1457" y="507"/>
                  </a:cxn>
                  <a:cxn ang="0">
                    <a:pos x="1123" y="716"/>
                  </a:cxn>
                  <a:cxn ang="0">
                    <a:pos x="1284" y="635"/>
                  </a:cxn>
                  <a:cxn ang="0">
                    <a:pos x="109" y="683"/>
                  </a:cxn>
                  <a:cxn ang="0">
                    <a:pos x="320" y="836"/>
                  </a:cxn>
                  <a:cxn ang="0">
                    <a:pos x="942" y="737"/>
                  </a:cxn>
                  <a:cxn ang="0">
                    <a:pos x="1520" y="791"/>
                  </a:cxn>
                  <a:cxn ang="0">
                    <a:pos x="1506" y="837"/>
                  </a:cxn>
                  <a:cxn ang="0">
                    <a:pos x="1392" y="910"/>
                  </a:cxn>
                  <a:cxn ang="0">
                    <a:pos x="1322" y="936"/>
                  </a:cxn>
                  <a:cxn ang="0">
                    <a:pos x="497" y="992"/>
                  </a:cxn>
                  <a:cxn ang="0">
                    <a:pos x="637" y="1004"/>
                  </a:cxn>
                  <a:cxn ang="0">
                    <a:pos x="75" y="1026"/>
                  </a:cxn>
                  <a:cxn ang="0">
                    <a:pos x="155" y="1216"/>
                  </a:cxn>
                  <a:cxn ang="0">
                    <a:pos x="1376" y="1175"/>
                  </a:cxn>
                  <a:cxn ang="0">
                    <a:pos x="187" y="1148"/>
                  </a:cxn>
                  <a:cxn ang="0">
                    <a:pos x="163" y="1223"/>
                  </a:cxn>
                  <a:cxn ang="0">
                    <a:pos x="363" y="1201"/>
                  </a:cxn>
                  <a:cxn ang="0">
                    <a:pos x="535" y="1295"/>
                  </a:cxn>
                  <a:cxn ang="0">
                    <a:pos x="170" y="1239"/>
                  </a:cxn>
                  <a:cxn ang="0">
                    <a:pos x="195" y="1266"/>
                  </a:cxn>
                  <a:cxn ang="0">
                    <a:pos x="224" y="1300"/>
                  </a:cxn>
                  <a:cxn ang="0">
                    <a:pos x="309" y="1356"/>
                  </a:cxn>
                  <a:cxn ang="0">
                    <a:pos x="1151" y="1402"/>
                  </a:cxn>
                  <a:cxn ang="0">
                    <a:pos x="618" y="1375"/>
                  </a:cxn>
                  <a:cxn ang="0">
                    <a:pos x="956" y="1397"/>
                  </a:cxn>
                  <a:cxn ang="0">
                    <a:pos x="1038" y="1391"/>
                  </a:cxn>
                  <a:cxn ang="0">
                    <a:pos x="697" y="1413"/>
                  </a:cxn>
                  <a:cxn ang="0">
                    <a:pos x="987" y="1439"/>
                  </a:cxn>
                  <a:cxn ang="0">
                    <a:pos x="513" y="1480"/>
                  </a:cxn>
                  <a:cxn ang="0">
                    <a:pos x="749" y="1462"/>
                  </a:cxn>
                  <a:cxn ang="0">
                    <a:pos x="975" y="1464"/>
                  </a:cxn>
                  <a:cxn ang="0">
                    <a:pos x="782" y="1475"/>
                  </a:cxn>
                  <a:cxn ang="0">
                    <a:pos x="738" y="1484"/>
                  </a:cxn>
                  <a:cxn ang="0">
                    <a:pos x="845" y="1510"/>
                  </a:cxn>
                </a:cxnLst>
                <a:rect l="0" t="0" r="r" b="b"/>
                <a:pathLst>
                  <a:path w="1525" h="1529">
                    <a:moveTo>
                      <a:pt x="760" y="11"/>
                    </a:moveTo>
                    <a:cubicBezTo>
                      <a:pt x="764" y="10"/>
                      <a:pt x="762" y="3"/>
                      <a:pt x="767" y="3"/>
                    </a:cubicBezTo>
                    <a:cubicBezTo>
                      <a:pt x="772" y="2"/>
                      <a:pt x="769" y="11"/>
                      <a:pt x="774" y="8"/>
                    </a:cubicBezTo>
                    <a:cubicBezTo>
                      <a:pt x="798" y="0"/>
                      <a:pt x="832" y="6"/>
                      <a:pt x="860" y="10"/>
                    </a:cubicBezTo>
                    <a:cubicBezTo>
                      <a:pt x="920" y="18"/>
                      <a:pt x="979" y="31"/>
                      <a:pt x="1027" y="50"/>
                    </a:cubicBezTo>
                    <a:cubicBezTo>
                      <a:pt x="1077" y="70"/>
                      <a:pt x="1124" y="92"/>
                      <a:pt x="1166" y="119"/>
                    </a:cubicBezTo>
                    <a:cubicBezTo>
                      <a:pt x="1181" y="129"/>
                      <a:pt x="1197" y="136"/>
                      <a:pt x="1209" y="145"/>
                    </a:cubicBezTo>
                    <a:cubicBezTo>
                      <a:pt x="1217" y="151"/>
                      <a:pt x="1224" y="160"/>
                      <a:pt x="1232" y="167"/>
                    </a:cubicBezTo>
                    <a:cubicBezTo>
                      <a:pt x="1281" y="205"/>
                      <a:pt x="1322" y="252"/>
                      <a:pt x="1362" y="301"/>
                    </a:cubicBezTo>
                    <a:cubicBezTo>
                      <a:pt x="1369" y="310"/>
                      <a:pt x="1378" y="316"/>
                      <a:pt x="1383" y="323"/>
                    </a:cubicBezTo>
                    <a:cubicBezTo>
                      <a:pt x="1388" y="331"/>
                      <a:pt x="1392" y="340"/>
                      <a:pt x="1398" y="348"/>
                    </a:cubicBezTo>
                    <a:cubicBezTo>
                      <a:pt x="1468" y="449"/>
                      <a:pt x="1525" y="587"/>
                      <a:pt x="1522" y="761"/>
                    </a:cubicBezTo>
                    <a:cubicBezTo>
                      <a:pt x="1522" y="773"/>
                      <a:pt x="1525" y="784"/>
                      <a:pt x="1524" y="795"/>
                    </a:cubicBezTo>
                    <a:cubicBezTo>
                      <a:pt x="1524" y="805"/>
                      <a:pt x="1520" y="815"/>
                      <a:pt x="1518" y="826"/>
                    </a:cubicBezTo>
                    <a:cubicBezTo>
                      <a:pt x="1515" y="857"/>
                      <a:pt x="1508" y="890"/>
                      <a:pt x="1502" y="919"/>
                    </a:cubicBezTo>
                    <a:cubicBezTo>
                      <a:pt x="1495" y="950"/>
                      <a:pt x="1489" y="979"/>
                      <a:pt x="1481" y="1007"/>
                    </a:cubicBezTo>
                    <a:cubicBezTo>
                      <a:pt x="1478" y="1017"/>
                      <a:pt x="1477" y="1028"/>
                      <a:pt x="1474" y="1037"/>
                    </a:cubicBezTo>
                    <a:cubicBezTo>
                      <a:pt x="1472" y="1045"/>
                      <a:pt x="1468" y="1051"/>
                      <a:pt x="1465" y="1058"/>
                    </a:cubicBezTo>
                    <a:cubicBezTo>
                      <a:pt x="1455" y="1079"/>
                      <a:pt x="1446" y="1102"/>
                      <a:pt x="1436" y="1122"/>
                    </a:cubicBezTo>
                    <a:cubicBezTo>
                      <a:pt x="1414" y="1164"/>
                      <a:pt x="1392" y="1199"/>
                      <a:pt x="1364" y="1233"/>
                    </a:cubicBezTo>
                    <a:cubicBezTo>
                      <a:pt x="1355" y="1245"/>
                      <a:pt x="1347" y="1257"/>
                      <a:pt x="1337" y="1268"/>
                    </a:cubicBezTo>
                    <a:cubicBezTo>
                      <a:pt x="1318" y="1289"/>
                      <a:pt x="1295" y="1305"/>
                      <a:pt x="1274" y="1326"/>
                    </a:cubicBezTo>
                    <a:cubicBezTo>
                      <a:pt x="1232" y="1368"/>
                      <a:pt x="1185" y="1404"/>
                      <a:pt x="1136" y="1434"/>
                    </a:cubicBezTo>
                    <a:cubicBezTo>
                      <a:pt x="1110" y="1450"/>
                      <a:pt x="1082" y="1460"/>
                      <a:pt x="1052" y="1471"/>
                    </a:cubicBezTo>
                    <a:cubicBezTo>
                      <a:pt x="1037" y="1477"/>
                      <a:pt x="1023" y="1484"/>
                      <a:pt x="1008" y="1488"/>
                    </a:cubicBezTo>
                    <a:cubicBezTo>
                      <a:pt x="992" y="1493"/>
                      <a:pt x="976" y="1494"/>
                      <a:pt x="958" y="1499"/>
                    </a:cubicBezTo>
                    <a:cubicBezTo>
                      <a:pt x="948" y="1502"/>
                      <a:pt x="940" y="1508"/>
                      <a:pt x="930" y="1511"/>
                    </a:cubicBezTo>
                    <a:cubicBezTo>
                      <a:pt x="904" y="1518"/>
                      <a:pt x="872" y="1514"/>
                      <a:pt x="846" y="1522"/>
                    </a:cubicBezTo>
                    <a:cubicBezTo>
                      <a:pt x="840" y="1524"/>
                      <a:pt x="835" y="1527"/>
                      <a:pt x="828" y="1528"/>
                    </a:cubicBezTo>
                    <a:cubicBezTo>
                      <a:pt x="823" y="1528"/>
                      <a:pt x="818" y="1526"/>
                      <a:pt x="813" y="1526"/>
                    </a:cubicBezTo>
                    <a:cubicBezTo>
                      <a:pt x="796" y="1525"/>
                      <a:pt x="777" y="1527"/>
                      <a:pt x="758" y="1528"/>
                    </a:cubicBezTo>
                    <a:cubicBezTo>
                      <a:pt x="735" y="1529"/>
                      <a:pt x="713" y="1524"/>
                      <a:pt x="691" y="1523"/>
                    </a:cubicBezTo>
                    <a:cubicBezTo>
                      <a:pt x="683" y="1523"/>
                      <a:pt x="676" y="1525"/>
                      <a:pt x="669" y="1524"/>
                    </a:cubicBezTo>
                    <a:cubicBezTo>
                      <a:pt x="656" y="1523"/>
                      <a:pt x="646" y="1514"/>
                      <a:pt x="635" y="1512"/>
                    </a:cubicBezTo>
                    <a:cubicBezTo>
                      <a:pt x="620" y="1510"/>
                      <a:pt x="607" y="1512"/>
                      <a:pt x="594" y="1511"/>
                    </a:cubicBezTo>
                    <a:cubicBezTo>
                      <a:pt x="571" y="1507"/>
                      <a:pt x="551" y="1496"/>
                      <a:pt x="531" y="1489"/>
                    </a:cubicBezTo>
                    <a:cubicBezTo>
                      <a:pt x="520" y="1486"/>
                      <a:pt x="508" y="1484"/>
                      <a:pt x="497" y="1481"/>
                    </a:cubicBezTo>
                    <a:cubicBezTo>
                      <a:pt x="454" y="1468"/>
                      <a:pt x="414" y="1451"/>
                      <a:pt x="380" y="1429"/>
                    </a:cubicBezTo>
                    <a:cubicBezTo>
                      <a:pt x="363" y="1418"/>
                      <a:pt x="347" y="1404"/>
                      <a:pt x="330" y="1393"/>
                    </a:cubicBezTo>
                    <a:cubicBezTo>
                      <a:pt x="287" y="1366"/>
                      <a:pt x="251" y="1334"/>
                      <a:pt x="216" y="1296"/>
                    </a:cubicBezTo>
                    <a:cubicBezTo>
                      <a:pt x="202" y="1282"/>
                      <a:pt x="187" y="1270"/>
                      <a:pt x="174" y="1252"/>
                    </a:cubicBezTo>
                    <a:cubicBezTo>
                      <a:pt x="169" y="1244"/>
                      <a:pt x="165" y="1234"/>
                      <a:pt x="159" y="1225"/>
                    </a:cubicBezTo>
                    <a:cubicBezTo>
                      <a:pt x="147" y="1209"/>
                      <a:pt x="133" y="1193"/>
                      <a:pt x="123" y="1177"/>
                    </a:cubicBezTo>
                    <a:cubicBezTo>
                      <a:pt x="60" y="1083"/>
                      <a:pt x="16" y="977"/>
                      <a:pt x="6" y="830"/>
                    </a:cubicBezTo>
                    <a:cubicBezTo>
                      <a:pt x="5" y="816"/>
                      <a:pt x="0" y="804"/>
                      <a:pt x="0" y="791"/>
                    </a:cubicBezTo>
                    <a:cubicBezTo>
                      <a:pt x="0" y="782"/>
                      <a:pt x="4" y="772"/>
                      <a:pt x="5" y="762"/>
                    </a:cubicBezTo>
                    <a:cubicBezTo>
                      <a:pt x="11" y="698"/>
                      <a:pt x="14" y="634"/>
                      <a:pt x="27" y="577"/>
                    </a:cubicBezTo>
                    <a:cubicBezTo>
                      <a:pt x="29" y="567"/>
                      <a:pt x="29" y="558"/>
                      <a:pt x="31" y="549"/>
                    </a:cubicBezTo>
                    <a:cubicBezTo>
                      <a:pt x="34" y="539"/>
                      <a:pt x="40" y="529"/>
                      <a:pt x="43" y="519"/>
                    </a:cubicBezTo>
                    <a:cubicBezTo>
                      <a:pt x="65" y="448"/>
                      <a:pt x="100" y="386"/>
                      <a:pt x="137" y="330"/>
                    </a:cubicBezTo>
                    <a:cubicBezTo>
                      <a:pt x="170" y="280"/>
                      <a:pt x="209" y="240"/>
                      <a:pt x="252" y="202"/>
                    </a:cubicBezTo>
                    <a:cubicBezTo>
                      <a:pt x="266" y="190"/>
                      <a:pt x="282" y="179"/>
                      <a:pt x="296" y="166"/>
                    </a:cubicBezTo>
                    <a:cubicBezTo>
                      <a:pt x="303" y="159"/>
                      <a:pt x="307" y="151"/>
                      <a:pt x="315" y="145"/>
                    </a:cubicBezTo>
                    <a:cubicBezTo>
                      <a:pt x="323" y="139"/>
                      <a:pt x="332" y="137"/>
                      <a:pt x="341" y="132"/>
                    </a:cubicBezTo>
                    <a:cubicBezTo>
                      <a:pt x="354" y="124"/>
                      <a:pt x="367" y="114"/>
                      <a:pt x="380" y="106"/>
                    </a:cubicBezTo>
                    <a:cubicBezTo>
                      <a:pt x="419" y="82"/>
                      <a:pt x="466" y="61"/>
                      <a:pt x="514" y="46"/>
                    </a:cubicBezTo>
                    <a:cubicBezTo>
                      <a:pt x="531" y="40"/>
                      <a:pt x="546" y="33"/>
                      <a:pt x="563" y="29"/>
                    </a:cubicBezTo>
                    <a:cubicBezTo>
                      <a:pt x="605" y="19"/>
                      <a:pt x="652" y="8"/>
                      <a:pt x="702" y="5"/>
                    </a:cubicBezTo>
                    <a:cubicBezTo>
                      <a:pt x="711" y="5"/>
                      <a:pt x="721" y="5"/>
                      <a:pt x="731" y="3"/>
                    </a:cubicBezTo>
                    <a:cubicBezTo>
                      <a:pt x="741" y="1"/>
                      <a:pt x="752" y="5"/>
                      <a:pt x="760" y="11"/>
                    </a:cubicBezTo>
                    <a:close/>
                    <a:moveTo>
                      <a:pt x="765" y="11"/>
                    </a:moveTo>
                    <a:cubicBezTo>
                      <a:pt x="767" y="11"/>
                      <a:pt x="769" y="11"/>
                      <a:pt x="770" y="9"/>
                    </a:cubicBezTo>
                    <a:cubicBezTo>
                      <a:pt x="768" y="9"/>
                      <a:pt x="769" y="6"/>
                      <a:pt x="767" y="5"/>
                    </a:cubicBezTo>
                    <a:cubicBezTo>
                      <a:pt x="766" y="7"/>
                      <a:pt x="764" y="8"/>
                      <a:pt x="765" y="11"/>
                    </a:cubicBezTo>
                    <a:close/>
                    <a:moveTo>
                      <a:pt x="737" y="6"/>
                    </a:moveTo>
                    <a:cubicBezTo>
                      <a:pt x="736" y="6"/>
                      <a:pt x="735" y="6"/>
                      <a:pt x="735" y="7"/>
                    </a:cubicBezTo>
                    <a:cubicBezTo>
                      <a:pt x="736" y="7"/>
                      <a:pt x="737" y="7"/>
                      <a:pt x="737" y="6"/>
                    </a:cubicBezTo>
                    <a:close/>
                    <a:moveTo>
                      <a:pt x="800" y="6"/>
                    </a:moveTo>
                    <a:cubicBezTo>
                      <a:pt x="790" y="5"/>
                      <a:pt x="794" y="9"/>
                      <a:pt x="800" y="6"/>
                    </a:cubicBezTo>
                    <a:close/>
                    <a:moveTo>
                      <a:pt x="744" y="7"/>
                    </a:moveTo>
                    <a:cubicBezTo>
                      <a:pt x="742" y="8"/>
                      <a:pt x="738" y="6"/>
                      <a:pt x="738" y="8"/>
                    </a:cubicBezTo>
                    <a:cubicBezTo>
                      <a:pt x="740" y="8"/>
                      <a:pt x="744" y="9"/>
                      <a:pt x="744" y="7"/>
                    </a:cubicBezTo>
                    <a:close/>
                    <a:moveTo>
                      <a:pt x="792" y="7"/>
                    </a:moveTo>
                    <a:cubicBezTo>
                      <a:pt x="790" y="8"/>
                      <a:pt x="785" y="6"/>
                      <a:pt x="785" y="8"/>
                    </a:cubicBezTo>
                    <a:cubicBezTo>
                      <a:pt x="787" y="8"/>
                      <a:pt x="791" y="9"/>
                      <a:pt x="792" y="7"/>
                    </a:cubicBezTo>
                    <a:close/>
                    <a:moveTo>
                      <a:pt x="727" y="8"/>
                    </a:moveTo>
                    <a:cubicBezTo>
                      <a:pt x="726" y="8"/>
                      <a:pt x="725" y="8"/>
                      <a:pt x="725" y="9"/>
                    </a:cubicBezTo>
                    <a:cubicBezTo>
                      <a:pt x="726" y="9"/>
                      <a:pt x="727" y="9"/>
                      <a:pt x="727" y="8"/>
                    </a:cubicBezTo>
                    <a:close/>
                    <a:moveTo>
                      <a:pt x="747" y="8"/>
                    </a:moveTo>
                    <a:cubicBezTo>
                      <a:pt x="746" y="8"/>
                      <a:pt x="745" y="8"/>
                      <a:pt x="745" y="9"/>
                    </a:cubicBezTo>
                    <a:cubicBezTo>
                      <a:pt x="745" y="9"/>
                      <a:pt x="747" y="9"/>
                      <a:pt x="747" y="8"/>
                    </a:cubicBezTo>
                    <a:close/>
                    <a:moveTo>
                      <a:pt x="784" y="8"/>
                    </a:moveTo>
                    <a:cubicBezTo>
                      <a:pt x="783" y="8"/>
                      <a:pt x="781" y="8"/>
                      <a:pt x="781" y="9"/>
                    </a:cubicBezTo>
                    <a:cubicBezTo>
                      <a:pt x="782" y="9"/>
                      <a:pt x="784" y="9"/>
                      <a:pt x="784" y="8"/>
                    </a:cubicBezTo>
                    <a:close/>
                    <a:moveTo>
                      <a:pt x="748" y="10"/>
                    </a:moveTo>
                    <a:cubicBezTo>
                      <a:pt x="747" y="10"/>
                      <a:pt x="748" y="11"/>
                      <a:pt x="748" y="10"/>
                    </a:cubicBezTo>
                    <a:close/>
                    <a:moveTo>
                      <a:pt x="778" y="10"/>
                    </a:moveTo>
                    <a:cubicBezTo>
                      <a:pt x="778" y="10"/>
                      <a:pt x="779" y="11"/>
                      <a:pt x="778" y="10"/>
                    </a:cubicBezTo>
                    <a:close/>
                    <a:moveTo>
                      <a:pt x="688" y="10"/>
                    </a:moveTo>
                    <a:cubicBezTo>
                      <a:pt x="686" y="11"/>
                      <a:pt x="682" y="9"/>
                      <a:pt x="682" y="11"/>
                    </a:cubicBezTo>
                    <a:cubicBezTo>
                      <a:pt x="684" y="10"/>
                      <a:pt x="688" y="12"/>
                      <a:pt x="688" y="10"/>
                    </a:cubicBezTo>
                    <a:close/>
                    <a:moveTo>
                      <a:pt x="841" y="11"/>
                    </a:moveTo>
                    <a:cubicBezTo>
                      <a:pt x="836" y="10"/>
                      <a:pt x="840" y="14"/>
                      <a:pt x="841" y="11"/>
                    </a:cubicBezTo>
                    <a:close/>
                    <a:moveTo>
                      <a:pt x="857" y="12"/>
                    </a:moveTo>
                    <a:cubicBezTo>
                      <a:pt x="856" y="12"/>
                      <a:pt x="854" y="12"/>
                      <a:pt x="854" y="13"/>
                    </a:cubicBezTo>
                    <a:cubicBezTo>
                      <a:pt x="855" y="13"/>
                      <a:pt x="857" y="13"/>
                      <a:pt x="857" y="12"/>
                    </a:cubicBezTo>
                    <a:close/>
                    <a:moveTo>
                      <a:pt x="688" y="16"/>
                    </a:moveTo>
                    <a:cubicBezTo>
                      <a:pt x="680" y="15"/>
                      <a:pt x="684" y="19"/>
                      <a:pt x="688" y="16"/>
                    </a:cubicBezTo>
                    <a:close/>
                    <a:moveTo>
                      <a:pt x="678" y="17"/>
                    </a:moveTo>
                    <a:cubicBezTo>
                      <a:pt x="676" y="17"/>
                      <a:pt x="671" y="16"/>
                      <a:pt x="671" y="18"/>
                    </a:cubicBezTo>
                    <a:cubicBezTo>
                      <a:pt x="673" y="17"/>
                      <a:pt x="677" y="19"/>
                      <a:pt x="678" y="17"/>
                    </a:cubicBezTo>
                    <a:close/>
                    <a:moveTo>
                      <a:pt x="842" y="17"/>
                    </a:moveTo>
                    <a:cubicBezTo>
                      <a:pt x="836" y="16"/>
                      <a:pt x="840" y="20"/>
                      <a:pt x="842" y="17"/>
                    </a:cubicBezTo>
                    <a:close/>
                    <a:moveTo>
                      <a:pt x="664" y="19"/>
                    </a:moveTo>
                    <a:cubicBezTo>
                      <a:pt x="674" y="17"/>
                      <a:pt x="664" y="18"/>
                      <a:pt x="658" y="19"/>
                    </a:cubicBezTo>
                    <a:cubicBezTo>
                      <a:pt x="655" y="19"/>
                      <a:pt x="652" y="18"/>
                      <a:pt x="651" y="21"/>
                    </a:cubicBezTo>
                    <a:cubicBezTo>
                      <a:pt x="656" y="20"/>
                      <a:pt x="660" y="19"/>
                      <a:pt x="664" y="19"/>
                    </a:cubicBezTo>
                    <a:close/>
                    <a:moveTo>
                      <a:pt x="700" y="19"/>
                    </a:moveTo>
                    <a:cubicBezTo>
                      <a:pt x="699" y="18"/>
                      <a:pt x="700" y="19"/>
                      <a:pt x="700" y="19"/>
                    </a:cubicBezTo>
                    <a:close/>
                    <a:moveTo>
                      <a:pt x="698" y="81"/>
                    </a:moveTo>
                    <a:cubicBezTo>
                      <a:pt x="716" y="81"/>
                      <a:pt x="734" y="81"/>
                      <a:pt x="751" y="81"/>
                    </a:cubicBezTo>
                    <a:cubicBezTo>
                      <a:pt x="753" y="60"/>
                      <a:pt x="757" y="36"/>
                      <a:pt x="759" y="18"/>
                    </a:cubicBezTo>
                    <a:cubicBezTo>
                      <a:pt x="733" y="34"/>
                      <a:pt x="714" y="56"/>
                      <a:pt x="698" y="81"/>
                    </a:cubicBezTo>
                    <a:close/>
                    <a:moveTo>
                      <a:pt x="852" y="19"/>
                    </a:moveTo>
                    <a:cubicBezTo>
                      <a:pt x="852" y="19"/>
                      <a:pt x="852" y="19"/>
                      <a:pt x="852" y="20"/>
                    </a:cubicBezTo>
                    <a:cubicBezTo>
                      <a:pt x="870" y="21"/>
                      <a:pt x="885" y="24"/>
                      <a:pt x="901" y="26"/>
                    </a:cubicBezTo>
                    <a:moveTo>
                      <a:pt x="901" y="26"/>
                    </a:moveTo>
                    <a:cubicBezTo>
                      <a:pt x="902" y="29"/>
                      <a:pt x="906" y="25"/>
                      <a:pt x="901" y="26"/>
                    </a:cubicBezTo>
                    <a:moveTo>
                      <a:pt x="901" y="26"/>
                    </a:moveTo>
                    <a:cubicBezTo>
                      <a:pt x="901" y="26"/>
                      <a:pt x="901" y="26"/>
                      <a:pt x="901" y="25"/>
                    </a:cubicBezTo>
                    <a:cubicBezTo>
                      <a:pt x="887" y="21"/>
                      <a:pt x="870" y="20"/>
                      <a:pt x="852" y="19"/>
                    </a:cubicBezTo>
                    <a:moveTo>
                      <a:pt x="852" y="19"/>
                    </a:moveTo>
                    <a:cubicBezTo>
                      <a:pt x="846" y="16"/>
                      <a:pt x="842" y="20"/>
                      <a:pt x="852" y="19"/>
                    </a:cubicBezTo>
                    <a:moveTo>
                      <a:pt x="693" y="19"/>
                    </a:moveTo>
                    <a:cubicBezTo>
                      <a:pt x="683" y="17"/>
                      <a:pt x="687" y="22"/>
                      <a:pt x="693" y="19"/>
                    </a:cubicBezTo>
                    <a:close/>
                    <a:moveTo>
                      <a:pt x="751" y="20"/>
                    </a:moveTo>
                    <a:cubicBezTo>
                      <a:pt x="751" y="19"/>
                      <a:pt x="752" y="20"/>
                      <a:pt x="751" y="20"/>
                    </a:cubicBezTo>
                    <a:close/>
                    <a:moveTo>
                      <a:pt x="754" y="81"/>
                    </a:moveTo>
                    <a:cubicBezTo>
                      <a:pt x="762" y="81"/>
                      <a:pt x="770" y="81"/>
                      <a:pt x="778" y="81"/>
                    </a:cubicBezTo>
                    <a:cubicBezTo>
                      <a:pt x="774" y="59"/>
                      <a:pt x="781" y="26"/>
                      <a:pt x="762" y="19"/>
                    </a:cubicBezTo>
                    <a:cubicBezTo>
                      <a:pt x="759" y="39"/>
                      <a:pt x="756" y="59"/>
                      <a:pt x="754" y="81"/>
                    </a:cubicBezTo>
                    <a:close/>
                    <a:moveTo>
                      <a:pt x="826" y="19"/>
                    </a:moveTo>
                    <a:cubicBezTo>
                      <a:pt x="820" y="18"/>
                      <a:pt x="824" y="22"/>
                      <a:pt x="826" y="19"/>
                    </a:cubicBezTo>
                    <a:close/>
                    <a:moveTo>
                      <a:pt x="641" y="21"/>
                    </a:moveTo>
                    <a:cubicBezTo>
                      <a:pt x="619" y="23"/>
                      <a:pt x="596" y="25"/>
                      <a:pt x="580" y="33"/>
                    </a:cubicBezTo>
                    <a:moveTo>
                      <a:pt x="580" y="33"/>
                    </a:moveTo>
                    <a:cubicBezTo>
                      <a:pt x="576" y="32"/>
                      <a:pt x="579" y="36"/>
                      <a:pt x="580" y="33"/>
                    </a:cubicBezTo>
                    <a:moveTo>
                      <a:pt x="580" y="33"/>
                    </a:moveTo>
                    <a:cubicBezTo>
                      <a:pt x="600" y="29"/>
                      <a:pt x="622" y="26"/>
                      <a:pt x="641" y="21"/>
                    </a:cubicBezTo>
                    <a:moveTo>
                      <a:pt x="641" y="21"/>
                    </a:moveTo>
                    <a:cubicBezTo>
                      <a:pt x="646" y="22"/>
                      <a:pt x="642" y="18"/>
                      <a:pt x="641" y="21"/>
                    </a:cubicBezTo>
                    <a:moveTo>
                      <a:pt x="632" y="29"/>
                    </a:moveTo>
                    <a:cubicBezTo>
                      <a:pt x="649" y="25"/>
                      <a:pt x="668" y="24"/>
                      <a:pt x="684" y="20"/>
                    </a:cubicBezTo>
                    <a:cubicBezTo>
                      <a:pt x="666" y="22"/>
                      <a:pt x="644" y="21"/>
                      <a:pt x="632" y="29"/>
                    </a:cubicBezTo>
                    <a:close/>
                    <a:moveTo>
                      <a:pt x="710" y="20"/>
                    </a:moveTo>
                    <a:cubicBezTo>
                      <a:pt x="709" y="20"/>
                      <a:pt x="707" y="19"/>
                      <a:pt x="707" y="21"/>
                    </a:cubicBezTo>
                    <a:cubicBezTo>
                      <a:pt x="708" y="20"/>
                      <a:pt x="710" y="21"/>
                      <a:pt x="710" y="20"/>
                    </a:cubicBezTo>
                    <a:close/>
                    <a:moveTo>
                      <a:pt x="726" y="21"/>
                    </a:moveTo>
                    <a:cubicBezTo>
                      <a:pt x="725" y="20"/>
                      <a:pt x="726" y="21"/>
                      <a:pt x="726" y="21"/>
                    </a:cubicBezTo>
                    <a:close/>
                    <a:moveTo>
                      <a:pt x="739" y="21"/>
                    </a:moveTo>
                    <a:cubicBezTo>
                      <a:pt x="739" y="20"/>
                      <a:pt x="740" y="21"/>
                      <a:pt x="739" y="21"/>
                    </a:cubicBezTo>
                    <a:close/>
                    <a:moveTo>
                      <a:pt x="749" y="21"/>
                    </a:moveTo>
                    <a:cubicBezTo>
                      <a:pt x="725" y="27"/>
                      <a:pt x="705" y="37"/>
                      <a:pt x="686" y="48"/>
                    </a:cubicBezTo>
                    <a:cubicBezTo>
                      <a:pt x="681" y="59"/>
                      <a:pt x="675" y="70"/>
                      <a:pt x="672" y="82"/>
                    </a:cubicBezTo>
                    <a:cubicBezTo>
                      <a:pt x="679" y="82"/>
                      <a:pt x="686" y="82"/>
                      <a:pt x="693" y="82"/>
                    </a:cubicBezTo>
                    <a:cubicBezTo>
                      <a:pt x="709" y="59"/>
                      <a:pt x="727" y="38"/>
                      <a:pt x="749" y="21"/>
                    </a:cubicBezTo>
                    <a:moveTo>
                      <a:pt x="749" y="21"/>
                    </a:moveTo>
                    <a:cubicBezTo>
                      <a:pt x="753" y="22"/>
                      <a:pt x="749" y="18"/>
                      <a:pt x="749" y="21"/>
                    </a:cubicBezTo>
                    <a:moveTo>
                      <a:pt x="793" y="21"/>
                    </a:moveTo>
                    <a:cubicBezTo>
                      <a:pt x="792" y="20"/>
                      <a:pt x="793" y="21"/>
                      <a:pt x="793" y="21"/>
                    </a:cubicBezTo>
                    <a:close/>
                    <a:moveTo>
                      <a:pt x="810" y="20"/>
                    </a:moveTo>
                    <a:cubicBezTo>
                      <a:pt x="809" y="20"/>
                      <a:pt x="808" y="20"/>
                      <a:pt x="808" y="21"/>
                    </a:cubicBezTo>
                    <a:cubicBezTo>
                      <a:pt x="809" y="20"/>
                      <a:pt x="810" y="21"/>
                      <a:pt x="810" y="20"/>
                    </a:cubicBezTo>
                    <a:close/>
                    <a:moveTo>
                      <a:pt x="837" y="21"/>
                    </a:moveTo>
                    <a:cubicBezTo>
                      <a:pt x="837" y="22"/>
                      <a:pt x="839" y="22"/>
                      <a:pt x="839" y="21"/>
                    </a:cubicBezTo>
                    <a:cubicBezTo>
                      <a:pt x="834" y="18"/>
                      <a:pt x="826" y="21"/>
                      <a:pt x="837" y="21"/>
                    </a:cubicBezTo>
                    <a:close/>
                    <a:moveTo>
                      <a:pt x="699" y="22"/>
                    </a:moveTo>
                    <a:cubicBezTo>
                      <a:pt x="667" y="27"/>
                      <a:pt x="629" y="26"/>
                      <a:pt x="610" y="45"/>
                    </a:cubicBezTo>
                    <a:moveTo>
                      <a:pt x="610" y="45"/>
                    </a:moveTo>
                    <a:cubicBezTo>
                      <a:pt x="606" y="44"/>
                      <a:pt x="610" y="47"/>
                      <a:pt x="610" y="45"/>
                    </a:cubicBezTo>
                    <a:moveTo>
                      <a:pt x="699" y="22"/>
                    </a:moveTo>
                    <a:cubicBezTo>
                      <a:pt x="668" y="28"/>
                      <a:pt x="639" y="36"/>
                      <a:pt x="610" y="45"/>
                    </a:cubicBezTo>
                    <a:moveTo>
                      <a:pt x="699" y="22"/>
                    </a:moveTo>
                    <a:cubicBezTo>
                      <a:pt x="703" y="22"/>
                      <a:pt x="699" y="19"/>
                      <a:pt x="699" y="22"/>
                    </a:cubicBezTo>
                    <a:moveTo>
                      <a:pt x="720" y="22"/>
                    </a:moveTo>
                    <a:cubicBezTo>
                      <a:pt x="713" y="23"/>
                      <a:pt x="705" y="22"/>
                      <a:pt x="702" y="26"/>
                    </a:cubicBezTo>
                    <a:cubicBezTo>
                      <a:pt x="708" y="25"/>
                      <a:pt x="714" y="24"/>
                      <a:pt x="720" y="22"/>
                    </a:cubicBezTo>
                    <a:moveTo>
                      <a:pt x="720" y="22"/>
                    </a:moveTo>
                    <a:cubicBezTo>
                      <a:pt x="725" y="23"/>
                      <a:pt x="721" y="19"/>
                      <a:pt x="720" y="22"/>
                    </a:cubicBezTo>
                    <a:moveTo>
                      <a:pt x="690" y="43"/>
                    </a:moveTo>
                    <a:cubicBezTo>
                      <a:pt x="689" y="43"/>
                      <a:pt x="690" y="44"/>
                      <a:pt x="690" y="43"/>
                    </a:cubicBezTo>
                    <a:moveTo>
                      <a:pt x="690" y="43"/>
                    </a:moveTo>
                    <a:cubicBezTo>
                      <a:pt x="705" y="35"/>
                      <a:pt x="721" y="28"/>
                      <a:pt x="737" y="21"/>
                    </a:cubicBezTo>
                    <a:cubicBezTo>
                      <a:pt x="720" y="26"/>
                      <a:pt x="695" y="25"/>
                      <a:pt x="690" y="43"/>
                    </a:cubicBezTo>
                    <a:moveTo>
                      <a:pt x="812" y="81"/>
                    </a:moveTo>
                    <a:cubicBezTo>
                      <a:pt x="830" y="82"/>
                      <a:pt x="849" y="82"/>
                      <a:pt x="867" y="83"/>
                    </a:cubicBezTo>
                    <a:cubicBezTo>
                      <a:pt x="844" y="58"/>
                      <a:pt x="811" y="35"/>
                      <a:pt x="774" y="21"/>
                    </a:cubicBezTo>
                    <a:cubicBezTo>
                      <a:pt x="788" y="40"/>
                      <a:pt x="803" y="58"/>
                      <a:pt x="812" y="81"/>
                    </a:cubicBezTo>
                    <a:close/>
                    <a:moveTo>
                      <a:pt x="852" y="66"/>
                    </a:moveTo>
                    <a:cubicBezTo>
                      <a:pt x="863" y="75"/>
                      <a:pt x="870" y="86"/>
                      <a:pt x="887" y="84"/>
                    </a:cubicBezTo>
                    <a:cubicBezTo>
                      <a:pt x="882" y="71"/>
                      <a:pt x="874" y="61"/>
                      <a:pt x="867" y="49"/>
                    </a:cubicBezTo>
                    <a:cubicBezTo>
                      <a:pt x="840" y="39"/>
                      <a:pt x="812" y="26"/>
                      <a:pt x="783" y="22"/>
                    </a:cubicBezTo>
                    <a:cubicBezTo>
                      <a:pt x="810" y="32"/>
                      <a:pt x="831" y="48"/>
                      <a:pt x="852" y="66"/>
                    </a:cubicBezTo>
                    <a:close/>
                    <a:moveTo>
                      <a:pt x="799" y="22"/>
                    </a:moveTo>
                    <a:cubicBezTo>
                      <a:pt x="821" y="29"/>
                      <a:pt x="844" y="36"/>
                      <a:pt x="863" y="46"/>
                    </a:cubicBezTo>
                    <a:cubicBezTo>
                      <a:pt x="854" y="26"/>
                      <a:pt x="823" y="27"/>
                      <a:pt x="799" y="22"/>
                    </a:cubicBezTo>
                    <a:moveTo>
                      <a:pt x="799" y="22"/>
                    </a:moveTo>
                    <a:cubicBezTo>
                      <a:pt x="797" y="19"/>
                      <a:pt x="793" y="23"/>
                      <a:pt x="799" y="22"/>
                    </a:cubicBezTo>
                    <a:moveTo>
                      <a:pt x="817" y="21"/>
                    </a:moveTo>
                    <a:cubicBezTo>
                      <a:pt x="811" y="19"/>
                      <a:pt x="815" y="24"/>
                      <a:pt x="817" y="21"/>
                    </a:cubicBezTo>
                    <a:close/>
                    <a:moveTo>
                      <a:pt x="928" y="41"/>
                    </a:moveTo>
                    <a:cubicBezTo>
                      <a:pt x="928" y="44"/>
                      <a:pt x="932" y="40"/>
                      <a:pt x="928" y="41"/>
                    </a:cubicBezTo>
                    <a:moveTo>
                      <a:pt x="928" y="41"/>
                    </a:moveTo>
                    <a:cubicBezTo>
                      <a:pt x="909" y="25"/>
                      <a:pt x="871" y="25"/>
                      <a:pt x="844" y="22"/>
                    </a:cubicBezTo>
                    <a:cubicBezTo>
                      <a:pt x="872" y="28"/>
                      <a:pt x="901" y="33"/>
                      <a:pt x="928" y="41"/>
                    </a:cubicBezTo>
                    <a:moveTo>
                      <a:pt x="901" y="21"/>
                    </a:moveTo>
                    <a:cubicBezTo>
                      <a:pt x="900" y="21"/>
                      <a:pt x="899" y="21"/>
                      <a:pt x="899" y="22"/>
                    </a:cubicBezTo>
                    <a:cubicBezTo>
                      <a:pt x="900" y="21"/>
                      <a:pt x="901" y="22"/>
                      <a:pt x="901" y="21"/>
                    </a:cubicBezTo>
                    <a:close/>
                    <a:moveTo>
                      <a:pt x="847" y="28"/>
                    </a:moveTo>
                    <a:cubicBezTo>
                      <a:pt x="848" y="30"/>
                      <a:pt x="849" y="28"/>
                      <a:pt x="847" y="28"/>
                    </a:cubicBezTo>
                    <a:moveTo>
                      <a:pt x="847" y="28"/>
                    </a:moveTo>
                    <a:cubicBezTo>
                      <a:pt x="842" y="22"/>
                      <a:pt x="827" y="22"/>
                      <a:pt x="818" y="23"/>
                    </a:cubicBezTo>
                    <a:cubicBezTo>
                      <a:pt x="829" y="23"/>
                      <a:pt x="837" y="27"/>
                      <a:pt x="847" y="28"/>
                    </a:cubicBezTo>
                    <a:moveTo>
                      <a:pt x="909" y="22"/>
                    </a:moveTo>
                    <a:cubicBezTo>
                      <a:pt x="904" y="21"/>
                      <a:pt x="908" y="24"/>
                      <a:pt x="909" y="22"/>
                    </a:cubicBezTo>
                    <a:close/>
                    <a:moveTo>
                      <a:pt x="916" y="23"/>
                    </a:moveTo>
                    <a:cubicBezTo>
                      <a:pt x="914" y="23"/>
                      <a:pt x="913" y="22"/>
                      <a:pt x="913" y="23"/>
                    </a:cubicBezTo>
                    <a:cubicBezTo>
                      <a:pt x="914" y="23"/>
                      <a:pt x="915" y="24"/>
                      <a:pt x="916" y="23"/>
                    </a:cubicBezTo>
                    <a:close/>
                    <a:moveTo>
                      <a:pt x="922" y="24"/>
                    </a:moveTo>
                    <a:cubicBezTo>
                      <a:pt x="922" y="25"/>
                      <a:pt x="922" y="25"/>
                      <a:pt x="922" y="25"/>
                    </a:cubicBezTo>
                    <a:cubicBezTo>
                      <a:pt x="927" y="25"/>
                      <a:pt x="928" y="27"/>
                      <a:pt x="932" y="26"/>
                    </a:cubicBezTo>
                    <a:moveTo>
                      <a:pt x="932" y="26"/>
                    </a:moveTo>
                    <a:cubicBezTo>
                      <a:pt x="934" y="29"/>
                      <a:pt x="938" y="25"/>
                      <a:pt x="932" y="26"/>
                    </a:cubicBezTo>
                    <a:moveTo>
                      <a:pt x="932" y="26"/>
                    </a:moveTo>
                    <a:cubicBezTo>
                      <a:pt x="932" y="26"/>
                      <a:pt x="932" y="26"/>
                      <a:pt x="932" y="25"/>
                    </a:cubicBezTo>
                    <a:cubicBezTo>
                      <a:pt x="928" y="26"/>
                      <a:pt x="927" y="24"/>
                      <a:pt x="922" y="24"/>
                    </a:cubicBezTo>
                    <a:moveTo>
                      <a:pt x="922" y="24"/>
                    </a:moveTo>
                    <a:cubicBezTo>
                      <a:pt x="919" y="22"/>
                      <a:pt x="915" y="26"/>
                      <a:pt x="922" y="24"/>
                    </a:cubicBezTo>
                    <a:moveTo>
                      <a:pt x="907" y="25"/>
                    </a:moveTo>
                    <a:cubicBezTo>
                      <a:pt x="907" y="26"/>
                      <a:pt x="907" y="26"/>
                      <a:pt x="907" y="26"/>
                    </a:cubicBezTo>
                    <a:cubicBezTo>
                      <a:pt x="934" y="34"/>
                      <a:pt x="965" y="42"/>
                      <a:pt x="990" y="47"/>
                    </a:cubicBezTo>
                    <a:cubicBezTo>
                      <a:pt x="967" y="36"/>
                      <a:pt x="938" y="29"/>
                      <a:pt x="907" y="25"/>
                    </a:cubicBezTo>
                    <a:moveTo>
                      <a:pt x="907" y="25"/>
                    </a:moveTo>
                    <a:cubicBezTo>
                      <a:pt x="907" y="23"/>
                      <a:pt x="903" y="26"/>
                      <a:pt x="907" y="25"/>
                    </a:cubicBezTo>
                    <a:moveTo>
                      <a:pt x="602" y="50"/>
                    </a:moveTo>
                    <a:cubicBezTo>
                      <a:pt x="598" y="55"/>
                      <a:pt x="592" y="59"/>
                      <a:pt x="587" y="64"/>
                    </a:cubicBezTo>
                    <a:cubicBezTo>
                      <a:pt x="583" y="68"/>
                      <a:pt x="576" y="75"/>
                      <a:pt x="577" y="78"/>
                    </a:cubicBezTo>
                    <a:cubicBezTo>
                      <a:pt x="587" y="77"/>
                      <a:pt x="597" y="71"/>
                      <a:pt x="606" y="66"/>
                    </a:cubicBezTo>
                    <a:cubicBezTo>
                      <a:pt x="631" y="53"/>
                      <a:pt x="656" y="41"/>
                      <a:pt x="683" y="32"/>
                    </a:cubicBezTo>
                    <a:cubicBezTo>
                      <a:pt x="687" y="31"/>
                      <a:pt x="696" y="31"/>
                      <a:pt x="695" y="25"/>
                    </a:cubicBezTo>
                    <a:cubicBezTo>
                      <a:pt x="662" y="32"/>
                      <a:pt x="632" y="41"/>
                      <a:pt x="602" y="50"/>
                    </a:cubicBezTo>
                    <a:close/>
                    <a:moveTo>
                      <a:pt x="530" y="58"/>
                    </a:moveTo>
                    <a:cubicBezTo>
                      <a:pt x="526" y="57"/>
                      <a:pt x="529" y="61"/>
                      <a:pt x="530" y="58"/>
                    </a:cubicBezTo>
                    <a:moveTo>
                      <a:pt x="530" y="58"/>
                    </a:moveTo>
                    <a:cubicBezTo>
                      <a:pt x="546" y="53"/>
                      <a:pt x="563" y="47"/>
                      <a:pt x="581" y="42"/>
                    </a:cubicBezTo>
                    <a:cubicBezTo>
                      <a:pt x="598" y="37"/>
                      <a:pt x="617" y="35"/>
                      <a:pt x="631" y="26"/>
                    </a:cubicBezTo>
                    <a:cubicBezTo>
                      <a:pt x="593" y="33"/>
                      <a:pt x="554" y="38"/>
                      <a:pt x="530" y="58"/>
                    </a:cubicBezTo>
                    <a:moveTo>
                      <a:pt x="969" y="73"/>
                    </a:moveTo>
                    <a:cubicBezTo>
                      <a:pt x="947" y="41"/>
                      <a:pt x="895" y="34"/>
                      <a:pt x="850" y="27"/>
                    </a:cubicBezTo>
                    <a:cubicBezTo>
                      <a:pt x="890" y="42"/>
                      <a:pt x="933" y="54"/>
                      <a:pt x="969" y="73"/>
                    </a:cubicBezTo>
                    <a:close/>
                    <a:moveTo>
                      <a:pt x="939" y="27"/>
                    </a:moveTo>
                    <a:cubicBezTo>
                      <a:pt x="938" y="28"/>
                      <a:pt x="937" y="27"/>
                      <a:pt x="937" y="28"/>
                    </a:cubicBezTo>
                    <a:cubicBezTo>
                      <a:pt x="937" y="28"/>
                      <a:pt x="939" y="28"/>
                      <a:pt x="939" y="27"/>
                    </a:cubicBezTo>
                    <a:close/>
                    <a:moveTo>
                      <a:pt x="574" y="32"/>
                    </a:moveTo>
                    <a:cubicBezTo>
                      <a:pt x="574" y="33"/>
                      <a:pt x="573" y="32"/>
                      <a:pt x="574" y="32"/>
                    </a:cubicBezTo>
                    <a:close/>
                    <a:moveTo>
                      <a:pt x="781" y="81"/>
                    </a:moveTo>
                    <a:cubicBezTo>
                      <a:pt x="790" y="80"/>
                      <a:pt x="801" y="82"/>
                      <a:pt x="808" y="80"/>
                    </a:cubicBezTo>
                    <a:cubicBezTo>
                      <a:pt x="798" y="63"/>
                      <a:pt x="789" y="45"/>
                      <a:pt x="776" y="31"/>
                    </a:cubicBezTo>
                    <a:cubicBezTo>
                      <a:pt x="778" y="48"/>
                      <a:pt x="779" y="65"/>
                      <a:pt x="781" y="81"/>
                    </a:cubicBezTo>
                    <a:close/>
                    <a:moveTo>
                      <a:pt x="526" y="47"/>
                    </a:moveTo>
                    <a:cubicBezTo>
                      <a:pt x="524" y="48"/>
                      <a:pt x="526" y="49"/>
                      <a:pt x="526" y="47"/>
                    </a:cubicBezTo>
                    <a:moveTo>
                      <a:pt x="526" y="47"/>
                    </a:moveTo>
                    <a:cubicBezTo>
                      <a:pt x="543" y="43"/>
                      <a:pt x="560" y="40"/>
                      <a:pt x="573" y="32"/>
                    </a:cubicBezTo>
                    <a:cubicBezTo>
                      <a:pt x="557" y="37"/>
                      <a:pt x="537" y="38"/>
                      <a:pt x="526" y="47"/>
                    </a:cubicBezTo>
                    <a:moveTo>
                      <a:pt x="963" y="32"/>
                    </a:moveTo>
                    <a:cubicBezTo>
                      <a:pt x="962" y="32"/>
                      <a:pt x="961" y="32"/>
                      <a:pt x="961" y="33"/>
                    </a:cubicBezTo>
                    <a:cubicBezTo>
                      <a:pt x="961" y="33"/>
                      <a:pt x="963" y="33"/>
                      <a:pt x="963" y="32"/>
                    </a:cubicBezTo>
                    <a:close/>
                    <a:moveTo>
                      <a:pt x="585" y="80"/>
                    </a:moveTo>
                    <a:cubicBezTo>
                      <a:pt x="601" y="82"/>
                      <a:pt x="616" y="87"/>
                      <a:pt x="632" y="84"/>
                    </a:cubicBezTo>
                    <a:cubicBezTo>
                      <a:pt x="648" y="70"/>
                      <a:pt x="665" y="58"/>
                      <a:pt x="683" y="47"/>
                    </a:cubicBezTo>
                    <a:cubicBezTo>
                      <a:pt x="683" y="42"/>
                      <a:pt x="693" y="36"/>
                      <a:pt x="689" y="33"/>
                    </a:cubicBezTo>
                    <a:cubicBezTo>
                      <a:pt x="652" y="46"/>
                      <a:pt x="617" y="61"/>
                      <a:pt x="585" y="80"/>
                    </a:cubicBezTo>
                    <a:close/>
                    <a:moveTo>
                      <a:pt x="966" y="34"/>
                    </a:moveTo>
                    <a:cubicBezTo>
                      <a:pt x="968" y="37"/>
                      <a:pt x="972" y="33"/>
                      <a:pt x="966" y="34"/>
                    </a:cubicBezTo>
                    <a:moveTo>
                      <a:pt x="966" y="34"/>
                    </a:moveTo>
                    <a:cubicBezTo>
                      <a:pt x="965" y="31"/>
                      <a:pt x="961" y="35"/>
                      <a:pt x="966" y="34"/>
                    </a:cubicBezTo>
                    <a:moveTo>
                      <a:pt x="575" y="35"/>
                    </a:moveTo>
                    <a:cubicBezTo>
                      <a:pt x="574" y="35"/>
                      <a:pt x="575" y="36"/>
                      <a:pt x="575" y="35"/>
                    </a:cubicBezTo>
                    <a:close/>
                    <a:moveTo>
                      <a:pt x="859" y="35"/>
                    </a:moveTo>
                    <a:cubicBezTo>
                      <a:pt x="861" y="40"/>
                      <a:pt x="866" y="43"/>
                      <a:pt x="869" y="48"/>
                    </a:cubicBezTo>
                    <a:cubicBezTo>
                      <a:pt x="878" y="53"/>
                      <a:pt x="889" y="57"/>
                      <a:pt x="900" y="64"/>
                    </a:cubicBezTo>
                    <a:cubicBezTo>
                      <a:pt x="909" y="69"/>
                      <a:pt x="921" y="80"/>
                      <a:pt x="930" y="81"/>
                    </a:cubicBezTo>
                    <a:cubicBezTo>
                      <a:pt x="940" y="82"/>
                      <a:pt x="953" y="76"/>
                      <a:pt x="965" y="73"/>
                    </a:cubicBezTo>
                    <a:cubicBezTo>
                      <a:pt x="931" y="59"/>
                      <a:pt x="898" y="44"/>
                      <a:pt x="859" y="35"/>
                    </a:cubicBezTo>
                    <a:moveTo>
                      <a:pt x="859" y="35"/>
                    </a:moveTo>
                    <a:cubicBezTo>
                      <a:pt x="858" y="34"/>
                      <a:pt x="858" y="35"/>
                      <a:pt x="859" y="35"/>
                    </a:cubicBezTo>
                    <a:moveTo>
                      <a:pt x="993" y="63"/>
                    </a:moveTo>
                    <a:cubicBezTo>
                      <a:pt x="997" y="61"/>
                      <a:pt x="1000" y="59"/>
                      <a:pt x="1001" y="55"/>
                    </a:cubicBezTo>
                    <a:cubicBezTo>
                      <a:pt x="977" y="47"/>
                      <a:pt x="949" y="38"/>
                      <a:pt x="924" y="35"/>
                    </a:cubicBezTo>
                    <a:cubicBezTo>
                      <a:pt x="943" y="48"/>
                      <a:pt x="970" y="54"/>
                      <a:pt x="993" y="63"/>
                    </a:cubicBezTo>
                    <a:close/>
                    <a:moveTo>
                      <a:pt x="973" y="35"/>
                    </a:moveTo>
                    <a:cubicBezTo>
                      <a:pt x="972" y="35"/>
                      <a:pt x="970" y="35"/>
                      <a:pt x="970" y="36"/>
                    </a:cubicBezTo>
                    <a:cubicBezTo>
                      <a:pt x="971" y="36"/>
                      <a:pt x="973" y="36"/>
                      <a:pt x="973" y="35"/>
                    </a:cubicBezTo>
                    <a:close/>
                    <a:moveTo>
                      <a:pt x="530" y="61"/>
                    </a:moveTo>
                    <a:cubicBezTo>
                      <a:pt x="542" y="76"/>
                      <a:pt x="556" y="66"/>
                      <a:pt x="573" y="59"/>
                    </a:cubicBezTo>
                    <a:cubicBezTo>
                      <a:pt x="588" y="53"/>
                      <a:pt x="599" y="49"/>
                      <a:pt x="608" y="42"/>
                    </a:cubicBezTo>
                    <a:cubicBezTo>
                      <a:pt x="611" y="39"/>
                      <a:pt x="617" y="37"/>
                      <a:pt x="614" y="36"/>
                    </a:cubicBezTo>
                    <a:cubicBezTo>
                      <a:pt x="585" y="43"/>
                      <a:pt x="557" y="52"/>
                      <a:pt x="530" y="61"/>
                    </a:cubicBezTo>
                    <a:close/>
                    <a:moveTo>
                      <a:pt x="976" y="36"/>
                    </a:moveTo>
                    <a:cubicBezTo>
                      <a:pt x="975" y="36"/>
                      <a:pt x="974" y="36"/>
                      <a:pt x="974" y="37"/>
                    </a:cubicBezTo>
                    <a:cubicBezTo>
                      <a:pt x="975" y="37"/>
                      <a:pt x="976" y="37"/>
                      <a:pt x="976" y="36"/>
                    </a:cubicBezTo>
                    <a:close/>
                    <a:moveTo>
                      <a:pt x="978" y="38"/>
                    </a:moveTo>
                    <a:cubicBezTo>
                      <a:pt x="978" y="37"/>
                      <a:pt x="979" y="39"/>
                      <a:pt x="978" y="38"/>
                    </a:cubicBezTo>
                    <a:close/>
                    <a:moveTo>
                      <a:pt x="982" y="39"/>
                    </a:moveTo>
                    <a:cubicBezTo>
                      <a:pt x="981" y="38"/>
                      <a:pt x="982" y="39"/>
                      <a:pt x="982" y="39"/>
                    </a:cubicBezTo>
                    <a:close/>
                    <a:moveTo>
                      <a:pt x="931" y="43"/>
                    </a:moveTo>
                    <a:cubicBezTo>
                      <a:pt x="931" y="42"/>
                      <a:pt x="932" y="43"/>
                      <a:pt x="931" y="43"/>
                    </a:cubicBezTo>
                    <a:close/>
                    <a:moveTo>
                      <a:pt x="985" y="43"/>
                    </a:moveTo>
                    <a:cubicBezTo>
                      <a:pt x="984" y="42"/>
                      <a:pt x="985" y="43"/>
                      <a:pt x="985" y="43"/>
                    </a:cubicBezTo>
                    <a:close/>
                    <a:moveTo>
                      <a:pt x="1000" y="48"/>
                    </a:moveTo>
                    <a:cubicBezTo>
                      <a:pt x="997" y="46"/>
                      <a:pt x="991" y="42"/>
                      <a:pt x="987" y="44"/>
                    </a:cubicBezTo>
                    <a:cubicBezTo>
                      <a:pt x="992" y="44"/>
                      <a:pt x="996" y="50"/>
                      <a:pt x="1000" y="48"/>
                    </a:cubicBezTo>
                    <a:close/>
                    <a:moveTo>
                      <a:pt x="489" y="60"/>
                    </a:moveTo>
                    <a:cubicBezTo>
                      <a:pt x="488" y="60"/>
                      <a:pt x="487" y="60"/>
                      <a:pt x="486" y="61"/>
                    </a:cubicBezTo>
                    <a:moveTo>
                      <a:pt x="486" y="61"/>
                    </a:moveTo>
                    <a:cubicBezTo>
                      <a:pt x="485" y="61"/>
                      <a:pt x="485" y="61"/>
                      <a:pt x="485" y="62"/>
                    </a:cubicBezTo>
                    <a:moveTo>
                      <a:pt x="485" y="62"/>
                    </a:moveTo>
                    <a:cubicBezTo>
                      <a:pt x="481" y="61"/>
                      <a:pt x="484" y="65"/>
                      <a:pt x="485" y="62"/>
                    </a:cubicBezTo>
                    <a:moveTo>
                      <a:pt x="485" y="62"/>
                    </a:moveTo>
                    <a:cubicBezTo>
                      <a:pt x="486" y="62"/>
                      <a:pt x="486" y="62"/>
                      <a:pt x="486" y="61"/>
                    </a:cubicBezTo>
                    <a:moveTo>
                      <a:pt x="486" y="61"/>
                    </a:moveTo>
                    <a:cubicBezTo>
                      <a:pt x="488" y="61"/>
                      <a:pt x="489" y="61"/>
                      <a:pt x="489" y="60"/>
                    </a:cubicBezTo>
                    <a:moveTo>
                      <a:pt x="489" y="60"/>
                    </a:moveTo>
                    <a:cubicBezTo>
                      <a:pt x="500" y="55"/>
                      <a:pt x="516" y="55"/>
                      <a:pt x="523" y="46"/>
                    </a:cubicBezTo>
                    <a:cubicBezTo>
                      <a:pt x="511" y="50"/>
                      <a:pt x="500" y="54"/>
                      <a:pt x="489" y="60"/>
                    </a:cubicBezTo>
                    <a:moveTo>
                      <a:pt x="542" y="47"/>
                    </a:moveTo>
                    <a:cubicBezTo>
                      <a:pt x="535" y="47"/>
                      <a:pt x="530" y="50"/>
                      <a:pt x="523" y="51"/>
                    </a:cubicBezTo>
                    <a:cubicBezTo>
                      <a:pt x="523" y="54"/>
                      <a:pt x="523" y="56"/>
                      <a:pt x="524" y="57"/>
                    </a:cubicBezTo>
                    <a:cubicBezTo>
                      <a:pt x="531" y="55"/>
                      <a:pt x="537" y="50"/>
                      <a:pt x="542" y="47"/>
                    </a:cubicBezTo>
                    <a:moveTo>
                      <a:pt x="542" y="47"/>
                    </a:moveTo>
                    <a:cubicBezTo>
                      <a:pt x="546" y="47"/>
                      <a:pt x="542" y="44"/>
                      <a:pt x="542" y="47"/>
                    </a:cubicBezTo>
                    <a:moveTo>
                      <a:pt x="1113" y="98"/>
                    </a:moveTo>
                    <a:cubicBezTo>
                      <a:pt x="1113" y="99"/>
                      <a:pt x="1115" y="99"/>
                      <a:pt x="1115" y="99"/>
                    </a:cubicBezTo>
                    <a:moveTo>
                      <a:pt x="1115" y="99"/>
                    </a:moveTo>
                    <a:cubicBezTo>
                      <a:pt x="1116" y="101"/>
                      <a:pt x="1116" y="99"/>
                      <a:pt x="1115" y="99"/>
                    </a:cubicBezTo>
                    <a:moveTo>
                      <a:pt x="1115" y="99"/>
                    </a:moveTo>
                    <a:cubicBezTo>
                      <a:pt x="1115" y="98"/>
                      <a:pt x="1114" y="99"/>
                      <a:pt x="1113" y="98"/>
                    </a:cubicBezTo>
                    <a:moveTo>
                      <a:pt x="1113" y="98"/>
                    </a:moveTo>
                    <a:cubicBezTo>
                      <a:pt x="1081" y="77"/>
                      <a:pt x="1043" y="57"/>
                      <a:pt x="1002" y="48"/>
                    </a:cubicBezTo>
                    <a:cubicBezTo>
                      <a:pt x="1008" y="57"/>
                      <a:pt x="1020" y="58"/>
                      <a:pt x="1029" y="62"/>
                    </a:cubicBezTo>
                    <a:cubicBezTo>
                      <a:pt x="1057" y="72"/>
                      <a:pt x="1086" y="86"/>
                      <a:pt x="1113" y="98"/>
                    </a:cubicBezTo>
                    <a:moveTo>
                      <a:pt x="991" y="49"/>
                    </a:moveTo>
                    <a:cubicBezTo>
                      <a:pt x="991" y="49"/>
                      <a:pt x="992" y="50"/>
                      <a:pt x="991" y="49"/>
                    </a:cubicBezTo>
                    <a:close/>
                    <a:moveTo>
                      <a:pt x="948" y="50"/>
                    </a:moveTo>
                    <a:cubicBezTo>
                      <a:pt x="957" y="57"/>
                      <a:pt x="965" y="65"/>
                      <a:pt x="974" y="71"/>
                    </a:cubicBezTo>
                    <a:cubicBezTo>
                      <a:pt x="979" y="69"/>
                      <a:pt x="987" y="69"/>
                      <a:pt x="990" y="64"/>
                    </a:cubicBezTo>
                    <a:cubicBezTo>
                      <a:pt x="975" y="60"/>
                      <a:pt x="963" y="54"/>
                      <a:pt x="948" y="50"/>
                    </a:cubicBezTo>
                    <a:moveTo>
                      <a:pt x="948" y="50"/>
                    </a:moveTo>
                    <a:cubicBezTo>
                      <a:pt x="948" y="49"/>
                      <a:pt x="947" y="50"/>
                      <a:pt x="948" y="50"/>
                    </a:cubicBezTo>
                    <a:moveTo>
                      <a:pt x="399" y="114"/>
                    </a:moveTo>
                    <a:cubicBezTo>
                      <a:pt x="405" y="112"/>
                      <a:pt x="411" y="111"/>
                      <a:pt x="416" y="110"/>
                    </a:cubicBezTo>
                    <a:cubicBezTo>
                      <a:pt x="433" y="101"/>
                      <a:pt x="450" y="91"/>
                      <a:pt x="468" y="83"/>
                    </a:cubicBezTo>
                    <a:cubicBezTo>
                      <a:pt x="486" y="75"/>
                      <a:pt x="506" y="70"/>
                      <a:pt x="522" y="58"/>
                    </a:cubicBezTo>
                    <a:cubicBezTo>
                      <a:pt x="520" y="58"/>
                      <a:pt x="520" y="56"/>
                      <a:pt x="520" y="53"/>
                    </a:cubicBezTo>
                    <a:cubicBezTo>
                      <a:pt x="473" y="66"/>
                      <a:pt x="432" y="86"/>
                      <a:pt x="399" y="114"/>
                    </a:cubicBezTo>
                    <a:close/>
                    <a:moveTo>
                      <a:pt x="593" y="54"/>
                    </a:moveTo>
                    <a:cubicBezTo>
                      <a:pt x="578" y="59"/>
                      <a:pt x="564" y="65"/>
                      <a:pt x="550" y="71"/>
                    </a:cubicBezTo>
                    <a:cubicBezTo>
                      <a:pt x="556" y="74"/>
                      <a:pt x="564" y="75"/>
                      <a:pt x="570" y="77"/>
                    </a:cubicBezTo>
                    <a:cubicBezTo>
                      <a:pt x="579" y="71"/>
                      <a:pt x="585" y="62"/>
                      <a:pt x="593" y="54"/>
                    </a:cubicBezTo>
                    <a:moveTo>
                      <a:pt x="593" y="54"/>
                    </a:moveTo>
                    <a:cubicBezTo>
                      <a:pt x="594" y="54"/>
                      <a:pt x="593" y="53"/>
                      <a:pt x="593" y="54"/>
                    </a:cubicBezTo>
                    <a:moveTo>
                      <a:pt x="637" y="84"/>
                    </a:moveTo>
                    <a:cubicBezTo>
                      <a:pt x="647" y="83"/>
                      <a:pt x="659" y="84"/>
                      <a:pt x="668" y="82"/>
                    </a:cubicBezTo>
                    <a:cubicBezTo>
                      <a:pt x="669" y="72"/>
                      <a:pt x="679" y="60"/>
                      <a:pt x="678" y="53"/>
                    </a:cubicBezTo>
                    <a:cubicBezTo>
                      <a:pt x="664" y="64"/>
                      <a:pt x="649" y="72"/>
                      <a:pt x="637" y="84"/>
                    </a:cubicBezTo>
                    <a:close/>
                    <a:moveTo>
                      <a:pt x="890" y="84"/>
                    </a:moveTo>
                    <a:cubicBezTo>
                      <a:pt x="901" y="85"/>
                      <a:pt x="916" y="86"/>
                      <a:pt x="924" y="81"/>
                    </a:cubicBezTo>
                    <a:cubicBezTo>
                      <a:pt x="907" y="73"/>
                      <a:pt x="890" y="59"/>
                      <a:pt x="872" y="54"/>
                    </a:cubicBezTo>
                    <a:cubicBezTo>
                      <a:pt x="879" y="63"/>
                      <a:pt x="885" y="73"/>
                      <a:pt x="890" y="84"/>
                    </a:cubicBezTo>
                    <a:close/>
                    <a:moveTo>
                      <a:pt x="1063" y="94"/>
                    </a:moveTo>
                    <a:cubicBezTo>
                      <a:pt x="1063" y="94"/>
                      <a:pt x="1063" y="94"/>
                      <a:pt x="1063" y="95"/>
                    </a:cubicBezTo>
                    <a:cubicBezTo>
                      <a:pt x="1064" y="95"/>
                      <a:pt x="1065" y="96"/>
                      <a:pt x="1066" y="95"/>
                    </a:cubicBezTo>
                    <a:moveTo>
                      <a:pt x="1066" y="95"/>
                    </a:moveTo>
                    <a:cubicBezTo>
                      <a:pt x="1067" y="97"/>
                      <a:pt x="1067" y="95"/>
                      <a:pt x="1066" y="95"/>
                    </a:cubicBezTo>
                    <a:moveTo>
                      <a:pt x="1066" y="95"/>
                    </a:moveTo>
                    <a:cubicBezTo>
                      <a:pt x="1066" y="94"/>
                      <a:pt x="1065" y="94"/>
                      <a:pt x="1063" y="94"/>
                    </a:cubicBezTo>
                    <a:moveTo>
                      <a:pt x="1063" y="94"/>
                    </a:moveTo>
                    <a:cubicBezTo>
                      <a:pt x="1046" y="79"/>
                      <a:pt x="1027" y="67"/>
                      <a:pt x="1006" y="56"/>
                    </a:cubicBezTo>
                    <a:cubicBezTo>
                      <a:pt x="1001" y="58"/>
                      <a:pt x="1000" y="63"/>
                      <a:pt x="996" y="65"/>
                    </a:cubicBezTo>
                    <a:cubicBezTo>
                      <a:pt x="1020" y="73"/>
                      <a:pt x="1041" y="84"/>
                      <a:pt x="1063" y="94"/>
                    </a:cubicBezTo>
                    <a:moveTo>
                      <a:pt x="482" y="60"/>
                    </a:moveTo>
                    <a:cubicBezTo>
                      <a:pt x="482" y="61"/>
                      <a:pt x="481" y="60"/>
                      <a:pt x="482" y="60"/>
                    </a:cubicBezTo>
                    <a:close/>
                    <a:moveTo>
                      <a:pt x="526" y="60"/>
                    </a:moveTo>
                    <a:cubicBezTo>
                      <a:pt x="526" y="61"/>
                      <a:pt x="525" y="60"/>
                      <a:pt x="526" y="60"/>
                    </a:cubicBezTo>
                    <a:close/>
                    <a:moveTo>
                      <a:pt x="479" y="61"/>
                    </a:moveTo>
                    <a:cubicBezTo>
                      <a:pt x="478" y="61"/>
                      <a:pt x="477" y="61"/>
                      <a:pt x="477" y="62"/>
                    </a:cubicBezTo>
                    <a:moveTo>
                      <a:pt x="477" y="62"/>
                    </a:moveTo>
                    <a:cubicBezTo>
                      <a:pt x="441" y="76"/>
                      <a:pt x="407" y="92"/>
                      <a:pt x="377" y="112"/>
                    </a:cubicBezTo>
                    <a:moveTo>
                      <a:pt x="377" y="112"/>
                    </a:moveTo>
                    <a:cubicBezTo>
                      <a:pt x="375" y="112"/>
                      <a:pt x="375" y="113"/>
                      <a:pt x="374" y="114"/>
                    </a:cubicBezTo>
                    <a:moveTo>
                      <a:pt x="374" y="114"/>
                    </a:moveTo>
                    <a:cubicBezTo>
                      <a:pt x="373" y="114"/>
                      <a:pt x="372" y="114"/>
                      <a:pt x="372" y="115"/>
                    </a:cubicBezTo>
                    <a:moveTo>
                      <a:pt x="372" y="115"/>
                    </a:moveTo>
                    <a:cubicBezTo>
                      <a:pt x="371" y="115"/>
                      <a:pt x="371" y="115"/>
                      <a:pt x="370" y="116"/>
                    </a:cubicBezTo>
                    <a:moveTo>
                      <a:pt x="370" y="116"/>
                    </a:moveTo>
                    <a:cubicBezTo>
                      <a:pt x="370" y="115"/>
                      <a:pt x="369" y="116"/>
                      <a:pt x="369" y="117"/>
                    </a:cubicBezTo>
                    <a:moveTo>
                      <a:pt x="369" y="117"/>
                    </a:moveTo>
                    <a:cubicBezTo>
                      <a:pt x="368" y="116"/>
                      <a:pt x="368" y="117"/>
                      <a:pt x="367" y="118"/>
                    </a:cubicBezTo>
                    <a:moveTo>
                      <a:pt x="367" y="118"/>
                    </a:moveTo>
                    <a:cubicBezTo>
                      <a:pt x="366" y="118"/>
                      <a:pt x="368" y="119"/>
                      <a:pt x="367" y="118"/>
                    </a:cubicBezTo>
                    <a:moveTo>
                      <a:pt x="367" y="118"/>
                    </a:moveTo>
                    <a:cubicBezTo>
                      <a:pt x="369" y="118"/>
                      <a:pt x="369" y="117"/>
                      <a:pt x="369" y="117"/>
                    </a:cubicBezTo>
                    <a:moveTo>
                      <a:pt x="369" y="117"/>
                    </a:moveTo>
                    <a:cubicBezTo>
                      <a:pt x="370" y="117"/>
                      <a:pt x="370" y="116"/>
                      <a:pt x="370" y="116"/>
                    </a:cubicBezTo>
                    <a:moveTo>
                      <a:pt x="370" y="116"/>
                    </a:moveTo>
                    <a:cubicBezTo>
                      <a:pt x="371" y="116"/>
                      <a:pt x="372" y="115"/>
                      <a:pt x="372" y="115"/>
                    </a:cubicBezTo>
                    <a:moveTo>
                      <a:pt x="372" y="115"/>
                    </a:moveTo>
                    <a:cubicBezTo>
                      <a:pt x="373" y="115"/>
                      <a:pt x="374" y="114"/>
                      <a:pt x="374" y="114"/>
                    </a:cubicBezTo>
                    <a:moveTo>
                      <a:pt x="374" y="114"/>
                    </a:moveTo>
                    <a:cubicBezTo>
                      <a:pt x="376" y="114"/>
                      <a:pt x="377" y="113"/>
                      <a:pt x="377" y="112"/>
                    </a:cubicBezTo>
                    <a:moveTo>
                      <a:pt x="377" y="112"/>
                    </a:moveTo>
                    <a:cubicBezTo>
                      <a:pt x="409" y="94"/>
                      <a:pt x="445" y="80"/>
                      <a:pt x="477" y="62"/>
                    </a:cubicBezTo>
                    <a:moveTo>
                      <a:pt x="477" y="62"/>
                    </a:moveTo>
                    <a:cubicBezTo>
                      <a:pt x="478" y="62"/>
                      <a:pt x="479" y="62"/>
                      <a:pt x="479" y="61"/>
                    </a:cubicBezTo>
                    <a:moveTo>
                      <a:pt x="479" y="61"/>
                    </a:moveTo>
                    <a:cubicBezTo>
                      <a:pt x="483" y="62"/>
                      <a:pt x="479" y="58"/>
                      <a:pt x="479" y="61"/>
                    </a:cubicBezTo>
                    <a:moveTo>
                      <a:pt x="481" y="64"/>
                    </a:moveTo>
                    <a:cubicBezTo>
                      <a:pt x="480" y="63"/>
                      <a:pt x="481" y="64"/>
                      <a:pt x="481" y="64"/>
                    </a:cubicBezTo>
                    <a:close/>
                    <a:moveTo>
                      <a:pt x="524" y="63"/>
                    </a:moveTo>
                    <a:cubicBezTo>
                      <a:pt x="510" y="69"/>
                      <a:pt x="495" y="80"/>
                      <a:pt x="484" y="90"/>
                    </a:cubicBezTo>
                    <a:cubicBezTo>
                      <a:pt x="480" y="92"/>
                      <a:pt x="475" y="96"/>
                      <a:pt x="476" y="99"/>
                    </a:cubicBezTo>
                    <a:cubicBezTo>
                      <a:pt x="504" y="96"/>
                      <a:pt x="519" y="80"/>
                      <a:pt x="542" y="71"/>
                    </a:cubicBezTo>
                    <a:cubicBezTo>
                      <a:pt x="535" y="69"/>
                      <a:pt x="530" y="65"/>
                      <a:pt x="524" y="63"/>
                    </a:cubicBezTo>
                    <a:close/>
                    <a:moveTo>
                      <a:pt x="479" y="65"/>
                    </a:moveTo>
                    <a:cubicBezTo>
                      <a:pt x="478" y="64"/>
                      <a:pt x="479" y="65"/>
                      <a:pt x="479" y="65"/>
                    </a:cubicBezTo>
                    <a:close/>
                    <a:moveTo>
                      <a:pt x="1028" y="65"/>
                    </a:moveTo>
                    <a:cubicBezTo>
                      <a:pt x="1048" y="78"/>
                      <a:pt x="1066" y="92"/>
                      <a:pt x="1086" y="106"/>
                    </a:cubicBezTo>
                    <a:cubicBezTo>
                      <a:pt x="1106" y="107"/>
                      <a:pt x="1124" y="115"/>
                      <a:pt x="1141" y="117"/>
                    </a:cubicBezTo>
                    <a:cubicBezTo>
                      <a:pt x="1105" y="97"/>
                      <a:pt x="1069" y="79"/>
                      <a:pt x="1028" y="65"/>
                    </a:cubicBezTo>
                    <a:moveTo>
                      <a:pt x="1028" y="65"/>
                    </a:moveTo>
                    <a:cubicBezTo>
                      <a:pt x="1028" y="62"/>
                      <a:pt x="1024" y="66"/>
                      <a:pt x="1028" y="65"/>
                    </a:cubicBezTo>
                    <a:moveTo>
                      <a:pt x="993" y="66"/>
                    </a:moveTo>
                    <a:cubicBezTo>
                      <a:pt x="989" y="70"/>
                      <a:pt x="981" y="71"/>
                      <a:pt x="975" y="74"/>
                    </a:cubicBezTo>
                    <a:cubicBezTo>
                      <a:pt x="984" y="83"/>
                      <a:pt x="999" y="87"/>
                      <a:pt x="1009" y="95"/>
                    </a:cubicBezTo>
                    <a:cubicBezTo>
                      <a:pt x="1032" y="95"/>
                      <a:pt x="1054" y="102"/>
                      <a:pt x="1074" y="102"/>
                    </a:cubicBezTo>
                    <a:cubicBezTo>
                      <a:pt x="1048" y="89"/>
                      <a:pt x="1021" y="77"/>
                      <a:pt x="993" y="66"/>
                    </a:cubicBezTo>
                    <a:close/>
                    <a:moveTo>
                      <a:pt x="504" y="71"/>
                    </a:moveTo>
                    <a:cubicBezTo>
                      <a:pt x="503" y="71"/>
                      <a:pt x="504" y="72"/>
                      <a:pt x="504" y="71"/>
                    </a:cubicBezTo>
                    <a:close/>
                    <a:moveTo>
                      <a:pt x="502" y="72"/>
                    </a:moveTo>
                    <a:cubicBezTo>
                      <a:pt x="476" y="83"/>
                      <a:pt x="450" y="93"/>
                      <a:pt x="428" y="107"/>
                    </a:cubicBezTo>
                    <a:moveTo>
                      <a:pt x="428" y="107"/>
                    </a:moveTo>
                    <a:cubicBezTo>
                      <a:pt x="424" y="106"/>
                      <a:pt x="428" y="110"/>
                      <a:pt x="428" y="107"/>
                    </a:cubicBezTo>
                    <a:moveTo>
                      <a:pt x="428" y="107"/>
                    </a:moveTo>
                    <a:cubicBezTo>
                      <a:pt x="442" y="105"/>
                      <a:pt x="455" y="103"/>
                      <a:pt x="468" y="100"/>
                    </a:cubicBezTo>
                    <a:cubicBezTo>
                      <a:pt x="479" y="91"/>
                      <a:pt x="490" y="82"/>
                      <a:pt x="502" y="72"/>
                    </a:cubicBezTo>
                    <a:moveTo>
                      <a:pt x="502" y="72"/>
                    </a:moveTo>
                    <a:cubicBezTo>
                      <a:pt x="503" y="72"/>
                      <a:pt x="502" y="71"/>
                      <a:pt x="502" y="72"/>
                    </a:cubicBezTo>
                    <a:moveTo>
                      <a:pt x="544" y="73"/>
                    </a:moveTo>
                    <a:cubicBezTo>
                      <a:pt x="530" y="79"/>
                      <a:pt x="513" y="89"/>
                      <a:pt x="501" y="95"/>
                    </a:cubicBezTo>
                    <a:cubicBezTo>
                      <a:pt x="522" y="94"/>
                      <a:pt x="540" y="90"/>
                      <a:pt x="561" y="90"/>
                    </a:cubicBezTo>
                    <a:cubicBezTo>
                      <a:pt x="565" y="87"/>
                      <a:pt x="567" y="83"/>
                      <a:pt x="570" y="79"/>
                    </a:cubicBezTo>
                    <a:cubicBezTo>
                      <a:pt x="561" y="81"/>
                      <a:pt x="551" y="71"/>
                      <a:pt x="544" y="73"/>
                    </a:cubicBezTo>
                    <a:close/>
                    <a:moveTo>
                      <a:pt x="933" y="85"/>
                    </a:moveTo>
                    <a:cubicBezTo>
                      <a:pt x="948" y="90"/>
                      <a:pt x="970" y="89"/>
                      <a:pt x="988" y="92"/>
                    </a:cubicBezTo>
                    <a:cubicBezTo>
                      <a:pt x="981" y="71"/>
                      <a:pt x="952" y="78"/>
                      <a:pt x="933" y="85"/>
                    </a:cubicBezTo>
                    <a:close/>
                    <a:moveTo>
                      <a:pt x="569" y="86"/>
                    </a:moveTo>
                    <a:cubicBezTo>
                      <a:pt x="568" y="86"/>
                      <a:pt x="569" y="87"/>
                      <a:pt x="569" y="86"/>
                    </a:cubicBezTo>
                    <a:moveTo>
                      <a:pt x="569" y="86"/>
                    </a:moveTo>
                    <a:cubicBezTo>
                      <a:pt x="572" y="85"/>
                      <a:pt x="575" y="84"/>
                      <a:pt x="577" y="81"/>
                    </a:cubicBezTo>
                    <a:cubicBezTo>
                      <a:pt x="574" y="81"/>
                      <a:pt x="575" y="79"/>
                      <a:pt x="572" y="80"/>
                    </a:cubicBezTo>
                    <a:cubicBezTo>
                      <a:pt x="572" y="84"/>
                      <a:pt x="569" y="82"/>
                      <a:pt x="569" y="86"/>
                    </a:cubicBezTo>
                    <a:moveTo>
                      <a:pt x="573" y="88"/>
                    </a:moveTo>
                    <a:cubicBezTo>
                      <a:pt x="569" y="87"/>
                      <a:pt x="573" y="91"/>
                      <a:pt x="573" y="88"/>
                    </a:cubicBezTo>
                    <a:moveTo>
                      <a:pt x="573" y="88"/>
                    </a:moveTo>
                    <a:cubicBezTo>
                      <a:pt x="583" y="87"/>
                      <a:pt x="594" y="88"/>
                      <a:pt x="602" y="85"/>
                    </a:cubicBezTo>
                    <a:cubicBezTo>
                      <a:pt x="590" y="84"/>
                      <a:pt x="579" y="79"/>
                      <a:pt x="573" y="88"/>
                    </a:cubicBezTo>
                    <a:moveTo>
                      <a:pt x="1092" y="83"/>
                    </a:moveTo>
                    <a:cubicBezTo>
                      <a:pt x="1092" y="83"/>
                      <a:pt x="1093" y="84"/>
                      <a:pt x="1092" y="83"/>
                    </a:cubicBezTo>
                    <a:close/>
                    <a:moveTo>
                      <a:pt x="695" y="84"/>
                    </a:moveTo>
                    <a:cubicBezTo>
                      <a:pt x="694" y="87"/>
                      <a:pt x="692" y="89"/>
                      <a:pt x="690" y="92"/>
                    </a:cubicBezTo>
                    <a:cubicBezTo>
                      <a:pt x="710" y="92"/>
                      <a:pt x="729" y="93"/>
                      <a:pt x="750" y="93"/>
                    </a:cubicBezTo>
                    <a:cubicBezTo>
                      <a:pt x="750" y="88"/>
                      <a:pt x="752" y="87"/>
                      <a:pt x="751" y="83"/>
                    </a:cubicBezTo>
                    <a:cubicBezTo>
                      <a:pt x="732" y="82"/>
                      <a:pt x="715" y="85"/>
                      <a:pt x="695" y="84"/>
                    </a:cubicBezTo>
                    <a:close/>
                    <a:moveTo>
                      <a:pt x="753" y="94"/>
                    </a:moveTo>
                    <a:cubicBezTo>
                      <a:pt x="763" y="94"/>
                      <a:pt x="770" y="92"/>
                      <a:pt x="779" y="93"/>
                    </a:cubicBezTo>
                    <a:cubicBezTo>
                      <a:pt x="780" y="89"/>
                      <a:pt x="778" y="87"/>
                      <a:pt x="778" y="83"/>
                    </a:cubicBezTo>
                    <a:cubicBezTo>
                      <a:pt x="768" y="84"/>
                      <a:pt x="749" y="77"/>
                      <a:pt x="753" y="94"/>
                    </a:cubicBezTo>
                    <a:close/>
                    <a:moveTo>
                      <a:pt x="781" y="93"/>
                    </a:moveTo>
                    <a:cubicBezTo>
                      <a:pt x="792" y="92"/>
                      <a:pt x="805" y="94"/>
                      <a:pt x="814" y="92"/>
                    </a:cubicBezTo>
                    <a:cubicBezTo>
                      <a:pt x="812" y="90"/>
                      <a:pt x="811" y="87"/>
                      <a:pt x="810" y="84"/>
                    </a:cubicBezTo>
                    <a:cubicBezTo>
                      <a:pt x="800" y="84"/>
                      <a:pt x="792" y="82"/>
                      <a:pt x="781" y="83"/>
                    </a:cubicBezTo>
                    <a:cubicBezTo>
                      <a:pt x="781" y="86"/>
                      <a:pt x="781" y="89"/>
                      <a:pt x="781" y="93"/>
                    </a:cubicBezTo>
                    <a:close/>
                    <a:moveTo>
                      <a:pt x="1094" y="84"/>
                    </a:moveTo>
                    <a:cubicBezTo>
                      <a:pt x="1095" y="85"/>
                      <a:pt x="1094" y="84"/>
                      <a:pt x="1094" y="84"/>
                    </a:cubicBezTo>
                    <a:close/>
                    <a:moveTo>
                      <a:pt x="670" y="85"/>
                    </a:moveTo>
                    <a:cubicBezTo>
                      <a:pt x="671" y="88"/>
                      <a:pt x="668" y="87"/>
                      <a:pt x="669" y="90"/>
                    </a:cubicBezTo>
                    <a:cubicBezTo>
                      <a:pt x="675" y="90"/>
                      <a:pt x="681" y="91"/>
                      <a:pt x="688" y="91"/>
                    </a:cubicBezTo>
                    <a:cubicBezTo>
                      <a:pt x="688" y="88"/>
                      <a:pt x="691" y="86"/>
                      <a:pt x="692" y="84"/>
                    </a:cubicBezTo>
                    <a:cubicBezTo>
                      <a:pt x="685" y="84"/>
                      <a:pt x="678" y="85"/>
                      <a:pt x="670" y="85"/>
                    </a:cubicBezTo>
                    <a:close/>
                    <a:moveTo>
                      <a:pt x="818" y="92"/>
                    </a:moveTo>
                    <a:cubicBezTo>
                      <a:pt x="837" y="91"/>
                      <a:pt x="856" y="90"/>
                      <a:pt x="873" y="88"/>
                    </a:cubicBezTo>
                    <a:cubicBezTo>
                      <a:pt x="858" y="83"/>
                      <a:pt x="832" y="84"/>
                      <a:pt x="814" y="85"/>
                    </a:cubicBezTo>
                    <a:cubicBezTo>
                      <a:pt x="816" y="86"/>
                      <a:pt x="816" y="90"/>
                      <a:pt x="818" y="92"/>
                    </a:cubicBezTo>
                    <a:close/>
                    <a:moveTo>
                      <a:pt x="1096" y="85"/>
                    </a:moveTo>
                    <a:cubicBezTo>
                      <a:pt x="1096" y="85"/>
                      <a:pt x="1097" y="86"/>
                      <a:pt x="1096" y="85"/>
                    </a:cubicBezTo>
                    <a:close/>
                    <a:moveTo>
                      <a:pt x="639" y="88"/>
                    </a:moveTo>
                    <a:cubicBezTo>
                      <a:pt x="648" y="88"/>
                      <a:pt x="656" y="89"/>
                      <a:pt x="665" y="90"/>
                    </a:cubicBezTo>
                    <a:cubicBezTo>
                      <a:pt x="664" y="87"/>
                      <a:pt x="666" y="87"/>
                      <a:pt x="666" y="85"/>
                    </a:cubicBezTo>
                    <a:cubicBezTo>
                      <a:pt x="658" y="87"/>
                      <a:pt x="645" y="84"/>
                      <a:pt x="639" y="88"/>
                    </a:cubicBezTo>
                    <a:close/>
                    <a:moveTo>
                      <a:pt x="931" y="86"/>
                    </a:moveTo>
                    <a:cubicBezTo>
                      <a:pt x="930" y="85"/>
                      <a:pt x="923" y="84"/>
                      <a:pt x="922" y="86"/>
                    </a:cubicBezTo>
                    <a:cubicBezTo>
                      <a:pt x="926" y="85"/>
                      <a:pt x="929" y="89"/>
                      <a:pt x="931" y="86"/>
                    </a:cubicBezTo>
                    <a:close/>
                    <a:moveTo>
                      <a:pt x="988" y="86"/>
                    </a:moveTo>
                    <a:cubicBezTo>
                      <a:pt x="988" y="86"/>
                      <a:pt x="988" y="87"/>
                      <a:pt x="988" y="87"/>
                    </a:cubicBezTo>
                    <a:cubicBezTo>
                      <a:pt x="990" y="88"/>
                      <a:pt x="991" y="90"/>
                      <a:pt x="992" y="93"/>
                    </a:cubicBezTo>
                    <a:cubicBezTo>
                      <a:pt x="995" y="93"/>
                      <a:pt x="998" y="93"/>
                      <a:pt x="1000" y="93"/>
                    </a:cubicBezTo>
                    <a:moveTo>
                      <a:pt x="1000" y="93"/>
                    </a:moveTo>
                    <a:cubicBezTo>
                      <a:pt x="1001" y="94"/>
                      <a:pt x="1001" y="93"/>
                      <a:pt x="1000" y="93"/>
                    </a:cubicBezTo>
                    <a:moveTo>
                      <a:pt x="1000" y="93"/>
                    </a:moveTo>
                    <a:cubicBezTo>
                      <a:pt x="996" y="90"/>
                      <a:pt x="993" y="87"/>
                      <a:pt x="988" y="86"/>
                    </a:cubicBezTo>
                    <a:moveTo>
                      <a:pt x="988" y="86"/>
                    </a:moveTo>
                    <a:cubicBezTo>
                      <a:pt x="987" y="84"/>
                      <a:pt x="986" y="86"/>
                      <a:pt x="988" y="86"/>
                    </a:cubicBezTo>
                    <a:moveTo>
                      <a:pt x="1173" y="127"/>
                    </a:moveTo>
                    <a:cubicBezTo>
                      <a:pt x="1173" y="128"/>
                      <a:pt x="1174" y="128"/>
                      <a:pt x="1175" y="128"/>
                    </a:cubicBezTo>
                    <a:moveTo>
                      <a:pt x="1175" y="128"/>
                    </a:moveTo>
                    <a:cubicBezTo>
                      <a:pt x="1175" y="130"/>
                      <a:pt x="1176" y="128"/>
                      <a:pt x="1175" y="128"/>
                    </a:cubicBezTo>
                    <a:moveTo>
                      <a:pt x="1175" y="128"/>
                    </a:moveTo>
                    <a:cubicBezTo>
                      <a:pt x="1175" y="127"/>
                      <a:pt x="1174" y="127"/>
                      <a:pt x="1173" y="127"/>
                    </a:cubicBezTo>
                    <a:moveTo>
                      <a:pt x="1173" y="127"/>
                    </a:moveTo>
                    <a:cubicBezTo>
                      <a:pt x="1150" y="112"/>
                      <a:pt x="1124" y="95"/>
                      <a:pt x="1098" y="86"/>
                    </a:cubicBezTo>
                    <a:cubicBezTo>
                      <a:pt x="1125" y="98"/>
                      <a:pt x="1141" y="120"/>
                      <a:pt x="1173" y="127"/>
                    </a:cubicBezTo>
                    <a:moveTo>
                      <a:pt x="885" y="86"/>
                    </a:moveTo>
                    <a:cubicBezTo>
                      <a:pt x="882" y="86"/>
                      <a:pt x="877" y="85"/>
                      <a:pt x="875" y="87"/>
                    </a:cubicBezTo>
                    <a:cubicBezTo>
                      <a:pt x="877" y="88"/>
                      <a:pt x="885" y="90"/>
                      <a:pt x="885" y="86"/>
                    </a:cubicBezTo>
                    <a:close/>
                    <a:moveTo>
                      <a:pt x="430" y="89"/>
                    </a:moveTo>
                    <a:cubicBezTo>
                      <a:pt x="429" y="88"/>
                      <a:pt x="430" y="89"/>
                      <a:pt x="430" y="89"/>
                    </a:cubicBezTo>
                    <a:close/>
                    <a:moveTo>
                      <a:pt x="564" y="92"/>
                    </a:moveTo>
                    <a:cubicBezTo>
                      <a:pt x="535" y="128"/>
                      <a:pt x="514" y="173"/>
                      <a:pt x="497" y="221"/>
                    </a:cubicBezTo>
                    <a:cubicBezTo>
                      <a:pt x="502" y="220"/>
                      <a:pt x="508" y="220"/>
                      <a:pt x="513" y="219"/>
                    </a:cubicBezTo>
                    <a:cubicBezTo>
                      <a:pt x="545" y="174"/>
                      <a:pt x="578" y="131"/>
                      <a:pt x="619" y="95"/>
                    </a:cubicBezTo>
                    <a:cubicBezTo>
                      <a:pt x="620" y="94"/>
                      <a:pt x="628" y="90"/>
                      <a:pt x="624" y="89"/>
                    </a:cubicBezTo>
                    <a:cubicBezTo>
                      <a:pt x="604" y="86"/>
                      <a:pt x="584" y="91"/>
                      <a:pt x="564" y="92"/>
                    </a:cubicBezTo>
                    <a:close/>
                    <a:moveTo>
                      <a:pt x="1055" y="192"/>
                    </a:moveTo>
                    <a:cubicBezTo>
                      <a:pt x="1019" y="154"/>
                      <a:pt x="980" y="120"/>
                      <a:pt x="937" y="90"/>
                    </a:cubicBezTo>
                    <a:cubicBezTo>
                      <a:pt x="922" y="89"/>
                      <a:pt x="906" y="86"/>
                      <a:pt x="893" y="90"/>
                    </a:cubicBezTo>
                    <a:cubicBezTo>
                      <a:pt x="901" y="111"/>
                      <a:pt x="911" y="126"/>
                      <a:pt x="923" y="142"/>
                    </a:cubicBezTo>
                    <a:cubicBezTo>
                      <a:pt x="942" y="166"/>
                      <a:pt x="959" y="189"/>
                      <a:pt x="973" y="216"/>
                    </a:cubicBezTo>
                    <a:cubicBezTo>
                      <a:pt x="1006" y="219"/>
                      <a:pt x="1038" y="222"/>
                      <a:pt x="1069" y="226"/>
                    </a:cubicBezTo>
                    <a:cubicBezTo>
                      <a:pt x="1065" y="214"/>
                      <a:pt x="1059" y="204"/>
                      <a:pt x="1055" y="192"/>
                    </a:cubicBezTo>
                    <a:close/>
                    <a:moveTo>
                      <a:pt x="366" y="122"/>
                    </a:moveTo>
                    <a:cubicBezTo>
                      <a:pt x="394" y="118"/>
                      <a:pt x="410" y="101"/>
                      <a:pt x="429" y="89"/>
                    </a:cubicBezTo>
                    <a:cubicBezTo>
                      <a:pt x="407" y="99"/>
                      <a:pt x="386" y="110"/>
                      <a:pt x="366" y="122"/>
                    </a:cubicBezTo>
                    <a:close/>
                    <a:moveTo>
                      <a:pt x="631" y="90"/>
                    </a:moveTo>
                    <a:cubicBezTo>
                      <a:pt x="632" y="88"/>
                      <a:pt x="629" y="90"/>
                      <a:pt x="629" y="91"/>
                    </a:cubicBezTo>
                    <a:cubicBezTo>
                      <a:pt x="589" y="125"/>
                      <a:pt x="552" y="168"/>
                      <a:pt x="523" y="212"/>
                    </a:cubicBezTo>
                    <a:cubicBezTo>
                      <a:pt x="522" y="214"/>
                      <a:pt x="517" y="216"/>
                      <a:pt x="519" y="219"/>
                    </a:cubicBezTo>
                    <a:cubicBezTo>
                      <a:pt x="554" y="215"/>
                      <a:pt x="591" y="214"/>
                      <a:pt x="629" y="212"/>
                    </a:cubicBezTo>
                    <a:cubicBezTo>
                      <a:pt x="645" y="177"/>
                      <a:pt x="650" y="130"/>
                      <a:pt x="663" y="93"/>
                    </a:cubicBezTo>
                    <a:cubicBezTo>
                      <a:pt x="653" y="91"/>
                      <a:pt x="643" y="90"/>
                      <a:pt x="631" y="90"/>
                    </a:cubicBezTo>
                    <a:close/>
                    <a:moveTo>
                      <a:pt x="899" y="111"/>
                    </a:moveTo>
                    <a:cubicBezTo>
                      <a:pt x="900" y="112"/>
                      <a:pt x="900" y="111"/>
                      <a:pt x="899" y="111"/>
                    </a:cubicBezTo>
                    <a:moveTo>
                      <a:pt x="899" y="111"/>
                    </a:moveTo>
                    <a:cubicBezTo>
                      <a:pt x="897" y="103"/>
                      <a:pt x="893" y="97"/>
                      <a:pt x="891" y="90"/>
                    </a:cubicBezTo>
                    <a:cubicBezTo>
                      <a:pt x="886" y="90"/>
                      <a:pt x="882" y="89"/>
                      <a:pt x="880" y="92"/>
                    </a:cubicBezTo>
                    <a:cubicBezTo>
                      <a:pt x="887" y="97"/>
                      <a:pt x="892" y="105"/>
                      <a:pt x="899" y="111"/>
                    </a:cubicBezTo>
                    <a:moveTo>
                      <a:pt x="943" y="91"/>
                    </a:moveTo>
                    <a:cubicBezTo>
                      <a:pt x="979" y="114"/>
                      <a:pt x="1013" y="148"/>
                      <a:pt x="1044" y="177"/>
                    </a:cubicBezTo>
                    <a:cubicBezTo>
                      <a:pt x="1045" y="178"/>
                      <a:pt x="1047" y="183"/>
                      <a:pt x="1049" y="180"/>
                    </a:cubicBezTo>
                    <a:cubicBezTo>
                      <a:pt x="1032" y="150"/>
                      <a:pt x="1014" y="120"/>
                      <a:pt x="991" y="95"/>
                    </a:cubicBezTo>
                    <a:cubicBezTo>
                      <a:pt x="975" y="94"/>
                      <a:pt x="961" y="91"/>
                      <a:pt x="943" y="91"/>
                    </a:cubicBezTo>
                    <a:moveTo>
                      <a:pt x="943" y="91"/>
                    </a:moveTo>
                    <a:cubicBezTo>
                      <a:pt x="943" y="88"/>
                      <a:pt x="939" y="92"/>
                      <a:pt x="943" y="91"/>
                    </a:cubicBezTo>
                    <a:moveTo>
                      <a:pt x="904" y="120"/>
                    </a:moveTo>
                    <a:cubicBezTo>
                      <a:pt x="894" y="111"/>
                      <a:pt x="886" y="98"/>
                      <a:pt x="874" y="91"/>
                    </a:cubicBezTo>
                    <a:cubicBezTo>
                      <a:pt x="857" y="93"/>
                      <a:pt x="838" y="94"/>
                      <a:pt x="820" y="95"/>
                    </a:cubicBezTo>
                    <a:cubicBezTo>
                      <a:pt x="835" y="132"/>
                      <a:pt x="849" y="170"/>
                      <a:pt x="860" y="211"/>
                    </a:cubicBezTo>
                    <a:cubicBezTo>
                      <a:pt x="885" y="210"/>
                      <a:pt x="907" y="212"/>
                      <a:pt x="931" y="214"/>
                    </a:cubicBezTo>
                    <a:cubicBezTo>
                      <a:pt x="924" y="180"/>
                      <a:pt x="914" y="150"/>
                      <a:pt x="904" y="120"/>
                    </a:cubicBezTo>
                    <a:close/>
                    <a:moveTo>
                      <a:pt x="558" y="93"/>
                    </a:moveTo>
                    <a:cubicBezTo>
                      <a:pt x="558" y="92"/>
                      <a:pt x="559" y="93"/>
                      <a:pt x="558" y="93"/>
                    </a:cubicBezTo>
                    <a:close/>
                    <a:moveTo>
                      <a:pt x="492" y="99"/>
                    </a:moveTo>
                    <a:cubicBezTo>
                      <a:pt x="485" y="102"/>
                      <a:pt x="476" y="109"/>
                      <a:pt x="468" y="114"/>
                    </a:cubicBezTo>
                    <a:cubicBezTo>
                      <a:pt x="460" y="119"/>
                      <a:pt x="450" y="123"/>
                      <a:pt x="444" y="128"/>
                    </a:cubicBezTo>
                    <a:cubicBezTo>
                      <a:pt x="432" y="139"/>
                      <a:pt x="421" y="155"/>
                      <a:pt x="411" y="169"/>
                    </a:cubicBezTo>
                    <a:cubicBezTo>
                      <a:pt x="400" y="185"/>
                      <a:pt x="389" y="201"/>
                      <a:pt x="382" y="216"/>
                    </a:cubicBezTo>
                    <a:cubicBezTo>
                      <a:pt x="390" y="219"/>
                      <a:pt x="399" y="220"/>
                      <a:pt x="407" y="223"/>
                    </a:cubicBezTo>
                    <a:cubicBezTo>
                      <a:pt x="452" y="175"/>
                      <a:pt x="501" y="130"/>
                      <a:pt x="558" y="93"/>
                    </a:cubicBezTo>
                    <a:cubicBezTo>
                      <a:pt x="533" y="97"/>
                      <a:pt x="512" y="93"/>
                      <a:pt x="492" y="99"/>
                    </a:cubicBezTo>
                    <a:close/>
                    <a:moveTo>
                      <a:pt x="667" y="93"/>
                    </a:moveTo>
                    <a:cubicBezTo>
                      <a:pt x="661" y="115"/>
                      <a:pt x="652" y="139"/>
                      <a:pt x="650" y="163"/>
                    </a:cubicBezTo>
                    <a:cubicBezTo>
                      <a:pt x="660" y="138"/>
                      <a:pt x="673" y="116"/>
                      <a:pt x="685" y="94"/>
                    </a:cubicBezTo>
                    <a:cubicBezTo>
                      <a:pt x="678" y="94"/>
                      <a:pt x="674" y="92"/>
                      <a:pt x="667" y="93"/>
                    </a:cubicBezTo>
                    <a:close/>
                    <a:moveTo>
                      <a:pt x="639" y="211"/>
                    </a:moveTo>
                    <a:cubicBezTo>
                      <a:pt x="674" y="211"/>
                      <a:pt x="707" y="208"/>
                      <a:pt x="743" y="209"/>
                    </a:cubicBezTo>
                    <a:cubicBezTo>
                      <a:pt x="745" y="170"/>
                      <a:pt x="747" y="132"/>
                      <a:pt x="750" y="95"/>
                    </a:cubicBezTo>
                    <a:cubicBezTo>
                      <a:pt x="729" y="96"/>
                      <a:pt x="708" y="95"/>
                      <a:pt x="689" y="94"/>
                    </a:cubicBezTo>
                    <a:cubicBezTo>
                      <a:pt x="669" y="129"/>
                      <a:pt x="646" y="162"/>
                      <a:pt x="639" y="211"/>
                    </a:cubicBezTo>
                    <a:close/>
                    <a:moveTo>
                      <a:pt x="825" y="120"/>
                    </a:moveTo>
                    <a:cubicBezTo>
                      <a:pt x="823" y="113"/>
                      <a:pt x="819" y="96"/>
                      <a:pt x="811" y="95"/>
                    </a:cubicBezTo>
                    <a:cubicBezTo>
                      <a:pt x="803" y="93"/>
                      <a:pt x="791" y="98"/>
                      <a:pt x="782" y="95"/>
                    </a:cubicBezTo>
                    <a:cubicBezTo>
                      <a:pt x="784" y="133"/>
                      <a:pt x="786" y="171"/>
                      <a:pt x="787" y="209"/>
                    </a:cubicBezTo>
                    <a:cubicBezTo>
                      <a:pt x="811" y="208"/>
                      <a:pt x="832" y="210"/>
                      <a:pt x="855" y="210"/>
                    </a:cubicBezTo>
                    <a:cubicBezTo>
                      <a:pt x="848" y="183"/>
                      <a:pt x="836" y="148"/>
                      <a:pt x="825" y="120"/>
                    </a:cubicBezTo>
                    <a:close/>
                    <a:moveTo>
                      <a:pt x="499" y="96"/>
                    </a:moveTo>
                    <a:cubicBezTo>
                      <a:pt x="499" y="96"/>
                      <a:pt x="500" y="97"/>
                      <a:pt x="499" y="96"/>
                    </a:cubicBezTo>
                    <a:close/>
                    <a:moveTo>
                      <a:pt x="752" y="98"/>
                    </a:moveTo>
                    <a:cubicBezTo>
                      <a:pt x="750" y="135"/>
                      <a:pt x="747" y="171"/>
                      <a:pt x="746" y="209"/>
                    </a:cubicBezTo>
                    <a:cubicBezTo>
                      <a:pt x="758" y="209"/>
                      <a:pt x="771" y="209"/>
                      <a:pt x="784" y="209"/>
                    </a:cubicBezTo>
                    <a:cubicBezTo>
                      <a:pt x="783" y="170"/>
                      <a:pt x="781" y="133"/>
                      <a:pt x="779" y="95"/>
                    </a:cubicBezTo>
                    <a:cubicBezTo>
                      <a:pt x="771" y="97"/>
                      <a:pt x="756" y="92"/>
                      <a:pt x="752" y="98"/>
                    </a:cubicBezTo>
                    <a:close/>
                    <a:moveTo>
                      <a:pt x="1056" y="191"/>
                    </a:moveTo>
                    <a:cubicBezTo>
                      <a:pt x="1069" y="202"/>
                      <a:pt x="1077" y="217"/>
                      <a:pt x="1090" y="228"/>
                    </a:cubicBezTo>
                    <a:cubicBezTo>
                      <a:pt x="1115" y="224"/>
                      <a:pt x="1137" y="218"/>
                      <a:pt x="1159" y="212"/>
                    </a:cubicBezTo>
                    <a:cubicBezTo>
                      <a:pt x="1152" y="199"/>
                      <a:pt x="1138" y="190"/>
                      <a:pt x="1126" y="180"/>
                    </a:cubicBezTo>
                    <a:cubicBezTo>
                      <a:pt x="1101" y="159"/>
                      <a:pt x="1078" y="141"/>
                      <a:pt x="1049" y="122"/>
                    </a:cubicBezTo>
                    <a:cubicBezTo>
                      <a:pt x="1032" y="112"/>
                      <a:pt x="1016" y="96"/>
                      <a:pt x="996" y="96"/>
                    </a:cubicBezTo>
                    <a:cubicBezTo>
                      <a:pt x="1020" y="124"/>
                      <a:pt x="1040" y="155"/>
                      <a:pt x="1056" y="191"/>
                    </a:cubicBezTo>
                    <a:close/>
                    <a:moveTo>
                      <a:pt x="1095" y="150"/>
                    </a:moveTo>
                    <a:cubicBezTo>
                      <a:pt x="1112" y="165"/>
                      <a:pt x="1132" y="180"/>
                      <a:pt x="1149" y="195"/>
                    </a:cubicBezTo>
                    <a:cubicBezTo>
                      <a:pt x="1154" y="200"/>
                      <a:pt x="1159" y="209"/>
                      <a:pt x="1167" y="209"/>
                    </a:cubicBezTo>
                    <a:cubicBezTo>
                      <a:pt x="1146" y="171"/>
                      <a:pt x="1113" y="136"/>
                      <a:pt x="1081" y="107"/>
                    </a:cubicBezTo>
                    <a:cubicBezTo>
                      <a:pt x="1060" y="104"/>
                      <a:pt x="1036" y="99"/>
                      <a:pt x="1015" y="98"/>
                    </a:cubicBezTo>
                    <a:cubicBezTo>
                      <a:pt x="1044" y="113"/>
                      <a:pt x="1069" y="132"/>
                      <a:pt x="1095" y="150"/>
                    </a:cubicBezTo>
                    <a:close/>
                    <a:moveTo>
                      <a:pt x="555" y="99"/>
                    </a:moveTo>
                    <a:cubicBezTo>
                      <a:pt x="506" y="130"/>
                      <a:pt x="457" y="172"/>
                      <a:pt x="418" y="216"/>
                    </a:cubicBezTo>
                    <a:cubicBezTo>
                      <a:pt x="417" y="218"/>
                      <a:pt x="411" y="220"/>
                      <a:pt x="414" y="224"/>
                    </a:cubicBezTo>
                    <a:cubicBezTo>
                      <a:pt x="438" y="232"/>
                      <a:pt x="467" y="223"/>
                      <a:pt x="494" y="221"/>
                    </a:cubicBezTo>
                    <a:cubicBezTo>
                      <a:pt x="510" y="176"/>
                      <a:pt x="530" y="135"/>
                      <a:pt x="555" y="99"/>
                    </a:cubicBezTo>
                    <a:moveTo>
                      <a:pt x="555" y="99"/>
                    </a:moveTo>
                    <a:cubicBezTo>
                      <a:pt x="556" y="99"/>
                      <a:pt x="555" y="98"/>
                      <a:pt x="555" y="99"/>
                    </a:cubicBezTo>
                    <a:moveTo>
                      <a:pt x="484" y="101"/>
                    </a:moveTo>
                    <a:cubicBezTo>
                      <a:pt x="483" y="101"/>
                      <a:pt x="484" y="102"/>
                      <a:pt x="484" y="101"/>
                    </a:cubicBezTo>
                    <a:close/>
                    <a:moveTo>
                      <a:pt x="1118" y="101"/>
                    </a:moveTo>
                    <a:cubicBezTo>
                      <a:pt x="1119" y="103"/>
                      <a:pt x="1119" y="101"/>
                      <a:pt x="1118" y="101"/>
                    </a:cubicBezTo>
                    <a:moveTo>
                      <a:pt x="1118" y="101"/>
                    </a:moveTo>
                    <a:cubicBezTo>
                      <a:pt x="1118" y="100"/>
                      <a:pt x="1117" y="101"/>
                      <a:pt x="1118" y="101"/>
                    </a:cubicBezTo>
                    <a:moveTo>
                      <a:pt x="454" y="119"/>
                    </a:moveTo>
                    <a:cubicBezTo>
                      <a:pt x="452" y="119"/>
                      <a:pt x="454" y="120"/>
                      <a:pt x="454" y="119"/>
                    </a:cubicBezTo>
                    <a:moveTo>
                      <a:pt x="454" y="119"/>
                    </a:moveTo>
                    <a:cubicBezTo>
                      <a:pt x="464" y="113"/>
                      <a:pt x="474" y="108"/>
                      <a:pt x="483" y="101"/>
                    </a:cubicBezTo>
                    <a:cubicBezTo>
                      <a:pt x="466" y="100"/>
                      <a:pt x="462" y="111"/>
                      <a:pt x="454" y="119"/>
                    </a:cubicBezTo>
                    <a:moveTo>
                      <a:pt x="1120" y="103"/>
                    </a:moveTo>
                    <a:cubicBezTo>
                      <a:pt x="1120" y="103"/>
                      <a:pt x="1121" y="104"/>
                      <a:pt x="1120" y="103"/>
                    </a:cubicBezTo>
                    <a:close/>
                    <a:moveTo>
                      <a:pt x="1075" y="104"/>
                    </a:moveTo>
                    <a:cubicBezTo>
                      <a:pt x="1075" y="104"/>
                      <a:pt x="1076" y="105"/>
                      <a:pt x="1075" y="104"/>
                    </a:cubicBezTo>
                    <a:close/>
                    <a:moveTo>
                      <a:pt x="417" y="112"/>
                    </a:moveTo>
                    <a:cubicBezTo>
                      <a:pt x="407" y="115"/>
                      <a:pt x="396" y="125"/>
                      <a:pt x="386" y="131"/>
                    </a:cubicBezTo>
                    <a:cubicBezTo>
                      <a:pt x="357" y="148"/>
                      <a:pt x="335" y="165"/>
                      <a:pt x="317" y="191"/>
                    </a:cubicBezTo>
                    <a:cubicBezTo>
                      <a:pt x="325" y="195"/>
                      <a:pt x="332" y="200"/>
                      <a:pt x="342" y="203"/>
                    </a:cubicBezTo>
                    <a:cubicBezTo>
                      <a:pt x="374" y="176"/>
                      <a:pt x="406" y="149"/>
                      <a:pt x="442" y="127"/>
                    </a:cubicBezTo>
                    <a:cubicBezTo>
                      <a:pt x="445" y="123"/>
                      <a:pt x="449" y="119"/>
                      <a:pt x="453" y="115"/>
                    </a:cubicBezTo>
                    <a:cubicBezTo>
                      <a:pt x="455" y="112"/>
                      <a:pt x="466" y="105"/>
                      <a:pt x="461" y="104"/>
                    </a:cubicBezTo>
                    <a:cubicBezTo>
                      <a:pt x="446" y="109"/>
                      <a:pt x="430" y="107"/>
                      <a:pt x="417" y="112"/>
                    </a:cubicBezTo>
                    <a:close/>
                    <a:moveTo>
                      <a:pt x="1210" y="188"/>
                    </a:moveTo>
                    <a:cubicBezTo>
                      <a:pt x="1213" y="187"/>
                      <a:pt x="1214" y="184"/>
                      <a:pt x="1216" y="183"/>
                    </a:cubicBezTo>
                    <a:cubicBezTo>
                      <a:pt x="1210" y="171"/>
                      <a:pt x="1197" y="162"/>
                      <a:pt x="1185" y="152"/>
                    </a:cubicBezTo>
                    <a:cubicBezTo>
                      <a:pt x="1175" y="143"/>
                      <a:pt x="1164" y="130"/>
                      <a:pt x="1151" y="123"/>
                    </a:cubicBezTo>
                    <a:cubicBezTo>
                      <a:pt x="1135" y="116"/>
                      <a:pt x="1116" y="117"/>
                      <a:pt x="1097" y="110"/>
                    </a:cubicBezTo>
                    <a:cubicBezTo>
                      <a:pt x="1096" y="110"/>
                      <a:pt x="1094" y="110"/>
                      <a:pt x="1094" y="111"/>
                    </a:cubicBezTo>
                    <a:cubicBezTo>
                      <a:pt x="1136" y="132"/>
                      <a:pt x="1174" y="163"/>
                      <a:pt x="1210" y="188"/>
                    </a:cubicBezTo>
                    <a:close/>
                    <a:moveTo>
                      <a:pt x="1090" y="112"/>
                    </a:moveTo>
                    <a:cubicBezTo>
                      <a:pt x="1090" y="112"/>
                      <a:pt x="1090" y="113"/>
                      <a:pt x="1090" y="113"/>
                    </a:cubicBezTo>
                    <a:cubicBezTo>
                      <a:pt x="1124" y="138"/>
                      <a:pt x="1146" y="175"/>
                      <a:pt x="1173" y="207"/>
                    </a:cubicBezTo>
                    <a:cubicBezTo>
                      <a:pt x="1185" y="202"/>
                      <a:pt x="1198" y="198"/>
                      <a:pt x="1206" y="190"/>
                    </a:cubicBezTo>
                    <a:cubicBezTo>
                      <a:pt x="1170" y="161"/>
                      <a:pt x="1132" y="134"/>
                      <a:pt x="1090" y="112"/>
                    </a:cubicBezTo>
                    <a:moveTo>
                      <a:pt x="1090" y="112"/>
                    </a:moveTo>
                    <a:cubicBezTo>
                      <a:pt x="1090" y="110"/>
                      <a:pt x="1089" y="112"/>
                      <a:pt x="1090" y="112"/>
                    </a:cubicBezTo>
                    <a:moveTo>
                      <a:pt x="405" y="116"/>
                    </a:moveTo>
                    <a:cubicBezTo>
                      <a:pt x="389" y="116"/>
                      <a:pt x="383" y="126"/>
                      <a:pt x="374" y="134"/>
                    </a:cubicBezTo>
                    <a:moveTo>
                      <a:pt x="374" y="134"/>
                    </a:moveTo>
                    <a:cubicBezTo>
                      <a:pt x="373" y="134"/>
                      <a:pt x="372" y="135"/>
                      <a:pt x="371" y="136"/>
                    </a:cubicBezTo>
                    <a:moveTo>
                      <a:pt x="371" y="136"/>
                    </a:moveTo>
                    <a:cubicBezTo>
                      <a:pt x="370" y="136"/>
                      <a:pt x="370" y="136"/>
                      <a:pt x="370" y="137"/>
                    </a:cubicBezTo>
                    <a:moveTo>
                      <a:pt x="370" y="137"/>
                    </a:moveTo>
                    <a:cubicBezTo>
                      <a:pt x="369" y="137"/>
                      <a:pt x="370" y="138"/>
                      <a:pt x="370" y="137"/>
                    </a:cubicBezTo>
                    <a:moveTo>
                      <a:pt x="370" y="137"/>
                    </a:moveTo>
                    <a:cubicBezTo>
                      <a:pt x="371" y="137"/>
                      <a:pt x="371" y="136"/>
                      <a:pt x="371" y="136"/>
                    </a:cubicBezTo>
                    <a:moveTo>
                      <a:pt x="371" y="136"/>
                    </a:moveTo>
                    <a:cubicBezTo>
                      <a:pt x="373" y="136"/>
                      <a:pt x="374" y="135"/>
                      <a:pt x="374" y="134"/>
                    </a:cubicBezTo>
                    <a:moveTo>
                      <a:pt x="374" y="134"/>
                    </a:moveTo>
                    <a:cubicBezTo>
                      <a:pt x="385" y="129"/>
                      <a:pt x="395" y="122"/>
                      <a:pt x="405" y="116"/>
                    </a:cubicBezTo>
                    <a:moveTo>
                      <a:pt x="405" y="116"/>
                    </a:moveTo>
                    <a:cubicBezTo>
                      <a:pt x="409" y="117"/>
                      <a:pt x="405" y="113"/>
                      <a:pt x="405" y="116"/>
                    </a:cubicBezTo>
                    <a:moveTo>
                      <a:pt x="1142" y="119"/>
                    </a:moveTo>
                    <a:cubicBezTo>
                      <a:pt x="1142" y="118"/>
                      <a:pt x="1143" y="119"/>
                      <a:pt x="1142" y="119"/>
                    </a:cubicBezTo>
                    <a:close/>
                    <a:moveTo>
                      <a:pt x="365" y="119"/>
                    </a:moveTo>
                    <a:cubicBezTo>
                      <a:pt x="364" y="119"/>
                      <a:pt x="365" y="120"/>
                      <a:pt x="365" y="119"/>
                    </a:cubicBezTo>
                    <a:close/>
                    <a:moveTo>
                      <a:pt x="363" y="120"/>
                    </a:moveTo>
                    <a:cubicBezTo>
                      <a:pt x="361" y="121"/>
                      <a:pt x="363" y="122"/>
                      <a:pt x="363" y="120"/>
                    </a:cubicBezTo>
                    <a:moveTo>
                      <a:pt x="363" y="120"/>
                    </a:moveTo>
                    <a:cubicBezTo>
                      <a:pt x="364" y="120"/>
                      <a:pt x="363" y="119"/>
                      <a:pt x="363" y="120"/>
                    </a:cubicBezTo>
                    <a:moveTo>
                      <a:pt x="326" y="147"/>
                    </a:moveTo>
                    <a:cubicBezTo>
                      <a:pt x="312" y="157"/>
                      <a:pt x="291" y="166"/>
                      <a:pt x="308" y="182"/>
                    </a:cubicBezTo>
                    <a:cubicBezTo>
                      <a:pt x="333" y="161"/>
                      <a:pt x="362" y="143"/>
                      <a:pt x="385" y="120"/>
                    </a:cubicBezTo>
                    <a:cubicBezTo>
                      <a:pt x="360" y="124"/>
                      <a:pt x="343" y="136"/>
                      <a:pt x="326" y="147"/>
                    </a:cubicBezTo>
                    <a:close/>
                    <a:moveTo>
                      <a:pt x="360" y="122"/>
                    </a:moveTo>
                    <a:cubicBezTo>
                      <a:pt x="359" y="122"/>
                      <a:pt x="360" y="123"/>
                      <a:pt x="360" y="122"/>
                    </a:cubicBezTo>
                    <a:close/>
                    <a:moveTo>
                      <a:pt x="365" y="123"/>
                    </a:moveTo>
                    <a:cubicBezTo>
                      <a:pt x="364" y="123"/>
                      <a:pt x="365" y="124"/>
                      <a:pt x="365" y="123"/>
                    </a:cubicBezTo>
                    <a:close/>
                    <a:moveTo>
                      <a:pt x="357" y="124"/>
                    </a:moveTo>
                    <a:cubicBezTo>
                      <a:pt x="356" y="124"/>
                      <a:pt x="358" y="125"/>
                      <a:pt x="357" y="124"/>
                    </a:cubicBezTo>
                    <a:close/>
                    <a:moveTo>
                      <a:pt x="354" y="126"/>
                    </a:moveTo>
                    <a:cubicBezTo>
                      <a:pt x="354" y="126"/>
                      <a:pt x="355" y="127"/>
                      <a:pt x="354" y="126"/>
                    </a:cubicBezTo>
                    <a:close/>
                    <a:moveTo>
                      <a:pt x="910" y="129"/>
                    </a:moveTo>
                    <a:cubicBezTo>
                      <a:pt x="919" y="156"/>
                      <a:pt x="927" y="184"/>
                      <a:pt x="934" y="214"/>
                    </a:cubicBezTo>
                    <a:cubicBezTo>
                      <a:pt x="946" y="215"/>
                      <a:pt x="959" y="215"/>
                      <a:pt x="970" y="216"/>
                    </a:cubicBezTo>
                    <a:cubicBezTo>
                      <a:pt x="952" y="185"/>
                      <a:pt x="933" y="155"/>
                      <a:pt x="910" y="129"/>
                    </a:cubicBezTo>
                    <a:moveTo>
                      <a:pt x="910" y="129"/>
                    </a:moveTo>
                    <a:cubicBezTo>
                      <a:pt x="911" y="125"/>
                      <a:pt x="907" y="129"/>
                      <a:pt x="910" y="129"/>
                    </a:cubicBezTo>
                    <a:moveTo>
                      <a:pt x="1166" y="129"/>
                    </a:moveTo>
                    <a:cubicBezTo>
                      <a:pt x="1166" y="129"/>
                      <a:pt x="1167" y="130"/>
                      <a:pt x="1166" y="129"/>
                    </a:cubicBezTo>
                    <a:close/>
                    <a:moveTo>
                      <a:pt x="1222" y="166"/>
                    </a:moveTo>
                    <a:cubicBezTo>
                      <a:pt x="1218" y="155"/>
                      <a:pt x="1206" y="150"/>
                      <a:pt x="1198" y="144"/>
                    </a:cubicBezTo>
                    <a:cubicBezTo>
                      <a:pt x="1189" y="138"/>
                      <a:pt x="1180" y="130"/>
                      <a:pt x="1168" y="130"/>
                    </a:cubicBezTo>
                    <a:cubicBezTo>
                      <a:pt x="1187" y="141"/>
                      <a:pt x="1204" y="154"/>
                      <a:pt x="1222" y="166"/>
                    </a:cubicBezTo>
                    <a:close/>
                    <a:moveTo>
                      <a:pt x="1165" y="132"/>
                    </a:moveTo>
                    <a:cubicBezTo>
                      <a:pt x="1166" y="133"/>
                      <a:pt x="1165" y="132"/>
                      <a:pt x="1165" y="132"/>
                    </a:cubicBezTo>
                    <a:close/>
                    <a:moveTo>
                      <a:pt x="1169" y="134"/>
                    </a:moveTo>
                    <a:cubicBezTo>
                      <a:pt x="1187" y="147"/>
                      <a:pt x="1204" y="167"/>
                      <a:pt x="1220" y="178"/>
                    </a:cubicBezTo>
                    <a:cubicBezTo>
                      <a:pt x="1220" y="175"/>
                      <a:pt x="1223" y="174"/>
                      <a:pt x="1222" y="170"/>
                    </a:cubicBezTo>
                    <a:cubicBezTo>
                      <a:pt x="1206" y="157"/>
                      <a:pt x="1188" y="145"/>
                      <a:pt x="1169" y="134"/>
                    </a:cubicBezTo>
                    <a:moveTo>
                      <a:pt x="1169" y="134"/>
                    </a:moveTo>
                    <a:cubicBezTo>
                      <a:pt x="1168" y="132"/>
                      <a:pt x="1168" y="134"/>
                      <a:pt x="1169" y="134"/>
                    </a:cubicBezTo>
                    <a:moveTo>
                      <a:pt x="434" y="136"/>
                    </a:moveTo>
                    <a:cubicBezTo>
                      <a:pt x="433" y="136"/>
                      <a:pt x="433" y="136"/>
                      <a:pt x="433" y="137"/>
                    </a:cubicBezTo>
                    <a:moveTo>
                      <a:pt x="433" y="137"/>
                    </a:moveTo>
                    <a:cubicBezTo>
                      <a:pt x="401" y="157"/>
                      <a:pt x="372" y="180"/>
                      <a:pt x="345" y="205"/>
                    </a:cubicBezTo>
                    <a:cubicBezTo>
                      <a:pt x="357" y="209"/>
                      <a:pt x="367" y="213"/>
                      <a:pt x="379" y="215"/>
                    </a:cubicBezTo>
                    <a:cubicBezTo>
                      <a:pt x="394" y="187"/>
                      <a:pt x="413" y="162"/>
                      <a:pt x="433" y="137"/>
                    </a:cubicBezTo>
                    <a:moveTo>
                      <a:pt x="433" y="137"/>
                    </a:moveTo>
                    <a:cubicBezTo>
                      <a:pt x="434" y="137"/>
                      <a:pt x="434" y="136"/>
                      <a:pt x="434" y="136"/>
                    </a:cubicBezTo>
                    <a:moveTo>
                      <a:pt x="434" y="136"/>
                    </a:moveTo>
                    <a:cubicBezTo>
                      <a:pt x="435" y="135"/>
                      <a:pt x="434" y="135"/>
                      <a:pt x="434" y="136"/>
                    </a:cubicBezTo>
                    <a:moveTo>
                      <a:pt x="327" y="142"/>
                    </a:moveTo>
                    <a:cubicBezTo>
                      <a:pt x="327" y="141"/>
                      <a:pt x="328" y="142"/>
                      <a:pt x="327" y="142"/>
                    </a:cubicBezTo>
                    <a:close/>
                    <a:moveTo>
                      <a:pt x="325" y="143"/>
                    </a:moveTo>
                    <a:cubicBezTo>
                      <a:pt x="319" y="146"/>
                      <a:pt x="312" y="150"/>
                      <a:pt x="308" y="156"/>
                    </a:cubicBezTo>
                    <a:moveTo>
                      <a:pt x="308" y="156"/>
                    </a:moveTo>
                    <a:cubicBezTo>
                      <a:pt x="307" y="156"/>
                      <a:pt x="307" y="156"/>
                      <a:pt x="307" y="157"/>
                    </a:cubicBezTo>
                    <a:moveTo>
                      <a:pt x="307" y="157"/>
                    </a:moveTo>
                    <a:cubicBezTo>
                      <a:pt x="306" y="157"/>
                      <a:pt x="306" y="157"/>
                      <a:pt x="306" y="158"/>
                    </a:cubicBezTo>
                    <a:moveTo>
                      <a:pt x="306" y="158"/>
                    </a:moveTo>
                    <a:cubicBezTo>
                      <a:pt x="305" y="158"/>
                      <a:pt x="306" y="159"/>
                      <a:pt x="306" y="158"/>
                    </a:cubicBezTo>
                    <a:moveTo>
                      <a:pt x="306" y="158"/>
                    </a:moveTo>
                    <a:cubicBezTo>
                      <a:pt x="307" y="158"/>
                      <a:pt x="307" y="158"/>
                      <a:pt x="307" y="157"/>
                    </a:cubicBezTo>
                    <a:moveTo>
                      <a:pt x="307" y="157"/>
                    </a:moveTo>
                    <a:cubicBezTo>
                      <a:pt x="308" y="157"/>
                      <a:pt x="308" y="157"/>
                      <a:pt x="308" y="156"/>
                    </a:cubicBezTo>
                    <a:moveTo>
                      <a:pt x="308" y="156"/>
                    </a:moveTo>
                    <a:cubicBezTo>
                      <a:pt x="314" y="152"/>
                      <a:pt x="320" y="147"/>
                      <a:pt x="325" y="143"/>
                    </a:cubicBezTo>
                    <a:moveTo>
                      <a:pt x="325" y="143"/>
                    </a:moveTo>
                    <a:cubicBezTo>
                      <a:pt x="327" y="142"/>
                      <a:pt x="325" y="141"/>
                      <a:pt x="325" y="143"/>
                    </a:cubicBezTo>
                    <a:moveTo>
                      <a:pt x="338" y="163"/>
                    </a:moveTo>
                    <a:cubicBezTo>
                      <a:pt x="337" y="163"/>
                      <a:pt x="337" y="163"/>
                      <a:pt x="337" y="164"/>
                    </a:cubicBezTo>
                    <a:moveTo>
                      <a:pt x="337" y="164"/>
                    </a:moveTo>
                    <a:cubicBezTo>
                      <a:pt x="327" y="170"/>
                      <a:pt x="317" y="176"/>
                      <a:pt x="310" y="185"/>
                    </a:cubicBezTo>
                    <a:cubicBezTo>
                      <a:pt x="312" y="185"/>
                      <a:pt x="312" y="188"/>
                      <a:pt x="315" y="188"/>
                    </a:cubicBezTo>
                    <a:cubicBezTo>
                      <a:pt x="322" y="180"/>
                      <a:pt x="330" y="172"/>
                      <a:pt x="337" y="164"/>
                    </a:cubicBezTo>
                    <a:moveTo>
                      <a:pt x="337" y="164"/>
                    </a:moveTo>
                    <a:cubicBezTo>
                      <a:pt x="338" y="164"/>
                      <a:pt x="338" y="163"/>
                      <a:pt x="338" y="163"/>
                    </a:cubicBezTo>
                    <a:moveTo>
                      <a:pt x="338" y="163"/>
                    </a:moveTo>
                    <a:cubicBezTo>
                      <a:pt x="339" y="162"/>
                      <a:pt x="338" y="162"/>
                      <a:pt x="338" y="163"/>
                    </a:cubicBezTo>
                    <a:moveTo>
                      <a:pt x="648" y="165"/>
                    </a:moveTo>
                    <a:cubicBezTo>
                      <a:pt x="647" y="164"/>
                      <a:pt x="648" y="165"/>
                      <a:pt x="648" y="165"/>
                    </a:cubicBezTo>
                    <a:close/>
                    <a:moveTo>
                      <a:pt x="1279" y="213"/>
                    </a:moveTo>
                    <a:cubicBezTo>
                      <a:pt x="1279" y="213"/>
                      <a:pt x="1280" y="214"/>
                      <a:pt x="1280" y="214"/>
                    </a:cubicBezTo>
                    <a:moveTo>
                      <a:pt x="1280" y="214"/>
                    </a:moveTo>
                    <a:cubicBezTo>
                      <a:pt x="1280" y="214"/>
                      <a:pt x="1281" y="214"/>
                      <a:pt x="1281" y="215"/>
                    </a:cubicBezTo>
                    <a:moveTo>
                      <a:pt x="1281" y="215"/>
                    </a:moveTo>
                    <a:cubicBezTo>
                      <a:pt x="1281" y="215"/>
                      <a:pt x="1282" y="215"/>
                      <a:pt x="1282" y="215"/>
                    </a:cubicBezTo>
                    <a:moveTo>
                      <a:pt x="1282" y="215"/>
                    </a:moveTo>
                    <a:cubicBezTo>
                      <a:pt x="1282" y="216"/>
                      <a:pt x="1283" y="216"/>
                      <a:pt x="1283" y="216"/>
                    </a:cubicBezTo>
                    <a:moveTo>
                      <a:pt x="1283" y="216"/>
                    </a:moveTo>
                    <a:cubicBezTo>
                      <a:pt x="1283" y="217"/>
                      <a:pt x="1284" y="217"/>
                      <a:pt x="1284" y="217"/>
                    </a:cubicBezTo>
                    <a:moveTo>
                      <a:pt x="1284" y="217"/>
                    </a:moveTo>
                    <a:cubicBezTo>
                      <a:pt x="1284" y="218"/>
                      <a:pt x="1285" y="218"/>
                      <a:pt x="1285" y="218"/>
                    </a:cubicBezTo>
                    <a:moveTo>
                      <a:pt x="1285" y="218"/>
                    </a:moveTo>
                    <a:cubicBezTo>
                      <a:pt x="1285" y="219"/>
                      <a:pt x="1286" y="219"/>
                      <a:pt x="1286" y="219"/>
                    </a:cubicBezTo>
                    <a:moveTo>
                      <a:pt x="1286" y="219"/>
                    </a:moveTo>
                    <a:cubicBezTo>
                      <a:pt x="1286" y="220"/>
                      <a:pt x="1287" y="220"/>
                      <a:pt x="1287" y="220"/>
                    </a:cubicBezTo>
                    <a:moveTo>
                      <a:pt x="1287" y="220"/>
                    </a:moveTo>
                    <a:cubicBezTo>
                      <a:pt x="1288" y="222"/>
                      <a:pt x="1288" y="220"/>
                      <a:pt x="1287" y="220"/>
                    </a:cubicBezTo>
                    <a:moveTo>
                      <a:pt x="1287" y="220"/>
                    </a:moveTo>
                    <a:cubicBezTo>
                      <a:pt x="1287" y="219"/>
                      <a:pt x="1287" y="219"/>
                      <a:pt x="1286" y="219"/>
                    </a:cubicBezTo>
                    <a:moveTo>
                      <a:pt x="1286" y="219"/>
                    </a:moveTo>
                    <a:cubicBezTo>
                      <a:pt x="1286" y="219"/>
                      <a:pt x="1286" y="218"/>
                      <a:pt x="1285" y="218"/>
                    </a:cubicBezTo>
                    <a:moveTo>
                      <a:pt x="1285" y="218"/>
                    </a:moveTo>
                    <a:cubicBezTo>
                      <a:pt x="1285" y="218"/>
                      <a:pt x="1285" y="217"/>
                      <a:pt x="1284" y="217"/>
                    </a:cubicBezTo>
                    <a:moveTo>
                      <a:pt x="1284" y="217"/>
                    </a:moveTo>
                    <a:cubicBezTo>
                      <a:pt x="1284" y="217"/>
                      <a:pt x="1284" y="216"/>
                      <a:pt x="1283" y="216"/>
                    </a:cubicBezTo>
                    <a:moveTo>
                      <a:pt x="1283" y="216"/>
                    </a:moveTo>
                    <a:cubicBezTo>
                      <a:pt x="1283" y="216"/>
                      <a:pt x="1283" y="216"/>
                      <a:pt x="1282" y="215"/>
                    </a:cubicBezTo>
                    <a:moveTo>
                      <a:pt x="1282" y="215"/>
                    </a:moveTo>
                    <a:cubicBezTo>
                      <a:pt x="1283" y="215"/>
                      <a:pt x="1282" y="215"/>
                      <a:pt x="1281" y="215"/>
                    </a:cubicBezTo>
                    <a:moveTo>
                      <a:pt x="1281" y="215"/>
                    </a:moveTo>
                    <a:cubicBezTo>
                      <a:pt x="1282" y="214"/>
                      <a:pt x="1281" y="214"/>
                      <a:pt x="1280" y="214"/>
                    </a:cubicBezTo>
                    <a:moveTo>
                      <a:pt x="1280" y="214"/>
                    </a:moveTo>
                    <a:cubicBezTo>
                      <a:pt x="1281" y="213"/>
                      <a:pt x="1280" y="213"/>
                      <a:pt x="1279" y="213"/>
                    </a:cubicBezTo>
                    <a:moveTo>
                      <a:pt x="1279" y="213"/>
                    </a:moveTo>
                    <a:cubicBezTo>
                      <a:pt x="1262" y="195"/>
                      <a:pt x="1245" y="179"/>
                      <a:pt x="1225" y="165"/>
                    </a:cubicBezTo>
                    <a:cubicBezTo>
                      <a:pt x="1226" y="171"/>
                      <a:pt x="1233" y="175"/>
                      <a:pt x="1237" y="178"/>
                    </a:cubicBezTo>
                    <a:cubicBezTo>
                      <a:pt x="1251" y="189"/>
                      <a:pt x="1265" y="201"/>
                      <a:pt x="1279" y="213"/>
                    </a:cubicBezTo>
                    <a:moveTo>
                      <a:pt x="188" y="288"/>
                    </a:moveTo>
                    <a:cubicBezTo>
                      <a:pt x="205" y="283"/>
                      <a:pt x="212" y="269"/>
                      <a:pt x="223" y="257"/>
                    </a:cubicBezTo>
                    <a:cubicBezTo>
                      <a:pt x="250" y="230"/>
                      <a:pt x="277" y="206"/>
                      <a:pt x="305" y="183"/>
                    </a:cubicBezTo>
                    <a:cubicBezTo>
                      <a:pt x="301" y="179"/>
                      <a:pt x="300" y="173"/>
                      <a:pt x="298" y="167"/>
                    </a:cubicBezTo>
                    <a:cubicBezTo>
                      <a:pt x="257" y="204"/>
                      <a:pt x="219" y="243"/>
                      <a:pt x="188" y="288"/>
                    </a:cubicBezTo>
                    <a:close/>
                    <a:moveTo>
                      <a:pt x="1351" y="296"/>
                    </a:moveTo>
                    <a:cubicBezTo>
                      <a:pt x="1351" y="297"/>
                      <a:pt x="1352" y="297"/>
                      <a:pt x="1352" y="297"/>
                    </a:cubicBezTo>
                    <a:moveTo>
                      <a:pt x="1352" y="297"/>
                    </a:moveTo>
                    <a:cubicBezTo>
                      <a:pt x="1353" y="298"/>
                      <a:pt x="1354" y="297"/>
                      <a:pt x="1352" y="297"/>
                    </a:cubicBezTo>
                    <a:moveTo>
                      <a:pt x="1352" y="297"/>
                    </a:moveTo>
                    <a:cubicBezTo>
                      <a:pt x="1353" y="296"/>
                      <a:pt x="1352" y="296"/>
                      <a:pt x="1351" y="296"/>
                    </a:cubicBezTo>
                    <a:moveTo>
                      <a:pt x="1351" y="296"/>
                    </a:moveTo>
                    <a:cubicBezTo>
                      <a:pt x="1351" y="295"/>
                      <a:pt x="1351" y="293"/>
                      <a:pt x="1350" y="293"/>
                    </a:cubicBezTo>
                    <a:cubicBezTo>
                      <a:pt x="1320" y="252"/>
                      <a:pt x="1281" y="217"/>
                      <a:pt x="1241" y="185"/>
                    </a:cubicBezTo>
                    <a:cubicBezTo>
                      <a:pt x="1236" y="181"/>
                      <a:pt x="1231" y="174"/>
                      <a:pt x="1224" y="173"/>
                    </a:cubicBezTo>
                    <a:cubicBezTo>
                      <a:pt x="1218" y="183"/>
                      <a:pt x="1228" y="188"/>
                      <a:pt x="1233" y="194"/>
                    </a:cubicBezTo>
                    <a:cubicBezTo>
                      <a:pt x="1239" y="201"/>
                      <a:pt x="1244" y="208"/>
                      <a:pt x="1250" y="214"/>
                    </a:cubicBezTo>
                    <a:cubicBezTo>
                      <a:pt x="1267" y="233"/>
                      <a:pt x="1280" y="256"/>
                      <a:pt x="1300" y="274"/>
                    </a:cubicBezTo>
                    <a:cubicBezTo>
                      <a:pt x="1319" y="279"/>
                      <a:pt x="1335" y="288"/>
                      <a:pt x="1351" y="296"/>
                    </a:cubicBezTo>
                    <a:moveTo>
                      <a:pt x="1218" y="184"/>
                    </a:moveTo>
                    <a:cubicBezTo>
                      <a:pt x="1217" y="187"/>
                      <a:pt x="1213" y="188"/>
                      <a:pt x="1211" y="191"/>
                    </a:cubicBezTo>
                    <a:cubicBezTo>
                      <a:pt x="1231" y="205"/>
                      <a:pt x="1249" y="226"/>
                      <a:pt x="1267" y="239"/>
                    </a:cubicBezTo>
                    <a:cubicBezTo>
                      <a:pt x="1250" y="220"/>
                      <a:pt x="1237" y="199"/>
                      <a:pt x="1218" y="184"/>
                    </a:cubicBezTo>
                    <a:close/>
                    <a:moveTo>
                      <a:pt x="207" y="280"/>
                    </a:moveTo>
                    <a:cubicBezTo>
                      <a:pt x="206" y="280"/>
                      <a:pt x="207" y="281"/>
                      <a:pt x="207" y="280"/>
                    </a:cubicBezTo>
                    <a:moveTo>
                      <a:pt x="207" y="280"/>
                    </a:moveTo>
                    <a:cubicBezTo>
                      <a:pt x="225" y="274"/>
                      <a:pt x="241" y="267"/>
                      <a:pt x="260" y="263"/>
                    </a:cubicBezTo>
                    <a:cubicBezTo>
                      <a:pt x="272" y="244"/>
                      <a:pt x="285" y="224"/>
                      <a:pt x="299" y="206"/>
                    </a:cubicBezTo>
                    <a:cubicBezTo>
                      <a:pt x="304" y="200"/>
                      <a:pt x="311" y="196"/>
                      <a:pt x="312" y="189"/>
                    </a:cubicBezTo>
                    <a:cubicBezTo>
                      <a:pt x="306" y="183"/>
                      <a:pt x="301" y="190"/>
                      <a:pt x="297" y="193"/>
                    </a:cubicBezTo>
                    <a:cubicBezTo>
                      <a:pt x="268" y="218"/>
                      <a:pt x="231" y="250"/>
                      <a:pt x="207" y="280"/>
                    </a:cubicBezTo>
                    <a:moveTo>
                      <a:pt x="267" y="192"/>
                    </a:moveTo>
                    <a:cubicBezTo>
                      <a:pt x="266" y="192"/>
                      <a:pt x="266" y="193"/>
                      <a:pt x="266" y="193"/>
                    </a:cubicBezTo>
                    <a:moveTo>
                      <a:pt x="266" y="193"/>
                    </a:moveTo>
                    <a:cubicBezTo>
                      <a:pt x="265" y="193"/>
                      <a:pt x="265" y="194"/>
                      <a:pt x="265" y="194"/>
                    </a:cubicBezTo>
                    <a:moveTo>
                      <a:pt x="265" y="194"/>
                    </a:moveTo>
                    <a:cubicBezTo>
                      <a:pt x="264" y="194"/>
                      <a:pt x="264" y="195"/>
                      <a:pt x="264" y="195"/>
                    </a:cubicBezTo>
                    <a:moveTo>
                      <a:pt x="264" y="195"/>
                    </a:moveTo>
                    <a:cubicBezTo>
                      <a:pt x="263" y="195"/>
                      <a:pt x="263" y="196"/>
                      <a:pt x="263" y="196"/>
                    </a:cubicBezTo>
                    <a:moveTo>
                      <a:pt x="263" y="196"/>
                    </a:moveTo>
                    <a:cubicBezTo>
                      <a:pt x="262" y="196"/>
                      <a:pt x="262" y="197"/>
                      <a:pt x="262" y="197"/>
                    </a:cubicBezTo>
                    <a:moveTo>
                      <a:pt x="262" y="197"/>
                    </a:moveTo>
                    <a:cubicBezTo>
                      <a:pt x="261" y="197"/>
                      <a:pt x="261" y="198"/>
                      <a:pt x="261" y="198"/>
                    </a:cubicBezTo>
                    <a:moveTo>
                      <a:pt x="261" y="198"/>
                    </a:moveTo>
                    <a:cubicBezTo>
                      <a:pt x="222" y="229"/>
                      <a:pt x="189" y="265"/>
                      <a:pt x="159" y="305"/>
                    </a:cubicBezTo>
                    <a:moveTo>
                      <a:pt x="159" y="305"/>
                    </a:moveTo>
                    <a:cubicBezTo>
                      <a:pt x="158" y="305"/>
                      <a:pt x="158" y="305"/>
                      <a:pt x="158" y="306"/>
                    </a:cubicBezTo>
                    <a:moveTo>
                      <a:pt x="158" y="306"/>
                    </a:moveTo>
                    <a:cubicBezTo>
                      <a:pt x="157" y="306"/>
                      <a:pt x="158" y="307"/>
                      <a:pt x="158" y="306"/>
                    </a:cubicBezTo>
                    <a:moveTo>
                      <a:pt x="158" y="306"/>
                    </a:moveTo>
                    <a:cubicBezTo>
                      <a:pt x="159" y="306"/>
                      <a:pt x="159" y="305"/>
                      <a:pt x="159" y="305"/>
                    </a:cubicBezTo>
                    <a:moveTo>
                      <a:pt x="159" y="305"/>
                    </a:moveTo>
                    <a:cubicBezTo>
                      <a:pt x="167" y="301"/>
                      <a:pt x="173" y="295"/>
                      <a:pt x="182" y="292"/>
                    </a:cubicBezTo>
                    <a:cubicBezTo>
                      <a:pt x="205" y="258"/>
                      <a:pt x="232" y="227"/>
                      <a:pt x="261" y="198"/>
                    </a:cubicBezTo>
                    <a:moveTo>
                      <a:pt x="261" y="198"/>
                    </a:moveTo>
                    <a:cubicBezTo>
                      <a:pt x="262" y="198"/>
                      <a:pt x="262" y="198"/>
                      <a:pt x="262" y="197"/>
                    </a:cubicBezTo>
                    <a:moveTo>
                      <a:pt x="262" y="197"/>
                    </a:moveTo>
                    <a:cubicBezTo>
                      <a:pt x="263" y="197"/>
                      <a:pt x="263" y="197"/>
                      <a:pt x="263" y="196"/>
                    </a:cubicBezTo>
                    <a:moveTo>
                      <a:pt x="263" y="196"/>
                    </a:moveTo>
                    <a:cubicBezTo>
                      <a:pt x="264" y="196"/>
                      <a:pt x="264" y="196"/>
                      <a:pt x="264" y="195"/>
                    </a:cubicBezTo>
                    <a:moveTo>
                      <a:pt x="264" y="195"/>
                    </a:moveTo>
                    <a:cubicBezTo>
                      <a:pt x="265" y="195"/>
                      <a:pt x="265" y="195"/>
                      <a:pt x="265" y="194"/>
                    </a:cubicBezTo>
                    <a:moveTo>
                      <a:pt x="265" y="194"/>
                    </a:moveTo>
                    <a:cubicBezTo>
                      <a:pt x="266" y="195"/>
                      <a:pt x="266" y="194"/>
                      <a:pt x="266" y="193"/>
                    </a:cubicBezTo>
                    <a:moveTo>
                      <a:pt x="266" y="193"/>
                    </a:moveTo>
                    <a:cubicBezTo>
                      <a:pt x="266" y="194"/>
                      <a:pt x="267" y="193"/>
                      <a:pt x="267" y="192"/>
                    </a:cubicBezTo>
                    <a:moveTo>
                      <a:pt x="267" y="192"/>
                    </a:moveTo>
                    <a:cubicBezTo>
                      <a:pt x="268" y="192"/>
                      <a:pt x="267" y="191"/>
                      <a:pt x="267" y="192"/>
                    </a:cubicBezTo>
                    <a:moveTo>
                      <a:pt x="265" y="261"/>
                    </a:moveTo>
                    <a:cubicBezTo>
                      <a:pt x="263" y="261"/>
                      <a:pt x="265" y="262"/>
                      <a:pt x="265" y="261"/>
                    </a:cubicBezTo>
                    <a:moveTo>
                      <a:pt x="265" y="261"/>
                    </a:moveTo>
                    <a:cubicBezTo>
                      <a:pt x="274" y="259"/>
                      <a:pt x="281" y="256"/>
                      <a:pt x="291" y="255"/>
                    </a:cubicBezTo>
                    <a:cubicBezTo>
                      <a:pt x="305" y="236"/>
                      <a:pt x="324" y="222"/>
                      <a:pt x="340" y="205"/>
                    </a:cubicBezTo>
                    <a:cubicBezTo>
                      <a:pt x="330" y="202"/>
                      <a:pt x="323" y="196"/>
                      <a:pt x="315" y="192"/>
                    </a:cubicBezTo>
                    <a:cubicBezTo>
                      <a:pt x="296" y="214"/>
                      <a:pt x="279" y="236"/>
                      <a:pt x="265" y="261"/>
                    </a:cubicBezTo>
                    <a:moveTo>
                      <a:pt x="1208" y="192"/>
                    </a:moveTo>
                    <a:cubicBezTo>
                      <a:pt x="1198" y="200"/>
                      <a:pt x="1184" y="204"/>
                      <a:pt x="1173" y="211"/>
                    </a:cubicBezTo>
                    <a:cubicBezTo>
                      <a:pt x="1184" y="223"/>
                      <a:pt x="1187" y="240"/>
                      <a:pt x="1203" y="247"/>
                    </a:cubicBezTo>
                    <a:cubicBezTo>
                      <a:pt x="1215" y="253"/>
                      <a:pt x="1231" y="253"/>
                      <a:pt x="1246" y="257"/>
                    </a:cubicBezTo>
                    <a:cubicBezTo>
                      <a:pt x="1260" y="261"/>
                      <a:pt x="1274" y="266"/>
                      <a:pt x="1287" y="269"/>
                    </a:cubicBezTo>
                    <a:cubicBezTo>
                      <a:pt x="1267" y="238"/>
                      <a:pt x="1237" y="216"/>
                      <a:pt x="1208" y="192"/>
                    </a:cubicBezTo>
                    <a:close/>
                    <a:moveTo>
                      <a:pt x="637" y="198"/>
                    </a:moveTo>
                    <a:cubicBezTo>
                      <a:pt x="636" y="202"/>
                      <a:pt x="630" y="210"/>
                      <a:pt x="633" y="212"/>
                    </a:cubicBezTo>
                    <a:cubicBezTo>
                      <a:pt x="638" y="210"/>
                      <a:pt x="636" y="203"/>
                      <a:pt x="637" y="198"/>
                    </a:cubicBezTo>
                    <a:moveTo>
                      <a:pt x="637" y="198"/>
                    </a:moveTo>
                    <a:cubicBezTo>
                      <a:pt x="640" y="198"/>
                      <a:pt x="636" y="194"/>
                      <a:pt x="637" y="198"/>
                    </a:cubicBezTo>
                    <a:moveTo>
                      <a:pt x="1072" y="226"/>
                    </a:moveTo>
                    <a:cubicBezTo>
                      <a:pt x="1076" y="226"/>
                      <a:pt x="1083" y="228"/>
                      <a:pt x="1085" y="227"/>
                    </a:cubicBezTo>
                    <a:cubicBezTo>
                      <a:pt x="1077" y="219"/>
                      <a:pt x="1070" y="209"/>
                      <a:pt x="1062" y="201"/>
                    </a:cubicBezTo>
                    <a:cubicBezTo>
                      <a:pt x="1065" y="210"/>
                      <a:pt x="1069" y="217"/>
                      <a:pt x="1072" y="226"/>
                    </a:cubicBezTo>
                    <a:close/>
                    <a:moveTo>
                      <a:pt x="342" y="207"/>
                    </a:moveTo>
                    <a:cubicBezTo>
                      <a:pt x="327" y="222"/>
                      <a:pt x="310" y="236"/>
                      <a:pt x="296" y="253"/>
                    </a:cubicBezTo>
                    <a:cubicBezTo>
                      <a:pt x="319" y="247"/>
                      <a:pt x="343" y="243"/>
                      <a:pt x="366" y="239"/>
                    </a:cubicBezTo>
                    <a:cubicBezTo>
                      <a:pt x="370" y="231"/>
                      <a:pt x="374" y="225"/>
                      <a:pt x="377" y="217"/>
                    </a:cubicBezTo>
                    <a:cubicBezTo>
                      <a:pt x="364" y="215"/>
                      <a:pt x="354" y="210"/>
                      <a:pt x="342" y="207"/>
                    </a:cubicBezTo>
                    <a:close/>
                    <a:moveTo>
                      <a:pt x="745" y="212"/>
                    </a:moveTo>
                    <a:cubicBezTo>
                      <a:pt x="745" y="226"/>
                      <a:pt x="744" y="240"/>
                      <a:pt x="743" y="254"/>
                    </a:cubicBezTo>
                    <a:cubicBezTo>
                      <a:pt x="757" y="253"/>
                      <a:pt x="774" y="255"/>
                      <a:pt x="786" y="253"/>
                    </a:cubicBezTo>
                    <a:cubicBezTo>
                      <a:pt x="784" y="241"/>
                      <a:pt x="786" y="224"/>
                      <a:pt x="784" y="212"/>
                    </a:cubicBezTo>
                    <a:cubicBezTo>
                      <a:pt x="773" y="210"/>
                      <a:pt x="756" y="210"/>
                      <a:pt x="745" y="212"/>
                    </a:cubicBezTo>
                    <a:close/>
                    <a:moveTo>
                      <a:pt x="1176" y="220"/>
                    </a:moveTo>
                    <a:cubicBezTo>
                      <a:pt x="1176" y="221"/>
                      <a:pt x="1176" y="221"/>
                      <a:pt x="1177" y="221"/>
                    </a:cubicBezTo>
                    <a:moveTo>
                      <a:pt x="1177" y="221"/>
                    </a:moveTo>
                    <a:cubicBezTo>
                      <a:pt x="1177" y="223"/>
                      <a:pt x="1178" y="221"/>
                      <a:pt x="1177" y="221"/>
                    </a:cubicBezTo>
                    <a:moveTo>
                      <a:pt x="1177" y="221"/>
                    </a:moveTo>
                    <a:cubicBezTo>
                      <a:pt x="1177" y="220"/>
                      <a:pt x="1176" y="220"/>
                      <a:pt x="1176" y="220"/>
                    </a:cubicBezTo>
                    <a:moveTo>
                      <a:pt x="1176" y="220"/>
                    </a:moveTo>
                    <a:cubicBezTo>
                      <a:pt x="1174" y="216"/>
                      <a:pt x="1171" y="207"/>
                      <a:pt x="1166" y="213"/>
                    </a:cubicBezTo>
                    <a:cubicBezTo>
                      <a:pt x="1170" y="214"/>
                      <a:pt x="1172" y="218"/>
                      <a:pt x="1176" y="220"/>
                    </a:cubicBezTo>
                    <a:moveTo>
                      <a:pt x="639" y="214"/>
                    </a:moveTo>
                    <a:cubicBezTo>
                      <a:pt x="637" y="225"/>
                      <a:pt x="635" y="238"/>
                      <a:pt x="633" y="251"/>
                    </a:cubicBezTo>
                    <a:cubicBezTo>
                      <a:pt x="669" y="252"/>
                      <a:pt x="704" y="254"/>
                      <a:pt x="741" y="254"/>
                    </a:cubicBezTo>
                    <a:cubicBezTo>
                      <a:pt x="741" y="239"/>
                      <a:pt x="742" y="225"/>
                      <a:pt x="743" y="212"/>
                    </a:cubicBezTo>
                    <a:cubicBezTo>
                      <a:pt x="707" y="211"/>
                      <a:pt x="673" y="213"/>
                      <a:pt x="639" y="214"/>
                    </a:cubicBezTo>
                    <a:close/>
                    <a:moveTo>
                      <a:pt x="787" y="212"/>
                    </a:moveTo>
                    <a:cubicBezTo>
                      <a:pt x="786" y="227"/>
                      <a:pt x="789" y="239"/>
                      <a:pt x="788" y="254"/>
                    </a:cubicBezTo>
                    <a:cubicBezTo>
                      <a:pt x="815" y="254"/>
                      <a:pt x="840" y="252"/>
                      <a:pt x="867" y="252"/>
                    </a:cubicBezTo>
                    <a:cubicBezTo>
                      <a:pt x="863" y="238"/>
                      <a:pt x="860" y="225"/>
                      <a:pt x="856" y="213"/>
                    </a:cubicBezTo>
                    <a:cubicBezTo>
                      <a:pt x="834" y="212"/>
                      <a:pt x="811" y="211"/>
                      <a:pt x="787" y="212"/>
                    </a:cubicBezTo>
                    <a:close/>
                    <a:moveTo>
                      <a:pt x="870" y="251"/>
                    </a:moveTo>
                    <a:cubicBezTo>
                      <a:pt x="891" y="251"/>
                      <a:pt x="917" y="249"/>
                      <a:pt x="938" y="247"/>
                    </a:cubicBezTo>
                    <a:cubicBezTo>
                      <a:pt x="937" y="236"/>
                      <a:pt x="934" y="227"/>
                      <a:pt x="932" y="216"/>
                    </a:cubicBezTo>
                    <a:cubicBezTo>
                      <a:pt x="909" y="214"/>
                      <a:pt x="884" y="214"/>
                      <a:pt x="861" y="213"/>
                    </a:cubicBezTo>
                    <a:cubicBezTo>
                      <a:pt x="864" y="226"/>
                      <a:pt x="868" y="237"/>
                      <a:pt x="870" y="251"/>
                    </a:cubicBezTo>
                    <a:close/>
                    <a:moveTo>
                      <a:pt x="1190" y="244"/>
                    </a:moveTo>
                    <a:cubicBezTo>
                      <a:pt x="1191" y="246"/>
                      <a:pt x="1191" y="244"/>
                      <a:pt x="1190" y="244"/>
                    </a:cubicBezTo>
                    <a:moveTo>
                      <a:pt x="1190" y="244"/>
                    </a:moveTo>
                    <a:cubicBezTo>
                      <a:pt x="1184" y="231"/>
                      <a:pt x="1173" y="222"/>
                      <a:pt x="1162" y="213"/>
                    </a:cubicBezTo>
                    <a:cubicBezTo>
                      <a:pt x="1143" y="221"/>
                      <a:pt x="1120" y="224"/>
                      <a:pt x="1099" y="230"/>
                    </a:cubicBezTo>
                    <a:cubicBezTo>
                      <a:pt x="1131" y="233"/>
                      <a:pt x="1160" y="239"/>
                      <a:pt x="1190" y="244"/>
                    </a:cubicBezTo>
                    <a:moveTo>
                      <a:pt x="632" y="214"/>
                    </a:moveTo>
                    <a:cubicBezTo>
                      <a:pt x="625" y="223"/>
                      <a:pt x="622" y="237"/>
                      <a:pt x="618" y="250"/>
                    </a:cubicBezTo>
                    <a:cubicBezTo>
                      <a:pt x="622" y="250"/>
                      <a:pt x="626" y="250"/>
                      <a:pt x="630" y="250"/>
                    </a:cubicBezTo>
                    <a:cubicBezTo>
                      <a:pt x="631" y="238"/>
                      <a:pt x="633" y="225"/>
                      <a:pt x="635" y="214"/>
                    </a:cubicBezTo>
                    <a:cubicBezTo>
                      <a:pt x="634" y="214"/>
                      <a:pt x="633" y="214"/>
                      <a:pt x="632" y="214"/>
                    </a:cubicBezTo>
                    <a:close/>
                    <a:moveTo>
                      <a:pt x="515" y="222"/>
                    </a:moveTo>
                    <a:cubicBezTo>
                      <a:pt x="512" y="228"/>
                      <a:pt x="507" y="233"/>
                      <a:pt x="505" y="239"/>
                    </a:cubicBezTo>
                    <a:cubicBezTo>
                      <a:pt x="541" y="243"/>
                      <a:pt x="576" y="248"/>
                      <a:pt x="615" y="249"/>
                    </a:cubicBezTo>
                    <a:cubicBezTo>
                      <a:pt x="619" y="237"/>
                      <a:pt x="623" y="226"/>
                      <a:pt x="628" y="215"/>
                    </a:cubicBezTo>
                    <a:cubicBezTo>
                      <a:pt x="589" y="216"/>
                      <a:pt x="552" y="218"/>
                      <a:pt x="515" y="222"/>
                    </a:cubicBezTo>
                    <a:close/>
                    <a:moveTo>
                      <a:pt x="941" y="247"/>
                    </a:moveTo>
                    <a:cubicBezTo>
                      <a:pt x="956" y="246"/>
                      <a:pt x="972" y="245"/>
                      <a:pt x="986" y="242"/>
                    </a:cubicBezTo>
                    <a:cubicBezTo>
                      <a:pt x="980" y="235"/>
                      <a:pt x="978" y="225"/>
                      <a:pt x="971" y="219"/>
                    </a:cubicBezTo>
                    <a:cubicBezTo>
                      <a:pt x="960" y="218"/>
                      <a:pt x="947" y="217"/>
                      <a:pt x="935" y="216"/>
                    </a:cubicBezTo>
                    <a:cubicBezTo>
                      <a:pt x="936" y="227"/>
                      <a:pt x="939" y="236"/>
                      <a:pt x="941" y="247"/>
                    </a:cubicBezTo>
                    <a:close/>
                    <a:moveTo>
                      <a:pt x="370" y="238"/>
                    </a:moveTo>
                    <a:cubicBezTo>
                      <a:pt x="369" y="238"/>
                      <a:pt x="370" y="239"/>
                      <a:pt x="370" y="238"/>
                    </a:cubicBezTo>
                    <a:moveTo>
                      <a:pt x="370" y="238"/>
                    </a:moveTo>
                    <a:cubicBezTo>
                      <a:pt x="384" y="235"/>
                      <a:pt x="401" y="237"/>
                      <a:pt x="406" y="225"/>
                    </a:cubicBezTo>
                    <a:cubicBezTo>
                      <a:pt x="396" y="224"/>
                      <a:pt x="389" y="220"/>
                      <a:pt x="379" y="219"/>
                    </a:cubicBezTo>
                    <a:cubicBezTo>
                      <a:pt x="377" y="226"/>
                      <a:pt x="372" y="230"/>
                      <a:pt x="370" y="238"/>
                    </a:cubicBezTo>
                    <a:moveTo>
                      <a:pt x="989" y="242"/>
                    </a:moveTo>
                    <a:cubicBezTo>
                      <a:pt x="1017" y="239"/>
                      <a:pt x="1047" y="238"/>
                      <a:pt x="1071" y="230"/>
                    </a:cubicBezTo>
                    <a:cubicBezTo>
                      <a:pt x="1042" y="224"/>
                      <a:pt x="1008" y="222"/>
                      <a:pt x="976" y="219"/>
                    </a:cubicBezTo>
                    <a:cubicBezTo>
                      <a:pt x="980" y="227"/>
                      <a:pt x="984" y="235"/>
                      <a:pt x="989" y="242"/>
                    </a:cubicBezTo>
                    <a:close/>
                    <a:moveTo>
                      <a:pt x="497" y="223"/>
                    </a:moveTo>
                    <a:cubicBezTo>
                      <a:pt x="494" y="227"/>
                      <a:pt x="494" y="233"/>
                      <a:pt x="491" y="238"/>
                    </a:cubicBezTo>
                    <a:cubicBezTo>
                      <a:pt x="495" y="237"/>
                      <a:pt x="497" y="239"/>
                      <a:pt x="502" y="239"/>
                    </a:cubicBezTo>
                    <a:cubicBezTo>
                      <a:pt x="504" y="232"/>
                      <a:pt x="509" y="228"/>
                      <a:pt x="511" y="222"/>
                    </a:cubicBezTo>
                    <a:cubicBezTo>
                      <a:pt x="507" y="223"/>
                      <a:pt x="503" y="224"/>
                      <a:pt x="497" y="223"/>
                    </a:cubicBezTo>
                    <a:close/>
                    <a:moveTo>
                      <a:pt x="1178" y="224"/>
                    </a:moveTo>
                    <a:cubicBezTo>
                      <a:pt x="1177" y="224"/>
                      <a:pt x="1178" y="225"/>
                      <a:pt x="1178" y="224"/>
                    </a:cubicBezTo>
                    <a:close/>
                    <a:moveTo>
                      <a:pt x="445" y="231"/>
                    </a:moveTo>
                    <a:cubicBezTo>
                      <a:pt x="460" y="233"/>
                      <a:pt x="475" y="235"/>
                      <a:pt x="489" y="238"/>
                    </a:cubicBezTo>
                    <a:cubicBezTo>
                      <a:pt x="490" y="232"/>
                      <a:pt x="492" y="229"/>
                      <a:pt x="493" y="224"/>
                    </a:cubicBezTo>
                    <a:cubicBezTo>
                      <a:pt x="477" y="226"/>
                      <a:pt x="459" y="226"/>
                      <a:pt x="445" y="231"/>
                    </a:cubicBezTo>
                    <a:close/>
                    <a:moveTo>
                      <a:pt x="421" y="230"/>
                    </a:moveTo>
                    <a:cubicBezTo>
                      <a:pt x="423" y="230"/>
                      <a:pt x="429" y="229"/>
                      <a:pt x="424" y="229"/>
                    </a:cubicBezTo>
                    <a:cubicBezTo>
                      <a:pt x="419" y="228"/>
                      <a:pt x="414" y="227"/>
                      <a:pt x="409" y="226"/>
                    </a:cubicBezTo>
                    <a:cubicBezTo>
                      <a:pt x="407" y="229"/>
                      <a:pt x="404" y="230"/>
                      <a:pt x="403" y="233"/>
                    </a:cubicBezTo>
                    <a:cubicBezTo>
                      <a:pt x="409" y="232"/>
                      <a:pt x="416" y="231"/>
                      <a:pt x="421" y="230"/>
                    </a:cubicBezTo>
                    <a:close/>
                    <a:moveTo>
                      <a:pt x="1079" y="230"/>
                    </a:moveTo>
                    <a:cubicBezTo>
                      <a:pt x="1078" y="229"/>
                      <a:pt x="1073" y="228"/>
                      <a:pt x="1073" y="230"/>
                    </a:cubicBezTo>
                    <a:cubicBezTo>
                      <a:pt x="1074" y="231"/>
                      <a:pt x="1078" y="232"/>
                      <a:pt x="1079" y="230"/>
                    </a:cubicBezTo>
                    <a:close/>
                    <a:moveTo>
                      <a:pt x="309" y="418"/>
                    </a:moveTo>
                    <a:cubicBezTo>
                      <a:pt x="307" y="419"/>
                      <a:pt x="309" y="419"/>
                      <a:pt x="309" y="418"/>
                    </a:cubicBezTo>
                    <a:moveTo>
                      <a:pt x="309" y="418"/>
                    </a:moveTo>
                    <a:cubicBezTo>
                      <a:pt x="345" y="412"/>
                      <a:pt x="381" y="406"/>
                      <a:pt x="418" y="401"/>
                    </a:cubicBezTo>
                    <a:cubicBezTo>
                      <a:pt x="436" y="359"/>
                      <a:pt x="455" y="318"/>
                      <a:pt x="477" y="281"/>
                    </a:cubicBezTo>
                    <a:cubicBezTo>
                      <a:pt x="479" y="266"/>
                      <a:pt x="484" y="253"/>
                      <a:pt x="488" y="239"/>
                    </a:cubicBezTo>
                    <a:cubicBezTo>
                      <a:pt x="458" y="236"/>
                      <a:pt x="431" y="227"/>
                      <a:pt x="401" y="236"/>
                    </a:cubicBezTo>
                    <a:cubicBezTo>
                      <a:pt x="376" y="263"/>
                      <a:pt x="355" y="294"/>
                      <a:pt x="333" y="324"/>
                    </a:cubicBezTo>
                    <a:cubicBezTo>
                      <a:pt x="324" y="355"/>
                      <a:pt x="314" y="384"/>
                      <a:pt x="309" y="418"/>
                    </a:cubicBezTo>
                    <a:moveTo>
                      <a:pt x="1092" y="232"/>
                    </a:moveTo>
                    <a:cubicBezTo>
                      <a:pt x="1137" y="288"/>
                      <a:pt x="1175" y="350"/>
                      <a:pt x="1208" y="417"/>
                    </a:cubicBezTo>
                    <a:cubicBezTo>
                      <a:pt x="1224" y="419"/>
                      <a:pt x="1240" y="426"/>
                      <a:pt x="1256" y="425"/>
                    </a:cubicBezTo>
                    <a:cubicBezTo>
                      <a:pt x="1244" y="360"/>
                      <a:pt x="1220" y="299"/>
                      <a:pt x="1192" y="247"/>
                    </a:cubicBezTo>
                    <a:cubicBezTo>
                      <a:pt x="1159" y="242"/>
                      <a:pt x="1128" y="235"/>
                      <a:pt x="1092" y="232"/>
                    </a:cubicBezTo>
                    <a:moveTo>
                      <a:pt x="1092" y="232"/>
                    </a:moveTo>
                    <a:cubicBezTo>
                      <a:pt x="1092" y="230"/>
                      <a:pt x="1091" y="232"/>
                      <a:pt x="1092" y="232"/>
                    </a:cubicBezTo>
                    <a:moveTo>
                      <a:pt x="1104" y="252"/>
                    </a:moveTo>
                    <a:cubicBezTo>
                      <a:pt x="1096" y="241"/>
                      <a:pt x="1089" y="225"/>
                      <a:pt x="1075" y="235"/>
                    </a:cubicBezTo>
                    <a:cubicBezTo>
                      <a:pt x="1096" y="285"/>
                      <a:pt x="1109" y="342"/>
                      <a:pt x="1119" y="403"/>
                    </a:cubicBezTo>
                    <a:cubicBezTo>
                      <a:pt x="1148" y="406"/>
                      <a:pt x="1178" y="413"/>
                      <a:pt x="1205" y="415"/>
                    </a:cubicBezTo>
                    <a:cubicBezTo>
                      <a:pt x="1178" y="360"/>
                      <a:pt x="1141" y="300"/>
                      <a:pt x="1104" y="252"/>
                    </a:cubicBezTo>
                    <a:close/>
                    <a:moveTo>
                      <a:pt x="990" y="245"/>
                    </a:moveTo>
                    <a:cubicBezTo>
                      <a:pt x="1015" y="293"/>
                      <a:pt x="1038" y="342"/>
                      <a:pt x="1057" y="395"/>
                    </a:cubicBezTo>
                    <a:cubicBezTo>
                      <a:pt x="1077" y="398"/>
                      <a:pt x="1097" y="399"/>
                      <a:pt x="1116" y="403"/>
                    </a:cubicBezTo>
                    <a:cubicBezTo>
                      <a:pt x="1108" y="349"/>
                      <a:pt x="1096" y="297"/>
                      <a:pt x="1080" y="252"/>
                    </a:cubicBezTo>
                    <a:cubicBezTo>
                      <a:pt x="1078" y="246"/>
                      <a:pt x="1076" y="238"/>
                      <a:pt x="1070" y="235"/>
                    </a:cubicBezTo>
                    <a:cubicBezTo>
                      <a:pt x="1044" y="239"/>
                      <a:pt x="1018" y="243"/>
                      <a:pt x="990" y="245"/>
                    </a:cubicBezTo>
                    <a:close/>
                    <a:moveTo>
                      <a:pt x="368" y="240"/>
                    </a:moveTo>
                    <a:cubicBezTo>
                      <a:pt x="357" y="263"/>
                      <a:pt x="345" y="288"/>
                      <a:pt x="339" y="312"/>
                    </a:cubicBezTo>
                    <a:cubicBezTo>
                      <a:pt x="353" y="289"/>
                      <a:pt x="373" y="265"/>
                      <a:pt x="390" y="245"/>
                    </a:cubicBezTo>
                    <a:cubicBezTo>
                      <a:pt x="392" y="243"/>
                      <a:pt x="395" y="239"/>
                      <a:pt x="394" y="237"/>
                    </a:cubicBezTo>
                    <a:cubicBezTo>
                      <a:pt x="386" y="238"/>
                      <a:pt x="378" y="240"/>
                      <a:pt x="368" y="240"/>
                    </a:cubicBezTo>
                    <a:close/>
                    <a:moveTo>
                      <a:pt x="483" y="268"/>
                    </a:moveTo>
                    <a:cubicBezTo>
                      <a:pt x="480" y="268"/>
                      <a:pt x="484" y="272"/>
                      <a:pt x="483" y="268"/>
                    </a:cubicBezTo>
                    <a:moveTo>
                      <a:pt x="483" y="268"/>
                    </a:moveTo>
                    <a:cubicBezTo>
                      <a:pt x="489" y="260"/>
                      <a:pt x="494" y="251"/>
                      <a:pt x="499" y="241"/>
                    </a:cubicBezTo>
                    <a:cubicBezTo>
                      <a:pt x="496" y="241"/>
                      <a:pt x="494" y="240"/>
                      <a:pt x="490" y="240"/>
                    </a:cubicBezTo>
                    <a:cubicBezTo>
                      <a:pt x="488" y="250"/>
                      <a:pt x="484" y="258"/>
                      <a:pt x="483" y="268"/>
                    </a:cubicBezTo>
                    <a:moveTo>
                      <a:pt x="327" y="249"/>
                    </a:moveTo>
                    <a:cubicBezTo>
                      <a:pt x="315" y="252"/>
                      <a:pt x="301" y="252"/>
                      <a:pt x="294" y="256"/>
                    </a:cubicBezTo>
                    <a:cubicBezTo>
                      <a:pt x="288" y="259"/>
                      <a:pt x="279" y="270"/>
                      <a:pt x="273" y="277"/>
                    </a:cubicBezTo>
                    <a:cubicBezTo>
                      <a:pt x="242" y="313"/>
                      <a:pt x="211" y="348"/>
                      <a:pt x="198" y="402"/>
                    </a:cubicBezTo>
                    <a:cubicBezTo>
                      <a:pt x="222" y="411"/>
                      <a:pt x="245" y="420"/>
                      <a:pt x="271" y="426"/>
                    </a:cubicBezTo>
                    <a:cubicBezTo>
                      <a:pt x="285" y="399"/>
                      <a:pt x="300" y="372"/>
                      <a:pt x="316" y="347"/>
                    </a:cubicBezTo>
                    <a:cubicBezTo>
                      <a:pt x="321" y="339"/>
                      <a:pt x="328" y="330"/>
                      <a:pt x="332" y="322"/>
                    </a:cubicBezTo>
                    <a:cubicBezTo>
                      <a:pt x="344" y="296"/>
                      <a:pt x="348" y="268"/>
                      <a:pt x="365" y="243"/>
                    </a:cubicBezTo>
                    <a:cubicBezTo>
                      <a:pt x="364" y="243"/>
                      <a:pt x="365" y="241"/>
                      <a:pt x="364" y="241"/>
                    </a:cubicBezTo>
                    <a:cubicBezTo>
                      <a:pt x="353" y="243"/>
                      <a:pt x="340" y="246"/>
                      <a:pt x="327" y="249"/>
                    </a:cubicBezTo>
                    <a:close/>
                    <a:moveTo>
                      <a:pt x="504" y="242"/>
                    </a:moveTo>
                    <a:cubicBezTo>
                      <a:pt x="472" y="274"/>
                      <a:pt x="465" y="338"/>
                      <a:pt x="457" y="396"/>
                    </a:cubicBezTo>
                    <a:cubicBezTo>
                      <a:pt x="495" y="392"/>
                      <a:pt x="535" y="389"/>
                      <a:pt x="575" y="385"/>
                    </a:cubicBezTo>
                    <a:cubicBezTo>
                      <a:pt x="587" y="340"/>
                      <a:pt x="599" y="294"/>
                      <a:pt x="614" y="252"/>
                    </a:cubicBezTo>
                    <a:cubicBezTo>
                      <a:pt x="576" y="250"/>
                      <a:pt x="540" y="246"/>
                      <a:pt x="504" y="242"/>
                    </a:cubicBezTo>
                    <a:close/>
                    <a:moveTo>
                      <a:pt x="1194" y="244"/>
                    </a:moveTo>
                    <a:cubicBezTo>
                      <a:pt x="1194" y="245"/>
                      <a:pt x="1194" y="245"/>
                      <a:pt x="1195" y="245"/>
                    </a:cubicBezTo>
                    <a:moveTo>
                      <a:pt x="1195" y="245"/>
                    </a:moveTo>
                    <a:cubicBezTo>
                      <a:pt x="1196" y="247"/>
                      <a:pt x="1196" y="245"/>
                      <a:pt x="1195" y="245"/>
                    </a:cubicBezTo>
                    <a:moveTo>
                      <a:pt x="1195" y="245"/>
                    </a:moveTo>
                    <a:cubicBezTo>
                      <a:pt x="1195" y="244"/>
                      <a:pt x="1195" y="244"/>
                      <a:pt x="1194" y="244"/>
                    </a:cubicBezTo>
                    <a:moveTo>
                      <a:pt x="1194" y="244"/>
                    </a:moveTo>
                    <a:cubicBezTo>
                      <a:pt x="1193" y="243"/>
                      <a:pt x="1193" y="244"/>
                      <a:pt x="1194" y="244"/>
                    </a:cubicBezTo>
                    <a:moveTo>
                      <a:pt x="942" y="250"/>
                    </a:moveTo>
                    <a:cubicBezTo>
                      <a:pt x="949" y="294"/>
                      <a:pt x="955" y="339"/>
                      <a:pt x="960" y="386"/>
                    </a:cubicBezTo>
                    <a:cubicBezTo>
                      <a:pt x="991" y="389"/>
                      <a:pt x="1024" y="391"/>
                      <a:pt x="1054" y="395"/>
                    </a:cubicBezTo>
                    <a:cubicBezTo>
                      <a:pt x="1035" y="342"/>
                      <a:pt x="1013" y="293"/>
                      <a:pt x="988" y="246"/>
                    </a:cubicBezTo>
                    <a:cubicBezTo>
                      <a:pt x="972" y="247"/>
                      <a:pt x="957" y="249"/>
                      <a:pt x="942" y="250"/>
                    </a:cubicBezTo>
                    <a:close/>
                    <a:moveTo>
                      <a:pt x="1259" y="424"/>
                    </a:moveTo>
                    <a:cubicBezTo>
                      <a:pt x="1279" y="419"/>
                      <a:pt x="1296" y="412"/>
                      <a:pt x="1314" y="407"/>
                    </a:cubicBezTo>
                    <a:cubicBezTo>
                      <a:pt x="1282" y="347"/>
                      <a:pt x="1242" y="296"/>
                      <a:pt x="1198" y="249"/>
                    </a:cubicBezTo>
                    <a:cubicBezTo>
                      <a:pt x="1197" y="249"/>
                      <a:pt x="1196" y="249"/>
                      <a:pt x="1196" y="250"/>
                    </a:cubicBezTo>
                    <a:cubicBezTo>
                      <a:pt x="1224" y="301"/>
                      <a:pt x="1245" y="359"/>
                      <a:pt x="1259" y="424"/>
                    </a:cubicBezTo>
                    <a:close/>
                    <a:moveTo>
                      <a:pt x="871" y="255"/>
                    </a:moveTo>
                    <a:cubicBezTo>
                      <a:pt x="883" y="296"/>
                      <a:pt x="891" y="339"/>
                      <a:pt x="899" y="383"/>
                    </a:cubicBezTo>
                    <a:cubicBezTo>
                      <a:pt x="918" y="384"/>
                      <a:pt x="938" y="384"/>
                      <a:pt x="957" y="386"/>
                    </a:cubicBezTo>
                    <a:cubicBezTo>
                      <a:pt x="953" y="345"/>
                      <a:pt x="948" y="301"/>
                      <a:pt x="942" y="264"/>
                    </a:cubicBezTo>
                    <a:cubicBezTo>
                      <a:pt x="941" y="260"/>
                      <a:pt x="941" y="252"/>
                      <a:pt x="936" y="250"/>
                    </a:cubicBezTo>
                    <a:cubicBezTo>
                      <a:pt x="915" y="253"/>
                      <a:pt x="892" y="252"/>
                      <a:pt x="871" y="255"/>
                    </a:cubicBezTo>
                    <a:close/>
                    <a:moveTo>
                      <a:pt x="1317" y="405"/>
                    </a:moveTo>
                    <a:cubicBezTo>
                      <a:pt x="1328" y="400"/>
                      <a:pt x="1340" y="395"/>
                      <a:pt x="1350" y="388"/>
                    </a:cubicBezTo>
                    <a:cubicBezTo>
                      <a:pt x="1332" y="347"/>
                      <a:pt x="1314" y="307"/>
                      <a:pt x="1289" y="273"/>
                    </a:cubicBezTo>
                    <a:cubicBezTo>
                      <a:pt x="1263" y="264"/>
                      <a:pt x="1231" y="255"/>
                      <a:pt x="1204" y="251"/>
                    </a:cubicBezTo>
                    <a:cubicBezTo>
                      <a:pt x="1247" y="297"/>
                      <a:pt x="1284" y="348"/>
                      <a:pt x="1317" y="405"/>
                    </a:cubicBezTo>
                    <a:close/>
                    <a:moveTo>
                      <a:pt x="616" y="253"/>
                    </a:moveTo>
                    <a:cubicBezTo>
                      <a:pt x="602" y="296"/>
                      <a:pt x="589" y="340"/>
                      <a:pt x="578" y="385"/>
                    </a:cubicBezTo>
                    <a:cubicBezTo>
                      <a:pt x="591" y="385"/>
                      <a:pt x="603" y="384"/>
                      <a:pt x="617" y="383"/>
                    </a:cubicBezTo>
                    <a:cubicBezTo>
                      <a:pt x="619" y="338"/>
                      <a:pt x="624" y="295"/>
                      <a:pt x="630" y="253"/>
                    </a:cubicBezTo>
                    <a:cubicBezTo>
                      <a:pt x="625" y="254"/>
                      <a:pt x="618" y="252"/>
                      <a:pt x="616" y="253"/>
                    </a:cubicBezTo>
                    <a:close/>
                    <a:moveTo>
                      <a:pt x="632" y="256"/>
                    </a:moveTo>
                    <a:cubicBezTo>
                      <a:pt x="628" y="298"/>
                      <a:pt x="623" y="339"/>
                      <a:pt x="621" y="383"/>
                    </a:cubicBezTo>
                    <a:cubicBezTo>
                      <a:pt x="658" y="381"/>
                      <a:pt x="697" y="381"/>
                      <a:pt x="735" y="380"/>
                    </a:cubicBezTo>
                    <a:cubicBezTo>
                      <a:pt x="737" y="339"/>
                      <a:pt x="739" y="298"/>
                      <a:pt x="740" y="257"/>
                    </a:cubicBezTo>
                    <a:cubicBezTo>
                      <a:pt x="704" y="257"/>
                      <a:pt x="670" y="255"/>
                      <a:pt x="634" y="254"/>
                    </a:cubicBezTo>
                    <a:cubicBezTo>
                      <a:pt x="634" y="252"/>
                      <a:pt x="632" y="254"/>
                      <a:pt x="632" y="256"/>
                    </a:cubicBezTo>
                    <a:close/>
                    <a:moveTo>
                      <a:pt x="788" y="257"/>
                    </a:moveTo>
                    <a:cubicBezTo>
                      <a:pt x="789" y="297"/>
                      <a:pt x="790" y="338"/>
                      <a:pt x="790" y="380"/>
                    </a:cubicBezTo>
                    <a:cubicBezTo>
                      <a:pt x="825" y="380"/>
                      <a:pt x="860" y="381"/>
                      <a:pt x="894" y="383"/>
                    </a:cubicBezTo>
                    <a:cubicBezTo>
                      <a:pt x="888" y="338"/>
                      <a:pt x="878" y="296"/>
                      <a:pt x="868" y="255"/>
                    </a:cubicBezTo>
                    <a:cubicBezTo>
                      <a:pt x="841" y="255"/>
                      <a:pt x="815" y="257"/>
                      <a:pt x="788" y="257"/>
                    </a:cubicBezTo>
                    <a:close/>
                    <a:moveTo>
                      <a:pt x="744" y="257"/>
                    </a:moveTo>
                    <a:cubicBezTo>
                      <a:pt x="740" y="296"/>
                      <a:pt x="740" y="339"/>
                      <a:pt x="738" y="380"/>
                    </a:cubicBezTo>
                    <a:cubicBezTo>
                      <a:pt x="755" y="380"/>
                      <a:pt x="771" y="380"/>
                      <a:pt x="788" y="380"/>
                    </a:cubicBezTo>
                    <a:cubicBezTo>
                      <a:pt x="788" y="338"/>
                      <a:pt x="786" y="298"/>
                      <a:pt x="786" y="257"/>
                    </a:cubicBezTo>
                    <a:cubicBezTo>
                      <a:pt x="772" y="257"/>
                      <a:pt x="758" y="257"/>
                      <a:pt x="744" y="257"/>
                    </a:cubicBezTo>
                    <a:close/>
                    <a:moveTo>
                      <a:pt x="286" y="259"/>
                    </a:moveTo>
                    <a:cubicBezTo>
                      <a:pt x="277" y="260"/>
                      <a:pt x="270" y="263"/>
                      <a:pt x="262" y="264"/>
                    </a:cubicBezTo>
                    <a:cubicBezTo>
                      <a:pt x="249" y="285"/>
                      <a:pt x="237" y="306"/>
                      <a:pt x="227" y="329"/>
                    </a:cubicBezTo>
                    <a:moveTo>
                      <a:pt x="227" y="329"/>
                    </a:moveTo>
                    <a:cubicBezTo>
                      <a:pt x="226" y="329"/>
                      <a:pt x="227" y="330"/>
                      <a:pt x="226" y="331"/>
                    </a:cubicBezTo>
                    <a:moveTo>
                      <a:pt x="226" y="331"/>
                    </a:moveTo>
                    <a:cubicBezTo>
                      <a:pt x="225" y="331"/>
                      <a:pt x="226" y="332"/>
                      <a:pt x="226" y="331"/>
                    </a:cubicBezTo>
                    <a:moveTo>
                      <a:pt x="226" y="331"/>
                    </a:moveTo>
                    <a:cubicBezTo>
                      <a:pt x="227" y="331"/>
                      <a:pt x="227" y="330"/>
                      <a:pt x="227" y="329"/>
                    </a:cubicBezTo>
                    <a:moveTo>
                      <a:pt x="286" y="259"/>
                    </a:moveTo>
                    <a:cubicBezTo>
                      <a:pt x="266" y="281"/>
                      <a:pt x="246" y="305"/>
                      <a:pt x="227" y="329"/>
                    </a:cubicBezTo>
                    <a:moveTo>
                      <a:pt x="286" y="259"/>
                    </a:moveTo>
                    <a:cubicBezTo>
                      <a:pt x="287" y="258"/>
                      <a:pt x="286" y="258"/>
                      <a:pt x="286" y="259"/>
                    </a:cubicBezTo>
                    <a:moveTo>
                      <a:pt x="257" y="266"/>
                    </a:moveTo>
                    <a:cubicBezTo>
                      <a:pt x="237" y="271"/>
                      <a:pt x="219" y="278"/>
                      <a:pt x="201" y="286"/>
                    </a:cubicBezTo>
                    <a:cubicBezTo>
                      <a:pt x="180" y="309"/>
                      <a:pt x="160" y="334"/>
                      <a:pt x="143" y="361"/>
                    </a:cubicBezTo>
                    <a:cubicBezTo>
                      <a:pt x="152" y="377"/>
                      <a:pt x="168" y="386"/>
                      <a:pt x="184" y="394"/>
                    </a:cubicBezTo>
                    <a:cubicBezTo>
                      <a:pt x="194" y="377"/>
                      <a:pt x="205" y="359"/>
                      <a:pt x="218" y="344"/>
                    </a:cubicBezTo>
                    <a:cubicBezTo>
                      <a:pt x="228" y="316"/>
                      <a:pt x="243" y="291"/>
                      <a:pt x="257" y="266"/>
                    </a:cubicBezTo>
                    <a:moveTo>
                      <a:pt x="257" y="266"/>
                    </a:moveTo>
                    <a:cubicBezTo>
                      <a:pt x="258" y="266"/>
                      <a:pt x="257" y="265"/>
                      <a:pt x="257" y="266"/>
                    </a:cubicBezTo>
                    <a:moveTo>
                      <a:pt x="1292" y="270"/>
                    </a:moveTo>
                    <a:cubicBezTo>
                      <a:pt x="1293" y="272"/>
                      <a:pt x="1293" y="270"/>
                      <a:pt x="1292" y="270"/>
                    </a:cubicBezTo>
                    <a:moveTo>
                      <a:pt x="1292" y="270"/>
                    </a:moveTo>
                    <a:cubicBezTo>
                      <a:pt x="1291" y="269"/>
                      <a:pt x="1291" y="270"/>
                      <a:pt x="1292" y="270"/>
                    </a:cubicBezTo>
                    <a:moveTo>
                      <a:pt x="1295" y="275"/>
                    </a:moveTo>
                    <a:cubicBezTo>
                      <a:pt x="1316" y="310"/>
                      <a:pt x="1336" y="347"/>
                      <a:pt x="1351" y="387"/>
                    </a:cubicBezTo>
                    <a:cubicBezTo>
                      <a:pt x="1360" y="383"/>
                      <a:pt x="1368" y="378"/>
                      <a:pt x="1373" y="371"/>
                    </a:cubicBezTo>
                    <a:cubicBezTo>
                      <a:pt x="1349" y="337"/>
                      <a:pt x="1324" y="306"/>
                      <a:pt x="1298" y="275"/>
                    </a:cubicBezTo>
                    <a:cubicBezTo>
                      <a:pt x="1297" y="275"/>
                      <a:pt x="1296" y="275"/>
                      <a:pt x="1295" y="275"/>
                    </a:cubicBezTo>
                    <a:moveTo>
                      <a:pt x="1295" y="275"/>
                    </a:moveTo>
                    <a:cubicBezTo>
                      <a:pt x="1294" y="274"/>
                      <a:pt x="1294" y="275"/>
                      <a:pt x="1295" y="275"/>
                    </a:cubicBezTo>
                    <a:moveTo>
                      <a:pt x="1375" y="370"/>
                    </a:moveTo>
                    <a:cubicBezTo>
                      <a:pt x="1380" y="364"/>
                      <a:pt x="1385" y="359"/>
                      <a:pt x="1387" y="350"/>
                    </a:cubicBezTo>
                    <a:cubicBezTo>
                      <a:pt x="1378" y="334"/>
                      <a:pt x="1367" y="319"/>
                      <a:pt x="1357" y="303"/>
                    </a:cubicBezTo>
                    <a:cubicBezTo>
                      <a:pt x="1341" y="294"/>
                      <a:pt x="1322" y="283"/>
                      <a:pt x="1303" y="279"/>
                    </a:cubicBezTo>
                    <a:cubicBezTo>
                      <a:pt x="1330" y="307"/>
                      <a:pt x="1352" y="339"/>
                      <a:pt x="1375" y="370"/>
                    </a:cubicBezTo>
                    <a:close/>
                    <a:moveTo>
                      <a:pt x="194" y="289"/>
                    </a:moveTo>
                    <a:cubicBezTo>
                      <a:pt x="177" y="295"/>
                      <a:pt x="173" y="313"/>
                      <a:pt x="164" y="326"/>
                    </a:cubicBezTo>
                    <a:moveTo>
                      <a:pt x="164" y="326"/>
                    </a:moveTo>
                    <a:cubicBezTo>
                      <a:pt x="163" y="326"/>
                      <a:pt x="163" y="326"/>
                      <a:pt x="163" y="327"/>
                    </a:cubicBezTo>
                    <a:moveTo>
                      <a:pt x="163" y="327"/>
                    </a:moveTo>
                    <a:cubicBezTo>
                      <a:pt x="162" y="327"/>
                      <a:pt x="162" y="328"/>
                      <a:pt x="162" y="329"/>
                    </a:cubicBezTo>
                    <a:moveTo>
                      <a:pt x="162" y="329"/>
                    </a:moveTo>
                    <a:cubicBezTo>
                      <a:pt x="161" y="329"/>
                      <a:pt x="162" y="330"/>
                      <a:pt x="162" y="329"/>
                    </a:cubicBezTo>
                    <a:moveTo>
                      <a:pt x="162" y="329"/>
                    </a:moveTo>
                    <a:cubicBezTo>
                      <a:pt x="163" y="329"/>
                      <a:pt x="163" y="328"/>
                      <a:pt x="163" y="327"/>
                    </a:cubicBezTo>
                    <a:moveTo>
                      <a:pt x="163" y="327"/>
                    </a:moveTo>
                    <a:cubicBezTo>
                      <a:pt x="164" y="327"/>
                      <a:pt x="164" y="326"/>
                      <a:pt x="164" y="326"/>
                    </a:cubicBezTo>
                    <a:moveTo>
                      <a:pt x="164" y="326"/>
                    </a:moveTo>
                    <a:cubicBezTo>
                      <a:pt x="174" y="314"/>
                      <a:pt x="184" y="302"/>
                      <a:pt x="194" y="289"/>
                    </a:cubicBezTo>
                    <a:moveTo>
                      <a:pt x="194" y="289"/>
                    </a:moveTo>
                    <a:cubicBezTo>
                      <a:pt x="195" y="289"/>
                      <a:pt x="194" y="288"/>
                      <a:pt x="194" y="289"/>
                    </a:cubicBezTo>
                    <a:moveTo>
                      <a:pt x="472" y="295"/>
                    </a:moveTo>
                    <a:cubicBezTo>
                      <a:pt x="472" y="295"/>
                      <a:pt x="471" y="295"/>
                      <a:pt x="471" y="295"/>
                    </a:cubicBezTo>
                    <a:cubicBezTo>
                      <a:pt x="454" y="329"/>
                      <a:pt x="436" y="362"/>
                      <a:pt x="422" y="400"/>
                    </a:cubicBezTo>
                    <a:moveTo>
                      <a:pt x="422" y="400"/>
                    </a:moveTo>
                    <a:cubicBezTo>
                      <a:pt x="421" y="400"/>
                      <a:pt x="422" y="401"/>
                      <a:pt x="422" y="400"/>
                    </a:cubicBezTo>
                    <a:moveTo>
                      <a:pt x="422" y="400"/>
                    </a:moveTo>
                    <a:cubicBezTo>
                      <a:pt x="434" y="400"/>
                      <a:pt x="442" y="397"/>
                      <a:pt x="454" y="397"/>
                    </a:cubicBezTo>
                    <a:cubicBezTo>
                      <a:pt x="458" y="361"/>
                      <a:pt x="466" y="329"/>
                      <a:pt x="472" y="295"/>
                    </a:cubicBezTo>
                    <a:moveTo>
                      <a:pt x="472" y="295"/>
                    </a:moveTo>
                    <a:cubicBezTo>
                      <a:pt x="475" y="295"/>
                      <a:pt x="471" y="291"/>
                      <a:pt x="472" y="295"/>
                    </a:cubicBezTo>
                    <a:moveTo>
                      <a:pt x="178" y="297"/>
                    </a:moveTo>
                    <a:cubicBezTo>
                      <a:pt x="158" y="308"/>
                      <a:pt x="126" y="328"/>
                      <a:pt x="141" y="359"/>
                    </a:cubicBezTo>
                    <a:cubicBezTo>
                      <a:pt x="153" y="338"/>
                      <a:pt x="165" y="317"/>
                      <a:pt x="178" y="297"/>
                    </a:cubicBezTo>
                    <a:moveTo>
                      <a:pt x="178" y="297"/>
                    </a:moveTo>
                    <a:cubicBezTo>
                      <a:pt x="180" y="296"/>
                      <a:pt x="178" y="296"/>
                      <a:pt x="178" y="297"/>
                    </a:cubicBezTo>
                    <a:moveTo>
                      <a:pt x="1364" y="309"/>
                    </a:moveTo>
                    <a:cubicBezTo>
                      <a:pt x="1364" y="309"/>
                      <a:pt x="1364" y="310"/>
                      <a:pt x="1365" y="310"/>
                    </a:cubicBezTo>
                    <a:moveTo>
                      <a:pt x="1365" y="310"/>
                    </a:moveTo>
                    <a:cubicBezTo>
                      <a:pt x="1365" y="310"/>
                      <a:pt x="1365" y="310"/>
                      <a:pt x="1366" y="311"/>
                    </a:cubicBezTo>
                    <a:moveTo>
                      <a:pt x="1366" y="311"/>
                    </a:moveTo>
                    <a:cubicBezTo>
                      <a:pt x="1366" y="312"/>
                      <a:pt x="1366" y="312"/>
                      <a:pt x="1367" y="312"/>
                    </a:cubicBezTo>
                    <a:moveTo>
                      <a:pt x="1367" y="312"/>
                    </a:moveTo>
                    <a:cubicBezTo>
                      <a:pt x="1367" y="313"/>
                      <a:pt x="1367" y="313"/>
                      <a:pt x="1368" y="313"/>
                    </a:cubicBezTo>
                    <a:moveTo>
                      <a:pt x="1368" y="313"/>
                    </a:moveTo>
                    <a:cubicBezTo>
                      <a:pt x="1374" y="324"/>
                      <a:pt x="1380" y="335"/>
                      <a:pt x="1388" y="345"/>
                    </a:cubicBezTo>
                    <a:cubicBezTo>
                      <a:pt x="1386" y="330"/>
                      <a:pt x="1375" y="324"/>
                      <a:pt x="1368" y="313"/>
                    </a:cubicBezTo>
                    <a:moveTo>
                      <a:pt x="1368" y="313"/>
                    </a:moveTo>
                    <a:cubicBezTo>
                      <a:pt x="1368" y="313"/>
                      <a:pt x="1367" y="312"/>
                      <a:pt x="1367" y="312"/>
                    </a:cubicBezTo>
                    <a:moveTo>
                      <a:pt x="1367" y="312"/>
                    </a:moveTo>
                    <a:cubicBezTo>
                      <a:pt x="1367" y="311"/>
                      <a:pt x="1367" y="311"/>
                      <a:pt x="1366" y="311"/>
                    </a:cubicBezTo>
                    <a:moveTo>
                      <a:pt x="1366" y="311"/>
                    </a:moveTo>
                    <a:cubicBezTo>
                      <a:pt x="1366" y="310"/>
                      <a:pt x="1365" y="310"/>
                      <a:pt x="1365" y="310"/>
                    </a:cubicBezTo>
                    <a:moveTo>
                      <a:pt x="1365" y="310"/>
                    </a:moveTo>
                    <a:cubicBezTo>
                      <a:pt x="1365" y="309"/>
                      <a:pt x="1365" y="309"/>
                      <a:pt x="1364" y="309"/>
                    </a:cubicBezTo>
                    <a:moveTo>
                      <a:pt x="1364" y="309"/>
                    </a:moveTo>
                    <a:cubicBezTo>
                      <a:pt x="1363" y="307"/>
                      <a:pt x="1363" y="309"/>
                      <a:pt x="1364" y="309"/>
                    </a:cubicBezTo>
                    <a:moveTo>
                      <a:pt x="1379" y="323"/>
                    </a:moveTo>
                    <a:cubicBezTo>
                      <a:pt x="1380" y="324"/>
                      <a:pt x="1380" y="323"/>
                      <a:pt x="1379" y="323"/>
                    </a:cubicBezTo>
                    <a:moveTo>
                      <a:pt x="1379" y="323"/>
                    </a:moveTo>
                    <a:cubicBezTo>
                      <a:pt x="1379" y="322"/>
                      <a:pt x="1378" y="323"/>
                      <a:pt x="1379" y="323"/>
                    </a:cubicBezTo>
                    <a:moveTo>
                      <a:pt x="160" y="332"/>
                    </a:moveTo>
                    <a:cubicBezTo>
                      <a:pt x="159" y="332"/>
                      <a:pt x="160" y="333"/>
                      <a:pt x="160" y="332"/>
                    </a:cubicBezTo>
                    <a:moveTo>
                      <a:pt x="160" y="332"/>
                    </a:moveTo>
                    <a:cubicBezTo>
                      <a:pt x="161" y="331"/>
                      <a:pt x="160" y="330"/>
                      <a:pt x="160" y="332"/>
                    </a:cubicBezTo>
                    <a:moveTo>
                      <a:pt x="224" y="334"/>
                    </a:moveTo>
                    <a:cubicBezTo>
                      <a:pt x="224" y="333"/>
                      <a:pt x="225" y="334"/>
                      <a:pt x="224" y="334"/>
                    </a:cubicBezTo>
                    <a:close/>
                    <a:moveTo>
                      <a:pt x="326" y="336"/>
                    </a:moveTo>
                    <a:cubicBezTo>
                      <a:pt x="307" y="364"/>
                      <a:pt x="290" y="395"/>
                      <a:pt x="274" y="426"/>
                    </a:cubicBezTo>
                    <a:cubicBezTo>
                      <a:pt x="285" y="423"/>
                      <a:pt x="296" y="421"/>
                      <a:pt x="306" y="419"/>
                    </a:cubicBezTo>
                    <a:cubicBezTo>
                      <a:pt x="311" y="390"/>
                      <a:pt x="319" y="364"/>
                      <a:pt x="326" y="336"/>
                    </a:cubicBezTo>
                    <a:moveTo>
                      <a:pt x="326" y="336"/>
                    </a:moveTo>
                    <a:cubicBezTo>
                      <a:pt x="329" y="336"/>
                      <a:pt x="325" y="332"/>
                      <a:pt x="326" y="336"/>
                    </a:cubicBezTo>
                    <a:moveTo>
                      <a:pt x="44" y="524"/>
                    </a:moveTo>
                    <a:cubicBezTo>
                      <a:pt x="49" y="523"/>
                      <a:pt x="54" y="514"/>
                      <a:pt x="59" y="510"/>
                    </a:cubicBezTo>
                    <a:cubicBezTo>
                      <a:pt x="80" y="455"/>
                      <a:pt x="109" y="407"/>
                      <a:pt x="139" y="360"/>
                    </a:cubicBezTo>
                    <a:cubicBezTo>
                      <a:pt x="134" y="356"/>
                      <a:pt x="135" y="347"/>
                      <a:pt x="133" y="339"/>
                    </a:cubicBezTo>
                    <a:cubicBezTo>
                      <a:pt x="97" y="394"/>
                      <a:pt x="66" y="454"/>
                      <a:pt x="44" y="524"/>
                    </a:cubicBezTo>
                    <a:close/>
                    <a:moveTo>
                      <a:pt x="1483" y="528"/>
                    </a:moveTo>
                    <a:cubicBezTo>
                      <a:pt x="1482" y="532"/>
                      <a:pt x="1486" y="529"/>
                      <a:pt x="1483" y="528"/>
                    </a:cubicBezTo>
                    <a:moveTo>
                      <a:pt x="1483" y="528"/>
                    </a:moveTo>
                    <a:cubicBezTo>
                      <a:pt x="1460" y="465"/>
                      <a:pt x="1432" y="396"/>
                      <a:pt x="1393" y="347"/>
                    </a:cubicBezTo>
                    <a:cubicBezTo>
                      <a:pt x="1393" y="347"/>
                      <a:pt x="1391" y="343"/>
                      <a:pt x="1390" y="345"/>
                    </a:cubicBezTo>
                    <a:cubicBezTo>
                      <a:pt x="1401" y="371"/>
                      <a:pt x="1415" y="395"/>
                      <a:pt x="1425" y="421"/>
                    </a:cubicBezTo>
                    <a:cubicBezTo>
                      <a:pt x="1436" y="447"/>
                      <a:pt x="1448" y="473"/>
                      <a:pt x="1455" y="503"/>
                    </a:cubicBezTo>
                    <a:cubicBezTo>
                      <a:pt x="1466" y="510"/>
                      <a:pt x="1474" y="519"/>
                      <a:pt x="1483" y="528"/>
                    </a:cubicBezTo>
                    <a:moveTo>
                      <a:pt x="1376" y="374"/>
                    </a:moveTo>
                    <a:cubicBezTo>
                      <a:pt x="1396" y="402"/>
                      <a:pt x="1417" y="437"/>
                      <a:pt x="1432" y="470"/>
                    </a:cubicBezTo>
                    <a:cubicBezTo>
                      <a:pt x="1437" y="481"/>
                      <a:pt x="1440" y="496"/>
                      <a:pt x="1452" y="499"/>
                    </a:cubicBezTo>
                    <a:cubicBezTo>
                      <a:pt x="1435" y="446"/>
                      <a:pt x="1415" y="397"/>
                      <a:pt x="1389" y="354"/>
                    </a:cubicBezTo>
                    <a:cubicBezTo>
                      <a:pt x="1386" y="362"/>
                      <a:pt x="1380" y="367"/>
                      <a:pt x="1376" y="374"/>
                    </a:cubicBezTo>
                    <a:close/>
                    <a:moveTo>
                      <a:pt x="212" y="356"/>
                    </a:moveTo>
                    <a:cubicBezTo>
                      <a:pt x="212" y="355"/>
                      <a:pt x="213" y="356"/>
                      <a:pt x="212" y="356"/>
                    </a:cubicBezTo>
                    <a:close/>
                    <a:moveTo>
                      <a:pt x="211" y="358"/>
                    </a:moveTo>
                    <a:cubicBezTo>
                      <a:pt x="202" y="370"/>
                      <a:pt x="193" y="382"/>
                      <a:pt x="186" y="396"/>
                    </a:cubicBezTo>
                    <a:cubicBezTo>
                      <a:pt x="190" y="396"/>
                      <a:pt x="192" y="399"/>
                      <a:pt x="196" y="400"/>
                    </a:cubicBezTo>
                    <a:cubicBezTo>
                      <a:pt x="201" y="386"/>
                      <a:pt x="206" y="372"/>
                      <a:pt x="211" y="358"/>
                    </a:cubicBezTo>
                    <a:moveTo>
                      <a:pt x="211" y="358"/>
                    </a:moveTo>
                    <a:cubicBezTo>
                      <a:pt x="212" y="357"/>
                      <a:pt x="211" y="356"/>
                      <a:pt x="211" y="358"/>
                    </a:cubicBezTo>
                    <a:moveTo>
                      <a:pt x="94" y="487"/>
                    </a:moveTo>
                    <a:cubicBezTo>
                      <a:pt x="109" y="477"/>
                      <a:pt x="127" y="470"/>
                      <a:pt x="146" y="463"/>
                    </a:cubicBezTo>
                    <a:cubicBezTo>
                      <a:pt x="156" y="439"/>
                      <a:pt x="170" y="418"/>
                      <a:pt x="182" y="396"/>
                    </a:cubicBezTo>
                    <a:cubicBezTo>
                      <a:pt x="166" y="389"/>
                      <a:pt x="152" y="378"/>
                      <a:pt x="141" y="365"/>
                    </a:cubicBezTo>
                    <a:cubicBezTo>
                      <a:pt x="123" y="403"/>
                      <a:pt x="103" y="444"/>
                      <a:pt x="94" y="487"/>
                    </a:cubicBezTo>
                    <a:close/>
                    <a:moveTo>
                      <a:pt x="132" y="376"/>
                    </a:moveTo>
                    <a:cubicBezTo>
                      <a:pt x="132" y="375"/>
                      <a:pt x="133" y="376"/>
                      <a:pt x="132" y="376"/>
                    </a:cubicBezTo>
                    <a:close/>
                    <a:moveTo>
                      <a:pt x="1374" y="375"/>
                    </a:moveTo>
                    <a:cubicBezTo>
                      <a:pt x="1368" y="382"/>
                      <a:pt x="1359" y="386"/>
                      <a:pt x="1352" y="391"/>
                    </a:cubicBezTo>
                    <a:cubicBezTo>
                      <a:pt x="1362" y="413"/>
                      <a:pt x="1369" y="437"/>
                      <a:pt x="1375" y="462"/>
                    </a:cubicBezTo>
                    <a:cubicBezTo>
                      <a:pt x="1398" y="469"/>
                      <a:pt x="1420" y="482"/>
                      <a:pt x="1439" y="490"/>
                    </a:cubicBezTo>
                    <a:cubicBezTo>
                      <a:pt x="1419" y="450"/>
                      <a:pt x="1399" y="409"/>
                      <a:pt x="1374" y="375"/>
                    </a:cubicBezTo>
                    <a:close/>
                    <a:moveTo>
                      <a:pt x="131" y="378"/>
                    </a:moveTo>
                    <a:cubicBezTo>
                      <a:pt x="131" y="378"/>
                      <a:pt x="131" y="378"/>
                      <a:pt x="130" y="378"/>
                    </a:cubicBezTo>
                    <a:cubicBezTo>
                      <a:pt x="106" y="418"/>
                      <a:pt x="82" y="459"/>
                      <a:pt x="64" y="505"/>
                    </a:cubicBezTo>
                    <a:moveTo>
                      <a:pt x="64" y="505"/>
                    </a:moveTo>
                    <a:cubicBezTo>
                      <a:pt x="63" y="506"/>
                      <a:pt x="64" y="507"/>
                      <a:pt x="64" y="505"/>
                    </a:cubicBezTo>
                    <a:moveTo>
                      <a:pt x="64" y="505"/>
                    </a:moveTo>
                    <a:cubicBezTo>
                      <a:pt x="73" y="500"/>
                      <a:pt x="80" y="494"/>
                      <a:pt x="90" y="489"/>
                    </a:cubicBezTo>
                    <a:cubicBezTo>
                      <a:pt x="100" y="448"/>
                      <a:pt x="116" y="413"/>
                      <a:pt x="131" y="378"/>
                    </a:cubicBezTo>
                    <a:moveTo>
                      <a:pt x="131" y="378"/>
                    </a:moveTo>
                    <a:cubicBezTo>
                      <a:pt x="133" y="377"/>
                      <a:pt x="131" y="377"/>
                      <a:pt x="131" y="378"/>
                    </a:cubicBezTo>
                    <a:moveTo>
                      <a:pt x="620" y="385"/>
                    </a:moveTo>
                    <a:cubicBezTo>
                      <a:pt x="619" y="415"/>
                      <a:pt x="617" y="444"/>
                      <a:pt x="616" y="473"/>
                    </a:cubicBezTo>
                    <a:cubicBezTo>
                      <a:pt x="654" y="475"/>
                      <a:pt x="693" y="476"/>
                      <a:pt x="732" y="477"/>
                    </a:cubicBezTo>
                    <a:cubicBezTo>
                      <a:pt x="733" y="445"/>
                      <a:pt x="734" y="414"/>
                      <a:pt x="735" y="383"/>
                    </a:cubicBezTo>
                    <a:cubicBezTo>
                      <a:pt x="695" y="382"/>
                      <a:pt x="658" y="384"/>
                      <a:pt x="620" y="385"/>
                    </a:cubicBezTo>
                    <a:close/>
                    <a:moveTo>
                      <a:pt x="739" y="383"/>
                    </a:moveTo>
                    <a:cubicBezTo>
                      <a:pt x="736" y="412"/>
                      <a:pt x="736" y="445"/>
                      <a:pt x="735" y="477"/>
                    </a:cubicBezTo>
                    <a:cubicBezTo>
                      <a:pt x="753" y="477"/>
                      <a:pt x="771" y="477"/>
                      <a:pt x="789" y="477"/>
                    </a:cubicBezTo>
                    <a:cubicBezTo>
                      <a:pt x="789" y="445"/>
                      <a:pt x="787" y="415"/>
                      <a:pt x="788" y="383"/>
                    </a:cubicBezTo>
                    <a:cubicBezTo>
                      <a:pt x="772" y="383"/>
                      <a:pt x="755" y="383"/>
                      <a:pt x="739" y="383"/>
                    </a:cubicBezTo>
                    <a:close/>
                    <a:moveTo>
                      <a:pt x="792" y="383"/>
                    </a:moveTo>
                    <a:cubicBezTo>
                      <a:pt x="790" y="412"/>
                      <a:pt x="791" y="446"/>
                      <a:pt x="791" y="477"/>
                    </a:cubicBezTo>
                    <a:cubicBezTo>
                      <a:pt x="831" y="476"/>
                      <a:pt x="871" y="475"/>
                      <a:pt x="910" y="473"/>
                    </a:cubicBezTo>
                    <a:cubicBezTo>
                      <a:pt x="905" y="443"/>
                      <a:pt x="901" y="414"/>
                      <a:pt x="895" y="385"/>
                    </a:cubicBezTo>
                    <a:cubicBezTo>
                      <a:pt x="862" y="384"/>
                      <a:pt x="827" y="382"/>
                      <a:pt x="792" y="383"/>
                    </a:cubicBezTo>
                    <a:close/>
                    <a:moveTo>
                      <a:pt x="616" y="385"/>
                    </a:moveTo>
                    <a:cubicBezTo>
                      <a:pt x="616" y="385"/>
                      <a:pt x="615" y="385"/>
                      <a:pt x="615" y="385"/>
                    </a:cubicBezTo>
                    <a:cubicBezTo>
                      <a:pt x="603" y="387"/>
                      <a:pt x="589" y="387"/>
                      <a:pt x="577" y="388"/>
                    </a:cubicBezTo>
                    <a:cubicBezTo>
                      <a:pt x="571" y="416"/>
                      <a:pt x="564" y="441"/>
                      <a:pt x="559" y="470"/>
                    </a:cubicBezTo>
                    <a:cubicBezTo>
                      <a:pt x="578" y="470"/>
                      <a:pt x="595" y="472"/>
                      <a:pt x="613" y="473"/>
                    </a:cubicBezTo>
                    <a:cubicBezTo>
                      <a:pt x="612" y="443"/>
                      <a:pt x="617" y="409"/>
                      <a:pt x="616" y="385"/>
                    </a:cubicBezTo>
                    <a:close/>
                    <a:moveTo>
                      <a:pt x="914" y="473"/>
                    </a:moveTo>
                    <a:cubicBezTo>
                      <a:pt x="930" y="472"/>
                      <a:pt x="946" y="470"/>
                      <a:pt x="963" y="470"/>
                    </a:cubicBezTo>
                    <a:cubicBezTo>
                      <a:pt x="960" y="443"/>
                      <a:pt x="960" y="414"/>
                      <a:pt x="957" y="388"/>
                    </a:cubicBezTo>
                    <a:cubicBezTo>
                      <a:pt x="937" y="388"/>
                      <a:pt x="919" y="386"/>
                      <a:pt x="900" y="385"/>
                    </a:cubicBezTo>
                    <a:cubicBezTo>
                      <a:pt x="904" y="415"/>
                      <a:pt x="910" y="442"/>
                      <a:pt x="914" y="473"/>
                    </a:cubicBezTo>
                    <a:close/>
                    <a:moveTo>
                      <a:pt x="456" y="399"/>
                    </a:moveTo>
                    <a:cubicBezTo>
                      <a:pt x="454" y="419"/>
                      <a:pt x="451" y="438"/>
                      <a:pt x="450" y="459"/>
                    </a:cubicBezTo>
                    <a:cubicBezTo>
                      <a:pt x="486" y="462"/>
                      <a:pt x="520" y="467"/>
                      <a:pt x="557" y="469"/>
                    </a:cubicBezTo>
                    <a:cubicBezTo>
                      <a:pt x="561" y="441"/>
                      <a:pt x="569" y="416"/>
                      <a:pt x="574" y="388"/>
                    </a:cubicBezTo>
                    <a:cubicBezTo>
                      <a:pt x="534" y="391"/>
                      <a:pt x="494" y="394"/>
                      <a:pt x="456" y="399"/>
                    </a:cubicBezTo>
                    <a:close/>
                    <a:moveTo>
                      <a:pt x="960" y="389"/>
                    </a:moveTo>
                    <a:cubicBezTo>
                      <a:pt x="962" y="415"/>
                      <a:pt x="964" y="441"/>
                      <a:pt x="965" y="469"/>
                    </a:cubicBezTo>
                    <a:cubicBezTo>
                      <a:pt x="1003" y="467"/>
                      <a:pt x="1042" y="464"/>
                      <a:pt x="1076" y="457"/>
                    </a:cubicBezTo>
                    <a:cubicBezTo>
                      <a:pt x="1068" y="438"/>
                      <a:pt x="1062" y="417"/>
                      <a:pt x="1055" y="397"/>
                    </a:cubicBezTo>
                    <a:cubicBezTo>
                      <a:pt x="1023" y="395"/>
                      <a:pt x="993" y="391"/>
                      <a:pt x="960" y="389"/>
                    </a:cubicBezTo>
                    <a:close/>
                    <a:moveTo>
                      <a:pt x="1349" y="392"/>
                    </a:moveTo>
                    <a:cubicBezTo>
                      <a:pt x="1340" y="398"/>
                      <a:pt x="1329" y="402"/>
                      <a:pt x="1319" y="407"/>
                    </a:cubicBezTo>
                    <a:cubicBezTo>
                      <a:pt x="1327" y="421"/>
                      <a:pt x="1335" y="436"/>
                      <a:pt x="1343" y="451"/>
                    </a:cubicBezTo>
                    <a:cubicBezTo>
                      <a:pt x="1354" y="453"/>
                      <a:pt x="1362" y="458"/>
                      <a:pt x="1373" y="460"/>
                    </a:cubicBezTo>
                    <a:cubicBezTo>
                      <a:pt x="1366" y="439"/>
                      <a:pt x="1359" y="407"/>
                      <a:pt x="1349" y="392"/>
                    </a:cubicBezTo>
                    <a:close/>
                    <a:moveTo>
                      <a:pt x="184" y="398"/>
                    </a:moveTo>
                    <a:cubicBezTo>
                      <a:pt x="173" y="419"/>
                      <a:pt x="160" y="439"/>
                      <a:pt x="150" y="461"/>
                    </a:cubicBezTo>
                    <a:cubicBezTo>
                      <a:pt x="160" y="458"/>
                      <a:pt x="170" y="454"/>
                      <a:pt x="181" y="451"/>
                    </a:cubicBezTo>
                    <a:cubicBezTo>
                      <a:pt x="185" y="434"/>
                      <a:pt x="190" y="419"/>
                      <a:pt x="195" y="403"/>
                    </a:cubicBezTo>
                    <a:cubicBezTo>
                      <a:pt x="191" y="401"/>
                      <a:pt x="188" y="399"/>
                      <a:pt x="184" y="398"/>
                    </a:cubicBezTo>
                    <a:close/>
                    <a:moveTo>
                      <a:pt x="1079" y="458"/>
                    </a:moveTo>
                    <a:cubicBezTo>
                      <a:pt x="1094" y="457"/>
                      <a:pt x="1108" y="454"/>
                      <a:pt x="1123" y="453"/>
                    </a:cubicBezTo>
                    <a:cubicBezTo>
                      <a:pt x="1122" y="436"/>
                      <a:pt x="1119" y="421"/>
                      <a:pt x="1117" y="405"/>
                    </a:cubicBezTo>
                    <a:cubicBezTo>
                      <a:pt x="1097" y="404"/>
                      <a:pt x="1077" y="398"/>
                      <a:pt x="1058" y="399"/>
                    </a:cubicBezTo>
                    <a:cubicBezTo>
                      <a:pt x="1066" y="417"/>
                      <a:pt x="1071" y="439"/>
                      <a:pt x="1079" y="458"/>
                    </a:cubicBezTo>
                    <a:close/>
                    <a:moveTo>
                      <a:pt x="420" y="403"/>
                    </a:moveTo>
                    <a:cubicBezTo>
                      <a:pt x="414" y="419"/>
                      <a:pt x="407" y="435"/>
                      <a:pt x="401" y="453"/>
                    </a:cubicBezTo>
                    <a:cubicBezTo>
                      <a:pt x="417" y="454"/>
                      <a:pt x="431" y="457"/>
                      <a:pt x="447" y="458"/>
                    </a:cubicBezTo>
                    <a:cubicBezTo>
                      <a:pt x="449" y="438"/>
                      <a:pt x="451" y="418"/>
                      <a:pt x="454" y="399"/>
                    </a:cubicBezTo>
                    <a:cubicBezTo>
                      <a:pt x="453" y="399"/>
                      <a:pt x="453" y="399"/>
                      <a:pt x="452" y="399"/>
                    </a:cubicBezTo>
                    <a:cubicBezTo>
                      <a:pt x="442" y="401"/>
                      <a:pt x="431" y="402"/>
                      <a:pt x="420" y="403"/>
                    </a:cubicBezTo>
                    <a:close/>
                    <a:moveTo>
                      <a:pt x="185" y="450"/>
                    </a:moveTo>
                    <a:cubicBezTo>
                      <a:pt x="210" y="440"/>
                      <a:pt x="240" y="435"/>
                      <a:pt x="266" y="427"/>
                    </a:cubicBezTo>
                    <a:cubicBezTo>
                      <a:pt x="241" y="421"/>
                      <a:pt x="219" y="413"/>
                      <a:pt x="198" y="404"/>
                    </a:cubicBezTo>
                    <a:cubicBezTo>
                      <a:pt x="193" y="418"/>
                      <a:pt x="187" y="436"/>
                      <a:pt x="185" y="450"/>
                    </a:cubicBezTo>
                    <a:close/>
                    <a:moveTo>
                      <a:pt x="308" y="421"/>
                    </a:moveTo>
                    <a:cubicBezTo>
                      <a:pt x="307" y="425"/>
                      <a:pt x="307" y="430"/>
                      <a:pt x="305" y="434"/>
                    </a:cubicBezTo>
                    <a:cubicBezTo>
                      <a:pt x="335" y="441"/>
                      <a:pt x="366" y="447"/>
                      <a:pt x="398" y="452"/>
                    </a:cubicBezTo>
                    <a:cubicBezTo>
                      <a:pt x="401" y="444"/>
                      <a:pt x="405" y="436"/>
                      <a:pt x="408" y="428"/>
                    </a:cubicBezTo>
                    <a:cubicBezTo>
                      <a:pt x="411" y="419"/>
                      <a:pt x="416" y="410"/>
                      <a:pt x="414" y="404"/>
                    </a:cubicBezTo>
                    <a:cubicBezTo>
                      <a:pt x="378" y="409"/>
                      <a:pt x="343" y="415"/>
                      <a:pt x="308" y="421"/>
                    </a:cubicBezTo>
                    <a:close/>
                    <a:moveTo>
                      <a:pt x="1126" y="452"/>
                    </a:moveTo>
                    <a:cubicBezTo>
                      <a:pt x="1156" y="447"/>
                      <a:pt x="1185" y="442"/>
                      <a:pt x="1213" y="435"/>
                    </a:cubicBezTo>
                    <a:cubicBezTo>
                      <a:pt x="1212" y="429"/>
                      <a:pt x="1208" y="425"/>
                      <a:pt x="1206" y="419"/>
                    </a:cubicBezTo>
                    <a:cubicBezTo>
                      <a:pt x="1178" y="415"/>
                      <a:pt x="1148" y="407"/>
                      <a:pt x="1119" y="407"/>
                    </a:cubicBezTo>
                    <a:cubicBezTo>
                      <a:pt x="1123" y="420"/>
                      <a:pt x="1123" y="437"/>
                      <a:pt x="1126" y="452"/>
                    </a:cubicBezTo>
                    <a:close/>
                    <a:moveTo>
                      <a:pt x="1317" y="408"/>
                    </a:moveTo>
                    <a:cubicBezTo>
                      <a:pt x="1298" y="416"/>
                      <a:pt x="1277" y="420"/>
                      <a:pt x="1260" y="429"/>
                    </a:cubicBezTo>
                    <a:cubicBezTo>
                      <a:pt x="1288" y="434"/>
                      <a:pt x="1313" y="441"/>
                      <a:pt x="1338" y="449"/>
                    </a:cubicBezTo>
                    <a:cubicBezTo>
                      <a:pt x="1332" y="434"/>
                      <a:pt x="1323" y="423"/>
                      <a:pt x="1317" y="408"/>
                    </a:cubicBezTo>
                    <a:close/>
                    <a:moveTo>
                      <a:pt x="1216" y="434"/>
                    </a:moveTo>
                    <a:cubicBezTo>
                      <a:pt x="1226" y="433"/>
                      <a:pt x="1237" y="431"/>
                      <a:pt x="1245" y="427"/>
                    </a:cubicBezTo>
                    <a:cubicBezTo>
                      <a:pt x="1232" y="426"/>
                      <a:pt x="1220" y="420"/>
                      <a:pt x="1209" y="421"/>
                    </a:cubicBezTo>
                    <a:cubicBezTo>
                      <a:pt x="1213" y="424"/>
                      <a:pt x="1214" y="430"/>
                      <a:pt x="1216" y="434"/>
                    </a:cubicBezTo>
                    <a:close/>
                    <a:moveTo>
                      <a:pt x="279" y="427"/>
                    </a:moveTo>
                    <a:cubicBezTo>
                      <a:pt x="285" y="431"/>
                      <a:pt x="295" y="431"/>
                      <a:pt x="303" y="433"/>
                    </a:cubicBezTo>
                    <a:cubicBezTo>
                      <a:pt x="303" y="429"/>
                      <a:pt x="305" y="426"/>
                      <a:pt x="305" y="422"/>
                    </a:cubicBezTo>
                    <a:cubicBezTo>
                      <a:pt x="296" y="423"/>
                      <a:pt x="289" y="426"/>
                      <a:pt x="279" y="427"/>
                    </a:cubicBezTo>
                    <a:close/>
                    <a:moveTo>
                      <a:pt x="1218" y="437"/>
                    </a:moveTo>
                    <a:cubicBezTo>
                      <a:pt x="1240" y="486"/>
                      <a:pt x="1259" y="538"/>
                      <a:pt x="1277" y="593"/>
                    </a:cubicBezTo>
                    <a:cubicBezTo>
                      <a:pt x="1275" y="533"/>
                      <a:pt x="1270" y="478"/>
                      <a:pt x="1257" y="430"/>
                    </a:cubicBezTo>
                    <a:cubicBezTo>
                      <a:pt x="1244" y="429"/>
                      <a:pt x="1232" y="435"/>
                      <a:pt x="1218" y="437"/>
                    </a:cubicBezTo>
                    <a:close/>
                    <a:moveTo>
                      <a:pt x="183" y="453"/>
                    </a:moveTo>
                    <a:cubicBezTo>
                      <a:pt x="169" y="514"/>
                      <a:pt x="159" y="583"/>
                      <a:pt x="163" y="659"/>
                    </a:cubicBezTo>
                    <a:cubicBezTo>
                      <a:pt x="171" y="655"/>
                      <a:pt x="179" y="652"/>
                      <a:pt x="188" y="650"/>
                    </a:cubicBezTo>
                    <a:cubicBezTo>
                      <a:pt x="208" y="570"/>
                      <a:pt x="235" y="496"/>
                      <a:pt x="270" y="430"/>
                    </a:cubicBezTo>
                    <a:cubicBezTo>
                      <a:pt x="269" y="430"/>
                      <a:pt x="268" y="430"/>
                      <a:pt x="268" y="430"/>
                    </a:cubicBezTo>
                    <a:cubicBezTo>
                      <a:pt x="239" y="437"/>
                      <a:pt x="210" y="444"/>
                      <a:pt x="183" y="453"/>
                    </a:cubicBezTo>
                    <a:close/>
                    <a:moveTo>
                      <a:pt x="192" y="648"/>
                    </a:moveTo>
                    <a:cubicBezTo>
                      <a:pt x="190" y="649"/>
                      <a:pt x="192" y="650"/>
                      <a:pt x="192" y="648"/>
                    </a:cubicBezTo>
                    <a:moveTo>
                      <a:pt x="192" y="648"/>
                    </a:moveTo>
                    <a:cubicBezTo>
                      <a:pt x="223" y="640"/>
                      <a:pt x="254" y="630"/>
                      <a:pt x="289" y="623"/>
                    </a:cubicBezTo>
                    <a:cubicBezTo>
                      <a:pt x="287" y="555"/>
                      <a:pt x="293" y="494"/>
                      <a:pt x="302" y="436"/>
                    </a:cubicBezTo>
                    <a:cubicBezTo>
                      <a:pt x="292" y="434"/>
                      <a:pt x="283" y="431"/>
                      <a:pt x="272" y="430"/>
                    </a:cubicBezTo>
                    <a:cubicBezTo>
                      <a:pt x="239" y="496"/>
                      <a:pt x="211" y="568"/>
                      <a:pt x="192" y="648"/>
                    </a:cubicBezTo>
                    <a:moveTo>
                      <a:pt x="1275" y="515"/>
                    </a:moveTo>
                    <a:cubicBezTo>
                      <a:pt x="1279" y="557"/>
                      <a:pt x="1276" y="605"/>
                      <a:pt x="1288" y="636"/>
                    </a:cubicBezTo>
                    <a:cubicBezTo>
                      <a:pt x="1316" y="643"/>
                      <a:pt x="1341" y="652"/>
                      <a:pt x="1367" y="660"/>
                    </a:cubicBezTo>
                    <a:cubicBezTo>
                      <a:pt x="1377" y="657"/>
                      <a:pt x="1386" y="652"/>
                      <a:pt x="1397" y="648"/>
                    </a:cubicBezTo>
                    <a:cubicBezTo>
                      <a:pt x="1395" y="622"/>
                      <a:pt x="1398" y="600"/>
                      <a:pt x="1394" y="577"/>
                    </a:cubicBezTo>
                    <a:cubicBezTo>
                      <a:pt x="1392" y="567"/>
                      <a:pt x="1386" y="555"/>
                      <a:pt x="1382" y="545"/>
                    </a:cubicBezTo>
                    <a:cubicBezTo>
                      <a:pt x="1370" y="512"/>
                      <a:pt x="1354" y="481"/>
                      <a:pt x="1340" y="452"/>
                    </a:cubicBezTo>
                    <a:cubicBezTo>
                      <a:pt x="1314" y="444"/>
                      <a:pt x="1288" y="437"/>
                      <a:pt x="1261" y="431"/>
                    </a:cubicBezTo>
                    <a:cubicBezTo>
                      <a:pt x="1266" y="456"/>
                      <a:pt x="1272" y="485"/>
                      <a:pt x="1275" y="515"/>
                    </a:cubicBezTo>
                    <a:close/>
                    <a:moveTo>
                      <a:pt x="305" y="437"/>
                    </a:moveTo>
                    <a:cubicBezTo>
                      <a:pt x="295" y="493"/>
                      <a:pt x="288" y="559"/>
                      <a:pt x="293" y="623"/>
                    </a:cubicBezTo>
                    <a:cubicBezTo>
                      <a:pt x="311" y="617"/>
                      <a:pt x="332" y="615"/>
                      <a:pt x="351" y="610"/>
                    </a:cubicBezTo>
                    <a:cubicBezTo>
                      <a:pt x="364" y="556"/>
                      <a:pt x="379" y="504"/>
                      <a:pt x="397" y="455"/>
                    </a:cubicBezTo>
                    <a:cubicBezTo>
                      <a:pt x="366" y="449"/>
                      <a:pt x="335" y="444"/>
                      <a:pt x="305" y="437"/>
                    </a:cubicBezTo>
                    <a:close/>
                    <a:moveTo>
                      <a:pt x="1126" y="455"/>
                    </a:moveTo>
                    <a:cubicBezTo>
                      <a:pt x="1131" y="501"/>
                      <a:pt x="1133" y="551"/>
                      <a:pt x="1133" y="603"/>
                    </a:cubicBezTo>
                    <a:cubicBezTo>
                      <a:pt x="1182" y="612"/>
                      <a:pt x="1231" y="620"/>
                      <a:pt x="1277" y="633"/>
                    </a:cubicBezTo>
                    <a:cubicBezTo>
                      <a:pt x="1279" y="602"/>
                      <a:pt x="1270" y="583"/>
                      <a:pt x="1263" y="561"/>
                    </a:cubicBezTo>
                    <a:cubicBezTo>
                      <a:pt x="1248" y="517"/>
                      <a:pt x="1234" y="477"/>
                      <a:pt x="1215" y="438"/>
                    </a:cubicBezTo>
                    <a:cubicBezTo>
                      <a:pt x="1214" y="438"/>
                      <a:pt x="1214" y="438"/>
                      <a:pt x="1213" y="438"/>
                    </a:cubicBezTo>
                    <a:cubicBezTo>
                      <a:pt x="1185" y="445"/>
                      <a:pt x="1156" y="450"/>
                      <a:pt x="1126" y="455"/>
                    </a:cubicBezTo>
                    <a:close/>
                    <a:moveTo>
                      <a:pt x="179" y="454"/>
                    </a:moveTo>
                    <a:cubicBezTo>
                      <a:pt x="168" y="457"/>
                      <a:pt x="158" y="461"/>
                      <a:pt x="147" y="465"/>
                    </a:cubicBezTo>
                    <a:cubicBezTo>
                      <a:pt x="123" y="516"/>
                      <a:pt x="101" y="568"/>
                      <a:pt x="85" y="627"/>
                    </a:cubicBezTo>
                    <a:cubicBezTo>
                      <a:pt x="108" y="640"/>
                      <a:pt x="131" y="652"/>
                      <a:pt x="159" y="660"/>
                    </a:cubicBezTo>
                    <a:cubicBezTo>
                      <a:pt x="157" y="583"/>
                      <a:pt x="168" y="513"/>
                      <a:pt x="179" y="454"/>
                    </a:cubicBezTo>
                    <a:close/>
                    <a:moveTo>
                      <a:pt x="1392" y="564"/>
                    </a:moveTo>
                    <a:cubicBezTo>
                      <a:pt x="1388" y="528"/>
                      <a:pt x="1381" y="495"/>
                      <a:pt x="1374" y="463"/>
                    </a:cubicBezTo>
                    <a:cubicBezTo>
                      <a:pt x="1363" y="461"/>
                      <a:pt x="1354" y="457"/>
                      <a:pt x="1345" y="454"/>
                    </a:cubicBezTo>
                    <a:cubicBezTo>
                      <a:pt x="1362" y="489"/>
                      <a:pt x="1378" y="525"/>
                      <a:pt x="1392" y="564"/>
                    </a:cubicBezTo>
                    <a:close/>
                    <a:moveTo>
                      <a:pt x="401" y="455"/>
                    </a:moveTo>
                    <a:cubicBezTo>
                      <a:pt x="382" y="503"/>
                      <a:pt x="367" y="556"/>
                      <a:pt x="354" y="610"/>
                    </a:cubicBezTo>
                    <a:cubicBezTo>
                      <a:pt x="383" y="605"/>
                      <a:pt x="412" y="600"/>
                      <a:pt x="442" y="597"/>
                    </a:cubicBezTo>
                    <a:cubicBezTo>
                      <a:pt x="442" y="550"/>
                      <a:pt x="443" y="504"/>
                      <a:pt x="447" y="461"/>
                    </a:cubicBezTo>
                    <a:cubicBezTo>
                      <a:pt x="432" y="459"/>
                      <a:pt x="415" y="458"/>
                      <a:pt x="401" y="455"/>
                    </a:cubicBezTo>
                    <a:close/>
                    <a:moveTo>
                      <a:pt x="1080" y="461"/>
                    </a:moveTo>
                    <a:cubicBezTo>
                      <a:pt x="1093" y="507"/>
                      <a:pt x="1106" y="553"/>
                      <a:pt x="1116" y="601"/>
                    </a:cubicBezTo>
                    <a:cubicBezTo>
                      <a:pt x="1121" y="602"/>
                      <a:pt x="1125" y="602"/>
                      <a:pt x="1130" y="603"/>
                    </a:cubicBezTo>
                    <a:cubicBezTo>
                      <a:pt x="1130" y="551"/>
                      <a:pt x="1129" y="501"/>
                      <a:pt x="1123" y="455"/>
                    </a:cubicBezTo>
                    <a:cubicBezTo>
                      <a:pt x="1108" y="457"/>
                      <a:pt x="1094" y="459"/>
                      <a:pt x="1080" y="461"/>
                    </a:cubicBezTo>
                    <a:close/>
                    <a:moveTo>
                      <a:pt x="445" y="596"/>
                    </a:moveTo>
                    <a:cubicBezTo>
                      <a:pt x="475" y="592"/>
                      <a:pt x="505" y="589"/>
                      <a:pt x="535" y="586"/>
                    </a:cubicBezTo>
                    <a:cubicBezTo>
                      <a:pt x="542" y="548"/>
                      <a:pt x="548" y="509"/>
                      <a:pt x="556" y="472"/>
                    </a:cubicBezTo>
                    <a:cubicBezTo>
                      <a:pt x="519" y="469"/>
                      <a:pt x="483" y="466"/>
                      <a:pt x="449" y="461"/>
                    </a:cubicBezTo>
                    <a:cubicBezTo>
                      <a:pt x="446" y="504"/>
                      <a:pt x="444" y="549"/>
                      <a:pt x="445" y="596"/>
                    </a:cubicBezTo>
                    <a:close/>
                    <a:moveTo>
                      <a:pt x="965" y="472"/>
                    </a:moveTo>
                    <a:cubicBezTo>
                      <a:pt x="967" y="507"/>
                      <a:pt x="966" y="546"/>
                      <a:pt x="966" y="584"/>
                    </a:cubicBezTo>
                    <a:cubicBezTo>
                      <a:pt x="1016" y="589"/>
                      <a:pt x="1065" y="594"/>
                      <a:pt x="1113" y="600"/>
                    </a:cubicBezTo>
                    <a:cubicBezTo>
                      <a:pt x="1102" y="553"/>
                      <a:pt x="1092" y="503"/>
                      <a:pt x="1075" y="461"/>
                    </a:cubicBezTo>
                    <a:cubicBezTo>
                      <a:pt x="1039" y="466"/>
                      <a:pt x="1003" y="470"/>
                      <a:pt x="965" y="472"/>
                    </a:cubicBezTo>
                    <a:close/>
                    <a:moveTo>
                      <a:pt x="1388" y="521"/>
                    </a:moveTo>
                    <a:cubicBezTo>
                      <a:pt x="1391" y="540"/>
                      <a:pt x="1392" y="559"/>
                      <a:pt x="1396" y="577"/>
                    </a:cubicBezTo>
                    <a:cubicBezTo>
                      <a:pt x="1400" y="600"/>
                      <a:pt x="1412" y="620"/>
                      <a:pt x="1416" y="640"/>
                    </a:cubicBezTo>
                    <a:cubicBezTo>
                      <a:pt x="1437" y="628"/>
                      <a:pt x="1459" y="617"/>
                      <a:pt x="1473" y="599"/>
                    </a:cubicBezTo>
                    <a:cubicBezTo>
                      <a:pt x="1470" y="557"/>
                      <a:pt x="1454" y="529"/>
                      <a:pt x="1442" y="496"/>
                    </a:cubicBezTo>
                    <a:cubicBezTo>
                      <a:pt x="1421" y="484"/>
                      <a:pt x="1400" y="473"/>
                      <a:pt x="1376" y="465"/>
                    </a:cubicBezTo>
                    <a:cubicBezTo>
                      <a:pt x="1381" y="483"/>
                      <a:pt x="1385" y="502"/>
                      <a:pt x="1388" y="521"/>
                    </a:cubicBezTo>
                    <a:close/>
                    <a:moveTo>
                      <a:pt x="91" y="491"/>
                    </a:moveTo>
                    <a:cubicBezTo>
                      <a:pt x="82" y="531"/>
                      <a:pt x="72" y="570"/>
                      <a:pt x="69" y="616"/>
                    </a:cubicBezTo>
                    <a:cubicBezTo>
                      <a:pt x="73" y="619"/>
                      <a:pt x="78" y="623"/>
                      <a:pt x="83" y="625"/>
                    </a:cubicBezTo>
                    <a:cubicBezTo>
                      <a:pt x="98" y="568"/>
                      <a:pt x="121" y="515"/>
                      <a:pt x="142" y="467"/>
                    </a:cubicBezTo>
                    <a:cubicBezTo>
                      <a:pt x="124" y="474"/>
                      <a:pt x="107" y="482"/>
                      <a:pt x="91" y="491"/>
                    </a:cubicBezTo>
                    <a:close/>
                    <a:moveTo>
                      <a:pt x="558" y="472"/>
                    </a:moveTo>
                    <a:cubicBezTo>
                      <a:pt x="551" y="509"/>
                      <a:pt x="545" y="548"/>
                      <a:pt x="538" y="586"/>
                    </a:cubicBezTo>
                    <a:cubicBezTo>
                      <a:pt x="562" y="584"/>
                      <a:pt x="586" y="582"/>
                      <a:pt x="611" y="581"/>
                    </a:cubicBezTo>
                    <a:cubicBezTo>
                      <a:pt x="611" y="545"/>
                      <a:pt x="613" y="511"/>
                      <a:pt x="612" y="476"/>
                    </a:cubicBezTo>
                    <a:cubicBezTo>
                      <a:pt x="594" y="474"/>
                      <a:pt x="576" y="474"/>
                      <a:pt x="558" y="472"/>
                    </a:cubicBezTo>
                    <a:close/>
                    <a:moveTo>
                      <a:pt x="915" y="476"/>
                    </a:moveTo>
                    <a:cubicBezTo>
                      <a:pt x="919" y="511"/>
                      <a:pt x="925" y="546"/>
                      <a:pt x="928" y="582"/>
                    </a:cubicBezTo>
                    <a:cubicBezTo>
                      <a:pt x="941" y="582"/>
                      <a:pt x="952" y="584"/>
                      <a:pt x="965" y="584"/>
                    </a:cubicBezTo>
                    <a:cubicBezTo>
                      <a:pt x="965" y="546"/>
                      <a:pt x="963" y="510"/>
                      <a:pt x="963" y="473"/>
                    </a:cubicBezTo>
                    <a:cubicBezTo>
                      <a:pt x="946" y="473"/>
                      <a:pt x="930" y="474"/>
                      <a:pt x="915" y="476"/>
                    </a:cubicBezTo>
                    <a:close/>
                    <a:moveTo>
                      <a:pt x="617" y="476"/>
                    </a:moveTo>
                    <a:cubicBezTo>
                      <a:pt x="614" y="508"/>
                      <a:pt x="615" y="545"/>
                      <a:pt x="615" y="580"/>
                    </a:cubicBezTo>
                    <a:cubicBezTo>
                      <a:pt x="653" y="579"/>
                      <a:pt x="691" y="577"/>
                      <a:pt x="729" y="576"/>
                    </a:cubicBezTo>
                    <a:cubicBezTo>
                      <a:pt x="731" y="545"/>
                      <a:pt x="731" y="511"/>
                      <a:pt x="732" y="479"/>
                    </a:cubicBezTo>
                    <a:cubicBezTo>
                      <a:pt x="693" y="479"/>
                      <a:pt x="654" y="478"/>
                      <a:pt x="617" y="476"/>
                    </a:cubicBezTo>
                    <a:close/>
                    <a:moveTo>
                      <a:pt x="791" y="479"/>
                    </a:moveTo>
                    <a:cubicBezTo>
                      <a:pt x="791" y="513"/>
                      <a:pt x="791" y="544"/>
                      <a:pt x="791" y="576"/>
                    </a:cubicBezTo>
                    <a:cubicBezTo>
                      <a:pt x="836" y="577"/>
                      <a:pt x="881" y="579"/>
                      <a:pt x="924" y="581"/>
                    </a:cubicBezTo>
                    <a:cubicBezTo>
                      <a:pt x="920" y="546"/>
                      <a:pt x="915" y="511"/>
                      <a:pt x="911" y="476"/>
                    </a:cubicBezTo>
                    <a:cubicBezTo>
                      <a:pt x="872" y="478"/>
                      <a:pt x="831" y="479"/>
                      <a:pt x="791" y="479"/>
                    </a:cubicBezTo>
                    <a:close/>
                    <a:moveTo>
                      <a:pt x="736" y="479"/>
                    </a:moveTo>
                    <a:cubicBezTo>
                      <a:pt x="732" y="509"/>
                      <a:pt x="734" y="545"/>
                      <a:pt x="732" y="576"/>
                    </a:cubicBezTo>
                    <a:cubicBezTo>
                      <a:pt x="751" y="576"/>
                      <a:pt x="770" y="576"/>
                      <a:pt x="789" y="576"/>
                    </a:cubicBezTo>
                    <a:cubicBezTo>
                      <a:pt x="789" y="544"/>
                      <a:pt x="789" y="512"/>
                      <a:pt x="789" y="479"/>
                    </a:cubicBezTo>
                    <a:cubicBezTo>
                      <a:pt x="771" y="479"/>
                      <a:pt x="754" y="479"/>
                      <a:pt x="736" y="479"/>
                    </a:cubicBezTo>
                    <a:close/>
                    <a:moveTo>
                      <a:pt x="60" y="512"/>
                    </a:moveTo>
                    <a:cubicBezTo>
                      <a:pt x="53" y="535"/>
                      <a:pt x="44" y="556"/>
                      <a:pt x="37" y="580"/>
                    </a:cubicBezTo>
                    <a:cubicBezTo>
                      <a:pt x="45" y="593"/>
                      <a:pt x="53" y="606"/>
                      <a:pt x="67" y="613"/>
                    </a:cubicBezTo>
                    <a:cubicBezTo>
                      <a:pt x="69" y="569"/>
                      <a:pt x="81" y="529"/>
                      <a:pt x="87" y="493"/>
                    </a:cubicBezTo>
                    <a:cubicBezTo>
                      <a:pt x="78" y="499"/>
                      <a:pt x="69" y="505"/>
                      <a:pt x="60" y="512"/>
                    </a:cubicBezTo>
                    <a:close/>
                    <a:moveTo>
                      <a:pt x="1462" y="539"/>
                    </a:moveTo>
                    <a:cubicBezTo>
                      <a:pt x="1461" y="543"/>
                      <a:pt x="1465" y="539"/>
                      <a:pt x="1462" y="539"/>
                    </a:cubicBezTo>
                    <a:moveTo>
                      <a:pt x="1462" y="539"/>
                    </a:moveTo>
                    <a:cubicBezTo>
                      <a:pt x="1458" y="526"/>
                      <a:pt x="1458" y="502"/>
                      <a:pt x="1446" y="501"/>
                    </a:cubicBezTo>
                    <a:cubicBezTo>
                      <a:pt x="1452" y="512"/>
                      <a:pt x="1456" y="526"/>
                      <a:pt x="1462" y="539"/>
                    </a:cubicBezTo>
                    <a:moveTo>
                      <a:pt x="1480" y="592"/>
                    </a:moveTo>
                    <a:cubicBezTo>
                      <a:pt x="1504" y="563"/>
                      <a:pt x="1482" y="521"/>
                      <a:pt x="1457" y="507"/>
                    </a:cubicBezTo>
                    <a:cubicBezTo>
                      <a:pt x="1465" y="535"/>
                      <a:pt x="1469" y="567"/>
                      <a:pt x="1480" y="592"/>
                    </a:cubicBezTo>
                    <a:close/>
                    <a:moveTo>
                      <a:pt x="36" y="575"/>
                    </a:moveTo>
                    <a:cubicBezTo>
                      <a:pt x="40" y="555"/>
                      <a:pt x="51" y="536"/>
                      <a:pt x="54" y="517"/>
                    </a:cubicBezTo>
                    <a:cubicBezTo>
                      <a:pt x="42" y="529"/>
                      <a:pt x="28" y="553"/>
                      <a:pt x="36" y="575"/>
                    </a:cubicBezTo>
                    <a:close/>
                    <a:moveTo>
                      <a:pt x="1463" y="544"/>
                    </a:moveTo>
                    <a:cubicBezTo>
                      <a:pt x="1462" y="543"/>
                      <a:pt x="1463" y="544"/>
                      <a:pt x="1463" y="544"/>
                    </a:cubicBezTo>
                    <a:close/>
                    <a:moveTo>
                      <a:pt x="1480" y="597"/>
                    </a:moveTo>
                    <a:cubicBezTo>
                      <a:pt x="1494" y="642"/>
                      <a:pt x="1503" y="692"/>
                      <a:pt x="1508" y="747"/>
                    </a:cubicBezTo>
                    <a:cubicBezTo>
                      <a:pt x="1512" y="753"/>
                      <a:pt x="1516" y="760"/>
                      <a:pt x="1519" y="767"/>
                    </a:cubicBezTo>
                    <a:cubicBezTo>
                      <a:pt x="1521" y="690"/>
                      <a:pt x="1511" y="622"/>
                      <a:pt x="1494" y="563"/>
                    </a:cubicBezTo>
                    <a:cubicBezTo>
                      <a:pt x="1493" y="578"/>
                      <a:pt x="1486" y="587"/>
                      <a:pt x="1480" y="597"/>
                    </a:cubicBezTo>
                    <a:close/>
                    <a:moveTo>
                      <a:pt x="17" y="654"/>
                    </a:moveTo>
                    <a:cubicBezTo>
                      <a:pt x="21" y="628"/>
                      <a:pt x="28" y="604"/>
                      <a:pt x="34" y="580"/>
                    </a:cubicBezTo>
                    <a:cubicBezTo>
                      <a:pt x="33" y="577"/>
                      <a:pt x="32" y="573"/>
                      <a:pt x="30" y="570"/>
                    </a:cubicBezTo>
                    <a:cubicBezTo>
                      <a:pt x="26" y="597"/>
                      <a:pt x="18" y="626"/>
                      <a:pt x="17" y="654"/>
                    </a:cubicBezTo>
                    <a:close/>
                    <a:moveTo>
                      <a:pt x="615" y="583"/>
                    </a:moveTo>
                    <a:cubicBezTo>
                      <a:pt x="616" y="635"/>
                      <a:pt x="617" y="686"/>
                      <a:pt x="620" y="736"/>
                    </a:cubicBezTo>
                    <a:cubicBezTo>
                      <a:pt x="655" y="737"/>
                      <a:pt x="690" y="739"/>
                      <a:pt x="726" y="739"/>
                    </a:cubicBezTo>
                    <a:cubicBezTo>
                      <a:pt x="728" y="686"/>
                      <a:pt x="729" y="633"/>
                      <a:pt x="729" y="579"/>
                    </a:cubicBezTo>
                    <a:cubicBezTo>
                      <a:pt x="690" y="580"/>
                      <a:pt x="652" y="581"/>
                      <a:pt x="615" y="583"/>
                    </a:cubicBezTo>
                    <a:close/>
                    <a:moveTo>
                      <a:pt x="729" y="739"/>
                    </a:moveTo>
                    <a:cubicBezTo>
                      <a:pt x="750" y="738"/>
                      <a:pt x="769" y="740"/>
                      <a:pt x="788" y="739"/>
                    </a:cubicBezTo>
                    <a:cubicBezTo>
                      <a:pt x="788" y="685"/>
                      <a:pt x="790" y="633"/>
                      <a:pt x="789" y="579"/>
                    </a:cubicBezTo>
                    <a:cubicBezTo>
                      <a:pt x="770" y="579"/>
                      <a:pt x="752" y="579"/>
                      <a:pt x="733" y="579"/>
                    </a:cubicBezTo>
                    <a:cubicBezTo>
                      <a:pt x="730" y="630"/>
                      <a:pt x="731" y="686"/>
                      <a:pt x="729" y="739"/>
                    </a:cubicBezTo>
                    <a:close/>
                    <a:moveTo>
                      <a:pt x="791" y="582"/>
                    </a:moveTo>
                    <a:cubicBezTo>
                      <a:pt x="791" y="634"/>
                      <a:pt x="791" y="687"/>
                      <a:pt x="791" y="739"/>
                    </a:cubicBezTo>
                    <a:cubicBezTo>
                      <a:pt x="842" y="739"/>
                      <a:pt x="890" y="736"/>
                      <a:pt x="938" y="734"/>
                    </a:cubicBezTo>
                    <a:cubicBezTo>
                      <a:pt x="934" y="683"/>
                      <a:pt x="930" y="633"/>
                      <a:pt x="924" y="584"/>
                    </a:cubicBezTo>
                    <a:cubicBezTo>
                      <a:pt x="881" y="581"/>
                      <a:pt x="837" y="580"/>
                      <a:pt x="792" y="579"/>
                    </a:cubicBezTo>
                    <a:cubicBezTo>
                      <a:pt x="791" y="579"/>
                      <a:pt x="791" y="581"/>
                      <a:pt x="791" y="582"/>
                    </a:cubicBezTo>
                    <a:close/>
                    <a:moveTo>
                      <a:pt x="538" y="588"/>
                    </a:moveTo>
                    <a:cubicBezTo>
                      <a:pt x="531" y="634"/>
                      <a:pt x="526" y="681"/>
                      <a:pt x="521" y="729"/>
                    </a:cubicBezTo>
                    <a:cubicBezTo>
                      <a:pt x="552" y="732"/>
                      <a:pt x="584" y="734"/>
                      <a:pt x="616" y="736"/>
                    </a:cubicBezTo>
                    <a:cubicBezTo>
                      <a:pt x="612" y="686"/>
                      <a:pt x="615" y="630"/>
                      <a:pt x="609" y="583"/>
                    </a:cubicBezTo>
                    <a:cubicBezTo>
                      <a:pt x="586" y="585"/>
                      <a:pt x="562" y="587"/>
                      <a:pt x="538" y="588"/>
                    </a:cubicBezTo>
                    <a:close/>
                    <a:moveTo>
                      <a:pt x="929" y="584"/>
                    </a:moveTo>
                    <a:cubicBezTo>
                      <a:pt x="933" y="634"/>
                      <a:pt x="939" y="682"/>
                      <a:pt x="942" y="734"/>
                    </a:cubicBezTo>
                    <a:cubicBezTo>
                      <a:pt x="946" y="733"/>
                      <a:pt x="953" y="733"/>
                      <a:pt x="959" y="733"/>
                    </a:cubicBezTo>
                    <a:cubicBezTo>
                      <a:pt x="962" y="685"/>
                      <a:pt x="963" y="636"/>
                      <a:pt x="965" y="587"/>
                    </a:cubicBezTo>
                    <a:cubicBezTo>
                      <a:pt x="953" y="585"/>
                      <a:pt x="941" y="585"/>
                      <a:pt x="929" y="584"/>
                    </a:cubicBezTo>
                    <a:close/>
                    <a:moveTo>
                      <a:pt x="13" y="752"/>
                    </a:moveTo>
                    <a:cubicBezTo>
                      <a:pt x="25" y="732"/>
                      <a:pt x="46" y="719"/>
                      <a:pt x="63" y="704"/>
                    </a:cubicBezTo>
                    <a:cubicBezTo>
                      <a:pt x="63" y="674"/>
                      <a:pt x="63" y="645"/>
                      <a:pt x="66" y="618"/>
                    </a:cubicBezTo>
                    <a:cubicBezTo>
                      <a:pt x="54" y="609"/>
                      <a:pt x="45" y="597"/>
                      <a:pt x="35" y="585"/>
                    </a:cubicBezTo>
                    <a:cubicBezTo>
                      <a:pt x="23" y="635"/>
                      <a:pt x="7" y="690"/>
                      <a:pt x="13" y="752"/>
                    </a:cubicBezTo>
                    <a:close/>
                    <a:moveTo>
                      <a:pt x="967" y="587"/>
                    </a:moveTo>
                    <a:cubicBezTo>
                      <a:pt x="965" y="635"/>
                      <a:pt x="965" y="686"/>
                      <a:pt x="961" y="732"/>
                    </a:cubicBezTo>
                    <a:cubicBezTo>
                      <a:pt x="1017" y="729"/>
                      <a:pt x="1071" y="723"/>
                      <a:pt x="1123" y="716"/>
                    </a:cubicBezTo>
                    <a:cubicBezTo>
                      <a:pt x="1132" y="675"/>
                      <a:pt x="1121" y="639"/>
                      <a:pt x="1114" y="603"/>
                    </a:cubicBezTo>
                    <a:cubicBezTo>
                      <a:pt x="1067" y="597"/>
                      <a:pt x="1018" y="591"/>
                      <a:pt x="967" y="587"/>
                    </a:cubicBezTo>
                    <a:close/>
                    <a:moveTo>
                      <a:pt x="1476" y="597"/>
                    </a:moveTo>
                    <a:cubicBezTo>
                      <a:pt x="1478" y="594"/>
                      <a:pt x="1476" y="589"/>
                      <a:pt x="1474" y="587"/>
                    </a:cubicBezTo>
                    <a:cubicBezTo>
                      <a:pt x="1475" y="590"/>
                      <a:pt x="1475" y="594"/>
                      <a:pt x="1476" y="597"/>
                    </a:cubicBezTo>
                    <a:close/>
                    <a:moveTo>
                      <a:pt x="445" y="599"/>
                    </a:moveTo>
                    <a:cubicBezTo>
                      <a:pt x="446" y="641"/>
                      <a:pt x="448" y="683"/>
                      <a:pt x="452" y="722"/>
                    </a:cubicBezTo>
                    <a:cubicBezTo>
                      <a:pt x="474" y="725"/>
                      <a:pt x="496" y="727"/>
                      <a:pt x="518" y="729"/>
                    </a:cubicBezTo>
                    <a:cubicBezTo>
                      <a:pt x="523" y="682"/>
                      <a:pt x="528" y="634"/>
                      <a:pt x="535" y="589"/>
                    </a:cubicBezTo>
                    <a:cubicBezTo>
                      <a:pt x="504" y="591"/>
                      <a:pt x="475" y="595"/>
                      <a:pt x="445" y="599"/>
                    </a:cubicBezTo>
                    <a:close/>
                    <a:moveTo>
                      <a:pt x="1398" y="592"/>
                    </a:moveTo>
                    <a:cubicBezTo>
                      <a:pt x="1398" y="610"/>
                      <a:pt x="1399" y="628"/>
                      <a:pt x="1399" y="647"/>
                    </a:cubicBezTo>
                    <a:cubicBezTo>
                      <a:pt x="1404" y="644"/>
                      <a:pt x="1410" y="644"/>
                      <a:pt x="1412" y="640"/>
                    </a:cubicBezTo>
                    <a:cubicBezTo>
                      <a:pt x="1407" y="624"/>
                      <a:pt x="1403" y="607"/>
                      <a:pt x="1398" y="592"/>
                    </a:cubicBezTo>
                    <a:moveTo>
                      <a:pt x="1398" y="592"/>
                    </a:moveTo>
                    <a:cubicBezTo>
                      <a:pt x="1399" y="587"/>
                      <a:pt x="1395" y="591"/>
                      <a:pt x="1398" y="592"/>
                    </a:cubicBezTo>
                    <a:moveTo>
                      <a:pt x="354" y="612"/>
                    </a:moveTo>
                    <a:cubicBezTo>
                      <a:pt x="346" y="641"/>
                      <a:pt x="341" y="673"/>
                      <a:pt x="335" y="705"/>
                    </a:cubicBezTo>
                    <a:cubicBezTo>
                      <a:pt x="372" y="712"/>
                      <a:pt x="409" y="718"/>
                      <a:pt x="449" y="721"/>
                    </a:cubicBezTo>
                    <a:cubicBezTo>
                      <a:pt x="445" y="682"/>
                      <a:pt x="445" y="639"/>
                      <a:pt x="441" y="599"/>
                    </a:cubicBezTo>
                    <a:cubicBezTo>
                      <a:pt x="412" y="603"/>
                      <a:pt x="383" y="607"/>
                      <a:pt x="354" y="612"/>
                    </a:cubicBezTo>
                    <a:close/>
                    <a:moveTo>
                      <a:pt x="1483" y="721"/>
                    </a:moveTo>
                    <a:cubicBezTo>
                      <a:pt x="1487" y="724"/>
                      <a:pt x="1490" y="729"/>
                      <a:pt x="1494" y="733"/>
                    </a:cubicBezTo>
                    <a:cubicBezTo>
                      <a:pt x="1498" y="736"/>
                      <a:pt x="1504" y="743"/>
                      <a:pt x="1505" y="742"/>
                    </a:cubicBezTo>
                    <a:cubicBezTo>
                      <a:pt x="1499" y="690"/>
                      <a:pt x="1492" y="641"/>
                      <a:pt x="1477" y="599"/>
                    </a:cubicBezTo>
                    <a:cubicBezTo>
                      <a:pt x="1480" y="635"/>
                      <a:pt x="1484" y="678"/>
                      <a:pt x="1483" y="721"/>
                    </a:cubicBezTo>
                    <a:close/>
                    <a:moveTo>
                      <a:pt x="1416" y="642"/>
                    </a:moveTo>
                    <a:cubicBezTo>
                      <a:pt x="1419" y="657"/>
                      <a:pt x="1423" y="671"/>
                      <a:pt x="1425" y="686"/>
                    </a:cubicBezTo>
                    <a:cubicBezTo>
                      <a:pt x="1441" y="692"/>
                      <a:pt x="1456" y="703"/>
                      <a:pt x="1468" y="711"/>
                    </a:cubicBezTo>
                    <a:cubicBezTo>
                      <a:pt x="1472" y="714"/>
                      <a:pt x="1478" y="718"/>
                      <a:pt x="1480" y="718"/>
                    </a:cubicBezTo>
                    <a:cubicBezTo>
                      <a:pt x="1480" y="677"/>
                      <a:pt x="1480" y="637"/>
                      <a:pt x="1473" y="603"/>
                    </a:cubicBezTo>
                    <a:cubicBezTo>
                      <a:pt x="1457" y="619"/>
                      <a:pt x="1438" y="632"/>
                      <a:pt x="1416" y="642"/>
                    </a:cubicBezTo>
                    <a:close/>
                    <a:moveTo>
                      <a:pt x="1128" y="658"/>
                    </a:moveTo>
                    <a:cubicBezTo>
                      <a:pt x="1128" y="640"/>
                      <a:pt x="1129" y="623"/>
                      <a:pt x="1130" y="605"/>
                    </a:cubicBezTo>
                    <a:cubicBezTo>
                      <a:pt x="1124" y="606"/>
                      <a:pt x="1122" y="604"/>
                      <a:pt x="1117" y="604"/>
                    </a:cubicBezTo>
                    <a:cubicBezTo>
                      <a:pt x="1120" y="623"/>
                      <a:pt x="1124" y="640"/>
                      <a:pt x="1128" y="658"/>
                    </a:cubicBezTo>
                    <a:close/>
                    <a:moveTo>
                      <a:pt x="1134" y="606"/>
                    </a:moveTo>
                    <a:cubicBezTo>
                      <a:pt x="1132" y="607"/>
                      <a:pt x="1132" y="607"/>
                      <a:pt x="1132" y="609"/>
                    </a:cubicBezTo>
                    <a:cubicBezTo>
                      <a:pt x="1131" y="648"/>
                      <a:pt x="1128" y="682"/>
                      <a:pt x="1136" y="714"/>
                    </a:cubicBezTo>
                    <a:cubicBezTo>
                      <a:pt x="1184" y="707"/>
                      <a:pt x="1230" y="698"/>
                      <a:pt x="1274" y="688"/>
                    </a:cubicBezTo>
                    <a:cubicBezTo>
                      <a:pt x="1276" y="671"/>
                      <a:pt x="1276" y="653"/>
                      <a:pt x="1277" y="635"/>
                    </a:cubicBezTo>
                    <a:cubicBezTo>
                      <a:pt x="1230" y="624"/>
                      <a:pt x="1183" y="614"/>
                      <a:pt x="1134" y="606"/>
                    </a:cubicBezTo>
                    <a:close/>
                    <a:moveTo>
                      <a:pt x="349" y="613"/>
                    </a:moveTo>
                    <a:cubicBezTo>
                      <a:pt x="330" y="617"/>
                      <a:pt x="311" y="621"/>
                      <a:pt x="292" y="624"/>
                    </a:cubicBezTo>
                    <a:cubicBezTo>
                      <a:pt x="292" y="650"/>
                      <a:pt x="293" y="674"/>
                      <a:pt x="295" y="697"/>
                    </a:cubicBezTo>
                    <a:cubicBezTo>
                      <a:pt x="307" y="700"/>
                      <a:pt x="319" y="703"/>
                      <a:pt x="332" y="704"/>
                    </a:cubicBezTo>
                    <a:cubicBezTo>
                      <a:pt x="337" y="674"/>
                      <a:pt x="345" y="641"/>
                      <a:pt x="349" y="613"/>
                    </a:cubicBezTo>
                    <a:close/>
                    <a:moveTo>
                      <a:pt x="1279" y="634"/>
                    </a:moveTo>
                    <a:cubicBezTo>
                      <a:pt x="1282" y="634"/>
                      <a:pt x="1283" y="634"/>
                      <a:pt x="1284" y="635"/>
                    </a:cubicBezTo>
                    <a:cubicBezTo>
                      <a:pt x="1283" y="628"/>
                      <a:pt x="1282" y="622"/>
                      <a:pt x="1279" y="617"/>
                    </a:cubicBezTo>
                    <a:cubicBezTo>
                      <a:pt x="1279" y="623"/>
                      <a:pt x="1279" y="628"/>
                      <a:pt x="1279" y="634"/>
                    </a:cubicBezTo>
                    <a:close/>
                    <a:moveTo>
                      <a:pt x="67" y="699"/>
                    </a:moveTo>
                    <a:cubicBezTo>
                      <a:pt x="70" y="674"/>
                      <a:pt x="76" y="651"/>
                      <a:pt x="82" y="628"/>
                    </a:cubicBezTo>
                    <a:cubicBezTo>
                      <a:pt x="77" y="626"/>
                      <a:pt x="74" y="621"/>
                      <a:pt x="68" y="620"/>
                    </a:cubicBezTo>
                    <a:cubicBezTo>
                      <a:pt x="67" y="645"/>
                      <a:pt x="64" y="674"/>
                      <a:pt x="67" y="699"/>
                    </a:cubicBezTo>
                    <a:close/>
                    <a:moveTo>
                      <a:pt x="288" y="625"/>
                    </a:moveTo>
                    <a:cubicBezTo>
                      <a:pt x="255" y="634"/>
                      <a:pt x="221" y="642"/>
                      <a:pt x="190" y="652"/>
                    </a:cubicBezTo>
                    <a:cubicBezTo>
                      <a:pt x="189" y="659"/>
                      <a:pt x="188" y="664"/>
                      <a:pt x="186" y="670"/>
                    </a:cubicBezTo>
                    <a:cubicBezTo>
                      <a:pt x="220" y="680"/>
                      <a:pt x="255" y="690"/>
                      <a:pt x="293" y="696"/>
                    </a:cubicBezTo>
                    <a:cubicBezTo>
                      <a:pt x="290" y="673"/>
                      <a:pt x="291" y="648"/>
                      <a:pt x="288" y="625"/>
                    </a:cubicBezTo>
                    <a:close/>
                    <a:moveTo>
                      <a:pt x="69" y="701"/>
                    </a:moveTo>
                    <a:cubicBezTo>
                      <a:pt x="95" y="687"/>
                      <a:pt x="122" y="673"/>
                      <a:pt x="152" y="663"/>
                    </a:cubicBezTo>
                    <a:cubicBezTo>
                      <a:pt x="130" y="651"/>
                      <a:pt x="104" y="643"/>
                      <a:pt x="84" y="629"/>
                    </a:cubicBezTo>
                    <a:cubicBezTo>
                      <a:pt x="79" y="653"/>
                      <a:pt x="73" y="676"/>
                      <a:pt x="69" y="701"/>
                    </a:cubicBezTo>
                    <a:close/>
                    <a:moveTo>
                      <a:pt x="1277" y="687"/>
                    </a:moveTo>
                    <a:cubicBezTo>
                      <a:pt x="1283" y="685"/>
                      <a:pt x="1289" y="684"/>
                      <a:pt x="1296" y="682"/>
                    </a:cubicBezTo>
                    <a:cubicBezTo>
                      <a:pt x="1292" y="667"/>
                      <a:pt x="1290" y="652"/>
                      <a:pt x="1285" y="638"/>
                    </a:cubicBezTo>
                    <a:cubicBezTo>
                      <a:pt x="1284" y="637"/>
                      <a:pt x="1281" y="637"/>
                      <a:pt x="1279" y="636"/>
                    </a:cubicBezTo>
                    <a:cubicBezTo>
                      <a:pt x="1278" y="652"/>
                      <a:pt x="1278" y="670"/>
                      <a:pt x="1277" y="687"/>
                    </a:cubicBezTo>
                    <a:close/>
                    <a:moveTo>
                      <a:pt x="1298" y="681"/>
                    </a:moveTo>
                    <a:cubicBezTo>
                      <a:pt x="1320" y="675"/>
                      <a:pt x="1342" y="670"/>
                      <a:pt x="1362" y="661"/>
                    </a:cubicBezTo>
                    <a:cubicBezTo>
                      <a:pt x="1338" y="654"/>
                      <a:pt x="1315" y="645"/>
                      <a:pt x="1289" y="639"/>
                    </a:cubicBezTo>
                    <a:cubicBezTo>
                      <a:pt x="1291" y="653"/>
                      <a:pt x="1296" y="666"/>
                      <a:pt x="1298" y="681"/>
                    </a:cubicBezTo>
                    <a:close/>
                    <a:moveTo>
                      <a:pt x="1399" y="649"/>
                    </a:moveTo>
                    <a:cubicBezTo>
                      <a:pt x="1399" y="657"/>
                      <a:pt x="1399" y="665"/>
                      <a:pt x="1399" y="673"/>
                    </a:cubicBezTo>
                    <a:cubicBezTo>
                      <a:pt x="1407" y="677"/>
                      <a:pt x="1415" y="680"/>
                      <a:pt x="1422" y="684"/>
                    </a:cubicBezTo>
                    <a:cubicBezTo>
                      <a:pt x="1419" y="671"/>
                      <a:pt x="1418" y="655"/>
                      <a:pt x="1412" y="644"/>
                    </a:cubicBezTo>
                    <a:cubicBezTo>
                      <a:pt x="1409" y="646"/>
                      <a:pt x="1404" y="648"/>
                      <a:pt x="1399" y="649"/>
                    </a:cubicBezTo>
                    <a:close/>
                    <a:moveTo>
                      <a:pt x="1371" y="662"/>
                    </a:moveTo>
                    <a:cubicBezTo>
                      <a:pt x="1379" y="665"/>
                      <a:pt x="1388" y="668"/>
                      <a:pt x="1397" y="672"/>
                    </a:cubicBezTo>
                    <a:cubicBezTo>
                      <a:pt x="1396" y="666"/>
                      <a:pt x="1398" y="656"/>
                      <a:pt x="1396" y="651"/>
                    </a:cubicBezTo>
                    <a:cubicBezTo>
                      <a:pt x="1388" y="655"/>
                      <a:pt x="1379" y="658"/>
                      <a:pt x="1371" y="662"/>
                    </a:cubicBezTo>
                    <a:close/>
                    <a:moveTo>
                      <a:pt x="162" y="662"/>
                    </a:moveTo>
                    <a:cubicBezTo>
                      <a:pt x="169" y="664"/>
                      <a:pt x="175" y="668"/>
                      <a:pt x="184" y="669"/>
                    </a:cubicBezTo>
                    <a:cubicBezTo>
                      <a:pt x="184" y="663"/>
                      <a:pt x="187" y="659"/>
                      <a:pt x="187" y="653"/>
                    </a:cubicBezTo>
                    <a:cubicBezTo>
                      <a:pt x="178" y="656"/>
                      <a:pt x="170" y="658"/>
                      <a:pt x="162" y="662"/>
                    </a:cubicBezTo>
                    <a:close/>
                    <a:moveTo>
                      <a:pt x="109" y="683"/>
                    </a:moveTo>
                    <a:cubicBezTo>
                      <a:pt x="98" y="688"/>
                      <a:pt x="72" y="698"/>
                      <a:pt x="68" y="707"/>
                    </a:cubicBezTo>
                    <a:cubicBezTo>
                      <a:pt x="63" y="717"/>
                      <a:pt x="68" y="742"/>
                      <a:pt x="70" y="755"/>
                    </a:cubicBezTo>
                    <a:cubicBezTo>
                      <a:pt x="76" y="807"/>
                      <a:pt x="83" y="853"/>
                      <a:pt x="96" y="893"/>
                    </a:cubicBezTo>
                    <a:cubicBezTo>
                      <a:pt x="107" y="898"/>
                      <a:pt x="117" y="903"/>
                      <a:pt x="127" y="908"/>
                    </a:cubicBezTo>
                    <a:cubicBezTo>
                      <a:pt x="138" y="901"/>
                      <a:pt x="150" y="898"/>
                      <a:pt x="158" y="889"/>
                    </a:cubicBezTo>
                    <a:cubicBezTo>
                      <a:pt x="157" y="859"/>
                      <a:pt x="160" y="834"/>
                      <a:pt x="162" y="808"/>
                    </a:cubicBezTo>
                    <a:cubicBezTo>
                      <a:pt x="163" y="790"/>
                      <a:pt x="168" y="772"/>
                      <a:pt x="168" y="756"/>
                    </a:cubicBezTo>
                    <a:cubicBezTo>
                      <a:pt x="168" y="741"/>
                      <a:pt x="163" y="727"/>
                      <a:pt x="162" y="712"/>
                    </a:cubicBezTo>
                    <a:cubicBezTo>
                      <a:pt x="161" y="696"/>
                      <a:pt x="161" y="681"/>
                      <a:pt x="159" y="665"/>
                    </a:cubicBezTo>
                    <a:cubicBezTo>
                      <a:pt x="159" y="664"/>
                      <a:pt x="159" y="664"/>
                      <a:pt x="158" y="664"/>
                    </a:cubicBezTo>
                    <a:cubicBezTo>
                      <a:pt x="145" y="667"/>
                      <a:pt x="128" y="674"/>
                      <a:pt x="109" y="683"/>
                    </a:cubicBezTo>
                    <a:close/>
                    <a:moveTo>
                      <a:pt x="1367" y="664"/>
                    </a:moveTo>
                    <a:cubicBezTo>
                      <a:pt x="1347" y="670"/>
                      <a:pt x="1321" y="678"/>
                      <a:pt x="1299" y="685"/>
                    </a:cubicBezTo>
                    <a:cubicBezTo>
                      <a:pt x="1311" y="742"/>
                      <a:pt x="1319" y="805"/>
                      <a:pt x="1322" y="872"/>
                    </a:cubicBezTo>
                    <a:cubicBezTo>
                      <a:pt x="1336" y="877"/>
                      <a:pt x="1347" y="884"/>
                      <a:pt x="1362" y="888"/>
                    </a:cubicBezTo>
                    <a:cubicBezTo>
                      <a:pt x="1380" y="824"/>
                      <a:pt x="1394" y="754"/>
                      <a:pt x="1397" y="674"/>
                    </a:cubicBezTo>
                    <a:cubicBezTo>
                      <a:pt x="1386" y="672"/>
                      <a:pt x="1378" y="666"/>
                      <a:pt x="1367" y="664"/>
                    </a:cubicBezTo>
                    <a:close/>
                    <a:moveTo>
                      <a:pt x="170" y="745"/>
                    </a:moveTo>
                    <a:cubicBezTo>
                      <a:pt x="172" y="719"/>
                      <a:pt x="178" y="695"/>
                      <a:pt x="183" y="671"/>
                    </a:cubicBezTo>
                    <a:cubicBezTo>
                      <a:pt x="175" y="670"/>
                      <a:pt x="169" y="667"/>
                      <a:pt x="162" y="665"/>
                    </a:cubicBezTo>
                    <a:cubicBezTo>
                      <a:pt x="164" y="692"/>
                      <a:pt x="164" y="722"/>
                      <a:pt x="170" y="745"/>
                    </a:cubicBezTo>
                    <a:close/>
                    <a:moveTo>
                      <a:pt x="185" y="672"/>
                    </a:moveTo>
                    <a:cubicBezTo>
                      <a:pt x="185" y="673"/>
                      <a:pt x="185" y="674"/>
                      <a:pt x="185" y="675"/>
                    </a:cubicBezTo>
                    <a:cubicBezTo>
                      <a:pt x="182" y="704"/>
                      <a:pt x="169" y="731"/>
                      <a:pt x="171" y="761"/>
                    </a:cubicBezTo>
                    <a:cubicBezTo>
                      <a:pt x="172" y="801"/>
                      <a:pt x="188" y="839"/>
                      <a:pt x="195" y="875"/>
                    </a:cubicBezTo>
                    <a:cubicBezTo>
                      <a:pt x="232" y="860"/>
                      <a:pt x="272" y="848"/>
                      <a:pt x="314" y="837"/>
                    </a:cubicBezTo>
                    <a:cubicBezTo>
                      <a:pt x="306" y="792"/>
                      <a:pt x="297" y="749"/>
                      <a:pt x="294" y="700"/>
                    </a:cubicBezTo>
                    <a:cubicBezTo>
                      <a:pt x="256" y="692"/>
                      <a:pt x="219" y="683"/>
                      <a:pt x="185" y="672"/>
                    </a:cubicBezTo>
                    <a:close/>
                    <a:moveTo>
                      <a:pt x="1364" y="890"/>
                    </a:moveTo>
                    <a:cubicBezTo>
                      <a:pt x="1375" y="896"/>
                      <a:pt x="1385" y="902"/>
                      <a:pt x="1397" y="908"/>
                    </a:cubicBezTo>
                    <a:cubicBezTo>
                      <a:pt x="1411" y="900"/>
                      <a:pt x="1428" y="894"/>
                      <a:pt x="1441" y="885"/>
                    </a:cubicBezTo>
                    <a:cubicBezTo>
                      <a:pt x="1442" y="811"/>
                      <a:pt x="1435" y="747"/>
                      <a:pt x="1423" y="687"/>
                    </a:cubicBezTo>
                    <a:cubicBezTo>
                      <a:pt x="1415" y="684"/>
                      <a:pt x="1408" y="679"/>
                      <a:pt x="1398" y="676"/>
                    </a:cubicBezTo>
                    <a:cubicBezTo>
                      <a:pt x="1397" y="757"/>
                      <a:pt x="1382" y="826"/>
                      <a:pt x="1364" y="890"/>
                    </a:cubicBezTo>
                    <a:close/>
                    <a:moveTo>
                      <a:pt x="1127" y="716"/>
                    </a:moveTo>
                    <a:cubicBezTo>
                      <a:pt x="1127" y="713"/>
                      <a:pt x="1132" y="715"/>
                      <a:pt x="1134" y="715"/>
                    </a:cubicBezTo>
                    <a:cubicBezTo>
                      <a:pt x="1132" y="705"/>
                      <a:pt x="1131" y="694"/>
                      <a:pt x="1129" y="685"/>
                    </a:cubicBezTo>
                    <a:cubicBezTo>
                      <a:pt x="1128" y="694"/>
                      <a:pt x="1125" y="707"/>
                      <a:pt x="1127" y="716"/>
                    </a:cubicBezTo>
                    <a:close/>
                    <a:moveTo>
                      <a:pt x="1277" y="690"/>
                    </a:moveTo>
                    <a:cubicBezTo>
                      <a:pt x="1272" y="746"/>
                      <a:pt x="1263" y="798"/>
                      <a:pt x="1252" y="848"/>
                    </a:cubicBezTo>
                    <a:cubicBezTo>
                      <a:pt x="1275" y="855"/>
                      <a:pt x="1298" y="862"/>
                      <a:pt x="1319" y="871"/>
                    </a:cubicBezTo>
                    <a:cubicBezTo>
                      <a:pt x="1316" y="804"/>
                      <a:pt x="1310" y="740"/>
                      <a:pt x="1295" y="685"/>
                    </a:cubicBezTo>
                    <a:cubicBezTo>
                      <a:pt x="1289" y="687"/>
                      <a:pt x="1283" y="688"/>
                      <a:pt x="1277" y="690"/>
                    </a:cubicBezTo>
                    <a:close/>
                    <a:moveTo>
                      <a:pt x="1443" y="884"/>
                    </a:moveTo>
                    <a:cubicBezTo>
                      <a:pt x="1447" y="884"/>
                      <a:pt x="1454" y="877"/>
                      <a:pt x="1459" y="875"/>
                    </a:cubicBezTo>
                    <a:cubicBezTo>
                      <a:pt x="1470" y="828"/>
                      <a:pt x="1478" y="779"/>
                      <a:pt x="1480" y="723"/>
                    </a:cubicBezTo>
                    <a:cubicBezTo>
                      <a:pt x="1465" y="709"/>
                      <a:pt x="1446" y="699"/>
                      <a:pt x="1426" y="689"/>
                    </a:cubicBezTo>
                    <a:cubicBezTo>
                      <a:pt x="1437" y="748"/>
                      <a:pt x="1446" y="814"/>
                      <a:pt x="1443" y="884"/>
                    </a:cubicBezTo>
                    <a:close/>
                    <a:moveTo>
                      <a:pt x="1136" y="718"/>
                    </a:moveTo>
                    <a:cubicBezTo>
                      <a:pt x="1142" y="751"/>
                      <a:pt x="1146" y="785"/>
                      <a:pt x="1148" y="822"/>
                    </a:cubicBezTo>
                    <a:cubicBezTo>
                      <a:pt x="1182" y="830"/>
                      <a:pt x="1216" y="838"/>
                      <a:pt x="1249" y="847"/>
                    </a:cubicBezTo>
                    <a:cubicBezTo>
                      <a:pt x="1260" y="798"/>
                      <a:pt x="1269" y="747"/>
                      <a:pt x="1274" y="691"/>
                    </a:cubicBezTo>
                    <a:cubicBezTo>
                      <a:pt x="1273" y="691"/>
                      <a:pt x="1272" y="691"/>
                      <a:pt x="1272" y="691"/>
                    </a:cubicBezTo>
                    <a:cubicBezTo>
                      <a:pt x="1229" y="702"/>
                      <a:pt x="1181" y="708"/>
                      <a:pt x="1136" y="718"/>
                    </a:cubicBezTo>
                    <a:close/>
                    <a:moveTo>
                      <a:pt x="317" y="834"/>
                    </a:moveTo>
                    <a:cubicBezTo>
                      <a:pt x="320" y="790"/>
                      <a:pt x="325" y="747"/>
                      <a:pt x="332" y="707"/>
                    </a:cubicBezTo>
                    <a:cubicBezTo>
                      <a:pt x="319" y="706"/>
                      <a:pt x="307" y="703"/>
                      <a:pt x="295" y="700"/>
                    </a:cubicBezTo>
                    <a:cubicBezTo>
                      <a:pt x="301" y="747"/>
                      <a:pt x="306" y="792"/>
                      <a:pt x="317" y="834"/>
                    </a:cubicBezTo>
                    <a:close/>
                    <a:moveTo>
                      <a:pt x="334" y="708"/>
                    </a:moveTo>
                    <a:cubicBezTo>
                      <a:pt x="329" y="749"/>
                      <a:pt x="320" y="792"/>
                      <a:pt x="320" y="836"/>
                    </a:cubicBezTo>
                    <a:cubicBezTo>
                      <a:pt x="364" y="824"/>
                      <a:pt x="411" y="815"/>
                      <a:pt x="460" y="809"/>
                    </a:cubicBezTo>
                    <a:cubicBezTo>
                      <a:pt x="456" y="781"/>
                      <a:pt x="452" y="754"/>
                      <a:pt x="450" y="724"/>
                    </a:cubicBezTo>
                    <a:cubicBezTo>
                      <a:pt x="410" y="721"/>
                      <a:pt x="372" y="714"/>
                      <a:pt x="334" y="708"/>
                    </a:cubicBezTo>
                    <a:close/>
                    <a:moveTo>
                      <a:pt x="12" y="759"/>
                    </a:moveTo>
                    <a:cubicBezTo>
                      <a:pt x="10" y="769"/>
                      <a:pt x="13" y="784"/>
                      <a:pt x="14" y="796"/>
                    </a:cubicBezTo>
                    <a:cubicBezTo>
                      <a:pt x="15" y="809"/>
                      <a:pt x="15" y="823"/>
                      <a:pt x="18" y="833"/>
                    </a:cubicBezTo>
                    <a:cubicBezTo>
                      <a:pt x="21" y="843"/>
                      <a:pt x="38" y="854"/>
                      <a:pt x="45" y="860"/>
                    </a:cubicBezTo>
                    <a:cubicBezTo>
                      <a:pt x="48" y="862"/>
                      <a:pt x="50" y="867"/>
                      <a:pt x="54" y="865"/>
                    </a:cubicBezTo>
                    <a:cubicBezTo>
                      <a:pt x="52" y="809"/>
                      <a:pt x="59" y="757"/>
                      <a:pt x="63" y="710"/>
                    </a:cubicBezTo>
                    <a:cubicBezTo>
                      <a:pt x="63" y="709"/>
                      <a:pt x="63" y="709"/>
                      <a:pt x="62" y="709"/>
                    </a:cubicBezTo>
                    <a:cubicBezTo>
                      <a:pt x="50" y="719"/>
                      <a:pt x="16" y="741"/>
                      <a:pt x="12" y="759"/>
                    </a:cubicBezTo>
                    <a:close/>
                    <a:moveTo>
                      <a:pt x="1134" y="718"/>
                    </a:moveTo>
                    <a:cubicBezTo>
                      <a:pt x="1133" y="716"/>
                      <a:pt x="1129" y="719"/>
                      <a:pt x="1126" y="718"/>
                    </a:cubicBezTo>
                    <a:cubicBezTo>
                      <a:pt x="1122" y="751"/>
                      <a:pt x="1118" y="785"/>
                      <a:pt x="1112" y="816"/>
                    </a:cubicBezTo>
                    <a:cubicBezTo>
                      <a:pt x="1124" y="818"/>
                      <a:pt x="1134" y="821"/>
                      <a:pt x="1146" y="822"/>
                    </a:cubicBezTo>
                    <a:cubicBezTo>
                      <a:pt x="1143" y="787"/>
                      <a:pt x="1139" y="752"/>
                      <a:pt x="1134" y="718"/>
                    </a:cubicBezTo>
                    <a:close/>
                    <a:moveTo>
                      <a:pt x="961" y="735"/>
                    </a:moveTo>
                    <a:cubicBezTo>
                      <a:pt x="960" y="755"/>
                      <a:pt x="958" y="775"/>
                      <a:pt x="956" y="795"/>
                    </a:cubicBezTo>
                    <a:cubicBezTo>
                      <a:pt x="1009" y="801"/>
                      <a:pt x="1060" y="807"/>
                      <a:pt x="1110" y="815"/>
                    </a:cubicBezTo>
                    <a:cubicBezTo>
                      <a:pt x="1113" y="784"/>
                      <a:pt x="1123" y="748"/>
                      <a:pt x="1121" y="719"/>
                    </a:cubicBezTo>
                    <a:cubicBezTo>
                      <a:pt x="1070" y="726"/>
                      <a:pt x="1016" y="732"/>
                      <a:pt x="961" y="735"/>
                    </a:cubicBezTo>
                    <a:close/>
                    <a:moveTo>
                      <a:pt x="1462" y="872"/>
                    </a:moveTo>
                    <a:cubicBezTo>
                      <a:pt x="1480" y="862"/>
                      <a:pt x="1495" y="848"/>
                      <a:pt x="1507" y="832"/>
                    </a:cubicBezTo>
                    <a:cubicBezTo>
                      <a:pt x="1507" y="814"/>
                      <a:pt x="1508" y="802"/>
                      <a:pt x="1507" y="786"/>
                    </a:cubicBezTo>
                    <a:cubicBezTo>
                      <a:pt x="1506" y="773"/>
                      <a:pt x="1508" y="759"/>
                      <a:pt x="1506" y="750"/>
                    </a:cubicBezTo>
                    <a:cubicBezTo>
                      <a:pt x="1503" y="738"/>
                      <a:pt x="1488" y="733"/>
                      <a:pt x="1482" y="724"/>
                    </a:cubicBezTo>
                    <a:cubicBezTo>
                      <a:pt x="1481" y="779"/>
                      <a:pt x="1472" y="827"/>
                      <a:pt x="1462" y="872"/>
                    </a:cubicBezTo>
                    <a:close/>
                    <a:moveTo>
                      <a:pt x="462" y="808"/>
                    </a:moveTo>
                    <a:cubicBezTo>
                      <a:pt x="479" y="806"/>
                      <a:pt x="496" y="804"/>
                      <a:pt x="512" y="801"/>
                    </a:cubicBezTo>
                    <a:cubicBezTo>
                      <a:pt x="515" y="778"/>
                      <a:pt x="516" y="755"/>
                      <a:pt x="518" y="732"/>
                    </a:cubicBezTo>
                    <a:cubicBezTo>
                      <a:pt x="496" y="729"/>
                      <a:pt x="474" y="727"/>
                      <a:pt x="452" y="725"/>
                    </a:cubicBezTo>
                    <a:cubicBezTo>
                      <a:pt x="455" y="753"/>
                      <a:pt x="458" y="780"/>
                      <a:pt x="462" y="808"/>
                    </a:cubicBezTo>
                    <a:close/>
                    <a:moveTo>
                      <a:pt x="56" y="868"/>
                    </a:moveTo>
                    <a:cubicBezTo>
                      <a:pt x="66" y="877"/>
                      <a:pt x="79" y="884"/>
                      <a:pt x="92" y="890"/>
                    </a:cubicBezTo>
                    <a:cubicBezTo>
                      <a:pt x="79" y="840"/>
                      <a:pt x="69" y="787"/>
                      <a:pt x="64" y="728"/>
                    </a:cubicBezTo>
                    <a:cubicBezTo>
                      <a:pt x="58" y="772"/>
                      <a:pt x="55" y="818"/>
                      <a:pt x="56" y="868"/>
                    </a:cubicBezTo>
                    <a:close/>
                    <a:moveTo>
                      <a:pt x="522" y="732"/>
                    </a:moveTo>
                    <a:cubicBezTo>
                      <a:pt x="518" y="753"/>
                      <a:pt x="518" y="778"/>
                      <a:pt x="515" y="801"/>
                    </a:cubicBezTo>
                    <a:cubicBezTo>
                      <a:pt x="549" y="797"/>
                      <a:pt x="584" y="794"/>
                      <a:pt x="619" y="791"/>
                    </a:cubicBezTo>
                    <a:cubicBezTo>
                      <a:pt x="619" y="773"/>
                      <a:pt x="617" y="756"/>
                      <a:pt x="616" y="739"/>
                    </a:cubicBezTo>
                    <a:cubicBezTo>
                      <a:pt x="585" y="736"/>
                      <a:pt x="553" y="735"/>
                      <a:pt x="522" y="732"/>
                    </a:cubicBezTo>
                    <a:close/>
                    <a:moveTo>
                      <a:pt x="8" y="761"/>
                    </a:moveTo>
                    <a:cubicBezTo>
                      <a:pt x="10" y="754"/>
                      <a:pt x="10" y="740"/>
                      <a:pt x="8" y="733"/>
                    </a:cubicBezTo>
                    <a:cubicBezTo>
                      <a:pt x="10" y="743"/>
                      <a:pt x="6" y="753"/>
                      <a:pt x="8" y="761"/>
                    </a:cubicBezTo>
                    <a:close/>
                    <a:moveTo>
                      <a:pt x="942" y="737"/>
                    </a:moveTo>
                    <a:cubicBezTo>
                      <a:pt x="943" y="757"/>
                      <a:pt x="945" y="775"/>
                      <a:pt x="945" y="795"/>
                    </a:cubicBezTo>
                    <a:cubicBezTo>
                      <a:pt x="948" y="795"/>
                      <a:pt x="950" y="795"/>
                      <a:pt x="953" y="795"/>
                    </a:cubicBezTo>
                    <a:cubicBezTo>
                      <a:pt x="956" y="776"/>
                      <a:pt x="957" y="756"/>
                      <a:pt x="958" y="736"/>
                    </a:cubicBezTo>
                    <a:cubicBezTo>
                      <a:pt x="953" y="736"/>
                      <a:pt x="946" y="735"/>
                      <a:pt x="942" y="737"/>
                    </a:cubicBezTo>
                    <a:close/>
                    <a:moveTo>
                      <a:pt x="790" y="742"/>
                    </a:moveTo>
                    <a:cubicBezTo>
                      <a:pt x="790" y="757"/>
                      <a:pt x="790" y="772"/>
                      <a:pt x="790" y="788"/>
                    </a:cubicBezTo>
                    <a:cubicBezTo>
                      <a:pt x="843" y="788"/>
                      <a:pt x="892" y="791"/>
                      <a:pt x="942" y="794"/>
                    </a:cubicBezTo>
                    <a:cubicBezTo>
                      <a:pt x="940" y="776"/>
                      <a:pt x="940" y="755"/>
                      <a:pt x="938" y="737"/>
                    </a:cubicBezTo>
                    <a:cubicBezTo>
                      <a:pt x="889" y="739"/>
                      <a:pt x="841" y="742"/>
                      <a:pt x="790" y="742"/>
                    </a:cubicBezTo>
                    <a:close/>
                    <a:moveTo>
                      <a:pt x="621" y="739"/>
                    </a:moveTo>
                    <a:cubicBezTo>
                      <a:pt x="619" y="755"/>
                      <a:pt x="623" y="774"/>
                      <a:pt x="623" y="791"/>
                    </a:cubicBezTo>
                    <a:cubicBezTo>
                      <a:pt x="657" y="790"/>
                      <a:pt x="691" y="788"/>
                      <a:pt x="726" y="788"/>
                    </a:cubicBezTo>
                    <a:cubicBezTo>
                      <a:pt x="726" y="772"/>
                      <a:pt x="726" y="757"/>
                      <a:pt x="726" y="742"/>
                    </a:cubicBezTo>
                    <a:cubicBezTo>
                      <a:pt x="690" y="742"/>
                      <a:pt x="656" y="740"/>
                      <a:pt x="621" y="739"/>
                    </a:cubicBezTo>
                    <a:close/>
                    <a:moveTo>
                      <a:pt x="729" y="742"/>
                    </a:moveTo>
                    <a:cubicBezTo>
                      <a:pt x="729" y="757"/>
                      <a:pt x="729" y="772"/>
                      <a:pt x="729" y="788"/>
                    </a:cubicBezTo>
                    <a:cubicBezTo>
                      <a:pt x="749" y="788"/>
                      <a:pt x="768" y="788"/>
                      <a:pt x="787" y="788"/>
                    </a:cubicBezTo>
                    <a:cubicBezTo>
                      <a:pt x="788" y="773"/>
                      <a:pt x="788" y="757"/>
                      <a:pt x="788" y="742"/>
                    </a:cubicBezTo>
                    <a:cubicBezTo>
                      <a:pt x="768" y="742"/>
                      <a:pt x="749" y="742"/>
                      <a:pt x="729" y="742"/>
                    </a:cubicBezTo>
                    <a:close/>
                    <a:moveTo>
                      <a:pt x="1508" y="753"/>
                    </a:moveTo>
                    <a:cubicBezTo>
                      <a:pt x="1508" y="753"/>
                      <a:pt x="1509" y="754"/>
                      <a:pt x="1508" y="753"/>
                    </a:cubicBezTo>
                    <a:close/>
                    <a:moveTo>
                      <a:pt x="1511" y="827"/>
                    </a:moveTo>
                    <a:cubicBezTo>
                      <a:pt x="1520" y="808"/>
                      <a:pt x="1524" y="768"/>
                      <a:pt x="1509" y="754"/>
                    </a:cubicBezTo>
                    <a:cubicBezTo>
                      <a:pt x="1510" y="778"/>
                      <a:pt x="1509" y="804"/>
                      <a:pt x="1511" y="827"/>
                    </a:cubicBezTo>
                    <a:close/>
                    <a:moveTo>
                      <a:pt x="15" y="828"/>
                    </a:moveTo>
                    <a:cubicBezTo>
                      <a:pt x="12" y="808"/>
                      <a:pt x="12" y="784"/>
                      <a:pt x="8" y="765"/>
                    </a:cubicBezTo>
                    <a:cubicBezTo>
                      <a:pt x="6" y="784"/>
                      <a:pt x="4" y="816"/>
                      <a:pt x="15" y="828"/>
                    </a:cubicBezTo>
                    <a:close/>
                    <a:moveTo>
                      <a:pt x="162" y="890"/>
                    </a:moveTo>
                    <a:cubicBezTo>
                      <a:pt x="171" y="884"/>
                      <a:pt x="184" y="881"/>
                      <a:pt x="193" y="875"/>
                    </a:cubicBezTo>
                    <a:cubicBezTo>
                      <a:pt x="182" y="842"/>
                      <a:pt x="176" y="805"/>
                      <a:pt x="169" y="768"/>
                    </a:cubicBezTo>
                    <a:cubicBezTo>
                      <a:pt x="165" y="806"/>
                      <a:pt x="159" y="852"/>
                      <a:pt x="162" y="890"/>
                    </a:cubicBezTo>
                    <a:close/>
                    <a:moveTo>
                      <a:pt x="5" y="797"/>
                    </a:moveTo>
                    <a:cubicBezTo>
                      <a:pt x="5" y="793"/>
                      <a:pt x="5" y="784"/>
                      <a:pt x="4" y="780"/>
                    </a:cubicBezTo>
                    <a:cubicBezTo>
                      <a:pt x="2" y="787"/>
                      <a:pt x="4" y="811"/>
                      <a:pt x="5" y="797"/>
                    </a:cubicBezTo>
                    <a:close/>
                    <a:moveTo>
                      <a:pt x="624" y="794"/>
                    </a:moveTo>
                    <a:cubicBezTo>
                      <a:pt x="627" y="863"/>
                      <a:pt x="635" y="934"/>
                      <a:pt x="643" y="1001"/>
                    </a:cubicBezTo>
                    <a:cubicBezTo>
                      <a:pt x="670" y="999"/>
                      <a:pt x="698" y="998"/>
                      <a:pt x="726" y="997"/>
                    </a:cubicBezTo>
                    <a:cubicBezTo>
                      <a:pt x="726" y="928"/>
                      <a:pt x="725" y="858"/>
                      <a:pt x="726" y="791"/>
                    </a:cubicBezTo>
                    <a:cubicBezTo>
                      <a:pt x="694" y="790"/>
                      <a:pt x="656" y="792"/>
                      <a:pt x="624" y="794"/>
                    </a:cubicBezTo>
                    <a:close/>
                    <a:moveTo>
                      <a:pt x="729" y="792"/>
                    </a:moveTo>
                    <a:cubicBezTo>
                      <a:pt x="727" y="859"/>
                      <a:pt x="729" y="929"/>
                      <a:pt x="728" y="997"/>
                    </a:cubicBezTo>
                    <a:cubicBezTo>
                      <a:pt x="747" y="997"/>
                      <a:pt x="765" y="997"/>
                      <a:pt x="783" y="997"/>
                    </a:cubicBezTo>
                    <a:cubicBezTo>
                      <a:pt x="785" y="929"/>
                      <a:pt x="787" y="860"/>
                      <a:pt x="787" y="790"/>
                    </a:cubicBezTo>
                    <a:cubicBezTo>
                      <a:pt x="768" y="790"/>
                      <a:pt x="749" y="790"/>
                      <a:pt x="730" y="790"/>
                    </a:cubicBezTo>
                    <a:cubicBezTo>
                      <a:pt x="729" y="790"/>
                      <a:pt x="729" y="791"/>
                      <a:pt x="729" y="792"/>
                    </a:cubicBezTo>
                    <a:close/>
                    <a:moveTo>
                      <a:pt x="790" y="792"/>
                    </a:moveTo>
                    <a:cubicBezTo>
                      <a:pt x="789" y="861"/>
                      <a:pt x="788" y="929"/>
                      <a:pt x="786" y="997"/>
                    </a:cubicBezTo>
                    <a:cubicBezTo>
                      <a:pt x="834" y="997"/>
                      <a:pt x="881" y="1003"/>
                      <a:pt x="927" y="998"/>
                    </a:cubicBezTo>
                    <a:cubicBezTo>
                      <a:pt x="937" y="935"/>
                      <a:pt x="950" y="870"/>
                      <a:pt x="942" y="797"/>
                    </a:cubicBezTo>
                    <a:cubicBezTo>
                      <a:pt x="894" y="792"/>
                      <a:pt x="842" y="791"/>
                      <a:pt x="791" y="790"/>
                    </a:cubicBezTo>
                    <a:cubicBezTo>
                      <a:pt x="790" y="790"/>
                      <a:pt x="790" y="791"/>
                      <a:pt x="790" y="792"/>
                    </a:cubicBezTo>
                    <a:close/>
                    <a:moveTo>
                      <a:pt x="1521" y="796"/>
                    </a:moveTo>
                    <a:cubicBezTo>
                      <a:pt x="1521" y="795"/>
                      <a:pt x="1522" y="788"/>
                      <a:pt x="1520" y="791"/>
                    </a:cubicBezTo>
                    <a:cubicBezTo>
                      <a:pt x="1520" y="793"/>
                      <a:pt x="1520" y="799"/>
                      <a:pt x="1521" y="796"/>
                    </a:cubicBezTo>
                    <a:close/>
                    <a:moveTo>
                      <a:pt x="515" y="804"/>
                    </a:moveTo>
                    <a:cubicBezTo>
                      <a:pt x="511" y="864"/>
                      <a:pt x="510" y="926"/>
                      <a:pt x="510" y="991"/>
                    </a:cubicBezTo>
                    <a:cubicBezTo>
                      <a:pt x="552" y="995"/>
                      <a:pt x="598" y="999"/>
                      <a:pt x="640" y="1000"/>
                    </a:cubicBezTo>
                    <a:cubicBezTo>
                      <a:pt x="631" y="934"/>
                      <a:pt x="624" y="865"/>
                      <a:pt x="620" y="794"/>
                    </a:cubicBezTo>
                    <a:cubicBezTo>
                      <a:pt x="584" y="797"/>
                      <a:pt x="549" y="799"/>
                      <a:pt x="515" y="804"/>
                    </a:cubicBezTo>
                    <a:close/>
                    <a:moveTo>
                      <a:pt x="948" y="845"/>
                    </a:moveTo>
                    <a:cubicBezTo>
                      <a:pt x="950" y="830"/>
                      <a:pt x="952" y="814"/>
                      <a:pt x="953" y="798"/>
                    </a:cubicBezTo>
                    <a:cubicBezTo>
                      <a:pt x="950" y="798"/>
                      <a:pt x="949" y="797"/>
                      <a:pt x="945" y="797"/>
                    </a:cubicBezTo>
                    <a:cubicBezTo>
                      <a:pt x="947" y="812"/>
                      <a:pt x="946" y="830"/>
                      <a:pt x="948" y="845"/>
                    </a:cubicBezTo>
                    <a:close/>
                    <a:moveTo>
                      <a:pt x="950" y="997"/>
                    </a:moveTo>
                    <a:cubicBezTo>
                      <a:pt x="991" y="993"/>
                      <a:pt x="1030" y="989"/>
                      <a:pt x="1070" y="985"/>
                    </a:cubicBezTo>
                    <a:cubicBezTo>
                      <a:pt x="1087" y="933"/>
                      <a:pt x="1099" y="877"/>
                      <a:pt x="1110" y="818"/>
                    </a:cubicBezTo>
                    <a:cubicBezTo>
                      <a:pt x="1061" y="809"/>
                      <a:pt x="1009" y="803"/>
                      <a:pt x="957" y="798"/>
                    </a:cubicBezTo>
                    <a:cubicBezTo>
                      <a:pt x="944" y="857"/>
                      <a:pt x="952" y="927"/>
                      <a:pt x="950" y="997"/>
                    </a:cubicBezTo>
                    <a:close/>
                    <a:moveTo>
                      <a:pt x="462" y="811"/>
                    </a:moveTo>
                    <a:cubicBezTo>
                      <a:pt x="470" y="866"/>
                      <a:pt x="483" y="925"/>
                      <a:pt x="495" y="975"/>
                    </a:cubicBezTo>
                    <a:cubicBezTo>
                      <a:pt x="497" y="982"/>
                      <a:pt x="496" y="993"/>
                      <a:pt x="508" y="991"/>
                    </a:cubicBezTo>
                    <a:cubicBezTo>
                      <a:pt x="507" y="935"/>
                      <a:pt x="508" y="873"/>
                      <a:pt x="511" y="820"/>
                    </a:cubicBezTo>
                    <a:cubicBezTo>
                      <a:pt x="512" y="816"/>
                      <a:pt x="515" y="807"/>
                      <a:pt x="510" y="804"/>
                    </a:cubicBezTo>
                    <a:cubicBezTo>
                      <a:pt x="494" y="807"/>
                      <a:pt x="477" y="808"/>
                      <a:pt x="462" y="811"/>
                    </a:cubicBezTo>
                    <a:close/>
                    <a:moveTo>
                      <a:pt x="318" y="839"/>
                    </a:moveTo>
                    <a:cubicBezTo>
                      <a:pt x="326" y="887"/>
                      <a:pt x="341" y="928"/>
                      <a:pt x="354" y="970"/>
                    </a:cubicBezTo>
                    <a:cubicBezTo>
                      <a:pt x="400" y="977"/>
                      <a:pt x="448" y="987"/>
                      <a:pt x="496" y="988"/>
                    </a:cubicBezTo>
                    <a:cubicBezTo>
                      <a:pt x="480" y="933"/>
                      <a:pt x="470" y="871"/>
                      <a:pt x="459" y="811"/>
                    </a:cubicBezTo>
                    <a:cubicBezTo>
                      <a:pt x="411" y="819"/>
                      <a:pt x="363" y="827"/>
                      <a:pt x="318" y="839"/>
                    </a:cubicBezTo>
                    <a:close/>
                    <a:moveTo>
                      <a:pt x="1113" y="819"/>
                    </a:moveTo>
                    <a:cubicBezTo>
                      <a:pt x="1113" y="819"/>
                      <a:pt x="1113" y="818"/>
                      <a:pt x="1112" y="818"/>
                    </a:cubicBezTo>
                    <a:cubicBezTo>
                      <a:pt x="1102" y="876"/>
                      <a:pt x="1089" y="932"/>
                      <a:pt x="1074" y="984"/>
                    </a:cubicBezTo>
                    <a:cubicBezTo>
                      <a:pt x="1100" y="981"/>
                      <a:pt x="1126" y="978"/>
                      <a:pt x="1151" y="973"/>
                    </a:cubicBezTo>
                    <a:cubicBezTo>
                      <a:pt x="1151" y="922"/>
                      <a:pt x="1149" y="873"/>
                      <a:pt x="1146" y="825"/>
                    </a:cubicBezTo>
                    <a:cubicBezTo>
                      <a:pt x="1135" y="823"/>
                      <a:pt x="1125" y="820"/>
                      <a:pt x="1113" y="819"/>
                    </a:cubicBezTo>
                    <a:close/>
                    <a:moveTo>
                      <a:pt x="46" y="1018"/>
                    </a:moveTo>
                    <a:cubicBezTo>
                      <a:pt x="45" y="1002"/>
                      <a:pt x="48" y="990"/>
                      <a:pt x="54" y="980"/>
                    </a:cubicBezTo>
                    <a:cubicBezTo>
                      <a:pt x="37" y="936"/>
                      <a:pt x="24" y="889"/>
                      <a:pt x="17" y="837"/>
                    </a:cubicBezTo>
                    <a:cubicBezTo>
                      <a:pt x="13" y="832"/>
                      <a:pt x="11" y="826"/>
                      <a:pt x="7" y="821"/>
                    </a:cubicBezTo>
                    <a:cubicBezTo>
                      <a:pt x="12" y="895"/>
                      <a:pt x="24" y="961"/>
                      <a:pt x="46" y="1018"/>
                    </a:cubicBezTo>
                    <a:close/>
                    <a:moveTo>
                      <a:pt x="1507" y="887"/>
                    </a:moveTo>
                    <a:cubicBezTo>
                      <a:pt x="1509" y="865"/>
                      <a:pt x="1516" y="844"/>
                      <a:pt x="1515" y="823"/>
                    </a:cubicBezTo>
                    <a:cubicBezTo>
                      <a:pt x="1506" y="838"/>
                      <a:pt x="1508" y="868"/>
                      <a:pt x="1507" y="887"/>
                    </a:cubicBezTo>
                    <a:close/>
                    <a:moveTo>
                      <a:pt x="1149" y="826"/>
                    </a:moveTo>
                    <a:cubicBezTo>
                      <a:pt x="1152" y="873"/>
                      <a:pt x="1154" y="922"/>
                      <a:pt x="1154" y="973"/>
                    </a:cubicBezTo>
                    <a:cubicBezTo>
                      <a:pt x="1174" y="969"/>
                      <a:pt x="1195" y="965"/>
                      <a:pt x="1215" y="961"/>
                    </a:cubicBezTo>
                    <a:cubicBezTo>
                      <a:pt x="1227" y="925"/>
                      <a:pt x="1240" y="889"/>
                      <a:pt x="1248" y="849"/>
                    </a:cubicBezTo>
                    <a:cubicBezTo>
                      <a:pt x="1215" y="841"/>
                      <a:pt x="1184" y="832"/>
                      <a:pt x="1149" y="826"/>
                    </a:cubicBezTo>
                    <a:close/>
                    <a:moveTo>
                      <a:pt x="1461" y="878"/>
                    </a:moveTo>
                    <a:cubicBezTo>
                      <a:pt x="1455" y="899"/>
                      <a:pt x="1449" y="921"/>
                      <a:pt x="1442" y="941"/>
                    </a:cubicBezTo>
                    <a:cubicBezTo>
                      <a:pt x="1456" y="956"/>
                      <a:pt x="1469" y="972"/>
                      <a:pt x="1476" y="993"/>
                    </a:cubicBezTo>
                    <a:cubicBezTo>
                      <a:pt x="1493" y="949"/>
                      <a:pt x="1507" y="896"/>
                      <a:pt x="1506" y="837"/>
                    </a:cubicBezTo>
                    <a:cubicBezTo>
                      <a:pt x="1495" y="854"/>
                      <a:pt x="1476" y="865"/>
                      <a:pt x="1461" y="878"/>
                    </a:cubicBezTo>
                    <a:close/>
                    <a:moveTo>
                      <a:pt x="196" y="877"/>
                    </a:moveTo>
                    <a:cubicBezTo>
                      <a:pt x="201" y="898"/>
                      <a:pt x="208" y="918"/>
                      <a:pt x="215" y="938"/>
                    </a:cubicBezTo>
                    <a:cubicBezTo>
                      <a:pt x="247" y="946"/>
                      <a:pt x="278" y="956"/>
                      <a:pt x="313" y="961"/>
                    </a:cubicBezTo>
                    <a:cubicBezTo>
                      <a:pt x="311" y="919"/>
                      <a:pt x="316" y="878"/>
                      <a:pt x="315" y="839"/>
                    </a:cubicBezTo>
                    <a:cubicBezTo>
                      <a:pt x="314" y="839"/>
                      <a:pt x="313" y="839"/>
                      <a:pt x="313" y="839"/>
                    </a:cubicBezTo>
                    <a:cubicBezTo>
                      <a:pt x="272" y="850"/>
                      <a:pt x="233" y="863"/>
                      <a:pt x="196" y="877"/>
                    </a:cubicBezTo>
                    <a:close/>
                    <a:moveTo>
                      <a:pt x="55" y="977"/>
                    </a:moveTo>
                    <a:cubicBezTo>
                      <a:pt x="56" y="970"/>
                      <a:pt x="61" y="968"/>
                      <a:pt x="63" y="962"/>
                    </a:cubicBezTo>
                    <a:cubicBezTo>
                      <a:pt x="57" y="935"/>
                      <a:pt x="56" y="902"/>
                      <a:pt x="54" y="871"/>
                    </a:cubicBezTo>
                    <a:cubicBezTo>
                      <a:pt x="42" y="861"/>
                      <a:pt x="30" y="852"/>
                      <a:pt x="20" y="840"/>
                    </a:cubicBezTo>
                    <a:cubicBezTo>
                      <a:pt x="27" y="890"/>
                      <a:pt x="39" y="936"/>
                      <a:pt x="55" y="977"/>
                    </a:cubicBezTo>
                    <a:close/>
                    <a:moveTo>
                      <a:pt x="1251" y="851"/>
                    </a:moveTo>
                    <a:cubicBezTo>
                      <a:pt x="1241" y="889"/>
                      <a:pt x="1230" y="925"/>
                      <a:pt x="1218" y="960"/>
                    </a:cubicBezTo>
                    <a:cubicBezTo>
                      <a:pt x="1253" y="953"/>
                      <a:pt x="1288" y="945"/>
                      <a:pt x="1320" y="935"/>
                    </a:cubicBezTo>
                    <a:cubicBezTo>
                      <a:pt x="1320" y="914"/>
                      <a:pt x="1320" y="893"/>
                      <a:pt x="1319" y="873"/>
                    </a:cubicBezTo>
                    <a:cubicBezTo>
                      <a:pt x="1296" y="866"/>
                      <a:pt x="1275" y="857"/>
                      <a:pt x="1251" y="851"/>
                    </a:cubicBezTo>
                    <a:close/>
                    <a:moveTo>
                      <a:pt x="316" y="962"/>
                    </a:moveTo>
                    <a:cubicBezTo>
                      <a:pt x="327" y="965"/>
                      <a:pt x="339" y="967"/>
                      <a:pt x="351" y="969"/>
                    </a:cubicBezTo>
                    <a:cubicBezTo>
                      <a:pt x="338" y="932"/>
                      <a:pt x="328" y="893"/>
                      <a:pt x="318" y="853"/>
                    </a:cubicBezTo>
                    <a:cubicBezTo>
                      <a:pt x="316" y="889"/>
                      <a:pt x="315" y="925"/>
                      <a:pt x="316" y="962"/>
                    </a:cubicBezTo>
                    <a:close/>
                    <a:moveTo>
                      <a:pt x="65" y="959"/>
                    </a:moveTo>
                    <a:cubicBezTo>
                      <a:pt x="75" y="948"/>
                      <a:pt x="90" y="935"/>
                      <a:pt x="102" y="923"/>
                    </a:cubicBezTo>
                    <a:cubicBezTo>
                      <a:pt x="99" y="914"/>
                      <a:pt x="96" y="904"/>
                      <a:pt x="94" y="894"/>
                    </a:cubicBezTo>
                    <a:cubicBezTo>
                      <a:pt x="80" y="889"/>
                      <a:pt x="69" y="880"/>
                      <a:pt x="56" y="873"/>
                    </a:cubicBezTo>
                    <a:cubicBezTo>
                      <a:pt x="59" y="902"/>
                      <a:pt x="60" y="932"/>
                      <a:pt x="65" y="959"/>
                    </a:cubicBezTo>
                    <a:close/>
                    <a:moveTo>
                      <a:pt x="1322" y="934"/>
                    </a:moveTo>
                    <a:cubicBezTo>
                      <a:pt x="1332" y="932"/>
                      <a:pt x="1340" y="928"/>
                      <a:pt x="1350" y="925"/>
                    </a:cubicBezTo>
                    <a:cubicBezTo>
                      <a:pt x="1354" y="914"/>
                      <a:pt x="1357" y="903"/>
                      <a:pt x="1360" y="891"/>
                    </a:cubicBezTo>
                    <a:cubicBezTo>
                      <a:pt x="1347" y="886"/>
                      <a:pt x="1335" y="880"/>
                      <a:pt x="1322" y="875"/>
                    </a:cubicBezTo>
                    <a:cubicBezTo>
                      <a:pt x="1323" y="895"/>
                      <a:pt x="1323" y="913"/>
                      <a:pt x="1322" y="934"/>
                    </a:cubicBezTo>
                    <a:close/>
                    <a:moveTo>
                      <a:pt x="194" y="879"/>
                    </a:moveTo>
                    <a:cubicBezTo>
                      <a:pt x="181" y="882"/>
                      <a:pt x="173" y="889"/>
                      <a:pt x="161" y="892"/>
                    </a:cubicBezTo>
                    <a:cubicBezTo>
                      <a:pt x="161" y="902"/>
                      <a:pt x="161" y="911"/>
                      <a:pt x="161" y="921"/>
                    </a:cubicBezTo>
                    <a:cubicBezTo>
                      <a:pt x="179" y="925"/>
                      <a:pt x="195" y="935"/>
                      <a:pt x="212" y="935"/>
                    </a:cubicBezTo>
                    <a:cubicBezTo>
                      <a:pt x="205" y="917"/>
                      <a:pt x="199" y="899"/>
                      <a:pt x="194" y="879"/>
                    </a:cubicBezTo>
                    <a:close/>
                    <a:moveTo>
                      <a:pt x="1457" y="881"/>
                    </a:moveTo>
                    <a:cubicBezTo>
                      <a:pt x="1457" y="880"/>
                      <a:pt x="1456" y="880"/>
                      <a:pt x="1455" y="880"/>
                    </a:cubicBezTo>
                    <a:cubicBezTo>
                      <a:pt x="1452" y="883"/>
                      <a:pt x="1447" y="885"/>
                      <a:pt x="1443" y="887"/>
                    </a:cubicBezTo>
                    <a:cubicBezTo>
                      <a:pt x="1443" y="905"/>
                      <a:pt x="1440" y="923"/>
                      <a:pt x="1441" y="937"/>
                    </a:cubicBezTo>
                    <a:cubicBezTo>
                      <a:pt x="1443" y="919"/>
                      <a:pt x="1456" y="899"/>
                      <a:pt x="1457" y="881"/>
                    </a:cubicBezTo>
                    <a:close/>
                    <a:moveTo>
                      <a:pt x="1505" y="889"/>
                    </a:moveTo>
                    <a:cubicBezTo>
                      <a:pt x="1506" y="893"/>
                      <a:pt x="1506" y="886"/>
                      <a:pt x="1505" y="889"/>
                    </a:cubicBezTo>
                    <a:close/>
                    <a:moveTo>
                      <a:pt x="1399" y="909"/>
                    </a:moveTo>
                    <a:cubicBezTo>
                      <a:pt x="1411" y="918"/>
                      <a:pt x="1425" y="927"/>
                      <a:pt x="1437" y="936"/>
                    </a:cubicBezTo>
                    <a:cubicBezTo>
                      <a:pt x="1438" y="922"/>
                      <a:pt x="1441" y="904"/>
                      <a:pt x="1439" y="889"/>
                    </a:cubicBezTo>
                    <a:cubicBezTo>
                      <a:pt x="1427" y="897"/>
                      <a:pt x="1413" y="903"/>
                      <a:pt x="1399" y="909"/>
                    </a:cubicBezTo>
                    <a:close/>
                    <a:moveTo>
                      <a:pt x="1354" y="924"/>
                    </a:moveTo>
                    <a:cubicBezTo>
                      <a:pt x="1366" y="919"/>
                      <a:pt x="1379" y="914"/>
                      <a:pt x="1392" y="910"/>
                    </a:cubicBezTo>
                    <a:cubicBezTo>
                      <a:pt x="1384" y="902"/>
                      <a:pt x="1373" y="898"/>
                      <a:pt x="1363" y="893"/>
                    </a:cubicBezTo>
                    <a:cubicBezTo>
                      <a:pt x="1360" y="903"/>
                      <a:pt x="1354" y="915"/>
                      <a:pt x="1354" y="924"/>
                    </a:cubicBezTo>
                    <a:close/>
                    <a:moveTo>
                      <a:pt x="131" y="910"/>
                    </a:moveTo>
                    <a:cubicBezTo>
                      <a:pt x="141" y="912"/>
                      <a:pt x="148" y="917"/>
                      <a:pt x="158" y="919"/>
                    </a:cubicBezTo>
                    <a:cubicBezTo>
                      <a:pt x="158" y="911"/>
                      <a:pt x="159" y="901"/>
                      <a:pt x="157" y="894"/>
                    </a:cubicBezTo>
                    <a:cubicBezTo>
                      <a:pt x="149" y="900"/>
                      <a:pt x="139" y="903"/>
                      <a:pt x="131" y="910"/>
                    </a:cubicBezTo>
                    <a:close/>
                    <a:moveTo>
                      <a:pt x="929" y="998"/>
                    </a:moveTo>
                    <a:cubicBezTo>
                      <a:pt x="936" y="999"/>
                      <a:pt x="939" y="996"/>
                      <a:pt x="945" y="997"/>
                    </a:cubicBezTo>
                    <a:cubicBezTo>
                      <a:pt x="947" y="964"/>
                      <a:pt x="945" y="928"/>
                      <a:pt x="944" y="895"/>
                    </a:cubicBezTo>
                    <a:cubicBezTo>
                      <a:pt x="941" y="931"/>
                      <a:pt x="935" y="964"/>
                      <a:pt x="929" y="998"/>
                    </a:cubicBezTo>
                    <a:close/>
                    <a:moveTo>
                      <a:pt x="98" y="897"/>
                    </a:moveTo>
                    <a:cubicBezTo>
                      <a:pt x="99" y="906"/>
                      <a:pt x="103" y="913"/>
                      <a:pt x="104" y="922"/>
                    </a:cubicBezTo>
                    <a:cubicBezTo>
                      <a:pt x="112" y="918"/>
                      <a:pt x="119" y="915"/>
                      <a:pt x="125" y="909"/>
                    </a:cubicBezTo>
                    <a:cubicBezTo>
                      <a:pt x="115" y="906"/>
                      <a:pt x="107" y="900"/>
                      <a:pt x="98" y="897"/>
                    </a:cubicBezTo>
                    <a:moveTo>
                      <a:pt x="98" y="897"/>
                    </a:moveTo>
                    <a:cubicBezTo>
                      <a:pt x="97" y="896"/>
                      <a:pt x="97" y="897"/>
                      <a:pt x="98" y="897"/>
                    </a:cubicBezTo>
                    <a:moveTo>
                      <a:pt x="128" y="911"/>
                    </a:moveTo>
                    <a:cubicBezTo>
                      <a:pt x="121" y="916"/>
                      <a:pt x="111" y="919"/>
                      <a:pt x="106" y="927"/>
                    </a:cubicBezTo>
                    <a:cubicBezTo>
                      <a:pt x="126" y="981"/>
                      <a:pt x="148" y="1032"/>
                      <a:pt x="176" y="1078"/>
                    </a:cubicBezTo>
                    <a:cubicBezTo>
                      <a:pt x="166" y="1030"/>
                      <a:pt x="160" y="978"/>
                      <a:pt x="158" y="922"/>
                    </a:cubicBezTo>
                    <a:cubicBezTo>
                      <a:pt x="148" y="919"/>
                      <a:pt x="138" y="915"/>
                      <a:pt x="128" y="911"/>
                    </a:cubicBezTo>
                    <a:close/>
                    <a:moveTo>
                      <a:pt x="1396" y="911"/>
                    </a:moveTo>
                    <a:cubicBezTo>
                      <a:pt x="1381" y="916"/>
                      <a:pt x="1367" y="923"/>
                      <a:pt x="1351" y="927"/>
                    </a:cubicBezTo>
                    <a:cubicBezTo>
                      <a:pt x="1341" y="957"/>
                      <a:pt x="1330" y="985"/>
                      <a:pt x="1317" y="1011"/>
                    </a:cubicBezTo>
                    <a:cubicBezTo>
                      <a:pt x="1313" y="1047"/>
                      <a:pt x="1308" y="1080"/>
                      <a:pt x="1301" y="1111"/>
                    </a:cubicBezTo>
                    <a:cubicBezTo>
                      <a:pt x="1314" y="1119"/>
                      <a:pt x="1324" y="1130"/>
                      <a:pt x="1336" y="1139"/>
                    </a:cubicBezTo>
                    <a:cubicBezTo>
                      <a:pt x="1376" y="1079"/>
                      <a:pt x="1414" y="1018"/>
                      <a:pt x="1437" y="941"/>
                    </a:cubicBezTo>
                    <a:cubicBezTo>
                      <a:pt x="1425" y="929"/>
                      <a:pt x="1410" y="920"/>
                      <a:pt x="1396" y="911"/>
                    </a:cubicBezTo>
                    <a:close/>
                    <a:moveTo>
                      <a:pt x="161" y="927"/>
                    </a:moveTo>
                    <a:cubicBezTo>
                      <a:pt x="163" y="985"/>
                      <a:pt x="170" y="1038"/>
                      <a:pt x="181" y="1087"/>
                    </a:cubicBezTo>
                    <a:cubicBezTo>
                      <a:pt x="190" y="1099"/>
                      <a:pt x="197" y="1113"/>
                      <a:pt x="206" y="1125"/>
                    </a:cubicBezTo>
                    <a:cubicBezTo>
                      <a:pt x="227" y="1107"/>
                      <a:pt x="251" y="1093"/>
                      <a:pt x="277" y="1081"/>
                    </a:cubicBezTo>
                    <a:cubicBezTo>
                      <a:pt x="255" y="1036"/>
                      <a:pt x="231" y="992"/>
                      <a:pt x="214" y="940"/>
                    </a:cubicBezTo>
                    <a:cubicBezTo>
                      <a:pt x="195" y="936"/>
                      <a:pt x="179" y="929"/>
                      <a:pt x="161" y="924"/>
                    </a:cubicBezTo>
                    <a:cubicBezTo>
                      <a:pt x="161" y="925"/>
                      <a:pt x="161" y="926"/>
                      <a:pt x="161" y="927"/>
                    </a:cubicBezTo>
                    <a:close/>
                    <a:moveTo>
                      <a:pt x="66" y="965"/>
                    </a:moveTo>
                    <a:cubicBezTo>
                      <a:pt x="64" y="977"/>
                      <a:pt x="71" y="992"/>
                      <a:pt x="74" y="1005"/>
                    </a:cubicBezTo>
                    <a:cubicBezTo>
                      <a:pt x="77" y="1019"/>
                      <a:pt x="78" y="1032"/>
                      <a:pt x="82" y="1043"/>
                    </a:cubicBezTo>
                    <a:cubicBezTo>
                      <a:pt x="93" y="1070"/>
                      <a:pt x="112" y="1092"/>
                      <a:pt x="122" y="1112"/>
                    </a:cubicBezTo>
                    <a:cubicBezTo>
                      <a:pt x="142" y="1123"/>
                      <a:pt x="164" y="1137"/>
                      <a:pt x="186" y="1144"/>
                    </a:cubicBezTo>
                    <a:cubicBezTo>
                      <a:pt x="195" y="1137"/>
                      <a:pt x="189" y="1127"/>
                      <a:pt x="186" y="1118"/>
                    </a:cubicBezTo>
                    <a:cubicBezTo>
                      <a:pt x="183" y="1108"/>
                      <a:pt x="181" y="1097"/>
                      <a:pt x="179" y="1087"/>
                    </a:cubicBezTo>
                    <a:cubicBezTo>
                      <a:pt x="149" y="1039"/>
                      <a:pt x="124" y="986"/>
                      <a:pt x="104" y="928"/>
                    </a:cubicBezTo>
                    <a:cubicBezTo>
                      <a:pt x="104" y="927"/>
                      <a:pt x="104" y="927"/>
                      <a:pt x="103" y="927"/>
                    </a:cubicBezTo>
                    <a:cubicBezTo>
                      <a:pt x="95" y="937"/>
                      <a:pt x="68" y="952"/>
                      <a:pt x="66" y="965"/>
                    </a:cubicBezTo>
                    <a:close/>
                    <a:moveTo>
                      <a:pt x="1322" y="936"/>
                    </a:moveTo>
                    <a:cubicBezTo>
                      <a:pt x="1322" y="959"/>
                      <a:pt x="1319" y="983"/>
                      <a:pt x="1319" y="1003"/>
                    </a:cubicBezTo>
                    <a:cubicBezTo>
                      <a:pt x="1329" y="979"/>
                      <a:pt x="1339" y="954"/>
                      <a:pt x="1349" y="929"/>
                    </a:cubicBezTo>
                    <a:cubicBezTo>
                      <a:pt x="1339" y="930"/>
                      <a:pt x="1332" y="935"/>
                      <a:pt x="1322" y="936"/>
                    </a:cubicBezTo>
                    <a:close/>
                    <a:moveTo>
                      <a:pt x="1216" y="963"/>
                    </a:moveTo>
                    <a:cubicBezTo>
                      <a:pt x="1206" y="996"/>
                      <a:pt x="1192" y="1025"/>
                      <a:pt x="1179" y="1055"/>
                    </a:cubicBezTo>
                    <a:cubicBezTo>
                      <a:pt x="1212" y="1065"/>
                      <a:pt x="1242" y="1078"/>
                      <a:pt x="1271" y="1093"/>
                    </a:cubicBezTo>
                    <a:cubicBezTo>
                      <a:pt x="1278" y="1080"/>
                      <a:pt x="1286" y="1067"/>
                      <a:pt x="1294" y="1053"/>
                    </a:cubicBezTo>
                    <a:cubicBezTo>
                      <a:pt x="1300" y="1041"/>
                      <a:pt x="1312" y="1023"/>
                      <a:pt x="1315" y="1010"/>
                    </a:cubicBezTo>
                    <a:cubicBezTo>
                      <a:pt x="1320" y="988"/>
                      <a:pt x="1316" y="966"/>
                      <a:pt x="1319" y="938"/>
                    </a:cubicBezTo>
                    <a:cubicBezTo>
                      <a:pt x="1318" y="938"/>
                      <a:pt x="1318" y="938"/>
                      <a:pt x="1317" y="938"/>
                    </a:cubicBezTo>
                    <a:cubicBezTo>
                      <a:pt x="1285" y="948"/>
                      <a:pt x="1252" y="957"/>
                      <a:pt x="1216" y="963"/>
                    </a:cubicBezTo>
                    <a:close/>
                    <a:moveTo>
                      <a:pt x="280" y="1079"/>
                    </a:moveTo>
                    <a:cubicBezTo>
                      <a:pt x="293" y="1075"/>
                      <a:pt x="305" y="1068"/>
                      <a:pt x="319" y="1064"/>
                    </a:cubicBezTo>
                    <a:cubicBezTo>
                      <a:pt x="315" y="1033"/>
                      <a:pt x="314" y="998"/>
                      <a:pt x="313" y="964"/>
                    </a:cubicBezTo>
                    <a:cubicBezTo>
                      <a:pt x="279" y="958"/>
                      <a:pt x="248" y="950"/>
                      <a:pt x="217" y="941"/>
                    </a:cubicBezTo>
                    <a:cubicBezTo>
                      <a:pt x="234" y="991"/>
                      <a:pt x="256" y="1036"/>
                      <a:pt x="280" y="1079"/>
                    </a:cubicBezTo>
                    <a:close/>
                    <a:moveTo>
                      <a:pt x="1403" y="1111"/>
                    </a:moveTo>
                    <a:cubicBezTo>
                      <a:pt x="1431" y="1098"/>
                      <a:pt x="1442" y="1073"/>
                      <a:pt x="1454" y="1045"/>
                    </a:cubicBezTo>
                    <a:cubicBezTo>
                      <a:pt x="1461" y="1029"/>
                      <a:pt x="1470" y="1013"/>
                      <a:pt x="1474" y="997"/>
                    </a:cubicBezTo>
                    <a:cubicBezTo>
                      <a:pt x="1468" y="975"/>
                      <a:pt x="1455" y="958"/>
                      <a:pt x="1440" y="944"/>
                    </a:cubicBezTo>
                    <a:cubicBezTo>
                      <a:pt x="1433" y="1004"/>
                      <a:pt x="1418" y="1062"/>
                      <a:pt x="1403" y="1111"/>
                    </a:cubicBezTo>
                    <a:close/>
                    <a:moveTo>
                      <a:pt x="1491" y="959"/>
                    </a:moveTo>
                    <a:cubicBezTo>
                      <a:pt x="1492" y="962"/>
                      <a:pt x="1492" y="955"/>
                      <a:pt x="1491" y="959"/>
                    </a:cubicBezTo>
                    <a:close/>
                    <a:moveTo>
                      <a:pt x="1434" y="961"/>
                    </a:moveTo>
                    <a:cubicBezTo>
                      <a:pt x="1434" y="961"/>
                      <a:pt x="1435" y="962"/>
                      <a:pt x="1434" y="961"/>
                    </a:cubicBezTo>
                    <a:close/>
                    <a:moveTo>
                      <a:pt x="1490" y="963"/>
                    </a:moveTo>
                    <a:cubicBezTo>
                      <a:pt x="1489" y="963"/>
                      <a:pt x="1489" y="963"/>
                      <a:pt x="1489" y="963"/>
                    </a:cubicBezTo>
                    <a:cubicBezTo>
                      <a:pt x="1487" y="979"/>
                      <a:pt x="1474" y="992"/>
                      <a:pt x="1479" y="1008"/>
                    </a:cubicBezTo>
                    <a:cubicBezTo>
                      <a:pt x="1482" y="992"/>
                      <a:pt x="1488" y="980"/>
                      <a:pt x="1490" y="963"/>
                    </a:cubicBezTo>
                    <a:moveTo>
                      <a:pt x="1490" y="963"/>
                    </a:moveTo>
                    <a:cubicBezTo>
                      <a:pt x="1493" y="962"/>
                      <a:pt x="1489" y="958"/>
                      <a:pt x="1490" y="963"/>
                    </a:cubicBezTo>
                    <a:moveTo>
                      <a:pt x="1350" y="1123"/>
                    </a:moveTo>
                    <a:cubicBezTo>
                      <a:pt x="1346" y="1129"/>
                      <a:pt x="1339" y="1135"/>
                      <a:pt x="1338" y="1144"/>
                    </a:cubicBezTo>
                    <a:cubicBezTo>
                      <a:pt x="1361" y="1136"/>
                      <a:pt x="1379" y="1125"/>
                      <a:pt x="1398" y="1114"/>
                    </a:cubicBezTo>
                    <a:cubicBezTo>
                      <a:pt x="1414" y="1068"/>
                      <a:pt x="1429" y="1017"/>
                      <a:pt x="1433" y="963"/>
                    </a:cubicBezTo>
                    <a:cubicBezTo>
                      <a:pt x="1411" y="1021"/>
                      <a:pt x="1383" y="1076"/>
                      <a:pt x="1350" y="1123"/>
                    </a:cubicBezTo>
                    <a:close/>
                    <a:moveTo>
                      <a:pt x="1213" y="965"/>
                    </a:moveTo>
                    <a:cubicBezTo>
                      <a:pt x="1195" y="967"/>
                      <a:pt x="1173" y="973"/>
                      <a:pt x="1153" y="976"/>
                    </a:cubicBezTo>
                    <a:cubicBezTo>
                      <a:pt x="1153" y="1000"/>
                      <a:pt x="1152" y="1023"/>
                      <a:pt x="1150" y="1046"/>
                    </a:cubicBezTo>
                    <a:cubicBezTo>
                      <a:pt x="1160" y="1048"/>
                      <a:pt x="1167" y="1052"/>
                      <a:pt x="1177" y="1054"/>
                    </a:cubicBezTo>
                    <a:cubicBezTo>
                      <a:pt x="1190" y="1025"/>
                      <a:pt x="1202" y="996"/>
                      <a:pt x="1213" y="965"/>
                    </a:cubicBezTo>
                    <a:close/>
                    <a:moveTo>
                      <a:pt x="321" y="1062"/>
                    </a:moveTo>
                    <a:cubicBezTo>
                      <a:pt x="341" y="1057"/>
                      <a:pt x="360" y="1049"/>
                      <a:pt x="380" y="1044"/>
                    </a:cubicBezTo>
                    <a:cubicBezTo>
                      <a:pt x="370" y="1020"/>
                      <a:pt x="361" y="996"/>
                      <a:pt x="352" y="972"/>
                    </a:cubicBezTo>
                    <a:cubicBezTo>
                      <a:pt x="339" y="970"/>
                      <a:pt x="328" y="967"/>
                      <a:pt x="316" y="965"/>
                    </a:cubicBezTo>
                    <a:cubicBezTo>
                      <a:pt x="316" y="999"/>
                      <a:pt x="319" y="1030"/>
                      <a:pt x="321" y="1062"/>
                    </a:cubicBezTo>
                    <a:close/>
                    <a:moveTo>
                      <a:pt x="75" y="1024"/>
                    </a:moveTo>
                    <a:cubicBezTo>
                      <a:pt x="70" y="1006"/>
                      <a:pt x="68" y="985"/>
                      <a:pt x="62" y="968"/>
                    </a:cubicBezTo>
                    <a:cubicBezTo>
                      <a:pt x="50" y="986"/>
                      <a:pt x="69" y="1007"/>
                      <a:pt x="75" y="1024"/>
                    </a:cubicBezTo>
                    <a:close/>
                    <a:moveTo>
                      <a:pt x="382" y="1043"/>
                    </a:moveTo>
                    <a:cubicBezTo>
                      <a:pt x="421" y="1032"/>
                      <a:pt x="463" y="1025"/>
                      <a:pt x="504" y="1016"/>
                    </a:cubicBezTo>
                    <a:cubicBezTo>
                      <a:pt x="501" y="1009"/>
                      <a:pt x="499" y="1001"/>
                      <a:pt x="497" y="992"/>
                    </a:cubicBezTo>
                    <a:cubicBezTo>
                      <a:pt x="448" y="988"/>
                      <a:pt x="402" y="981"/>
                      <a:pt x="356" y="973"/>
                    </a:cubicBezTo>
                    <a:cubicBezTo>
                      <a:pt x="363" y="998"/>
                      <a:pt x="374" y="1019"/>
                      <a:pt x="382" y="1043"/>
                    </a:cubicBezTo>
                    <a:close/>
                    <a:moveTo>
                      <a:pt x="1150" y="976"/>
                    </a:moveTo>
                    <a:cubicBezTo>
                      <a:pt x="1125" y="981"/>
                      <a:pt x="1099" y="984"/>
                      <a:pt x="1073" y="987"/>
                    </a:cubicBezTo>
                    <a:cubicBezTo>
                      <a:pt x="1069" y="1000"/>
                      <a:pt x="1065" y="1012"/>
                      <a:pt x="1062" y="1025"/>
                    </a:cubicBezTo>
                    <a:cubicBezTo>
                      <a:pt x="1092" y="1029"/>
                      <a:pt x="1121" y="1039"/>
                      <a:pt x="1148" y="1044"/>
                    </a:cubicBezTo>
                    <a:cubicBezTo>
                      <a:pt x="1148" y="1021"/>
                      <a:pt x="1151" y="996"/>
                      <a:pt x="1150" y="976"/>
                    </a:cubicBezTo>
                    <a:close/>
                    <a:moveTo>
                      <a:pt x="95" y="1092"/>
                    </a:moveTo>
                    <a:cubicBezTo>
                      <a:pt x="95" y="1093"/>
                      <a:pt x="96" y="1092"/>
                      <a:pt x="95" y="1092"/>
                    </a:cubicBezTo>
                    <a:moveTo>
                      <a:pt x="95" y="1092"/>
                    </a:moveTo>
                    <a:cubicBezTo>
                      <a:pt x="84" y="1053"/>
                      <a:pt x="70" y="1017"/>
                      <a:pt x="54" y="984"/>
                    </a:cubicBezTo>
                    <a:cubicBezTo>
                      <a:pt x="36" y="1032"/>
                      <a:pt x="67" y="1071"/>
                      <a:pt x="95" y="1092"/>
                    </a:cubicBezTo>
                    <a:moveTo>
                      <a:pt x="950" y="1000"/>
                    </a:moveTo>
                    <a:cubicBezTo>
                      <a:pt x="950" y="1002"/>
                      <a:pt x="950" y="1004"/>
                      <a:pt x="950" y="1007"/>
                    </a:cubicBezTo>
                    <a:cubicBezTo>
                      <a:pt x="986" y="1013"/>
                      <a:pt x="1024" y="1017"/>
                      <a:pt x="1059" y="1024"/>
                    </a:cubicBezTo>
                    <a:cubicBezTo>
                      <a:pt x="1063" y="1013"/>
                      <a:pt x="1066" y="1000"/>
                      <a:pt x="1070" y="988"/>
                    </a:cubicBezTo>
                    <a:cubicBezTo>
                      <a:pt x="1030" y="992"/>
                      <a:pt x="990" y="996"/>
                      <a:pt x="950" y="1000"/>
                    </a:cubicBezTo>
                    <a:close/>
                    <a:moveTo>
                      <a:pt x="508" y="1016"/>
                    </a:moveTo>
                    <a:cubicBezTo>
                      <a:pt x="508" y="1009"/>
                      <a:pt x="508" y="1001"/>
                      <a:pt x="508" y="994"/>
                    </a:cubicBezTo>
                    <a:cubicBezTo>
                      <a:pt x="506" y="993"/>
                      <a:pt x="503" y="993"/>
                      <a:pt x="500" y="993"/>
                    </a:cubicBezTo>
                    <a:cubicBezTo>
                      <a:pt x="502" y="1001"/>
                      <a:pt x="502" y="1011"/>
                      <a:pt x="508" y="1016"/>
                    </a:cubicBezTo>
                    <a:close/>
                    <a:moveTo>
                      <a:pt x="510" y="994"/>
                    </a:moveTo>
                    <a:cubicBezTo>
                      <a:pt x="511" y="1001"/>
                      <a:pt x="509" y="1011"/>
                      <a:pt x="511" y="1016"/>
                    </a:cubicBezTo>
                    <a:cubicBezTo>
                      <a:pt x="545" y="1009"/>
                      <a:pt x="584" y="1008"/>
                      <a:pt x="619" y="1002"/>
                    </a:cubicBezTo>
                    <a:cubicBezTo>
                      <a:pt x="581" y="1001"/>
                      <a:pt x="546" y="997"/>
                      <a:pt x="510" y="994"/>
                    </a:cubicBezTo>
                    <a:close/>
                    <a:moveTo>
                      <a:pt x="684" y="1002"/>
                    </a:moveTo>
                    <a:cubicBezTo>
                      <a:pt x="696" y="1003"/>
                      <a:pt x="716" y="1005"/>
                      <a:pt x="726" y="1001"/>
                    </a:cubicBezTo>
                    <a:cubicBezTo>
                      <a:pt x="714" y="999"/>
                      <a:pt x="697" y="1001"/>
                      <a:pt x="684" y="1002"/>
                    </a:cubicBezTo>
                    <a:close/>
                    <a:moveTo>
                      <a:pt x="728" y="1002"/>
                    </a:moveTo>
                    <a:cubicBezTo>
                      <a:pt x="729" y="1002"/>
                      <a:pt x="729" y="1003"/>
                      <a:pt x="730" y="1003"/>
                    </a:cubicBezTo>
                    <a:cubicBezTo>
                      <a:pt x="740" y="1004"/>
                      <a:pt x="752" y="1004"/>
                      <a:pt x="763" y="1004"/>
                    </a:cubicBezTo>
                    <a:cubicBezTo>
                      <a:pt x="770" y="1004"/>
                      <a:pt x="780" y="1006"/>
                      <a:pt x="783" y="1001"/>
                    </a:cubicBezTo>
                    <a:cubicBezTo>
                      <a:pt x="767" y="1000"/>
                      <a:pt x="743" y="998"/>
                      <a:pt x="728" y="1002"/>
                    </a:cubicBezTo>
                    <a:close/>
                    <a:moveTo>
                      <a:pt x="786" y="1002"/>
                    </a:moveTo>
                    <a:cubicBezTo>
                      <a:pt x="802" y="1003"/>
                      <a:pt x="826" y="1004"/>
                      <a:pt x="840" y="1001"/>
                    </a:cubicBezTo>
                    <a:cubicBezTo>
                      <a:pt x="822" y="1003"/>
                      <a:pt x="801" y="997"/>
                      <a:pt x="786" y="1002"/>
                    </a:cubicBezTo>
                    <a:close/>
                    <a:moveTo>
                      <a:pt x="928" y="1005"/>
                    </a:moveTo>
                    <a:cubicBezTo>
                      <a:pt x="933" y="1006"/>
                      <a:pt x="939" y="1006"/>
                      <a:pt x="945" y="1007"/>
                    </a:cubicBezTo>
                    <a:cubicBezTo>
                      <a:pt x="945" y="1004"/>
                      <a:pt x="945" y="1002"/>
                      <a:pt x="945" y="1000"/>
                    </a:cubicBezTo>
                    <a:cubicBezTo>
                      <a:pt x="939" y="1001"/>
                      <a:pt x="929" y="998"/>
                      <a:pt x="928" y="1005"/>
                    </a:cubicBezTo>
                    <a:close/>
                    <a:moveTo>
                      <a:pt x="905" y="1003"/>
                    </a:moveTo>
                    <a:cubicBezTo>
                      <a:pt x="911" y="1002"/>
                      <a:pt x="924" y="1008"/>
                      <a:pt x="926" y="1002"/>
                    </a:cubicBezTo>
                    <a:cubicBezTo>
                      <a:pt x="921" y="1001"/>
                      <a:pt x="911" y="1002"/>
                      <a:pt x="905" y="1003"/>
                    </a:cubicBezTo>
                    <a:close/>
                    <a:moveTo>
                      <a:pt x="510" y="1018"/>
                    </a:moveTo>
                    <a:cubicBezTo>
                      <a:pt x="512" y="1043"/>
                      <a:pt x="518" y="1061"/>
                      <a:pt x="525" y="1080"/>
                    </a:cubicBezTo>
                    <a:cubicBezTo>
                      <a:pt x="539" y="1124"/>
                      <a:pt x="556" y="1165"/>
                      <a:pt x="573" y="1204"/>
                    </a:cubicBezTo>
                    <a:cubicBezTo>
                      <a:pt x="605" y="1200"/>
                      <a:pt x="636" y="1195"/>
                      <a:pt x="671" y="1193"/>
                    </a:cubicBezTo>
                    <a:cubicBezTo>
                      <a:pt x="658" y="1137"/>
                      <a:pt x="651" y="1072"/>
                      <a:pt x="641" y="1014"/>
                    </a:cubicBezTo>
                    <a:cubicBezTo>
                      <a:pt x="641" y="1011"/>
                      <a:pt x="643" y="1004"/>
                      <a:pt x="637" y="1004"/>
                    </a:cubicBezTo>
                    <a:cubicBezTo>
                      <a:pt x="594" y="1007"/>
                      <a:pt x="552" y="1012"/>
                      <a:pt x="510" y="1018"/>
                    </a:cubicBezTo>
                    <a:close/>
                    <a:moveTo>
                      <a:pt x="675" y="1192"/>
                    </a:moveTo>
                    <a:cubicBezTo>
                      <a:pt x="693" y="1192"/>
                      <a:pt x="708" y="1189"/>
                      <a:pt x="726" y="1190"/>
                    </a:cubicBezTo>
                    <a:cubicBezTo>
                      <a:pt x="727" y="1128"/>
                      <a:pt x="725" y="1068"/>
                      <a:pt x="726" y="1006"/>
                    </a:cubicBezTo>
                    <a:cubicBezTo>
                      <a:pt x="697" y="1006"/>
                      <a:pt x="672" y="1004"/>
                      <a:pt x="645" y="1004"/>
                    </a:cubicBezTo>
                    <a:cubicBezTo>
                      <a:pt x="650" y="1067"/>
                      <a:pt x="663" y="1131"/>
                      <a:pt x="675" y="1192"/>
                    </a:cubicBezTo>
                    <a:close/>
                    <a:moveTo>
                      <a:pt x="786" y="1006"/>
                    </a:moveTo>
                    <a:cubicBezTo>
                      <a:pt x="784" y="1067"/>
                      <a:pt x="782" y="1128"/>
                      <a:pt x="780" y="1189"/>
                    </a:cubicBezTo>
                    <a:cubicBezTo>
                      <a:pt x="815" y="1190"/>
                      <a:pt x="851" y="1191"/>
                      <a:pt x="883" y="1196"/>
                    </a:cubicBezTo>
                    <a:cubicBezTo>
                      <a:pt x="899" y="1135"/>
                      <a:pt x="913" y="1072"/>
                      <a:pt x="925" y="1007"/>
                    </a:cubicBezTo>
                    <a:cubicBezTo>
                      <a:pt x="882" y="1000"/>
                      <a:pt x="834" y="1007"/>
                      <a:pt x="786" y="1006"/>
                    </a:cubicBezTo>
                    <a:close/>
                    <a:moveTo>
                      <a:pt x="1439" y="1083"/>
                    </a:moveTo>
                    <a:cubicBezTo>
                      <a:pt x="1437" y="1084"/>
                      <a:pt x="1439" y="1084"/>
                      <a:pt x="1439" y="1083"/>
                    </a:cubicBezTo>
                    <a:moveTo>
                      <a:pt x="1439" y="1083"/>
                    </a:moveTo>
                    <a:cubicBezTo>
                      <a:pt x="1439" y="1083"/>
                      <a:pt x="1440" y="1083"/>
                      <a:pt x="1440" y="1083"/>
                    </a:cubicBezTo>
                    <a:cubicBezTo>
                      <a:pt x="1458" y="1065"/>
                      <a:pt x="1478" y="1037"/>
                      <a:pt x="1474" y="1004"/>
                    </a:cubicBezTo>
                    <a:cubicBezTo>
                      <a:pt x="1465" y="1033"/>
                      <a:pt x="1451" y="1057"/>
                      <a:pt x="1439" y="1083"/>
                    </a:cubicBezTo>
                    <a:moveTo>
                      <a:pt x="729" y="1190"/>
                    </a:moveTo>
                    <a:cubicBezTo>
                      <a:pt x="744" y="1188"/>
                      <a:pt x="762" y="1189"/>
                      <a:pt x="777" y="1189"/>
                    </a:cubicBezTo>
                    <a:cubicBezTo>
                      <a:pt x="780" y="1129"/>
                      <a:pt x="782" y="1067"/>
                      <a:pt x="783" y="1006"/>
                    </a:cubicBezTo>
                    <a:cubicBezTo>
                      <a:pt x="765" y="1006"/>
                      <a:pt x="747" y="1006"/>
                      <a:pt x="729" y="1006"/>
                    </a:cubicBezTo>
                    <a:cubicBezTo>
                      <a:pt x="727" y="1066"/>
                      <a:pt x="729" y="1129"/>
                      <a:pt x="729" y="1190"/>
                    </a:cubicBezTo>
                    <a:close/>
                    <a:moveTo>
                      <a:pt x="928" y="1007"/>
                    </a:moveTo>
                    <a:cubicBezTo>
                      <a:pt x="915" y="1072"/>
                      <a:pt x="903" y="1136"/>
                      <a:pt x="885" y="1196"/>
                    </a:cubicBezTo>
                    <a:cubicBezTo>
                      <a:pt x="903" y="1197"/>
                      <a:pt x="920" y="1200"/>
                      <a:pt x="937" y="1202"/>
                    </a:cubicBezTo>
                    <a:cubicBezTo>
                      <a:pt x="941" y="1140"/>
                      <a:pt x="945" y="1077"/>
                      <a:pt x="945" y="1009"/>
                    </a:cubicBezTo>
                    <a:cubicBezTo>
                      <a:pt x="940" y="1009"/>
                      <a:pt x="934" y="1008"/>
                      <a:pt x="928" y="1007"/>
                    </a:cubicBezTo>
                    <a:close/>
                    <a:moveTo>
                      <a:pt x="951" y="1010"/>
                    </a:moveTo>
                    <a:cubicBezTo>
                      <a:pt x="947" y="1074"/>
                      <a:pt x="947" y="1142"/>
                      <a:pt x="941" y="1203"/>
                    </a:cubicBezTo>
                    <a:cubicBezTo>
                      <a:pt x="955" y="1205"/>
                      <a:pt x="968" y="1208"/>
                      <a:pt x="981" y="1211"/>
                    </a:cubicBezTo>
                    <a:cubicBezTo>
                      <a:pt x="1010" y="1153"/>
                      <a:pt x="1037" y="1093"/>
                      <a:pt x="1058" y="1026"/>
                    </a:cubicBezTo>
                    <a:cubicBezTo>
                      <a:pt x="1022" y="1020"/>
                      <a:pt x="989" y="1013"/>
                      <a:pt x="951" y="1010"/>
                    </a:cubicBezTo>
                    <a:close/>
                    <a:moveTo>
                      <a:pt x="507" y="1020"/>
                    </a:moveTo>
                    <a:cubicBezTo>
                      <a:pt x="508" y="1024"/>
                      <a:pt x="508" y="1016"/>
                      <a:pt x="507" y="1020"/>
                    </a:cubicBezTo>
                    <a:close/>
                    <a:moveTo>
                      <a:pt x="384" y="1045"/>
                    </a:moveTo>
                    <a:cubicBezTo>
                      <a:pt x="411" y="1107"/>
                      <a:pt x="441" y="1167"/>
                      <a:pt x="479" y="1218"/>
                    </a:cubicBezTo>
                    <a:cubicBezTo>
                      <a:pt x="493" y="1223"/>
                      <a:pt x="508" y="1219"/>
                      <a:pt x="522" y="1216"/>
                    </a:cubicBezTo>
                    <a:cubicBezTo>
                      <a:pt x="517" y="1173"/>
                      <a:pt x="513" y="1126"/>
                      <a:pt x="510" y="1081"/>
                    </a:cubicBezTo>
                    <a:cubicBezTo>
                      <a:pt x="509" y="1066"/>
                      <a:pt x="511" y="1049"/>
                      <a:pt x="509" y="1034"/>
                    </a:cubicBezTo>
                    <a:cubicBezTo>
                      <a:pt x="508" y="1030"/>
                      <a:pt x="506" y="1023"/>
                      <a:pt x="502" y="1020"/>
                    </a:cubicBezTo>
                    <a:cubicBezTo>
                      <a:pt x="460" y="1026"/>
                      <a:pt x="422" y="1036"/>
                      <a:pt x="384" y="1045"/>
                    </a:cubicBezTo>
                    <a:close/>
                    <a:moveTo>
                      <a:pt x="1274" y="1095"/>
                    </a:moveTo>
                    <a:cubicBezTo>
                      <a:pt x="1283" y="1099"/>
                      <a:pt x="1290" y="1105"/>
                      <a:pt x="1299" y="1109"/>
                    </a:cubicBezTo>
                    <a:cubicBezTo>
                      <a:pt x="1304" y="1081"/>
                      <a:pt x="1312" y="1050"/>
                      <a:pt x="1312" y="1021"/>
                    </a:cubicBezTo>
                    <a:cubicBezTo>
                      <a:pt x="1301" y="1047"/>
                      <a:pt x="1286" y="1070"/>
                      <a:pt x="1274" y="1095"/>
                    </a:cubicBezTo>
                    <a:close/>
                    <a:moveTo>
                      <a:pt x="508" y="1025"/>
                    </a:moveTo>
                    <a:cubicBezTo>
                      <a:pt x="507" y="1024"/>
                      <a:pt x="508" y="1025"/>
                      <a:pt x="508" y="1025"/>
                    </a:cubicBezTo>
                    <a:close/>
                    <a:moveTo>
                      <a:pt x="75" y="1026"/>
                    </a:moveTo>
                    <a:cubicBezTo>
                      <a:pt x="75" y="1026"/>
                      <a:pt x="74" y="1025"/>
                      <a:pt x="75" y="1026"/>
                    </a:cubicBezTo>
                    <a:close/>
                    <a:moveTo>
                      <a:pt x="1062" y="1027"/>
                    </a:moveTo>
                    <a:cubicBezTo>
                      <a:pt x="1038" y="1091"/>
                      <a:pt x="1014" y="1154"/>
                      <a:pt x="984" y="1211"/>
                    </a:cubicBezTo>
                    <a:cubicBezTo>
                      <a:pt x="1013" y="1223"/>
                      <a:pt x="1049" y="1219"/>
                      <a:pt x="1083" y="1213"/>
                    </a:cubicBezTo>
                    <a:cubicBezTo>
                      <a:pt x="1092" y="1199"/>
                      <a:pt x="1103" y="1185"/>
                      <a:pt x="1112" y="1170"/>
                    </a:cubicBezTo>
                    <a:cubicBezTo>
                      <a:pt x="1121" y="1156"/>
                      <a:pt x="1134" y="1140"/>
                      <a:pt x="1139" y="1124"/>
                    </a:cubicBezTo>
                    <a:cubicBezTo>
                      <a:pt x="1146" y="1101"/>
                      <a:pt x="1143" y="1075"/>
                      <a:pt x="1147" y="1047"/>
                    </a:cubicBezTo>
                    <a:cubicBezTo>
                      <a:pt x="1119" y="1040"/>
                      <a:pt x="1091" y="1033"/>
                      <a:pt x="1062" y="1027"/>
                    </a:cubicBezTo>
                    <a:close/>
                    <a:moveTo>
                      <a:pt x="526" y="1215"/>
                    </a:moveTo>
                    <a:cubicBezTo>
                      <a:pt x="539" y="1211"/>
                      <a:pt x="555" y="1208"/>
                      <a:pt x="570" y="1205"/>
                    </a:cubicBezTo>
                    <a:cubicBezTo>
                      <a:pt x="548" y="1154"/>
                      <a:pt x="529" y="1101"/>
                      <a:pt x="511" y="1046"/>
                    </a:cubicBezTo>
                    <a:cubicBezTo>
                      <a:pt x="514" y="1104"/>
                      <a:pt x="518" y="1162"/>
                      <a:pt x="526" y="1215"/>
                    </a:cubicBezTo>
                    <a:close/>
                    <a:moveTo>
                      <a:pt x="322" y="1065"/>
                    </a:moveTo>
                    <a:cubicBezTo>
                      <a:pt x="325" y="1103"/>
                      <a:pt x="332" y="1137"/>
                      <a:pt x="339" y="1171"/>
                    </a:cubicBezTo>
                    <a:cubicBezTo>
                      <a:pt x="345" y="1180"/>
                      <a:pt x="353" y="1188"/>
                      <a:pt x="359" y="1198"/>
                    </a:cubicBezTo>
                    <a:cubicBezTo>
                      <a:pt x="396" y="1205"/>
                      <a:pt x="436" y="1213"/>
                      <a:pt x="474" y="1217"/>
                    </a:cubicBezTo>
                    <a:cubicBezTo>
                      <a:pt x="441" y="1168"/>
                      <a:pt x="410" y="1113"/>
                      <a:pt x="386" y="1057"/>
                    </a:cubicBezTo>
                    <a:cubicBezTo>
                      <a:pt x="384" y="1054"/>
                      <a:pt x="384" y="1048"/>
                      <a:pt x="379" y="1047"/>
                    </a:cubicBezTo>
                    <a:cubicBezTo>
                      <a:pt x="359" y="1052"/>
                      <a:pt x="341" y="1059"/>
                      <a:pt x="322" y="1065"/>
                    </a:cubicBezTo>
                    <a:close/>
                    <a:moveTo>
                      <a:pt x="1144" y="1118"/>
                    </a:moveTo>
                    <a:cubicBezTo>
                      <a:pt x="1154" y="1097"/>
                      <a:pt x="1166" y="1078"/>
                      <a:pt x="1175" y="1055"/>
                    </a:cubicBezTo>
                    <a:cubicBezTo>
                      <a:pt x="1166" y="1054"/>
                      <a:pt x="1159" y="1050"/>
                      <a:pt x="1150" y="1049"/>
                    </a:cubicBezTo>
                    <a:cubicBezTo>
                      <a:pt x="1149" y="1072"/>
                      <a:pt x="1144" y="1097"/>
                      <a:pt x="1144" y="1118"/>
                    </a:cubicBezTo>
                    <a:close/>
                    <a:moveTo>
                      <a:pt x="87" y="1057"/>
                    </a:moveTo>
                    <a:cubicBezTo>
                      <a:pt x="94" y="1077"/>
                      <a:pt x="96" y="1100"/>
                      <a:pt x="115" y="1107"/>
                    </a:cubicBezTo>
                    <a:cubicBezTo>
                      <a:pt x="106" y="1091"/>
                      <a:pt x="96" y="1074"/>
                      <a:pt x="87" y="1057"/>
                    </a:cubicBezTo>
                    <a:moveTo>
                      <a:pt x="87" y="1057"/>
                    </a:moveTo>
                    <a:cubicBezTo>
                      <a:pt x="88" y="1053"/>
                      <a:pt x="84" y="1057"/>
                      <a:pt x="87" y="1057"/>
                    </a:cubicBezTo>
                    <a:moveTo>
                      <a:pt x="1177" y="1057"/>
                    </a:moveTo>
                    <a:cubicBezTo>
                      <a:pt x="1172" y="1069"/>
                      <a:pt x="1167" y="1081"/>
                      <a:pt x="1160" y="1093"/>
                    </a:cubicBezTo>
                    <a:cubicBezTo>
                      <a:pt x="1155" y="1103"/>
                      <a:pt x="1146" y="1113"/>
                      <a:pt x="1142" y="1125"/>
                    </a:cubicBezTo>
                    <a:cubicBezTo>
                      <a:pt x="1138" y="1137"/>
                      <a:pt x="1139" y="1152"/>
                      <a:pt x="1136" y="1165"/>
                    </a:cubicBezTo>
                    <a:cubicBezTo>
                      <a:pt x="1134" y="1178"/>
                      <a:pt x="1131" y="1190"/>
                      <a:pt x="1129" y="1204"/>
                    </a:cubicBezTo>
                    <a:cubicBezTo>
                      <a:pt x="1155" y="1201"/>
                      <a:pt x="1179" y="1194"/>
                      <a:pt x="1204" y="1189"/>
                    </a:cubicBezTo>
                    <a:cubicBezTo>
                      <a:pt x="1227" y="1159"/>
                      <a:pt x="1250" y="1129"/>
                      <a:pt x="1269" y="1095"/>
                    </a:cubicBezTo>
                    <a:cubicBezTo>
                      <a:pt x="1240" y="1080"/>
                      <a:pt x="1211" y="1066"/>
                      <a:pt x="1177" y="1057"/>
                    </a:cubicBezTo>
                    <a:close/>
                    <a:moveTo>
                      <a:pt x="64" y="1065"/>
                    </a:moveTo>
                    <a:cubicBezTo>
                      <a:pt x="88" y="1121"/>
                      <a:pt x="118" y="1171"/>
                      <a:pt x="154" y="1215"/>
                    </a:cubicBezTo>
                    <a:moveTo>
                      <a:pt x="154" y="1215"/>
                    </a:moveTo>
                    <a:cubicBezTo>
                      <a:pt x="154" y="1216"/>
                      <a:pt x="155" y="1216"/>
                      <a:pt x="155" y="1216"/>
                    </a:cubicBezTo>
                    <a:moveTo>
                      <a:pt x="155" y="1216"/>
                    </a:moveTo>
                    <a:cubicBezTo>
                      <a:pt x="155" y="1217"/>
                      <a:pt x="155" y="1218"/>
                      <a:pt x="156" y="1218"/>
                    </a:cubicBezTo>
                    <a:moveTo>
                      <a:pt x="156" y="1218"/>
                    </a:moveTo>
                    <a:cubicBezTo>
                      <a:pt x="156" y="1219"/>
                      <a:pt x="157" y="1219"/>
                      <a:pt x="157" y="1219"/>
                    </a:cubicBezTo>
                    <a:moveTo>
                      <a:pt x="157" y="1219"/>
                    </a:moveTo>
                    <a:cubicBezTo>
                      <a:pt x="158" y="1220"/>
                      <a:pt x="158" y="1219"/>
                      <a:pt x="157" y="1219"/>
                    </a:cubicBezTo>
                    <a:moveTo>
                      <a:pt x="157" y="1219"/>
                    </a:moveTo>
                    <a:cubicBezTo>
                      <a:pt x="157" y="1218"/>
                      <a:pt x="157" y="1218"/>
                      <a:pt x="156" y="1218"/>
                    </a:cubicBezTo>
                    <a:moveTo>
                      <a:pt x="156" y="1218"/>
                    </a:moveTo>
                    <a:cubicBezTo>
                      <a:pt x="156" y="1217"/>
                      <a:pt x="156" y="1216"/>
                      <a:pt x="155" y="1216"/>
                    </a:cubicBezTo>
                    <a:moveTo>
                      <a:pt x="155" y="1216"/>
                    </a:moveTo>
                    <a:cubicBezTo>
                      <a:pt x="155" y="1215"/>
                      <a:pt x="155" y="1215"/>
                      <a:pt x="154" y="1215"/>
                    </a:cubicBezTo>
                    <a:moveTo>
                      <a:pt x="154" y="1215"/>
                    </a:moveTo>
                    <a:cubicBezTo>
                      <a:pt x="134" y="1178"/>
                      <a:pt x="113" y="1142"/>
                      <a:pt x="99" y="1099"/>
                    </a:cubicBezTo>
                    <a:cubicBezTo>
                      <a:pt x="85" y="1089"/>
                      <a:pt x="75" y="1077"/>
                      <a:pt x="64" y="1065"/>
                    </a:cubicBezTo>
                    <a:moveTo>
                      <a:pt x="64" y="1065"/>
                    </a:moveTo>
                    <a:cubicBezTo>
                      <a:pt x="63" y="1064"/>
                      <a:pt x="63" y="1065"/>
                      <a:pt x="64" y="1065"/>
                    </a:cubicBezTo>
                    <a:moveTo>
                      <a:pt x="282" y="1081"/>
                    </a:moveTo>
                    <a:cubicBezTo>
                      <a:pt x="297" y="1111"/>
                      <a:pt x="315" y="1138"/>
                      <a:pt x="335" y="1164"/>
                    </a:cubicBezTo>
                    <a:cubicBezTo>
                      <a:pt x="327" y="1133"/>
                      <a:pt x="324" y="1098"/>
                      <a:pt x="318" y="1066"/>
                    </a:cubicBezTo>
                    <a:cubicBezTo>
                      <a:pt x="307" y="1072"/>
                      <a:pt x="294" y="1076"/>
                      <a:pt x="282" y="1081"/>
                    </a:cubicBezTo>
                    <a:close/>
                    <a:moveTo>
                      <a:pt x="1457" y="1068"/>
                    </a:moveTo>
                    <a:cubicBezTo>
                      <a:pt x="1458" y="1069"/>
                      <a:pt x="1457" y="1068"/>
                      <a:pt x="1457" y="1068"/>
                    </a:cubicBezTo>
                    <a:close/>
                    <a:moveTo>
                      <a:pt x="1361" y="1232"/>
                    </a:moveTo>
                    <a:cubicBezTo>
                      <a:pt x="1360" y="1233"/>
                      <a:pt x="1361" y="1233"/>
                      <a:pt x="1361" y="1232"/>
                    </a:cubicBezTo>
                    <a:moveTo>
                      <a:pt x="1361" y="1232"/>
                    </a:moveTo>
                    <a:cubicBezTo>
                      <a:pt x="1399" y="1185"/>
                      <a:pt x="1434" y="1129"/>
                      <a:pt x="1456" y="1069"/>
                    </a:cubicBezTo>
                    <a:cubicBezTo>
                      <a:pt x="1450" y="1078"/>
                      <a:pt x="1442" y="1085"/>
                      <a:pt x="1433" y="1092"/>
                    </a:cubicBezTo>
                    <a:cubicBezTo>
                      <a:pt x="1414" y="1130"/>
                      <a:pt x="1388" y="1162"/>
                      <a:pt x="1365" y="1196"/>
                    </a:cubicBezTo>
                    <a:cubicBezTo>
                      <a:pt x="1367" y="1209"/>
                      <a:pt x="1364" y="1221"/>
                      <a:pt x="1361" y="1232"/>
                    </a:cubicBezTo>
                    <a:moveTo>
                      <a:pt x="341" y="1193"/>
                    </a:moveTo>
                    <a:cubicBezTo>
                      <a:pt x="341" y="1194"/>
                      <a:pt x="342" y="1193"/>
                      <a:pt x="341" y="1193"/>
                    </a:cubicBezTo>
                    <a:moveTo>
                      <a:pt x="341" y="1193"/>
                    </a:moveTo>
                    <a:cubicBezTo>
                      <a:pt x="340" y="1185"/>
                      <a:pt x="337" y="1179"/>
                      <a:pt x="337" y="1172"/>
                    </a:cubicBezTo>
                    <a:cubicBezTo>
                      <a:pt x="315" y="1144"/>
                      <a:pt x="298" y="1113"/>
                      <a:pt x="278" y="1083"/>
                    </a:cubicBezTo>
                    <a:cubicBezTo>
                      <a:pt x="261" y="1092"/>
                      <a:pt x="240" y="1102"/>
                      <a:pt x="222" y="1114"/>
                    </a:cubicBezTo>
                    <a:cubicBezTo>
                      <a:pt x="220" y="1116"/>
                      <a:pt x="207" y="1125"/>
                      <a:pt x="207" y="1127"/>
                    </a:cubicBezTo>
                    <a:cubicBezTo>
                      <a:pt x="207" y="1129"/>
                      <a:pt x="219" y="1144"/>
                      <a:pt x="221" y="1146"/>
                    </a:cubicBezTo>
                    <a:cubicBezTo>
                      <a:pt x="226" y="1153"/>
                      <a:pt x="230" y="1157"/>
                      <a:pt x="234" y="1164"/>
                    </a:cubicBezTo>
                    <a:cubicBezTo>
                      <a:pt x="269" y="1174"/>
                      <a:pt x="303" y="1186"/>
                      <a:pt x="341" y="1193"/>
                    </a:cubicBezTo>
                    <a:moveTo>
                      <a:pt x="183" y="1096"/>
                    </a:moveTo>
                    <a:cubicBezTo>
                      <a:pt x="183" y="1095"/>
                      <a:pt x="184" y="1096"/>
                      <a:pt x="183" y="1096"/>
                    </a:cubicBezTo>
                    <a:close/>
                    <a:moveTo>
                      <a:pt x="195" y="1134"/>
                    </a:moveTo>
                    <a:cubicBezTo>
                      <a:pt x="197" y="1130"/>
                      <a:pt x="202" y="1130"/>
                      <a:pt x="203" y="1125"/>
                    </a:cubicBezTo>
                    <a:cubicBezTo>
                      <a:pt x="196" y="1116"/>
                      <a:pt x="191" y="1106"/>
                      <a:pt x="184" y="1097"/>
                    </a:cubicBezTo>
                    <a:cubicBezTo>
                      <a:pt x="187" y="1110"/>
                      <a:pt x="190" y="1123"/>
                      <a:pt x="195" y="1134"/>
                    </a:cubicBezTo>
                    <a:close/>
                    <a:moveTo>
                      <a:pt x="1271" y="1097"/>
                    </a:moveTo>
                    <a:cubicBezTo>
                      <a:pt x="1271" y="1098"/>
                      <a:pt x="1270" y="1099"/>
                      <a:pt x="1270" y="1100"/>
                    </a:cubicBezTo>
                    <a:cubicBezTo>
                      <a:pt x="1254" y="1126"/>
                      <a:pt x="1234" y="1154"/>
                      <a:pt x="1216" y="1177"/>
                    </a:cubicBezTo>
                    <a:cubicBezTo>
                      <a:pt x="1214" y="1180"/>
                      <a:pt x="1210" y="1183"/>
                      <a:pt x="1210" y="1187"/>
                    </a:cubicBezTo>
                    <a:cubicBezTo>
                      <a:pt x="1235" y="1180"/>
                      <a:pt x="1261" y="1174"/>
                      <a:pt x="1284" y="1165"/>
                    </a:cubicBezTo>
                    <a:cubicBezTo>
                      <a:pt x="1289" y="1147"/>
                      <a:pt x="1294" y="1131"/>
                      <a:pt x="1298" y="1112"/>
                    </a:cubicBezTo>
                    <a:cubicBezTo>
                      <a:pt x="1289" y="1107"/>
                      <a:pt x="1281" y="1100"/>
                      <a:pt x="1271" y="1097"/>
                    </a:cubicBezTo>
                    <a:close/>
                    <a:moveTo>
                      <a:pt x="1426" y="1099"/>
                    </a:moveTo>
                    <a:cubicBezTo>
                      <a:pt x="1417" y="1104"/>
                      <a:pt x="1408" y="1111"/>
                      <a:pt x="1399" y="1117"/>
                    </a:cubicBezTo>
                    <a:cubicBezTo>
                      <a:pt x="1394" y="1137"/>
                      <a:pt x="1385" y="1154"/>
                      <a:pt x="1377" y="1173"/>
                    </a:cubicBezTo>
                    <a:moveTo>
                      <a:pt x="1377" y="1173"/>
                    </a:moveTo>
                    <a:cubicBezTo>
                      <a:pt x="1376" y="1173"/>
                      <a:pt x="1377" y="1174"/>
                      <a:pt x="1376" y="1175"/>
                    </a:cubicBezTo>
                    <a:moveTo>
                      <a:pt x="1376" y="1175"/>
                    </a:moveTo>
                    <a:cubicBezTo>
                      <a:pt x="1375" y="1175"/>
                      <a:pt x="1377" y="1176"/>
                      <a:pt x="1376" y="1175"/>
                    </a:cubicBezTo>
                    <a:moveTo>
                      <a:pt x="1376" y="1175"/>
                    </a:moveTo>
                    <a:cubicBezTo>
                      <a:pt x="1377" y="1174"/>
                      <a:pt x="1377" y="1173"/>
                      <a:pt x="1377" y="1173"/>
                    </a:cubicBezTo>
                    <a:moveTo>
                      <a:pt x="1377" y="1173"/>
                    </a:moveTo>
                    <a:cubicBezTo>
                      <a:pt x="1396" y="1150"/>
                      <a:pt x="1412" y="1125"/>
                      <a:pt x="1426" y="1099"/>
                    </a:cubicBezTo>
                    <a:moveTo>
                      <a:pt x="1426" y="1099"/>
                    </a:moveTo>
                    <a:cubicBezTo>
                      <a:pt x="1428" y="1098"/>
                      <a:pt x="1426" y="1098"/>
                      <a:pt x="1426" y="1099"/>
                    </a:cubicBezTo>
                    <a:moveTo>
                      <a:pt x="159" y="1216"/>
                    </a:moveTo>
                    <a:cubicBezTo>
                      <a:pt x="156" y="1201"/>
                      <a:pt x="160" y="1188"/>
                      <a:pt x="164" y="1176"/>
                    </a:cubicBezTo>
                    <a:cubicBezTo>
                      <a:pt x="148" y="1157"/>
                      <a:pt x="133" y="1136"/>
                      <a:pt x="120" y="1113"/>
                    </a:cubicBezTo>
                    <a:cubicBezTo>
                      <a:pt x="113" y="1111"/>
                      <a:pt x="109" y="1105"/>
                      <a:pt x="102" y="1103"/>
                    </a:cubicBezTo>
                    <a:cubicBezTo>
                      <a:pt x="118" y="1144"/>
                      <a:pt x="137" y="1181"/>
                      <a:pt x="159" y="1216"/>
                    </a:cubicBezTo>
                    <a:close/>
                    <a:moveTo>
                      <a:pt x="1287" y="1164"/>
                    </a:moveTo>
                    <a:cubicBezTo>
                      <a:pt x="1303" y="1157"/>
                      <a:pt x="1323" y="1155"/>
                      <a:pt x="1333" y="1143"/>
                    </a:cubicBezTo>
                    <a:cubicBezTo>
                      <a:pt x="1325" y="1131"/>
                      <a:pt x="1312" y="1123"/>
                      <a:pt x="1301" y="1114"/>
                    </a:cubicBezTo>
                    <a:cubicBezTo>
                      <a:pt x="1296" y="1131"/>
                      <a:pt x="1292" y="1148"/>
                      <a:pt x="1287" y="1164"/>
                    </a:cubicBezTo>
                    <a:close/>
                    <a:moveTo>
                      <a:pt x="126" y="1118"/>
                    </a:moveTo>
                    <a:cubicBezTo>
                      <a:pt x="138" y="1138"/>
                      <a:pt x="150" y="1157"/>
                      <a:pt x="166" y="1174"/>
                    </a:cubicBezTo>
                    <a:cubicBezTo>
                      <a:pt x="169" y="1162"/>
                      <a:pt x="177" y="1155"/>
                      <a:pt x="182" y="1146"/>
                    </a:cubicBezTo>
                    <a:cubicBezTo>
                      <a:pt x="161" y="1138"/>
                      <a:pt x="144" y="1127"/>
                      <a:pt x="126" y="1118"/>
                    </a:cubicBezTo>
                    <a:moveTo>
                      <a:pt x="126" y="1118"/>
                    </a:moveTo>
                    <a:cubicBezTo>
                      <a:pt x="125" y="1116"/>
                      <a:pt x="124" y="1118"/>
                      <a:pt x="126" y="1118"/>
                    </a:cubicBezTo>
                    <a:moveTo>
                      <a:pt x="1342" y="1146"/>
                    </a:moveTo>
                    <a:cubicBezTo>
                      <a:pt x="1351" y="1159"/>
                      <a:pt x="1360" y="1173"/>
                      <a:pt x="1365" y="1190"/>
                    </a:cubicBezTo>
                    <a:cubicBezTo>
                      <a:pt x="1377" y="1168"/>
                      <a:pt x="1387" y="1145"/>
                      <a:pt x="1396" y="1120"/>
                    </a:cubicBezTo>
                    <a:cubicBezTo>
                      <a:pt x="1397" y="1120"/>
                      <a:pt x="1396" y="1119"/>
                      <a:pt x="1395" y="1119"/>
                    </a:cubicBezTo>
                    <a:cubicBezTo>
                      <a:pt x="1379" y="1129"/>
                      <a:pt x="1361" y="1138"/>
                      <a:pt x="1342" y="1146"/>
                    </a:cubicBezTo>
                    <a:close/>
                    <a:moveTo>
                      <a:pt x="204" y="1128"/>
                    </a:moveTo>
                    <a:cubicBezTo>
                      <a:pt x="202" y="1133"/>
                      <a:pt x="196" y="1134"/>
                      <a:pt x="195" y="1139"/>
                    </a:cubicBezTo>
                    <a:cubicBezTo>
                      <a:pt x="197" y="1142"/>
                      <a:pt x="198" y="1146"/>
                      <a:pt x="198" y="1151"/>
                    </a:cubicBezTo>
                    <a:cubicBezTo>
                      <a:pt x="209" y="1153"/>
                      <a:pt x="219" y="1160"/>
                      <a:pt x="229" y="1160"/>
                    </a:cubicBezTo>
                    <a:cubicBezTo>
                      <a:pt x="220" y="1151"/>
                      <a:pt x="214" y="1138"/>
                      <a:pt x="204" y="1128"/>
                    </a:cubicBezTo>
                    <a:close/>
                    <a:moveTo>
                      <a:pt x="1100" y="1194"/>
                    </a:moveTo>
                    <a:cubicBezTo>
                      <a:pt x="1095" y="1200"/>
                      <a:pt x="1088" y="1206"/>
                      <a:pt x="1088" y="1212"/>
                    </a:cubicBezTo>
                    <a:cubicBezTo>
                      <a:pt x="1101" y="1209"/>
                      <a:pt x="1114" y="1208"/>
                      <a:pt x="1126" y="1205"/>
                    </a:cubicBezTo>
                    <a:cubicBezTo>
                      <a:pt x="1129" y="1181"/>
                      <a:pt x="1137" y="1156"/>
                      <a:pt x="1137" y="1132"/>
                    </a:cubicBezTo>
                    <a:cubicBezTo>
                      <a:pt x="1126" y="1153"/>
                      <a:pt x="1113" y="1175"/>
                      <a:pt x="1100" y="1194"/>
                    </a:cubicBezTo>
                    <a:close/>
                    <a:moveTo>
                      <a:pt x="187" y="1146"/>
                    </a:moveTo>
                    <a:cubicBezTo>
                      <a:pt x="190" y="1145"/>
                      <a:pt x="194" y="1150"/>
                      <a:pt x="196" y="1148"/>
                    </a:cubicBezTo>
                    <a:cubicBezTo>
                      <a:pt x="193" y="1146"/>
                      <a:pt x="194" y="1141"/>
                      <a:pt x="192" y="1140"/>
                    </a:cubicBezTo>
                    <a:cubicBezTo>
                      <a:pt x="191" y="1142"/>
                      <a:pt x="188" y="1143"/>
                      <a:pt x="187" y="1146"/>
                    </a:cubicBezTo>
                    <a:close/>
                    <a:moveTo>
                      <a:pt x="1333" y="1147"/>
                    </a:moveTo>
                    <a:cubicBezTo>
                      <a:pt x="1335" y="1147"/>
                      <a:pt x="1336" y="1146"/>
                      <a:pt x="1337" y="1145"/>
                    </a:cubicBezTo>
                    <a:cubicBezTo>
                      <a:pt x="1335" y="1143"/>
                      <a:pt x="1334" y="1145"/>
                      <a:pt x="1333" y="1147"/>
                    </a:cubicBezTo>
                    <a:close/>
                    <a:moveTo>
                      <a:pt x="241" y="1257"/>
                    </a:moveTo>
                    <a:cubicBezTo>
                      <a:pt x="241" y="1258"/>
                      <a:pt x="242" y="1257"/>
                      <a:pt x="241" y="1257"/>
                    </a:cubicBezTo>
                    <a:moveTo>
                      <a:pt x="241" y="1257"/>
                    </a:moveTo>
                    <a:cubicBezTo>
                      <a:pt x="224" y="1224"/>
                      <a:pt x="209" y="1190"/>
                      <a:pt x="197" y="1152"/>
                    </a:cubicBezTo>
                    <a:cubicBezTo>
                      <a:pt x="194" y="1150"/>
                      <a:pt x="189" y="1150"/>
                      <a:pt x="187" y="1148"/>
                    </a:cubicBezTo>
                    <a:cubicBezTo>
                      <a:pt x="177" y="1154"/>
                      <a:pt x="173" y="1166"/>
                      <a:pt x="167" y="1175"/>
                    </a:cubicBezTo>
                    <a:cubicBezTo>
                      <a:pt x="189" y="1205"/>
                      <a:pt x="214" y="1232"/>
                      <a:pt x="241" y="1257"/>
                    </a:cubicBezTo>
                    <a:moveTo>
                      <a:pt x="1207" y="1335"/>
                    </a:moveTo>
                    <a:cubicBezTo>
                      <a:pt x="1206" y="1335"/>
                      <a:pt x="1208" y="1336"/>
                      <a:pt x="1207" y="1335"/>
                    </a:cubicBezTo>
                    <a:moveTo>
                      <a:pt x="1207" y="1335"/>
                    </a:moveTo>
                    <a:cubicBezTo>
                      <a:pt x="1267" y="1295"/>
                      <a:pt x="1319" y="1248"/>
                      <a:pt x="1362" y="1192"/>
                    </a:cubicBezTo>
                    <a:cubicBezTo>
                      <a:pt x="1357" y="1174"/>
                      <a:pt x="1350" y="1158"/>
                      <a:pt x="1337" y="1148"/>
                    </a:cubicBezTo>
                    <a:cubicBezTo>
                      <a:pt x="1322" y="1158"/>
                      <a:pt x="1312" y="1174"/>
                      <a:pt x="1300" y="1189"/>
                    </a:cubicBezTo>
                    <a:cubicBezTo>
                      <a:pt x="1294" y="1196"/>
                      <a:pt x="1288" y="1203"/>
                      <a:pt x="1281" y="1210"/>
                    </a:cubicBezTo>
                    <a:cubicBezTo>
                      <a:pt x="1275" y="1217"/>
                      <a:pt x="1267" y="1223"/>
                      <a:pt x="1263" y="1230"/>
                    </a:cubicBezTo>
                    <a:cubicBezTo>
                      <a:pt x="1258" y="1239"/>
                      <a:pt x="1255" y="1249"/>
                      <a:pt x="1251" y="1258"/>
                    </a:cubicBezTo>
                    <a:cubicBezTo>
                      <a:pt x="1237" y="1285"/>
                      <a:pt x="1225" y="1311"/>
                      <a:pt x="1207" y="1335"/>
                    </a:cubicBezTo>
                    <a:moveTo>
                      <a:pt x="1324" y="1154"/>
                    </a:moveTo>
                    <a:cubicBezTo>
                      <a:pt x="1310" y="1158"/>
                      <a:pt x="1300" y="1164"/>
                      <a:pt x="1286" y="1167"/>
                    </a:cubicBezTo>
                    <a:cubicBezTo>
                      <a:pt x="1282" y="1186"/>
                      <a:pt x="1272" y="1204"/>
                      <a:pt x="1269" y="1221"/>
                    </a:cubicBezTo>
                    <a:cubicBezTo>
                      <a:pt x="1287" y="1199"/>
                      <a:pt x="1307" y="1178"/>
                      <a:pt x="1324" y="1154"/>
                    </a:cubicBezTo>
                    <a:moveTo>
                      <a:pt x="1324" y="1154"/>
                    </a:moveTo>
                    <a:cubicBezTo>
                      <a:pt x="1325" y="1154"/>
                      <a:pt x="1324" y="1153"/>
                      <a:pt x="1324" y="1154"/>
                    </a:cubicBezTo>
                    <a:moveTo>
                      <a:pt x="222" y="1212"/>
                    </a:moveTo>
                    <a:cubicBezTo>
                      <a:pt x="231" y="1230"/>
                      <a:pt x="237" y="1251"/>
                      <a:pt x="247" y="1264"/>
                    </a:cubicBezTo>
                    <a:cubicBezTo>
                      <a:pt x="252" y="1270"/>
                      <a:pt x="260" y="1275"/>
                      <a:pt x="267" y="1280"/>
                    </a:cubicBezTo>
                    <a:cubicBezTo>
                      <a:pt x="287" y="1297"/>
                      <a:pt x="306" y="1314"/>
                      <a:pt x="328" y="1328"/>
                    </a:cubicBezTo>
                    <a:cubicBezTo>
                      <a:pt x="334" y="1313"/>
                      <a:pt x="344" y="1302"/>
                      <a:pt x="354" y="1291"/>
                    </a:cubicBezTo>
                    <a:cubicBezTo>
                      <a:pt x="308" y="1254"/>
                      <a:pt x="269" y="1211"/>
                      <a:pt x="232" y="1165"/>
                    </a:cubicBezTo>
                    <a:cubicBezTo>
                      <a:pt x="220" y="1162"/>
                      <a:pt x="212" y="1157"/>
                      <a:pt x="200" y="1154"/>
                    </a:cubicBezTo>
                    <a:cubicBezTo>
                      <a:pt x="206" y="1174"/>
                      <a:pt x="214" y="1193"/>
                      <a:pt x="222" y="1212"/>
                    </a:cubicBezTo>
                    <a:close/>
                    <a:moveTo>
                      <a:pt x="356" y="1290"/>
                    </a:moveTo>
                    <a:cubicBezTo>
                      <a:pt x="359" y="1285"/>
                      <a:pt x="365" y="1284"/>
                      <a:pt x="367" y="1278"/>
                    </a:cubicBezTo>
                    <a:cubicBezTo>
                      <a:pt x="358" y="1252"/>
                      <a:pt x="349" y="1226"/>
                      <a:pt x="342" y="1197"/>
                    </a:cubicBezTo>
                    <a:cubicBezTo>
                      <a:pt x="306" y="1189"/>
                      <a:pt x="270" y="1177"/>
                      <a:pt x="238" y="1169"/>
                    </a:cubicBezTo>
                    <a:cubicBezTo>
                      <a:pt x="274" y="1212"/>
                      <a:pt x="312" y="1254"/>
                      <a:pt x="356" y="1290"/>
                    </a:cubicBezTo>
                    <a:close/>
                    <a:moveTo>
                      <a:pt x="1223" y="1265"/>
                    </a:moveTo>
                    <a:cubicBezTo>
                      <a:pt x="1235" y="1254"/>
                      <a:pt x="1255" y="1239"/>
                      <a:pt x="1263" y="1225"/>
                    </a:cubicBezTo>
                    <a:cubicBezTo>
                      <a:pt x="1273" y="1209"/>
                      <a:pt x="1274" y="1190"/>
                      <a:pt x="1282" y="1170"/>
                    </a:cubicBezTo>
                    <a:cubicBezTo>
                      <a:pt x="1282" y="1169"/>
                      <a:pt x="1282" y="1169"/>
                      <a:pt x="1281" y="1169"/>
                    </a:cubicBezTo>
                    <a:cubicBezTo>
                      <a:pt x="1257" y="1177"/>
                      <a:pt x="1232" y="1184"/>
                      <a:pt x="1206" y="1191"/>
                    </a:cubicBezTo>
                    <a:cubicBezTo>
                      <a:pt x="1184" y="1218"/>
                      <a:pt x="1160" y="1242"/>
                      <a:pt x="1137" y="1268"/>
                    </a:cubicBezTo>
                    <a:cubicBezTo>
                      <a:pt x="1155" y="1276"/>
                      <a:pt x="1167" y="1289"/>
                      <a:pt x="1181" y="1301"/>
                    </a:cubicBezTo>
                    <a:cubicBezTo>
                      <a:pt x="1195" y="1290"/>
                      <a:pt x="1208" y="1278"/>
                      <a:pt x="1223" y="1265"/>
                    </a:cubicBezTo>
                    <a:close/>
                    <a:moveTo>
                      <a:pt x="344" y="1195"/>
                    </a:moveTo>
                    <a:cubicBezTo>
                      <a:pt x="349" y="1194"/>
                      <a:pt x="353" y="1198"/>
                      <a:pt x="355" y="1196"/>
                    </a:cubicBezTo>
                    <a:cubicBezTo>
                      <a:pt x="350" y="1190"/>
                      <a:pt x="346" y="1183"/>
                      <a:pt x="341" y="1178"/>
                    </a:cubicBezTo>
                    <a:cubicBezTo>
                      <a:pt x="342" y="1184"/>
                      <a:pt x="343" y="1189"/>
                      <a:pt x="344" y="1195"/>
                    </a:cubicBezTo>
                    <a:close/>
                    <a:moveTo>
                      <a:pt x="289" y="1331"/>
                    </a:moveTo>
                    <a:cubicBezTo>
                      <a:pt x="289" y="1332"/>
                      <a:pt x="290" y="1331"/>
                      <a:pt x="289" y="1331"/>
                    </a:cubicBezTo>
                    <a:moveTo>
                      <a:pt x="289" y="1331"/>
                    </a:moveTo>
                    <a:cubicBezTo>
                      <a:pt x="274" y="1310"/>
                      <a:pt x="258" y="1290"/>
                      <a:pt x="246" y="1266"/>
                    </a:cubicBezTo>
                    <a:cubicBezTo>
                      <a:pt x="216" y="1240"/>
                      <a:pt x="192" y="1209"/>
                      <a:pt x="165" y="1180"/>
                    </a:cubicBezTo>
                    <a:cubicBezTo>
                      <a:pt x="163" y="1194"/>
                      <a:pt x="158" y="1209"/>
                      <a:pt x="163" y="1223"/>
                    </a:cubicBezTo>
                    <a:cubicBezTo>
                      <a:pt x="169" y="1238"/>
                      <a:pt x="189" y="1257"/>
                      <a:pt x="203" y="1271"/>
                    </a:cubicBezTo>
                    <a:cubicBezTo>
                      <a:pt x="217" y="1284"/>
                      <a:pt x="236" y="1304"/>
                      <a:pt x="249" y="1313"/>
                    </a:cubicBezTo>
                    <a:cubicBezTo>
                      <a:pt x="261" y="1321"/>
                      <a:pt x="278" y="1326"/>
                      <a:pt x="289" y="1331"/>
                    </a:cubicBezTo>
                    <a:moveTo>
                      <a:pt x="676" y="1195"/>
                    </a:moveTo>
                    <a:cubicBezTo>
                      <a:pt x="677" y="1209"/>
                      <a:pt x="682" y="1221"/>
                      <a:pt x="683" y="1235"/>
                    </a:cubicBezTo>
                    <a:cubicBezTo>
                      <a:pt x="697" y="1236"/>
                      <a:pt x="712" y="1236"/>
                      <a:pt x="727" y="1236"/>
                    </a:cubicBezTo>
                    <a:cubicBezTo>
                      <a:pt x="726" y="1222"/>
                      <a:pt x="730" y="1202"/>
                      <a:pt x="725" y="1192"/>
                    </a:cubicBezTo>
                    <a:cubicBezTo>
                      <a:pt x="709" y="1193"/>
                      <a:pt x="691" y="1193"/>
                      <a:pt x="676" y="1195"/>
                    </a:cubicBezTo>
                    <a:close/>
                    <a:moveTo>
                      <a:pt x="729" y="1192"/>
                    </a:moveTo>
                    <a:cubicBezTo>
                      <a:pt x="729" y="1207"/>
                      <a:pt x="731" y="1220"/>
                      <a:pt x="730" y="1236"/>
                    </a:cubicBezTo>
                    <a:cubicBezTo>
                      <a:pt x="744" y="1238"/>
                      <a:pt x="761" y="1236"/>
                      <a:pt x="775" y="1237"/>
                    </a:cubicBezTo>
                    <a:cubicBezTo>
                      <a:pt x="777" y="1222"/>
                      <a:pt x="777" y="1207"/>
                      <a:pt x="777" y="1192"/>
                    </a:cubicBezTo>
                    <a:cubicBezTo>
                      <a:pt x="761" y="1192"/>
                      <a:pt x="745" y="1192"/>
                      <a:pt x="729" y="1192"/>
                    </a:cubicBezTo>
                    <a:close/>
                    <a:moveTo>
                      <a:pt x="780" y="1192"/>
                    </a:moveTo>
                    <a:cubicBezTo>
                      <a:pt x="779" y="1206"/>
                      <a:pt x="779" y="1222"/>
                      <a:pt x="778" y="1237"/>
                    </a:cubicBezTo>
                    <a:cubicBezTo>
                      <a:pt x="809" y="1235"/>
                      <a:pt x="841" y="1236"/>
                      <a:pt x="871" y="1234"/>
                    </a:cubicBezTo>
                    <a:cubicBezTo>
                      <a:pt x="875" y="1222"/>
                      <a:pt x="879" y="1210"/>
                      <a:pt x="882" y="1198"/>
                    </a:cubicBezTo>
                    <a:cubicBezTo>
                      <a:pt x="849" y="1195"/>
                      <a:pt x="816" y="1192"/>
                      <a:pt x="780" y="1192"/>
                    </a:cubicBezTo>
                    <a:close/>
                    <a:moveTo>
                      <a:pt x="1200" y="1193"/>
                    </a:moveTo>
                    <a:cubicBezTo>
                      <a:pt x="1176" y="1197"/>
                      <a:pt x="1153" y="1204"/>
                      <a:pt x="1128" y="1207"/>
                    </a:cubicBezTo>
                    <a:cubicBezTo>
                      <a:pt x="1124" y="1224"/>
                      <a:pt x="1120" y="1239"/>
                      <a:pt x="1116" y="1255"/>
                    </a:cubicBezTo>
                    <a:cubicBezTo>
                      <a:pt x="1122" y="1258"/>
                      <a:pt x="1128" y="1262"/>
                      <a:pt x="1134" y="1265"/>
                    </a:cubicBezTo>
                    <a:cubicBezTo>
                      <a:pt x="1158" y="1242"/>
                      <a:pt x="1180" y="1219"/>
                      <a:pt x="1200" y="1193"/>
                    </a:cubicBezTo>
                    <a:moveTo>
                      <a:pt x="1200" y="1193"/>
                    </a:moveTo>
                    <a:cubicBezTo>
                      <a:pt x="1201" y="1192"/>
                      <a:pt x="1200" y="1192"/>
                      <a:pt x="1200" y="1193"/>
                    </a:cubicBezTo>
                    <a:moveTo>
                      <a:pt x="671" y="1195"/>
                    </a:moveTo>
                    <a:cubicBezTo>
                      <a:pt x="638" y="1198"/>
                      <a:pt x="605" y="1201"/>
                      <a:pt x="575" y="1207"/>
                    </a:cubicBezTo>
                    <a:cubicBezTo>
                      <a:pt x="578" y="1215"/>
                      <a:pt x="580" y="1224"/>
                      <a:pt x="586" y="1229"/>
                    </a:cubicBezTo>
                    <a:cubicBezTo>
                      <a:pt x="616" y="1232"/>
                      <a:pt x="650" y="1235"/>
                      <a:pt x="680" y="1234"/>
                    </a:cubicBezTo>
                    <a:cubicBezTo>
                      <a:pt x="676" y="1222"/>
                      <a:pt x="675" y="1207"/>
                      <a:pt x="671" y="1195"/>
                    </a:cubicBezTo>
                    <a:close/>
                    <a:moveTo>
                      <a:pt x="369" y="1277"/>
                    </a:moveTo>
                    <a:cubicBezTo>
                      <a:pt x="382" y="1271"/>
                      <a:pt x="394" y="1263"/>
                      <a:pt x="406" y="1255"/>
                    </a:cubicBezTo>
                    <a:cubicBezTo>
                      <a:pt x="389" y="1237"/>
                      <a:pt x="373" y="1219"/>
                      <a:pt x="358" y="1199"/>
                    </a:cubicBezTo>
                    <a:cubicBezTo>
                      <a:pt x="353" y="1200"/>
                      <a:pt x="350" y="1197"/>
                      <a:pt x="345" y="1198"/>
                    </a:cubicBezTo>
                    <a:cubicBezTo>
                      <a:pt x="352" y="1226"/>
                      <a:pt x="361" y="1251"/>
                      <a:pt x="369" y="1277"/>
                    </a:cubicBezTo>
                    <a:close/>
                    <a:moveTo>
                      <a:pt x="884" y="1199"/>
                    </a:moveTo>
                    <a:cubicBezTo>
                      <a:pt x="882" y="1211"/>
                      <a:pt x="877" y="1221"/>
                      <a:pt x="874" y="1234"/>
                    </a:cubicBezTo>
                    <a:cubicBezTo>
                      <a:pt x="894" y="1233"/>
                      <a:pt x="914" y="1231"/>
                      <a:pt x="934" y="1230"/>
                    </a:cubicBezTo>
                    <a:cubicBezTo>
                      <a:pt x="934" y="1221"/>
                      <a:pt x="936" y="1215"/>
                      <a:pt x="936" y="1205"/>
                    </a:cubicBezTo>
                    <a:cubicBezTo>
                      <a:pt x="919" y="1202"/>
                      <a:pt x="903" y="1199"/>
                      <a:pt x="884" y="1199"/>
                    </a:cubicBezTo>
                    <a:close/>
                    <a:moveTo>
                      <a:pt x="1360" y="1199"/>
                    </a:moveTo>
                    <a:cubicBezTo>
                      <a:pt x="1360" y="1199"/>
                      <a:pt x="1361" y="1200"/>
                      <a:pt x="1360" y="1199"/>
                    </a:cubicBezTo>
                    <a:close/>
                    <a:moveTo>
                      <a:pt x="363" y="1201"/>
                    </a:moveTo>
                    <a:cubicBezTo>
                      <a:pt x="378" y="1220"/>
                      <a:pt x="392" y="1239"/>
                      <a:pt x="410" y="1254"/>
                    </a:cubicBezTo>
                    <a:cubicBezTo>
                      <a:pt x="432" y="1244"/>
                      <a:pt x="454" y="1234"/>
                      <a:pt x="480" y="1227"/>
                    </a:cubicBezTo>
                    <a:cubicBezTo>
                      <a:pt x="477" y="1217"/>
                      <a:pt x="463" y="1219"/>
                      <a:pt x="454" y="1218"/>
                    </a:cubicBezTo>
                    <a:cubicBezTo>
                      <a:pt x="424" y="1213"/>
                      <a:pt x="391" y="1206"/>
                      <a:pt x="363" y="1201"/>
                    </a:cubicBezTo>
                    <a:moveTo>
                      <a:pt x="363" y="1201"/>
                    </a:moveTo>
                    <a:cubicBezTo>
                      <a:pt x="362" y="1200"/>
                      <a:pt x="361" y="1201"/>
                      <a:pt x="363" y="1201"/>
                    </a:cubicBezTo>
                    <a:moveTo>
                      <a:pt x="1359" y="1201"/>
                    </a:moveTo>
                    <a:cubicBezTo>
                      <a:pt x="1318" y="1253"/>
                      <a:pt x="1263" y="1298"/>
                      <a:pt x="1208" y="1338"/>
                    </a:cubicBezTo>
                    <a:cubicBezTo>
                      <a:pt x="1206" y="1339"/>
                      <a:pt x="1201" y="1341"/>
                      <a:pt x="1202" y="1345"/>
                    </a:cubicBezTo>
                    <a:cubicBezTo>
                      <a:pt x="1217" y="1339"/>
                      <a:pt x="1232" y="1333"/>
                      <a:pt x="1247" y="1326"/>
                    </a:cubicBezTo>
                    <a:cubicBezTo>
                      <a:pt x="1261" y="1320"/>
                      <a:pt x="1277" y="1313"/>
                      <a:pt x="1289" y="1304"/>
                    </a:cubicBezTo>
                    <a:cubicBezTo>
                      <a:pt x="1303" y="1293"/>
                      <a:pt x="1316" y="1270"/>
                      <a:pt x="1326" y="1255"/>
                    </a:cubicBezTo>
                    <a:cubicBezTo>
                      <a:pt x="1338" y="1238"/>
                      <a:pt x="1350" y="1220"/>
                      <a:pt x="1359" y="1201"/>
                    </a:cubicBezTo>
                    <a:moveTo>
                      <a:pt x="1359" y="1201"/>
                    </a:moveTo>
                    <a:cubicBezTo>
                      <a:pt x="1361" y="1201"/>
                      <a:pt x="1359" y="1200"/>
                      <a:pt x="1359" y="1201"/>
                    </a:cubicBezTo>
                    <a:moveTo>
                      <a:pt x="1301" y="1295"/>
                    </a:moveTo>
                    <a:cubicBezTo>
                      <a:pt x="1299" y="1296"/>
                      <a:pt x="1301" y="1297"/>
                      <a:pt x="1301" y="1295"/>
                    </a:cubicBezTo>
                    <a:moveTo>
                      <a:pt x="1301" y="1295"/>
                    </a:moveTo>
                    <a:cubicBezTo>
                      <a:pt x="1315" y="1282"/>
                      <a:pt x="1343" y="1260"/>
                      <a:pt x="1354" y="1241"/>
                    </a:cubicBezTo>
                    <a:cubicBezTo>
                      <a:pt x="1360" y="1231"/>
                      <a:pt x="1364" y="1215"/>
                      <a:pt x="1362" y="1201"/>
                    </a:cubicBezTo>
                    <a:cubicBezTo>
                      <a:pt x="1345" y="1236"/>
                      <a:pt x="1323" y="1266"/>
                      <a:pt x="1301" y="1295"/>
                    </a:cubicBezTo>
                    <a:moveTo>
                      <a:pt x="938" y="1229"/>
                    </a:moveTo>
                    <a:cubicBezTo>
                      <a:pt x="950" y="1230"/>
                      <a:pt x="958" y="1227"/>
                      <a:pt x="970" y="1227"/>
                    </a:cubicBezTo>
                    <a:cubicBezTo>
                      <a:pt x="975" y="1224"/>
                      <a:pt x="977" y="1218"/>
                      <a:pt x="979" y="1213"/>
                    </a:cubicBezTo>
                    <a:cubicBezTo>
                      <a:pt x="967" y="1210"/>
                      <a:pt x="953" y="1208"/>
                      <a:pt x="941" y="1205"/>
                    </a:cubicBezTo>
                    <a:cubicBezTo>
                      <a:pt x="939" y="1212"/>
                      <a:pt x="940" y="1222"/>
                      <a:pt x="938" y="1229"/>
                    </a:cubicBezTo>
                    <a:close/>
                    <a:moveTo>
                      <a:pt x="526" y="1219"/>
                    </a:moveTo>
                    <a:cubicBezTo>
                      <a:pt x="526" y="1221"/>
                      <a:pt x="526" y="1222"/>
                      <a:pt x="527" y="1223"/>
                    </a:cubicBezTo>
                    <a:cubicBezTo>
                      <a:pt x="544" y="1226"/>
                      <a:pt x="565" y="1229"/>
                      <a:pt x="582" y="1228"/>
                    </a:cubicBezTo>
                    <a:cubicBezTo>
                      <a:pt x="577" y="1222"/>
                      <a:pt x="575" y="1213"/>
                      <a:pt x="571" y="1207"/>
                    </a:cubicBezTo>
                    <a:cubicBezTo>
                      <a:pt x="557" y="1212"/>
                      <a:pt x="538" y="1212"/>
                      <a:pt x="526" y="1219"/>
                    </a:cubicBezTo>
                    <a:close/>
                    <a:moveTo>
                      <a:pt x="1084" y="1215"/>
                    </a:moveTo>
                    <a:cubicBezTo>
                      <a:pt x="1080" y="1223"/>
                      <a:pt x="1071" y="1229"/>
                      <a:pt x="1070" y="1236"/>
                    </a:cubicBezTo>
                    <a:cubicBezTo>
                      <a:pt x="1086" y="1240"/>
                      <a:pt x="1099" y="1248"/>
                      <a:pt x="1113" y="1253"/>
                    </a:cubicBezTo>
                    <a:cubicBezTo>
                      <a:pt x="1118" y="1240"/>
                      <a:pt x="1120" y="1224"/>
                      <a:pt x="1125" y="1210"/>
                    </a:cubicBezTo>
                    <a:cubicBezTo>
                      <a:pt x="1125" y="1209"/>
                      <a:pt x="1125" y="1208"/>
                      <a:pt x="1123" y="1208"/>
                    </a:cubicBezTo>
                    <a:cubicBezTo>
                      <a:pt x="1111" y="1211"/>
                      <a:pt x="1097" y="1213"/>
                      <a:pt x="1084" y="1215"/>
                    </a:cubicBezTo>
                    <a:close/>
                    <a:moveTo>
                      <a:pt x="982" y="1214"/>
                    </a:moveTo>
                    <a:cubicBezTo>
                      <a:pt x="980" y="1218"/>
                      <a:pt x="977" y="1222"/>
                      <a:pt x="975" y="1226"/>
                    </a:cubicBezTo>
                    <a:cubicBezTo>
                      <a:pt x="988" y="1225"/>
                      <a:pt x="1003" y="1224"/>
                      <a:pt x="1015" y="1222"/>
                    </a:cubicBezTo>
                    <a:cubicBezTo>
                      <a:pt x="1005" y="1219"/>
                      <a:pt x="994" y="1216"/>
                      <a:pt x="982" y="1214"/>
                    </a:cubicBezTo>
                    <a:close/>
                    <a:moveTo>
                      <a:pt x="1031" y="1223"/>
                    </a:moveTo>
                    <a:cubicBezTo>
                      <a:pt x="1044" y="1226"/>
                      <a:pt x="1054" y="1231"/>
                      <a:pt x="1066" y="1234"/>
                    </a:cubicBezTo>
                    <a:cubicBezTo>
                      <a:pt x="1070" y="1229"/>
                      <a:pt x="1080" y="1220"/>
                      <a:pt x="1078" y="1216"/>
                    </a:cubicBezTo>
                    <a:cubicBezTo>
                      <a:pt x="1063" y="1219"/>
                      <a:pt x="1045" y="1220"/>
                      <a:pt x="1031" y="1223"/>
                    </a:cubicBezTo>
                    <a:close/>
                    <a:moveTo>
                      <a:pt x="509" y="1223"/>
                    </a:moveTo>
                    <a:cubicBezTo>
                      <a:pt x="515" y="1222"/>
                      <a:pt x="518" y="1224"/>
                      <a:pt x="524" y="1223"/>
                    </a:cubicBezTo>
                    <a:cubicBezTo>
                      <a:pt x="523" y="1222"/>
                      <a:pt x="524" y="1217"/>
                      <a:pt x="521" y="1218"/>
                    </a:cubicBezTo>
                    <a:cubicBezTo>
                      <a:pt x="518" y="1220"/>
                      <a:pt x="511" y="1219"/>
                      <a:pt x="509" y="1223"/>
                    </a:cubicBezTo>
                    <a:close/>
                    <a:moveTo>
                      <a:pt x="482" y="1225"/>
                    </a:moveTo>
                    <a:cubicBezTo>
                      <a:pt x="487" y="1226"/>
                      <a:pt x="490" y="1224"/>
                      <a:pt x="493" y="1223"/>
                    </a:cubicBezTo>
                    <a:cubicBezTo>
                      <a:pt x="488" y="1223"/>
                      <a:pt x="483" y="1220"/>
                      <a:pt x="480" y="1223"/>
                    </a:cubicBezTo>
                    <a:cubicBezTo>
                      <a:pt x="481" y="1223"/>
                      <a:pt x="482" y="1224"/>
                      <a:pt x="482" y="1225"/>
                    </a:cubicBezTo>
                    <a:close/>
                    <a:moveTo>
                      <a:pt x="535" y="1295"/>
                    </a:moveTo>
                    <a:cubicBezTo>
                      <a:pt x="536" y="1296"/>
                      <a:pt x="537" y="1294"/>
                      <a:pt x="535" y="1295"/>
                    </a:cubicBezTo>
                    <a:moveTo>
                      <a:pt x="535" y="1295"/>
                    </a:moveTo>
                    <a:cubicBezTo>
                      <a:pt x="532" y="1272"/>
                      <a:pt x="527" y="1251"/>
                      <a:pt x="525" y="1227"/>
                    </a:cubicBezTo>
                    <a:cubicBezTo>
                      <a:pt x="512" y="1224"/>
                      <a:pt x="497" y="1223"/>
                      <a:pt x="486" y="1227"/>
                    </a:cubicBezTo>
                    <a:cubicBezTo>
                      <a:pt x="498" y="1250"/>
                      <a:pt x="518" y="1273"/>
                      <a:pt x="535" y="1295"/>
                    </a:cubicBezTo>
                    <a:moveTo>
                      <a:pt x="1022" y="1223"/>
                    </a:moveTo>
                    <a:cubicBezTo>
                      <a:pt x="1007" y="1223"/>
                      <a:pt x="991" y="1230"/>
                      <a:pt x="973" y="1229"/>
                    </a:cubicBezTo>
                    <a:cubicBezTo>
                      <a:pt x="960" y="1255"/>
                      <a:pt x="945" y="1280"/>
                      <a:pt x="928" y="1303"/>
                    </a:cubicBezTo>
                    <a:cubicBezTo>
                      <a:pt x="927" y="1316"/>
                      <a:pt x="925" y="1329"/>
                      <a:pt x="922" y="1342"/>
                    </a:cubicBezTo>
                    <a:cubicBezTo>
                      <a:pt x="920" y="1353"/>
                      <a:pt x="915" y="1367"/>
                      <a:pt x="917" y="1376"/>
                    </a:cubicBezTo>
                    <a:cubicBezTo>
                      <a:pt x="925" y="1381"/>
                      <a:pt x="933" y="1372"/>
                      <a:pt x="939" y="1367"/>
                    </a:cubicBezTo>
                    <a:cubicBezTo>
                      <a:pt x="986" y="1330"/>
                      <a:pt x="1029" y="1283"/>
                      <a:pt x="1064" y="1236"/>
                    </a:cubicBezTo>
                    <a:cubicBezTo>
                      <a:pt x="1050" y="1234"/>
                      <a:pt x="1038" y="1224"/>
                      <a:pt x="1022" y="1223"/>
                    </a:cubicBezTo>
                    <a:close/>
                    <a:moveTo>
                      <a:pt x="539" y="1299"/>
                    </a:moveTo>
                    <a:cubicBezTo>
                      <a:pt x="563" y="1325"/>
                      <a:pt x="587" y="1352"/>
                      <a:pt x="615" y="1374"/>
                    </a:cubicBezTo>
                    <a:cubicBezTo>
                      <a:pt x="628" y="1368"/>
                      <a:pt x="645" y="1367"/>
                      <a:pt x="658" y="1362"/>
                    </a:cubicBezTo>
                    <a:cubicBezTo>
                      <a:pt x="630" y="1322"/>
                      <a:pt x="605" y="1279"/>
                      <a:pt x="583" y="1232"/>
                    </a:cubicBezTo>
                    <a:cubicBezTo>
                      <a:pt x="564" y="1230"/>
                      <a:pt x="545" y="1229"/>
                      <a:pt x="527" y="1226"/>
                    </a:cubicBezTo>
                    <a:cubicBezTo>
                      <a:pt x="530" y="1251"/>
                      <a:pt x="535" y="1275"/>
                      <a:pt x="539" y="1299"/>
                    </a:cubicBezTo>
                    <a:close/>
                    <a:moveTo>
                      <a:pt x="537" y="1300"/>
                    </a:moveTo>
                    <a:cubicBezTo>
                      <a:pt x="517" y="1278"/>
                      <a:pt x="500" y="1252"/>
                      <a:pt x="481" y="1229"/>
                    </a:cubicBezTo>
                    <a:cubicBezTo>
                      <a:pt x="456" y="1237"/>
                      <a:pt x="433" y="1246"/>
                      <a:pt x="412" y="1256"/>
                    </a:cubicBezTo>
                    <a:cubicBezTo>
                      <a:pt x="452" y="1302"/>
                      <a:pt x="504" y="1344"/>
                      <a:pt x="558" y="1379"/>
                    </a:cubicBezTo>
                    <a:cubicBezTo>
                      <a:pt x="550" y="1354"/>
                      <a:pt x="543" y="1328"/>
                      <a:pt x="537" y="1300"/>
                    </a:cubicBezTo>
                    <a:close/>
                    <a:moveTo>
                      <a:pt x="938" y="1232"/>
                    </a:moveTo>
                    <a:cubicBezTo>
                      <a:pt x="936" y="1253"/>
                      <a:pt x="931" y="1276"/>
                      <a:pt x="931" y="1295"/>
                    </a:cubicBezTo>
                    <a:cubicBezTo>
                      <a:pt x="945" y="1275"/>
                      <a:pt x="957" y="1253"/>
                      <a:pt x="970" y="1231"/>
                    </a:cubicBezTo>
                    <a:cubicBezTo>
                      <a:pt x="970" y="1230"/>
                      <a:pt x="970" y="1229"/>
                      <a:pt x="968" y="1229"/>
                    </a:cubicBezTo>
                    <a:cubicBezTo>
                      <a:pt x="959" y="1231"/>
                      <a:pt x="948" y="1232"/>
                      <a:pt x="938" y="1232"/>
                    </a:cubicBezTo>
                    <a:close/>
                    <a:moveTo>
                      <a:pt x="663" y="1362"/>
                    </a:moveTo>
                    <a:cubicBezTo>
                      <a:pt x="679" y="1359"/>
                      <a:pt x="696" y="1357"/>
                      <a:pt x="712" y="1355"/>
                    </a:cubicBezTo>
                    <a:cubicBezTo>
                      <a:pt x="700" y="1317"/>
                      <a:pt x="690" y="1278"/>
                      <a:pt x="680" y="1238"/>
                    </a:cubicBezTo>
                    <a:cubicBezTo>
                      <a:pt x="649" y="1236"/>
                      <a:pt x="616" y="1235"/>
                      <a:pt x="586" y="1232"/>
                    </a:cubicBezTo>
                    <a:cubicBezTo>
                      <a:pt x="608" y="1279"/>
                      <a:pt x="632" y="1324"/>
                      <a:pt x="663" y="1362"/>
                    </a:cubicBezTo>
                    <a:close/>
                    <a:moveTo>
                      <a:pt x="872" y="1237"/>
                    </a:moveTo>
                    <a:cubicBezTo>
                      <a:pt x="861" y="1280"/>
                      <a:pt x="845" y="1318"/>
                      <a:pt x="829" y="1357"/>
                    </a:cubicBezTo>
                    <a:cubicBezTo>
                      <a:pt x="845" y="1360"/>
                      <a:pt x="862" y="1361"/>
                      <a:pt x="876" y="1366"/>
                    </a:cubicBezTo>
                    <a:cubicBezTo>
                      <a:pt x="895" y="1349"/>
                      <a:pt x="908" y="1326"/>
                      <a:pt x="924" y="1306"/>
                    </a:cubicBezTo>
                    <a:cubicBezTo>
                      <a:pt x="927" y="1282"/>
                      <a:pt x="932" y="1259"/>
                      <a:pt x="933" y="1233"/>
                    </a:cubicBezTo>
                    <a:cubicBezTo>
                      <a:pt x="912" y="1234"/>
                      <a:pt x="892" y="1235"/>
                      <a:pt x="872" y="1237"/>
                    </a:cubicBezTo>
                    <a:close/>
                    <a:moveTo>
                      <a:pt x="1182" y="1304"/>
                    </a:moveTo>
                    <a:cubicBezTo>
                      <a:pt x="1190" y="1314"/>
                      <a:pt x="1196" y="1326"/>
                      <a:pt x="1200" y="1341"/>
                    </a:cubicBezTo>
                    <a:cubicBezTo>
                      <a:pt x="1222" y="1309"/>
                      <a:pt x="1244" y="1273"/>
                      <a:pt x="1257" y="1235"/>
                    </a:cubicBezTo>
                    <a:cubicBezTo>
                      <a:pt x="1234" y="1260"/>
                      <a:pt x="1208" y="1282"/>
                      <a:pt x="1182" y="1304"/>
                    </a:cubicBezTo>
                    <a:close/>
                    <a:moveTo>
                      <a:pt x="778" y="1239"/>
                    </a:moveTo>
                    <a:cubicBezTo>
                      <a:pt x="776" y="1277"/>
                      <a:pt x="774" y="1315"/>
                      <a:pt x="773" y="1353"/>
                    </a:cubicBezTo>
                    <a:cubicBezTo>
                      <a:pt x="791" y="1354"/>
                      <a:pt x="810" y="1355"/>
                      <a:pt x="826" y="1357"/>
                    </a:cubicBezTo>
                    <a:cubicBezTo>
                      <a:pt x="843" y="1319"/>
                      <a:pt x="857" y="1279"/>
                      <a:pt x="870" y="1237"/>
                    </a:cubicBezTo>
                    <a:cubicBezTo>
                      <a:pt x="840" y="1238"/>
                      <a:pt x="810" y="1239"/>
                      <a:pt x="778" y="1239"/>
                    </a:cubicBezTo>
                    <a:close/>
                    <a:moveTo>
                      <a:pt x="170" y="1239"/>
                    </a:moveTo>
                    <a:cubicBezTo>
                      <a:pt x="177" y="1254"/>
                      <a:pt x="187" y="1266"/>
                      <a:pt x="198" y="1276"/>
                    </a:cubicBezTo>
                    <a:moveTo>
                      <a:pt x="198" y="1276"/>
                    </a:moveTo>
                    <a:cubicBezTo>
                      <a:pt x="199" y="1278"/>
                      <a:pt x="200" y="1276"/>
                      <a:pt x="198" y="1276"/>
                    </a:cubicBezTo>
                    <a:moveTo>
                      <a:pt x="198" y="1276"/>
                    </a:moveTo>
                    <a:cubicBezTo>
                      <a:pt x="189" y="1264"/>
                      <a:pt x="180" y="1250"/>
                      <a:pt x="170" y="1239"/>
                    </a:cubicBezTo>
                    <a:moveTo>
                      <a:pt x="170" y="1239"/>
                    </a:moveTo>
                    <a:cubicBezTo>
                      <a:pt x="169" y="1237"/>
                      <a:pt x="169" y="1239"/>
                      <a:pt x="170" y="1239"/>
                    </a:cubicBezTo>
                    <a:moveTo>
                      <a:pt x="716" y="1355"/>
                    </a:moveTo>
                    <a:cubicBezTo>
                      <a:pt x="722" y="1356"/>
                      <a:pt x="725" y="1353"/>
                      <a:pt x="731" y="1354"/>
                    </a:cubicBezTo>
                    <a:cubicBezTo>
                      <a:pt x="729" y="1317"/>
                      <a:pt x="729" y="1277"/>
                      <a:pt x="727" y="1239"/>
                    </a:cubicBezTo>
                    <a:cubicBezTo>
                      <a:pt x="713" y="1240"/>
                      <a:pt x="696" y="1237"/>
                      <a:pt x="684" y="1239"/>
                    </a:cubicBezTo>
                    <a:cubicBezTo>
                      <a:pt x="694" y="1278"/>
                      <a:pt x="704" y="1318"/>
                      <a:pt x="716" y="1355"/>
                    </a:cubicBezTo>
                    <a:close/>
                    <a:moveTo>
                      <a:pt x="1067" y="1238"/>
                    </a:moveTo>
                    <a:cubicBezTo>
                      <a:pt x="1026" y="1291"/>
                      <a:pt x="978" y="1338"/>
                      <a:pt x="927" y="1381"/>
                    </a:cubicBezTo>
                    <a:cubicBezTo>
                      <a:pt x="939" y="1385"/>
                      <a:pt x="948" y="1391"/>
                      <a:pt x="959" y="1396"/>
                    </a:cubicBezTo>
                    <a:cubicBezTo>
                      <a:pt x="1011" y="1367"/>
                      <a:pt x="1058" y="1334"/>
                      <a:pt x="1101" y="1296"/>
                    </a:cubicBezTo>
                    <a:cubicBezTo>
                      <a:pt x="1104" y="1282"/>
                      <a:pt x="1110" y="1271"/>
                      <a:pt x="1112" y="1256"/>
                    </a:cubicBezTo>
                    <a:cubicBezTo>
                      <a:pt x="1098" y="1249"/>
                      <a:pt x="1084" y="1242"/>
                      <a:pt x="1067" y="1238"/>
                    </a:cubicBezTo>
                    <a:close/>
                    <a:moveTo>
                      <a:pt x="731" y="1239"/>
                    </a:moveTo>
                    <a:cubicBezTo>
                      <a:pt x="730" y="1276"/>
                      <a:pt x="733" y="1316"/>
                      <a:pt x="733" y="1354"/>
                    </a:cubicBezTo>
                    <a:cubicBezTo>
                      <a:pt x="745" y="1354"/>
                      <a:pt x="757" y="1353"/>
                      <a:pt x="770" y="1353"/>
                    </a:cubicBezTo>
                    <a:cubicBezTo>
                      <a:pt x="772" y="1316"/>
                      <a:pt x="774" y="1278"/>
                      <a:pt x="775" y="1240"/>
                    </a:cubicBezTo>
                    <a:cubicBezTo>
                      <a:pt x="761" y="1239"/>
                      <a:pt x="747" y="1238"/>
                      <a:pt x="731" y="1239"/>
                    </a:cubicBezTo>
                    <a:close/>
                    <a:moveTo>
                      <a:pt x="559" y="1383"/>
                    </a:moveTo>
                    <a:cubicBezTo>
                      <a:pt x="502" y="1348"/>
                      <a:pt x="454" y="1304"/>
                      <a:pt x="408" y="1258"/>
                    </a:cubicBezTo>
                    <a:cubicBezTo>
                      <a:pt x="395" y="1265"/>
                      <a:pt x="383" y="1272"/>
                      <a:pt x="371" y="1280"/>
                    </a:cubicBezTo>
                    <a:cubicBezTo>
                      <a:pt x="377" y="1308"/>
                      <a:pt x="393" y="1320"/>
                      <a:pt x="414" y="1334"/>
                    </a:cubicBezTo>
                    <a:cubicBezTo>
                      <a:pt x="445" y="1356"/>
                      <a:pt x="480" y="1376"/>
                      <a:pt x="511" y="1392"/>
                    </a:cubicBezTo>
                    <a:cubicBezTo>
                      <a:pt x="529" y="1393"/>
                      <a:pt x="548" y="1399"/>
                      <a:pt x="564" y="1398"/>
                    </a:cubicBezTo>
                    <a:cubicBezTo>
                      <a:pt x="563" y="1393"/>
                      <a:pt x="560" y="1389"/>
                      <a:pt x="559" y="1383"/>
                    </a:cubicBezTo>
                    <a:close/>
                    <a:moveTo>
                      <a:pt x="1106" y="1293"/>
                    </a:moveTo>
                    <a:cubicBezTo>
                      <a:pt x="1114" y="1284"/>
                      <a:pt x="1124" y="1276"/>
                      <a:pt x="1133" y="1267"/>
                    </a:cubicBezTo>
                    <a:cubicBezTo>
                      <a:pt x="1126" y="1264"/>
                      <a:pt x="1122" y="1260"/>
                      <a:pt x="1115" y="1258"/>
                    </a:cubicBezTo>
                    <a:cubicBezTo>
                      <a:pt x="1112" y="1269"/>
                      <a:pt x="1106" y="1282"/>
                      <a:pt x="1106" y="1293"/>
                    </a:cubicBezTo>
                    <a:close/>
                    <a:moveTo>
                      <a:pt x="193" y="1264"/>
                    </a:moveTo>
                    <a:cubicBezTo>
                      <a:pt x="193" y="1265"/>
                      <a:pt x="193" y="1265"/>
                      <a:pt x="194" y="1265"/>
                    </a:cubicBezTo>
                    <a:moveTo>
                      <a:pt x="194" y="1265"/>
                    </a:moveTo>
                    <a:cubicBezTo>
                      <a:pt x="194" y="1266"/>
                      <a:pt x="194" y="1266"/>
                      <a:pt x="195" y="1266"/>
                    </a:cubicBezTo>
                    <a:moveTo>
                      <a:pt x="195" y="1266"/>
                    </a:moveTo>
                    <a:cubicBezTo>
                      <a:pt x="205" y="1280"/>
                      <a:pt x="216" y="1293"/>
                      <a:pt x="232" y="1301"/>
                    </a:cubicBezTo>
                    <a:moveTo>
                      <a:pt x="232" y="1301"/>
                    </a:moveTo>
                    <a:cubicBezTo>
                      <a:pt x="232" y="1302"/>
                      <a:pt x="232" y="1302"/>
                      <a:pt x="233" y="1302"/>
                    </a:cubicBezTo>
                    <a:moveTo>
                      <a:pt x="233" y="1302"/>
                    </a:moveTo>
                    <a:cubicBezTo>
                      <a:pt x="234" y="1304"/>
                      <a:pt x="234" y="1302"/>
                      <a:pt x="233" y="1302"/>
                    </a:cubicBezTo>
                    <a:moveTo>
                      <a:pt x="233" y="1302"/>
                    </a:moveTo>
                    <a:cubicBezTo>
                      <a:pt x="233" y="1301"/>
                      <a:pt x="233" y="1301"/>
                      <a:pt x="232" y="1301"/>
                    </a:cubicBezTo>
                    <a:moveTo>
                      <a:pt x="195" y="1266"/>
                    </a:moveTo>
                    <a:cubicBezTo>
                      <a:pt x="207" y="1278"/>
                      <a:pt x="219" y="1290"/>
                      <a:pt x="232" y="1301"/>
                    </a:cubicBezTo>
                    <a:moveTo>
                      <a:pt x="195" y="1266"/>
                    </a:moveTo>
                    <a:cubicBezTo>
                      <a:pt x="195" y="1265"/>
                      <a:pt x="194" y="1265"/>
                      <a:pt x="194" y="1265"/>
                    </a:cubicBezTo>
                    <a:moveTo>
                      <a:pt x="194" y="1265"/>
                    </a:moveTo>
                    <a:cubicBezTo>
                      <a:pt x="194" y="1264"/>
                      <a:pt x="193" y="1264"/>
                      <a:pt x="193" y="1264"/>
                    </a:cubicBezTo>
                    <a:moveTo>
                      <a:pt x="193" y="1264"/>
                    </a:moveTo>
                    <a:cubicBezTo>
                      <a:pt x="192" y="1262"/>
                      <a:pt x="192" y="1264"/>
                      <a:pt x="193" y="1264"/>
                    </a:cubicBezTo>
                    <a:moveTo>
                      <a:pt x="1071" y="1373"/>
                    </a:moveTo>
                    <a:cubicBezTo>
                      <a:pt x="1070" y="1374"/>
                      <a:pt x="1071" y="1374"/>
                      <a:pt x="1071" y="1373"/>
                    </a:cubicBezTo>
                    <a:moveTo>
                      <a:pt x="1071" y="1373"/>
                    </a:moveTo>
                    <a:cubicBezTo>
                      <a:pt x="1096" y="1361"/>
                      <a:pt x="1127" y="1341"/>
                      <a:pt x="1154" y="1321"/>
                    </a:cubicBezTo>
                    <a:cubicBezTo>
                      <a:pt x="1159" y="1318"/>
                      <a:pt x="1178" y="1306"/>
                      <a:pt x="1178" y="1302"/>
                    </a:cubicBezTo>
                    <a:cubicBezTo>
                      <a:pt x="1178" y="1299"/>
                      <a:pt x="1160" y="1286"/>
                      <a:pt x="1158" y="1284"/>
                    </a:cubicBezTo>
                    <a:cubicBezTo>
                      <a:pt x="1149" y="1277"/>
                      <a:pt x="1143" y="1273"/>
                      <a:pt x="1134" y="1269"/>
                    </a:cubicBezTo>
                    <a:cubicBezTo>
                      <a:pt x="1124" y="1279"/>
                      <a:pt x="1114" y="1289"/>
                      <a:pt x="1102" y="1298"/>
                    </a:cubicBezTo>
                    <a:cubicBezTo>
                      <a:pt x="1094" y="1326"/>
                      <a:pt x="1082" y="1349"/>
                      <a:pt x="1071" y="1373"/>
                    </a:cubicBezTo>
                    <a:moveTo>
                      <a:pt x="253" y="1272"/>
                    </a:moveTo>
                    <a:cubicBezTo>
                      <a:pt x="253" y="1273"/>
                      <a:pt x="254" y="1273"/>
                      <a:pt x="254" y="1273"/>
                    </a:cubicBezTo>
                    <a:moveTo>
                      <a:pt x="254" y="1273"/>
                    </a:moveTo>
                    <a:cubicBezTo>
                      <a:pt x="266" y="1296"/>
                      <a:pt x="280" y="1316"/>
                      <a:pt x="295" y="1335"/>
                    </a:cubicBezTo>
                    <a:cubicBezTo>
                      <a:pt x="305" y="1338"/>
                      <a:pt x="314" y="1343"/>
                      <a:pt x="324" y="1345"/>
                    </a:cubicBezTo>
                    <a:cubicBezTo>
                      <a:pt x="324" y="1340"/>
                      <a:pt x="326" y="1335"/>
                      <a:pt x="327" y="1331"/>
                    </a:cubicBezTo>
                    <a:cubicBezTo>
                      <a:pt x="302" y="1313"/>
                      <a:pt x="277" y="1294"/>
                      <a:pt x="254" y="1273"/>
                    </a:cubicBezTo>
                    <a:moveTo>
                      <a:pt x="254" y="1273"/>
                    </a:moveTo>
                    <a:cubicBezTo>
                      <a:pt x="254" y="1273"/>
                      <a:pt x="254" y="1272"/>
                      <a:pt x="253" y="1272"/>
                    </a:cubicBezTo>
                    <a:moveTo>
                      <a:pt x="253" y="1272"/>
                    </a:moveTo>
                    <a:cubicBezTo>
                      <a:pt x="253" y="1271"/>
                      <a:pt x="252" y="1273"/>
                      <a:pt x="253" y="1272"/>
                    </a:cubicBezTo>
                    <a:moveTo>
                      <a:pt x="379" y="1308"/>
                    </a:moveTo>
                    <a:cubicBezTo>
                      <a:pt x="380" y="1309"/>
                      <a:pt x="380" y="1308"/>
                      <a:pt x="379" y="1308"/>
                    </a:cubicBezTo>
                    <a:moveTo>
                      <a:pt x="379" y="1308"/>
                    </a:moveTo>
                    <a:cubicBezTo>
                      <a:pt x="376" y="1299"/>
                      <a:pt x="372" y="1290"/>
                      <a:pt x="368" y="1282"/>
                    </a:cubicBezTo>
                    <a:cubicBezTo>
                      <a:pt x="365" y="1285"/>
                      <a:pt x="361" y="1288"/>
                      <a:pt x="358" y="1292"/>
                    </a:cubicBezTo>
                    <a:cubicBezTo>
                      <a:pt x="365" y="1297"/>
                      <a:pt x="371" y="1303"/>
                      <a:pt x="379" y="1308"/>
                    </a:cubicBezTo>
                    <a:moveTo>
                      <a:pt x="383" y="1315"/>
                    </a:moveTo>
                    <a:cubicBezTo>
                      <a:pt x="373" y="1308"/>
                      <a:pt x="366" y="1299"/>
                      <a:pt x="355" y="1294"/>
                    </a:cubicBezTo>
                    <a:cubicBezTo>
                      <a:pt x="345" y="1304"/>
                      <a:pt x="335" y="1315"/>
                      <a:pt x="330" y="1330"/>
                    </a:cubicBezTo>
                    <a:cubicBezTo>
                      <a:pt x="356" y="1345"/>
                      <a:pt x="378" y="1368"/>
                      <a:pt x="413" y="1371"/>
                    </a:cubicBezTo>
                    <a:cubicBezTo>
                      <a:pt x="401" y="1354"/>
                      <a:pt x="391" y="1335"/>
                      <a:pt x="383" y="1315"/>
                    </a:cubicBezTo>
                    <a:close/>
                    <a:moveTo>
                      <a:pt x="929" y="1297"/>
                    </a:moveTo>
                    <a:cubicBezTo>
                      <a:pt x="929" y="1297"/>
                      <a:pt x="930" y="1298"/>
                      <a:pt x="929" y="1297"/>
                    </a:cubicBezTo>
                    <a:close/>
                    <a:moveTo>
                      <a:pt x="224" y="1300"/>
                    </a:moveTo>
                    <a:cubicBezTo>
                      <a:pt x="224" y="1301"/>
                      <a:pt x="225" y="1301"/>
                      <a:pt x="225" y="1301"/>
                    </a:cubicBezTo>
                    <a:moveTo>
                      <a:pt x="225" y="1301"/>
                    </a:moveTo>
                    <a:cubicBezTo>
                      <a:pt x="259" y="1340"/>
                      <a:pt x="299" y="1371"/>
                      <a:pt x="343" y="1399"/>
                    </a:cubicBezTo>
                    <a:cubicBezTo>
                      <a:pt x="340" y="1392"/>
                      <a:pt x="333" y="1387"/>
                      <a:pt x="331" y="1378"/>
                    </a:cubicBezTo>
                    <a:cubicBezTo>
                      <a:pt x="326" y="1374"/>
                      <a:pt x="321" y="1369"/>
                      <a:pt x="317" y="1364"/>
                    </a:cubicBezTo>
                    <a:cubicBezTo>
                      <a:pt x="283" y="1346"/>
                      <a:pt x="259" y="1319"/>
                      <a:pt x="225" y="1301"/>
                    </a:cubicBezTo>
                    <a:moveTo>
                      <a:pt x="225" y="1301"/>
                    </a:moveTo>
                    <a:cubicBezTo>
                      <a:pt x="226" y="1300"/>
                      <a:pt x="225" y="1300"/>
                      <a:pt x="224" y="1300"/>
                    </a:cubicBezTo>
                    <a:moveTo>
                      <a:pt x="224" y="1300"/>
                    </a:moveTo>
                    <a:cubicBezTo>
                      <a:pt x="224" y="1299"/>
                      <a:pt x="223" y="1300"/>
                      <a:pt x="224" y="1300"/>
                    </a:cubicBezTo>
                    <a:moveTo>
                      <a:pt x="961" y="1398"/>
                    </a:moveTo>
                    <a:cubicBezTo>
                      <a:pt x="996" y="1395"/>
                      <a:pt x="1039" y="1392"/>
                      <a:pt x="1066" y="1377"/>
                    </a:cubicBezTo>
                    <a:cubicBezTo>
                      <a:pt x="1077" y="1353"/>
                      <a:pt x="1091" y="1328"/>
                      <a:pt x="1097" y="1302"/>
                    </a:cubicBezTo>
                    <a:cubicBezTo>
                      <a:pt x="1057" y="1339"/>
                      <a:pt x="1010" y="1370"/>
                      <a:pt x="961" y="1398"/>
                    </a:cubicBezTo>
                    <a:close/>
                    <a:moveTo>
                      <a:pt x="1294" y="1304"/>
                    </a:moveTo>
                    <a:cubicBezTo>
                      <a:pt x="1293" y="1304"/>
                      <a:pt x="1294" y="1305"/>
                      <a:pt x="1294" y="1304"/>
                    </a:cubicBezTo>
                    <a:close/>
                    <a:moveTo>
                      <a:pt x="1292" y="1305"/>
                    </a:moveTo>
                    <a:cubicBezTo>
                      <a:pt x="1292" y="1305"/>
                      <a:pt x="1293" y="1306"/>
                      <a:pt x="1292" y="1305"/>
                    </a:cubicBezTo>
                    <a:close/>
                    <a:moveTo>
                      <a:pt x="561" y="1382"/>
                    </a:moveTo>
                    <a:cubicBezTo>
                      <a:pt x="567" y="1384"/>
                      <a:pt x="571" y="1388"/>
                      <a:pt x="577" y="1391"/>
                    </a:cubicBezTo>
                    <a:cubicBezTo>
                      <a:pt x="587" y="1385"/>
                      <a:pt x="597" y="1379"/>
                      <a:pt x="610" y="1376"/>
                    </a:cubicBezTo>
                    <a:cubicBezTo>
                      <a:pt x="587" y="1352"/>
                      <a:pt x="562" y="1331"/>
                      <a:pt x="541" y="1305"/>
                    </a:cubicBezTo>
                    <a:cubicBezTo>
                      <a:pt x="546" y="1332"/>
                      <a:pt x="554" y="1357"/>
                      <a:pt x="561" y="1382"/>
                    </a:cubicBezTo>
                    <a:close/>
                    <a:moveTo>
                      <a:pt x="1179" y="1305"/>
                    </a:moveTo>
                    <a:cubicBezTo>
                      <a:pt x="1162" y="1320"/>
                      <a:pt x="1142" y="1333"/>
                      <a:pt x="1122" y="1345"/>
                    </a:cubicBezTo>
                    <a:cubicBezTo>
                      <a:pt x="1103" y="1357"/>
                      <a:pt x="1083" y="1369"/>
                      <a:pt x="1066" y="1382"/>
                    </a:cubicBezTo>
                    <a:cubicBezTo>
                      <a:pt x="1112" y="1371"/>
                      <a:pt x="1168" y="1364"/>
                      <a:pt x="1197" y="1341"/>
                    </a:cubicBezTo>
                    <a:cubicBezTo>
                      <a:pt x="1194" y="1326"/>
                      <a:pt x="1188" y="1314"/>
                      <a:pt x="1179" y="1305"/>
                    </a:cubicBezTo>
                    <a:close/>
                    <a:moveTo>
                      <a:pt x="1283" y="1311"/>
                    </a:moveTo>
                    <a:cubicBezTo>
                      <a:pt x="1257" y="1325"/>
                      <a:pt x="1230" y="1338"/>
                      <a:pt x="1200" y="1348"/>
                    </a:cubicBezTo>
                    <a:cubicBezTo>
                      <a:pt x="1201" y="1361"/>
                      <a:pt x="1197" y="1369"/>
                      <a:pt x="1194" y="1378"/>
                    </a:cubicBezTo>
                    <a:moveTo>
                      <a:pt x="1194" y="1378"/>
                    </a:moveTo>
                    <a:cubicBezTo>
                      <a:pt x="1193" y="1379"/>
                      <a:pt x="1194" y="1379"/>
                      <a:pt x="1194" y="1378"/>
                    </a:cubicBezTo>
                    <a:moveTo>
                      <a:pt x="1194" y="1378"/>
                    </a:moveTo>
                    <a:cubicBezTo>
                      <a:pt x="1227" y="1358"/>
                      <a:pt x="1258" y="1338"/>
                      <a:pt x="1283" y="1311"/>
                    </a:cubicBezTo>
                    <a:moveTo>
                      <a:pt x="1283" y="1311"/>
                    </a:moveTo>
                    <a:cubicBezTo>
                      <a:pt x="1285" y="1310"/>
                      <a:pt x="1283" y="1310"/>
                      <a:pt x="1283" y="1311"/>
                    </a:cubicBezTo>
                    <a:moveTo>
                      <a:pt x="881" y="1367"/>
                    </a:moveTo>
                    <a:cubicBezTo>
                      <a:pt x="892" y="1368"/>
                      <a:pt x="901" y="1372"/>
                      <a:pt x="911" y="1374"/>
                    </a:cubicBezTo>
                    <a:cubicBezTo>
                      <a:pt x="916" y="1355"/>
                      <a:pt x="921" y="1331"/>
                      <a:pt x="922" y="1312"/>
                    </a:cubicBezTo>
                    <a:cubicBezTo>
                      <a:pt x="910" y="1331"/>
                      <a:pt x="895" y="1349"/>
                      <a:pt x="881" y="1367"/>
                    </a:cubicBezTo>
                    <a:close/>
                    <a:moveTo>
                      <a:pt x="388" y="1319"/>
                    </a:moveTo>
                    <a:cubicBezTo>
                      <a:pt x="395" y="1338"/>
                      <a:pt x="406" y="1356"/>
                      <a:pt x="416" y="1373"/>
                    </a:cubicBezTo>
                    <a:cubicBezTo>
                      <a:pt x="444" y="1379"/>
                      <a:pt x="470" y="1386"/>
                      <a:pt x="500" y="1390"/>
                    </a:cubicBezTo>
                    <a:moveTo>
                      <a:pt x="500" y="1390"/>
                    </a:moveTo>
                    <a:cubicBezTo>
                      <a:pt x="500" y="1392"/>
                      <a:pt x="504" y="1389"/>
                      <a:pt x="500" y="1390"/>
                    </a:cubicBezTo>
                    <a:moveTo>
                      <a:pt x="388" y="1319"/>
                    </a:moveTo>
                    <a:cubicBezTo>
                      <a:pt x="423" y="1344"/>
                      <a:pt x="460" y="1368"/>
                      <a:pt x="500" y="1390"/>
                    </a:cubicBezTo>
                    <a:moveTo>
                      <a:pt x="388" y="1319"/>
                    </a:moveTo>
                    <a:cubicBezTo>
                      <a:pt x="387" y="1317"/>
                      <a:pt x="386" y="1319"/>
                      <a:pt x="388" y="1319"/>
                    </a:cubicBezTo>
                    <a:moveTo>
                      <a:pt x="261" y="1322"/>
                    </a:moveTo>
                    <a:cubicBezTo>
                      <a:pt x="260" y="1322"/>
                      <a:pt x="262" y="1323"/>
                      <a:pt x="261" y="1322"/>
                    </a:cubicBezTo>
                    <a:close/>
                    <a:moveTo>
                      <a:pt x="264" y="1323"/>
                    </a:moveTo>
                    <a:cubicBezTo>
                      <a:pt x="264" y="1324"/>
                      <a:pt x="264" y="1324"/>
                      <a:pt x="264" y="1324"/>
                    </a:cubicBezTo>
                    <a:cubicBezTo>
                      <a:pt x="279" y="1334"/>
                      <a:pt x="292" y="1346"/>
                      <a:pt x="308" y="1355"/>
                    </a:cubicBezTo>
                    <a:moveTo>
                      <a:pt x="308" y="1355"/>
                    </a:moveTo>
                    <a:cubicBezTo>
                      <a:pt x="308" y="1356"/>
                      <a:pt x="308" y="1356"/>
                      <a:pt x="309" y="1356"/>
                    </a:cubicBezTo>
                    <a:moveTo>
                      <a:pt x="309" y="1356"/>
                    </a:moveTo>
                    <a:cubicBezTo>
                      <a:pt x="309" y="1357"/>
                      <a:pt x="310" y="1356"/>
                      <a:pt x="309" y="1356"/>
                    </a:cubicBezTo>
                    <a:moveTo>
                      <a:pt x="309" y="1356"/>
                    </a:moveTo>
                    <a:cubicBezTo>
                      <a:pt x="309" y="1355"/>
                      <a:pt x="309" y="1355"/>
                      <a:pt x="308" y="1355"/>
                    </a:cubicBezTo>
                    <a:moveTo>
                      <a:pt x="308" y="1355"/>
                    </a:moveTo>
                    <a:cubicBezTo>
                      <a:pt x="299" y="1338"/>
                      <a:pt x="282" y="1330"/>
                      <a:pt x="264" y="1323"/>
                    </a:cubicBezTo>
                    <a:moveTo>
                      <a:pt x="264" y="1323"/>
                    </a:moveTo>
                    <a:cubicBezTo>
                      <a:pt x="263" y="1322"/>
                      <a:pt x="263" y="1323"/>
                      <a:pt x="264" y="1323"/>
                    </a:cubicBezTo>
                    <a:moveTo>
                      <a:pt x="327" y="1347"/>
                    </a:moveTo>
                    <a:cubicBezTo>
                      <a:pt x="343" y="1351"/>
                      <a:pt x="359" y="1360"/>
                      <a:pt x="374" y="1361"/>
                    </a:cubicBezTo>
                    <a:cubicBezTo>
                      <a:pt x="358" y="1353"/>
                      <a:pt x="345" y="1342"/>
                      <a:pt x="329" y="1333"/>
                    </a:cubicBezTo>
                    <a:cubicBezTo>
                      <a:pt x="328" y="1337"/>
                      <a:pt x="327" y="1341"/>
                      <a:pt x="327" y="1347"/>
                    </a:cubicBezTo>
                    <a:close/>
                    <a:moveTo>
                      <a:pt x="299" y="1340"/>
                    </a:moveTo>
                    <a:cubicBezTo>
                      <a:pt x="308" y="1349"/>
                      <a:pt x="314" y="1361"/>
                      <a:pt x="326" y="1367"/>
                    </a:cubicBezTo>
                    <a:cubicBezTo>
                      <a:pt x="325" y="1362"/>
                      <a:pt x="324" y="1356"/>
                      <a:pt x="324" y="1348"/>
                    </a:cubicBezTo>
                    <a:cubicBezTo>
                      <a:pt x="315" y="1346"/>
                      <a:pt x="309" y="1342"/>
                      <a:pt x="299" y="1340"/>
                    </a:cubicBezTo>
                    <a:moveTo>
                      <a:pt x="299" y="1340"/>
                    </a:moveTo>
                    <a:cubicBezTo>
                      <a:pt x="299" y="1338"/>
                      <a:pt x="298" y="1340"/>
                      <a:pt x="299" y="1340"/>
                    </a:cubicBezTo>
                    <a:moveTo>
                      <a:pt x="1254" y="1341"/>
                    </a:moveTo>
                    <a:cubicBezTo>
                      <a:pt x="1254" y="1340"/>
                      <a:pt x="1254" y="1341"/>
                      <a:pt x="1254" y="1342"/>
                    </a:cubicBezTo>
                    <a:moveTo>
                      <a:pt x="1254" y="1342"/>
                    </a:moveTo>
                    <a:cubicBezTo>
                      <a:pt x="1253" y="1341"/>
                      <a:pt x="1253" y="1342"/>
                      <a:pt x="1253" y="1343"/>
                    </a:cubicBezTo>
                    <a:moveTo>
                      <a:pt x="1253" y="1343"/>
                    </a:moveTo>
                    <a:cubicBezTo>
                      <a:pt x="1252" y="1342"/>
                      <a:pt x="1252" y="1343"/>
                      <a:pt x="1252" y="1343"/>
                    </a:cubicBezTo>
                    <a:moveTo>
                      <a:pt x="1252" y="1343"/>
                    </a:moveTo>
                    <a:cubicBezTo>
                      <a:pt x="1231" y="1356"/>
                      <a:pt x="1213" y="1372"/>
                      <a:pt x="1191" y="1383"/>
                    </a:cubicBezTo>
                    <a:cubicBezTo>
                      <a:pt x="1188" y="1390"/>
                      <a:pt x="1182" y="1395"/>
                      <a:pt x="1178" y="1402"/>
                    </a:cubicBezTo>
                    <a:moveTo>
                      <a:pt x="1178" y="1402"/>
                    </a:moveTo>
                    <a:cubicBezTo>
                      <a:pt x="1177" y="1402"/>
                      <a:pt x="1177" y="1402"/>
                      <a:pt x="1177" y="1403"/>
                    </a:cubicBezTo>
                    <a:moveTo>
                      <a:pt x="1177" y="1403"/>
                    </a:moveTo>
                    <a:cubicBezTo>
                      <a:pt x="1175" y="1404"/>
                      <a:pt x="1177" y="1404"/>
                      <a:pt x="1177" y="1403"/>
                    </a:cubicBezTo>
                    <a:moveTo>
                      <a:pt x="1177" y="1403"/>
                    </a:moveTo>
                    <a:cubicBezTo>
                      <a:pt x="1178" y="1403"/>
                      <a:pt x="1178" y="1403"/>
                      <a:pt x="1178" y="1402"/>
                    </a:cubicBezTo>
                    <a:moveTo>
                      <a:pt x="1178" y="1402"/>
                    </a:moveTo>
                    <a:cubicBezTo>
                      <a:pt x="1205" y="1385"/>
                      <a:pt x="1229" y="1365"/>
                      <a:pt x="1252" y="1343"/>
                    </a:cubicBezTo>
                    <a:moveTo>
                      <a:pt x="1252" y="1343"/>
                    </a:moveTo>
                    <a:cubicBezTo>
                      <a:pt x="1252" y="1344"/>
                      <a:pt x="1253" y="1343"/>
                      <a:pt x="1253" y="1343"/>
                    </a:cubicBezTo>
                    <a:moveTo>
                      <a:pt x="1253" y="1343"/>
                    </a:moveTo>
                    <a:cubicBezTo>
                      <a:pt x="1253" y="1343"/>
                      <a:pt x="1253" y="1342"/>
                      <a:pt x="1254" y="1342"/>
                    </a:cubicBezTo>
                    <a:moveTo>
                      <a:pt x="1254" y="1342"/>
                    </a:moveTo>
                    <a:cubicBezTo>
                      <a:pt x="1254" y="1342"/>
                      <a:pt x="1254" y="1341"/>
                      <a:pt x="1254" y="1341"/>
                    </a:cubicBezTo>
                    <a:moveTo>
                      <a:pt x="1254" y="1341"/>
                    </a:moveTo>
                    <a:cubicBezTo>
                      <a:pt x="1256" y="1340"/>
                      <a:pt x="1254" y="1339"/>
                      <a:pt x="1254" y="1341"/>
                    </a:cubicBezTo>
                    <a:moveTo>
                      <a:pt x="1193" y="1348"/>
                    </a:moveTo>
                    <a:cubicBezTo>
                      <a:pt x="1193" y="1348"/>
                      <a:pt x="1194" y="1349"/>
                      <a:pt x="1193" y="1348"/>
                    </a:cubicBezTo>
                    <a:close/>
                    <a:moveTo>
                      <a:pt x="330" y="1369"/>
                    </a:moveTo>
                    <a:cubicBezTo>
                      <a:pt x="368" y="1393"/>
                      <a:pt x="409" y="1413"/>
                      <a:pt x="454" y="1429"/>
                    </a:cubicBezTo>
                    <a:cubicBezTo>
                      <a:pt x="444" y="1415"/>
                      <a:pt x="432" y="1403"/>
                      <a:pt x="423" y="1388"/>
                    </a:cubicBezTo>
                    <a:cubicBezTo>
                      <a:pt x="395" y="1370"/>
                      <a:pt x="360" y="1360"/>
                      <a:pt x="326" y="1349"/>
                    </a:cubicBezTo>
                    <a:cubicBezTo>
                      <a:pt x="327" y="1357"/>
                      <a:pt x="327" y="1364"/>
                      <a:pt x="330" y="1369"/>
                    </a:cubicBezTo>
                    <a:close/>
                    <a:moveTo>
                      <a:pt x="1151" y="1402"/>
                    </a:moveTo>
                    <a:cubicBezTo>
                      <a:pt x="1149" y="1403"/>
                      <a:pt x="1151" y="1403"/>
                      <a:pt x="1151" y="1402"/>
                    </a:cubicBezTo>
                    <a:moveTo>
                      <a:pt x="1151" y="1402"/>
                    </a:moveTo>
                    <a:cubicBezTo>
                      <a:pt x="1165" y="1397"/>
                      <a:pt x="1176" y="1388"/>
                      <a:pt x="1189" y="1382"/>
                    </a:cubicBezTo>
                    <a:cubicBezTo>
                      <a:pt x="1193" y="1373"/>
                      <a:pt x="1197" y="1363"/>
                      <a:pt x="1198" y="1350"/>
                    </a:cubicBezTo>
                    <a:cubicBezTo>
                      <a:pt x="1183" y="1365"/>
                      <a:pt x="1168" y="1386"/>
                      <a:pt x="1151" y="1402"/>
                    </a:cubicBezTo>
                    <a:moveTo>
                      <a:pt x="1191" y="1352"/>
                    </a:moveTo>
                    <a:cubicBezTo>
                      <a:pt x="1142" y="1377"/>
                      <a:pt x="1096" y="1406"/>
                      <a:pt x="1039" y="1424"/>
                    </a:cubicBezTo>
                    <a:cubicBezTo>
                      <a:pt x="1033" y="1434"/>
                      <a:pt x="1025" y="1443"/>
                      <a:pt x="1017" y="1452"/>
                    </a:cubicBezTo>
                    <a:moveTo>
                      <a:pt x="1017" y="1452"/>
                    </a:moveTo>
                    <a:cubicBezTo>
                      <a:pt x="1016" y="1453"/>
                      <a:pt x="1017" y="1453"/>
                      <a:pt x="1017" y="1452"/>
                    </a:cubicBezTo>
                    <a:moveTo>
                      <a:pt x="1017" y="1452"/>
                    </a:moveTo>
                    <a:cubicBezTo>
                      <a:pt x="1063" y="1442"/>
                      <a:pt x="1102" y="1425"/>
                      <a:pt x="1141" y="1408"/>
                    </a:cubicBezTo>
                    <a:cubicBezTo>
                      <a:pt x="1159" y="1390"/>
                      <a:pt x="1176" y="1372"/>
                      <a:pt x="1191" y="1352"/>
                    </a:cubicBezTo>
                    <a:moveTo>
                      <a:pt x="1191" y="1352"/>
                    </a:moveTo>
                    <a:cubicBezTo>
                      <a:pt x="1193" y="1352"/>
                      <a:pt x="1191" y="1351"/>
                      <a:pt x="1191" y="1352"/>
                    </a:cubicBezTo>
                    <a:moveTo>
                      <a:pt x="735" y="1356"/>
                    </a:moveTo>
                    <a:cubicBezTo>
                      <a:pt x="733" y="1373"/>
                      <a:pt x="736" y="1393"/>
                      <a:pt x="736" y="1411"/>
                    </a:cubicBezTo>
                    <a:cubicBezTo>
                      <a:pt x="746" y="1411"/>
                      <a:pt x="756" y="1411"/>
                      <a:pt x="766" y="1411"/>
                    </a:cubicBezTo>
                    <a:cubicBezTo>
                      <a:pt x="768" y="1393"/>
                      <a:pt x="768" y="1374"/>
                      <a:pt x="770" y="1356"/>
                    </a:cubicBezTo>
                    <a:cubicBezTo>
                      <a:pt x="758" y="1356"/>
                      <a:pt x="747" y="1356"/>
                      <a:pt x="735" y="1356"/>
                    </a:cubicBezTo>
                    <a:close/>
                    <a:moveTo>
                      <a:pt x="773" y="1356"/>
                    </a:moveTo>
                    <a:cubicBezTo>
                      <a:pt x="771" y="1374"/>
                      <a:pt x="770" y="1392"/>
                      <a:pt x="769" y="1411"/>
                    </a:cubicBezTo>
                    <a:cubicBezTo>
                      <a:pt x="779" y="1411"/>
                      <a:pt x="789" y="1411"/>
                      <a:pt x="799" y="1411"/>
                    </a:cubicBezTo>
                    <a:cubicBezTo>
                      <a:pt x="809" y="1394"/>
                      <a:pt x="817" y="1376"/>
                      <a:pt x="825" y="1359"/>
                    </a:cubicBezTo>
                    <a:cubicBezTo>
                      <a:pt x="807" y="1358"/>
                      <a:pt x="791" y="1356"/>
                      <a:pt x="773" y="1356"/>
                    </a:cubicBezTo>
                    <a:close/>
                    <a:moveTo>
                      <a:pt x="718" y="1358"/>
                    </a:moveTo>
                    <a:cubicBezTo>
                      <a:pt x="721" y="1371"/>
                      <a:pt x="728" y="1389"/>
                      <a:pt x="733" y="1403"/>
                    </a:cubicBezTo>
                    <a:cubicBezTo>
                      <a:pt x="732" y="1388"/>
                      <a:pt x="731" y="1373"/>
                      <a:pt x="731" y="1357"/>
                    </a:cubicBezTo>
                    <a:cubicBezTo>
                      <a:pt x="727" y="1357"/>
                      <a:pt x="721" y="1356"/>
                      <a:pt x="718" y="1358"/>
                    </a:cubicBezTo>
                    <a:close/>
                    <a:moveTo>
                      <a:pt x="664" y="1365"/>
                    </a:moveTo>
                    <a:cubicBezTo>
                      <a:pt x="673" y="1379"/>
                      <a:pt x="687" y="1397"/>
                      <a:pt x="701" y="1410"/>
                    </a:cubicBezTo>
                    <a:cubicBezTo>
                      <a:pt x="712" y="1408"/>
                      <a:pt x="723" y="1413"/>
                      <a:pt x="732" y="1410"/>
                    </a:cubicBezTo>
                    <a:cubicBezTo>
                      <a:pt x="724" y="1394"/>
                      <a:pt x="719" y="1376"/>
                      <a:pt x="713" y="1358"/>
                    </a:cubicBezTo>
                    <a:cubicBezTo>
                      <a:pt x="696" y="1359"/>
                      <a:pt x="679" y="1361"/>
                      <a:pt x="664" y="1365"/>
                    </a:cubicBezTo>
                    <a:close/>
                    <a:moveTo>
                      <a:pt x="1171" y="1359"/>
                    </a:moveTo>
                    <a:cubicBezTo>
                      <a:pt x="1137" y="1369"/>
                      <a:pt x="1101" y="1378"/>
                      <a:pt x="1064" y="1386"/>
                    </a:cubicBezTo>
                    <a:cubicBezTo>
                      <a:pt x="1058" y="1397"/>
                      <a:pt x="1050" y="1409"/>
                      <a:pt x="1043" y="1420"/>
                    </a:cubicBezTo>
                    <a:cubicBezTo>
                      <a:pt x="1090" y="1404"/>
                      <a:pt x="1132" y="1383"/>
                      <a:pt x="1171" y="1359"/>
                    </a:cubicBezTo>
                    <a:moveTo>
                      <a:pt x="1171" y="1359"/>
                    </a:moveTo>
                    <a:cubicBezTo>
                      <a:pt x="1172" y="1358"/>
                      <a:pt x="1171" y="1358"/>
                      <a:pt x="1171" y="1359"/>
                    </a:cubicBezTo>
                    <a:moveTo>
                      <a:pt x="827" y="1360"/>
                    </a:moveTo>
                    <a:cubicBezTo>
                      <a:pt x="820" y="1378"/>
                      <a:pt x="811" y="1394"/>
                      <a:pt x="802" y="1411"/>
                    </a:cubicBezTo>
                    <a:cubicBezTo>
                      <a:pt x="813" y="1409"/>
                      <a:pt x="828" y="1411"/>
                      <a:pt x="838" y="1409"/>
                    </a:cubicBezTo>
                    <a:cubicBezTo>
                      <a:pt x="847" y="1399"/>
                      <a:pt x="859" y="1388"/>
                      <a:pt x="868" y="1378"/>
                    </a:cubicBezTo>
                    <a:cubicBezTo>
                      <a:pt x="871" y="1375"/>
                      <a:pt x="876" y="1371"/>
                      <a:pt x="874" y="1367"/>
                    </a:cubicBezTo>
                    <a:cubicBezTo>
                      <a:pt x="860" y="1364"/>
                      <a:pt x="844" y="1361"/>
                      <a:pt x="827" y="1360"/>
                    </a:cubicBezTo>
                    <a:close/>
                    <a:moveTo>
                      <a:pt x="375" y="1363"/>
                    </a:moveTo>
                    <a:cubicBezTo>
                      <a:pt x="375" y="1362"/>
                      <a:pt x="376" y="1363"/>
                      <a:pt x="375" y="1363"/>
                    </a:cubicBezTo>
                    <a:close/>
                    <a:moveTo>
                      <a:pt x="618" y="1375"/>
                    </a:moveTo>
                    <a:cubicBezTo>
                      <a:pt x="621" y="1381"/>
                      <a:pt x="628" y="1387"/>
                      <a:pt x="635" y="1392"/>
                    </a:cubicBezTo>
                    <a:cubicBezTo>
                      <a:pt x="641" y="1397"/>
                      <a:pt x="650" y="1406"/>
                      <a:pt x="657" y="1408"/>
                    </a:cubicBezTo>
                    <a:cubicBezTo>
                      <a:pt x="669" y="1411"/>
                      <a:pt x="681" y="1407"/>
                      <a:pt x="695" y="1410"/>
                    </a:cubicBezTo>
                    <a:cubicBezTo>
                      <a:pt x="685" y="1397"/>
                      <a:pt x="672" y="1379"/>
                      <a:pt x="659" y="1366"/>
                    </a:cubicBezTo>
                    <a:cubicBezTo>
                      <a:pt x="644" y="1368"/>
                      <a:pt x="632" y="1372"/>
                      <a:pt x="618" y="1375"/>
                    </a:cubicBezTo>
                    <a:close/>
                    <a:moveTo>
                      <a:pt x="879" y="1368"/>
                    </a:moveTo>
                    <a:cubicBezTo>
                      <a:pt x="870" y="1379"/>
                      <a:pt x="860" y="1391"/>
                      <a:pt x="850" y="1400"/>
                    </a:cubicBezTo>
                    <a:cubicBezTo>
                      <a:pt x="848" y="1403"/>
                      <a:pt x="842" y="1405"/>
                      <a:pt x="844" y="1409"/>
                    </a:cubicBezTo>
                    <a:cubicBezTo>
                      <a:pt x="857" y="1409"/>
                      <a:pt x="870" y="1407"/>
                      <a:pt x="884" y="1407"/>
                    </a:cubicBezTo>
                    <a:cubicBezTo>
                      <a:pt x="892" y="1402"/>
                      <a:pt x="900" y="1396"/>
                      <a:pt x="908" y="1391"/>
                    </a:cubicBezTo>
                    <a:cubicBezTo>
                      <a:pt x="908" y="1385"/>
                      <a:pt x="910" y="1381"/>
                      <a:pt x="911" y="1377"/>
                    </a:cubicBezTo>
                    <a:cubicBezTo>
                      <a:pt x="900" y="1374"/>
                      <a:pt x="890" y="1371"/>
                      <a:pt x="879" y="1368"/>
                    </a:cubicBezTo>
                    <a:close/>
                    <a:moveTo>
                      <a:pt x="419" y="1382"/>
                    </a:moveTo>
                    <a:cubicBezTo>
                      <a:pt x="416" y="1375"/>
                      <a:pt x="405" y="1372"/>
                      <a:pt x="398" y="1372"/>
                    </a:cubicBezTo>
                    <a:cubicBezTo>
                      <a:pt x="405" y="1375"/>
                      <a:pt x="413" y="1382"/>
                      <a:pt x="419" y="1382"/>
                    </a:cubicBezTo>
                    <a:close/>
                    <a:moveTo>
                      <a:pt x="332" y="1374"/>
                    </a:moveTo>
                    <a:cubicBezTo>
                      <a:pt x="368" y="1419"/>
                      <a:pt x="423" y="1445"/>
                      <a:pt x="487" y="1461"/>
                    </a:cubicBezTo>
                    <a:moveTo>
                      <a:pt x="487" y="1461"/>
                    </a:moveTo>
                    <a:cubicBezTo>
                      <a:pt x="488" y="1462"/>
                      <a:pt x="489" y="1461"/>
                      <a:pt x="487" y="1461"/>
                    </a:cubicBezTo>
                    <a:moveTo>
                      <a:pt x="487" y="1461"/>
                    </a:moveTo>
                    <a:cubicBezTo>
                      <a:pt x="476" y="1454"/>
                      <a:pt x="470" y="1441"/>
                      <a:pt x="458" y="1434"/>
                    </a:cubicBezTo>
                    <a:cubicBezTo>
                      <a:pt x="438" y="1423"/>
                      <a:pt x="414" y="1417"/>
                      <a:pt x="392" y="1407"/>
                    </a:cubicBezTo>
                    <a:cubicBezTo>
                      <a:pt x="371" y="1397"/>
                      <a:pt x="351" y="1384"/>
                      <a:pt x="332" y="1374"/>
                    </a:cubicBezTo>
                    <a:moveTo>
                      <a:pt x="332" y="1374"/>
                    </a:moveTo>
                    <a:cubicBezTo>
                      <a:pt x="331" y="1373"/>
                      <a:pt x="331" y="1374"/>
                      <a:pt x="332" y="1374"/>
                    </a:cubicBezTo>
                    <a:moveTo>
                      <a:pt x="419" y="1377"/>
                    </a:moveTo>
                    <a:cubicBezTo>
                      <a:pt x="420" y="1381"/>
                      <a:pt x="424" y="1383"/>
                      <a:pt x="425" y="1387"/>
                    </a:cubicBezTo>
                    <a:cubicBezTo>
                      <a:pt x="461" y="1403"/>
                      <a:pt x="496" y="1420"/>
                      <a:pt x="536" y="1431"/>
                    </a:cubicBezTo>
                    <a:cubicBezTo>
                      <a:pt x="537" y="1422"/>
                      <a:pt x="546" y="1417"/>
                      <a:pt x="546" y="1411"/>
                    </a:cubicBezTo>
                    <a:cubicBezTo>
                      <a:pt x="533" y="1406"/>
                      <a:pt x="522" y="1401"/>
                      <a:pt x="511" y="1394"/>
                    </a:cubicBezTo>
                    <a:cubicBezTo>
                      <a:pt x="479" y="1390"/>
                      <a:pt x="450" y="1383"/>
                      <a:pt x="419" y="1377"/>
                    </a:cubicBezTo>
                    <a:moveTo>
                      <a:pt x="419" y="1377"/>
                    </a:moveTo>
                    <a:cubicBezTo>
                      <a:pt x="419" y="1376"/>
                      <a:pt x="418" y="1377"/>
                      <a:pt x="419" y="1377"/>
                    </a:cubicBezTo>
                    <a:moveTo>
                      <a:pt x="612" y="1377"/>
                    </a:moveTo>
                    <a:cubicBezTo>
                      <a:pt x="601" y="1382"/>
                      <a:pt x="588" y="1386"/>
                      <a:pt x="579" y="1392"/>
                    </a:cubicBezTo>
                    <a:cubicBezTo>
                      <a:pt x="593" y="1405"/>
                      <a:pt x="625" y="1407"/>
                      <a:pt x="650" y="1406"/>
                    </a:cubicBezTo>
                    <a:cubicBezTo>
                      <a:pt x="636" y="1397"/>
                      <a:pt x="626" y="1386"/>
                      <a:pt x="612" y="1377"/>
                    </a:cubicBezTo>
                    <a:close/>
                    <a:moveTo>
                      <a:pt x="914" y="1387"/>
                    </a:moveTo>
                    <a:cubicBezTo>
                      <a:pt x="915" y="1384"/>
                      <a:pt x="920" y="1384"/>
                      <a:pt x="920" y="1380"/>
                    </a:cubicBezTo>
                    <a:cubicBezTo>
                      <a:pt x="917" y="1380"/>
                      <a:pt x="917" y="1378"/>
                      <a:pt x="914" y="1379"/>
                    </a:cubicBezTo>
                    <a:cubicBezTo>
                      <a:pt x="915" y="1382"/>
                      <a:pt x="911" y="1385"/>
                      <a:pt x="914" y="1387"/>
                    </a:cubicBezTo>
                    <a:close/>
                    <a:moveTo>
                      <a:pt x="1062" y="1382"/>
                    </a:moveTo>
                    <a:cubicBezTo>
                      <a:pt x="1061" y="1382"/>
                      <a:pt x="1059" y="1383"/>
                      <a:pt x="1059" y="1384"/>
                    </a:cubicBezTo>
                    <a:cubicBezTo>
                      <a:pt x="1061" y="1384"/>
                      <a:pt x="1062" y="1384"/>
                      <a:pt x="1062" y="1382"/>
                    </a:cubicBezTo>
                    <a:moveTo>
                      <a:pt x="1062" y="1382"/>
                    </a:moveTo>
                    <a:cubicBezTo>
                      <a:pt x="1064" y="1381"/>
                      <a:pt x="1062" y="1381"/>
                      <a:pt x="1062" y="1382"/>
                    </a:cubicBezTo>
                    <a:moveTo>
                      <a:pt x="911" y="1391"/>
                    </a:moveTo>
                    <a:cubicBezTo>
                      <a:pt x="911" y="1397"/>
                      <a:pt x="908" y="1400"/>
                      <a:pt x="908" y="1405"/>
                    </a:cubicBezTo>
                    <a:cubicBezTo>
                      <a:pt x="923" y="1401"/>
                      <a:pt x="944" y="1404"/>
                      <a:pt x="956" y="1397"/>
                    </a:cubicBezTo>
                    <a:cubicBezTo>
                      <a:pt x="941" y="1391"/>
                      <a:pt x="923" y="1374"/>
                      <a:pt x="911" y="1391"/>
                    </a:cubicBezTo>
                    <a:close/>
                    <a:moveTo>
                      <a:pt x="339" y="1387"/>
                    </a:moveTo>
                    <a:cubicBezTo>
                      <a:pt x="338" y="1387"/>
                      <a:pt x="339" y="1388"/>
                      <a:pt x="340" y="1388"/>
                    </a:cubicBezTo>
                    <a:moveTo>
                      <a:pt x="340" y="1388"/>
                    </a:moveTo>
                    <a:cubicBezTo>
                      <a:pt x="346" y="1400"/>
                      <a:pt x="356" y="1408"/>
                      <a:pt x="369" y="1414"/>
                    </a:cubicBezTo>
                    <a:moveTo>
                      <a:pt x="369" y="1414"/>
                    </a:moveTo>
                    <a:cubicBezTo>
                      <a:pt x="369" y="1414"/>
                      <a:pt x="371" y="1414"/>
                      <a:pt x="371" y="1415"/>
                    </a:cubicBezTo>
                    <a:moveTo>
                      <a:pt x="371" y="1415"/>
                    </a:moveTo>
                    <a:cubicBezTo>
                      <a:pt x="372" y="1416"/>
                      <a:pt x="372" y="1414"/>
                      <a:pt x="371" y="1415"/>
                    </a:cubicBezTo>
                    <a:moveTo>
                      <a:pt x="371" y="1415"/>
                    </a:moveTo>
                    <a:cubicBezTo>
                      <a:pt x="371" y="1414"/>
                      <a:pt x="370" y="1414"/>
                      <a:pt x="369" y="1414"/>
                    </a:cubicBezTo>
                    <a:moveTo>
                      <a:pt x="369" y="1414"/>
                    </a:moveTo>
                    <a:cubicBezTo>
                      <a:pt x="360" y="1405"/>
                      <a:pt x="349" y="1396"/>
                      <a:pt x="340" y="1388"/>
                    </a:cubicBezTo>
                    <a:moveTo>
                      <a:pt x="340" y="1388"/>
                    </a:moveTo>
                    <a:cubicBezTo>
                      <a:pt x="340" y="1387"/>
                      <a:pt x="339" y="1387"/>
                      <a:pt x="339" y="1387"/>
                    </a:cubicBezTo>
                    <a:moveTo>
                      <a:pt x="339" y="1387"/>
                    </a:moveTo>
                    <a:cubicBezTo>
                      <a:pt x="338" y="1385"/>
                      <a:pt x="337" y="1387"/>
                      <a:pt x="339" y="1387"/>
                    </a:cubicBezTo>
                    <a:moveTo>
                      <a:pt x="567" y="1396"/>
                    </a:moveTo>
                    <a:cubicBezTo>
                      <a:pt x="568" y="1393"/>
                      <a:pt x="572" y="1394"/>
                      <a:pt x="573" y="1391"/>
                    </a:cubicBezTo>
                    <a:cubicBezTo>
                      <a:pt x="570" y="1390"/>
                      <a:pt x="566" y="1388"/>
                      <a:pt x="563" y="1386"/>
                    </a:cubicBezTo>
                    <a:cubicBezTo>
                      <a:pt x="564" y="1390"/>
                      <a:pt x="565" y="1394"/>
                      <a:pt x="567" y="1396"/>
                    </a:cubicBezTo>
                    <a:close/>
                    <a:moveTo>
                      <a:pt x="982" y="1419"/>
                    </a:moveTo>
                    <a:cubicBezTo>
                      <a:pt x="986" y="1424"/>
                      <a:pt x="989" y="1430"/>
                      <a:pt x="989" y="1439"/>
                    </a:cubicBezTo>
                    <a:cubicBezTo>
                      <a:pt x="1006" y="1434"/>
                      <a:pt x="1021" y="1428"/>
                      <a:pt x="1038" y="1423"/>
                    </a:cubicBezTo>
                    <a:cubicBezTo>
                      <a:pt x="1040" y="1417"/>
                      <a:pt x="1046" y="1411"/>
                      <a:pt x="1050" y="1405"/>
                    </a:cubicBezTo>
                    <a:cubicBezTo>
                      <a:pt x="1054" y="1399"/>
                      <a:pt x="1059" y="1390"/>
                      <a:pt x="1059" y="1387"/>
                    </a:cubicBezTo>
                    <a:cubicBezTo>
                      <a:pt x="1030" y="1395"/>
                      <a:pt x="1008" y="1409"/>
                      <a:pt x="982" y="1419"/>
                    </a:cubicBezTo>
                    <a:close/>
                    <a:moveTo>
                      <a:pt x="1184" y="1388"/>
                    </a:moveTo>
                    <a:cubicBezTo>
                      <a:pt x="1153" y="1402"/>
                      <a:pt x="1127" y="1421"/>
                      <a:pt x="1103" y="1442"/>
                    </a:cubicBezTo>
                    <a:moveTo>
                      <a:pt x="1103" y="1442"/>
                    </a:moveTo>
                    <a:cubicBezTo>
                      <a:pt x="1102" y="1442"/>
                      <a:pt x="1101" y="1443"/>
                      <a:pt x="1101" y="1443"/>
                    </a:cubicBezTo>
                    <a:moveTo>
                      <a:pt x="1101" y="1443"/>
                    </a:moveTo>
                    <a:cubicBezTo>
                      <a:pt x="1099" y="1444"/>
                      <a:pt x="1101" y="1444"/>
                      <a:pt x="1101" y="1443"/>
                    </a:cubicBezTo>
                    <a:moveTo>
                      <a:pt x="1101" y="1443"/>
                    </a:moveTo>
                    <a:cubicBezTo>
                      <a:pt x="1102" y="1443"/>
                      <a:pt x="1103" y="1443"/>
                      <a:pt x="1103" y="1442"/>
                    </a:cubicBezTo>
                    <a:moveTo>
                      <a:pt x="1103" y="1442"/>
                    </a:moveTo>
                    <a:cubicBezTo>
                      <a:pt x="1134" y="1428"/>
                      <a:pt x="1167" y="1416"/>
                      <a:pt x="1184" y="1388"/>
                    </a:cubicBezTo>
                    <a:moveTo>
                      <a:pt x="1184" y="1388"/>
                    </a:moveTo>
                    <a:cubicBezTo>
                      <a:pt x="1186" y="1387"/>
                      <a:pt x="1184" y="1386"/>
                      <a:pt x="1184" y="1388"/>
                    </a:cubicBezTo>
                    <a:moveTo>
                      <a:pt x="429" y="1391"/>
                    </a:moveTo>
                    <a:cubicBezTo>
                      <a:pt x="438" y="1406"/>
                      <a:pt x="450" y="1419"/>
                      <a:pt x="461" y="1432"/>
                    </a:cubicBezTo>
                    <a:cubicBezTo>
                      <a:pt x="485" y="1439"/>
                      <a:pt x="511" y="1450"/>
                      <a:pt x="537" y="1452"/>
                    </a:cubicBezTo>
                    <a:cubicBezTo>
                      <a:pt x="534" y="1448"/>
                      <a:pt x="536" y="1440"/>
                      <a:pt x="535" y="1434"/>
                    </a:cubicBezTo>
                    <a:cubicBezTo>
                      <a:pt x="497" y="1422"/>
                      <a:pt x="463" y="1407"/>
                      <a:pt x="429" y="1391"/>
                    </a:cubicBezTo>
                    <a:moveTo>
                      <a:pt x="429" y="1391"/>
                    </a:moveTo>
                    <a:cubicBezTo>
                      <a:pt x="428" y="1390"/>
                      <a:pt x="428" y="1392"/>
                      <a:pt x="429" y="1391"/>
                    </a:cubicBezTo>
                    <a:moveTo>
                      <a:pt x="966" y="1402"/>
                    </a:moveTo>
                    <a:cubicBezTo>
                      <a:pt x="971" y="1406"/>
                      <a:pt x="976" y="1410"/>
                      <a:pt x="980" y="1416"/>
                    </a:cubicBezTo>
                    <a:cubicBezTo>
                      <a:pt x="1001" y="1409"/>
                      <a:pt x="1020" y="1400"/>
                      <a:pt x="1038" y="1391"/>
                    </a:cubicBezTo>
                    <a:cubicBezTo>
                      <a:pt x="1015" y="1395"/>
                      <a:pt x="989" y="1397"/>
                      <a:pt x="966" y="1402"/>
                    </a:cubicBezTo>
                    <a:close/>
                    <a:moveTo>
                      <a:pt x="567" y="1399"/>
                    </a:moveTo>
                    <a:cubicBezTo>
                      <a:pt x="573" y="1400"/>
                      <a:pt x="584" y="1403"/>
                      <a:pt x="589" y="1401"/>
                    </a:cubicBezTo>
                    <a:cubicBezTo>
                      <a:pt x="581" y="1397"/>
                      <a:pt x="574" y="1390"/>
                      <a:pt x="567" y="1399"/>
                    </a:cubicBezTo>
                    <a:close/>
                    <a:moveTo>
                      <a:pt x="891" y="1406"/>
                    </a:moveTo>
                    <a:cubicBezTo>
                      <a:pt x="896" y="1407"/>
                      <a:pt x="899" y="1404"/>
                      <a:pt x="904" y="1405"/>
                    </a:cubicBezTo>
                    <a:cubicBezTo>
                      <a:pt x="903" y="1401"/>
                      <a:pt x="907" y="1397"/>
                      <a:pt x="905" y="1395"/>
                    </a:cubicBezTo>
                    <a:cubicBezTo>
                      <a:pt x="901" y="1399"/>
                      <a:pt x="895" y="1402"/>
                      <a:pt x="891" y="1406"/>
                    </a:cubicBezTo>
                    <a:close/>
                    <a:moveTo>
                      <a:pt x="548" y="1410"/>
                    </a:moveTo>
                    <a:cubicBezTo>
                      <a:pt x="552" y="1408"/>
                      <a:pt x="555" y="1404"/>
                      <a:pt x="558" y="1401"/>
                    </a:cubicBezTo>
                    <a:cubicBezTo>
                      <a:pt x="546" y="1401"/>
                      <a:pt x="532" y="1396"/>
                      <a:pt x="521" y="1397"/>
                    </a:cubicBezTo>
                    <a:cubicBezTo>
                      <a:pt x="530" y="1401"/>
                      <a:pt x="539" y="1405"/>
                      <a:pt x="548" y="1410"/>
                    </a:cubicBezTo>
                    <a:close/>
                    <a:moveTo>
                      <a:pt x="552" y="1412"/>
                    </a:moveTo>
                    <a:cubicBezTo>
                      <a:pt x="559" y="1414"/>
                      <a:pt x="565" y="1417"/>
                      <a:pt x="572" y="1419"/>
                    </a:cubicBezTo>
                    <a:cubicBezTo>
                      <a:pt x="571" y="1413"/>
                      <a:pt x="567" y="1409"/>
                      <a:pt x="566" y="1402"/>
                    </a:cubicBezTo>
                    <a:cubicBezTo>
                      <a:pt x="558" y="1402"/>
                      <a:pt x="556" y="1408"/>
                      <a:pt x="552" y="1412"/>
                    </a:cubicBezTo>
                    <a:close/>
                    <a:moveTo>
                      <a:pt x="950" y="1403"/>
                    </a:moveTo>
                    <a:cubicBezTo>
                      <a:pt x="936" y="1407"/>
                      <a:pt x="915" y="1424"/>
                      <a:pt x="901" y="1427"/>
                    </a:cubicBezTo>
                    <a:cubicBezTo>
                      <a:pt x="899" y="1433"/>
                      <a:pt x="898" y="1439"/>
                      <a:pt x="895" y="1444"/>
                    </a:cubicBezTo>
                    <a:cubicBezTo>
                      <a:pt x="925" y="1438"/>
                      <a:pt x="950" y="1427"/>
                      <a:pt x="977" y="1418"/>
                    </a:cubicBezTo>
                    <a:cubicBezTo>
                      <a:pt x="971" y="1409"/>
                      <a:pt x="964" y="1399"/>
                      <a:pt x="950" y="1403"/>
                    </a:cubicBezTo>
                    <a:close/>
                    <a:moveTo>
                      <a:pt x="576" y="1421"/>
                    </a:moveTo>
                    <a:cubicBezTo>
                      <a:pt x="625" y="1439"/>
                      <a:pt x="678" y="1457"/>
                      <a:pt x="736" y="1463"/>
                    </a:cubicBezTo>
                    <a:cubicBezTo>
                      <a:pt x="684" y="1449"/>
                      <a:pt x="638" y="1429"/>
                      <a:pt x="596" y="1405"/>
                    </a:cubicBezTo>
                    <a:cubicBezTo>
                      <a:pt x="586" y="1405"/>
                      <a:pt x="579" y="1403"/>
                      <a:pt x="569" y="1403"/>
                    </a:cubicBezTo>
                    <a:cubicBezTo>
                      <a:pt x="571" y="1409"/>
                      <a:pt x="574" y="1415"/>
                      <a:pt x="576" y="1421"/>
                    </a:cubicBezTo>
                    <a:close/>
                    <a:moveTo>
                      <a:pt x="908" y="1407"/>
                    </a:moveTo>
                    <a:cubicBezTo>
                      <a:pt x="905" y="1412"/>
                      <a:pt x="905" y="1418"/>
                      <a:pt x="902" y="1423"/>
                    </a:cubicBezTo>
                    <a:cubicBezTo>
                      <a:pt x="917" y="1418"/>
                      <a:pt x="930" y="1411"/>
                      <a:pt x="942" y="1404"/>
                    </a:cubicBezTo>
                    <a:cubicBezTo>
                      <a:pt x="931" y="1405"/>
                      <a:pt x="920" y="1407"/>
                      <a:pt x="908" y="1407"/>
                    </a:cubicBezTo>
                    <a:close/>
                    <a:moveTo>
                      <a:pt x="606" y="1407"/>
                    </a:moveTo>
                    <a:cubicBezTo>
                      <a:pt x="645" y="1429"/>
                      <a:pt x="691" y="1449"/>
                      <a:pt x="737" y="1461"/>
                    </a:cubicBezTo>
                    <a:cubicBezTo>
                      <a:pt x="716" y="1449"/>
                      <a:pt x="695" y="1437"/>
                      <a:pt x="674" y="1423"/>
                    </a:cubicBezTo>
                    <a:cubicBezTo>
                      <a:pt x="667" y="1419"/>
                      <a:pt x="660" y="1411"/>
                      <a:pt x="654" y="1410"/>
                    </a:cubicBezTo>
                    <a:cubicBezTo>
                      <a:pt x="638" y="1406"/>
                      <a:pt x="624" y="1410"/>
                      <a:pt x="606" y="1407"/>
                    </a:cubicBezTo>
                    <a:moveTo>
                      <a:pt x="606" y="1407"/>
                    </a:moveTo>
                    <a:cubicBezTo>
                      <a:pt x="605" y="1404"/>
                      <a:pt x="602" y="1408"/>
                      <a:pt x="606" y="1407"/>
                    </a:cubicBezTo>
                    <a:moveTo>
                      <a:pt x="886" y="1409"/>
                    </a:moveTo>
                    <a:cubicBezTo>
                      <a:pt x="854" y="1430"/>
                      <a:pt x="820" y="1448"/>
                      <a:pt x="783" y="1463"/>
                    </a:cubicBezTo>
                    <a:cubicBezTo>
                      <a:pt x="824" y="1454"/>
                      <a:pt x="862" y="1441"/>
                      <a:pt x="897" y="1426"/>
                    </a:cubicBezTo>
                    <a:cubicBezTo>
                      <a:pt x="899" y="1420"/>
                      <a:pt x="901" y="1413"/>
                      <a:pt x="903" y="1408"/>
                    </a:cubicBezTo>
                    <a:cubicBezTo>
                      <a:pt x="897" y="1407"/>
                      <a:pt x="893" y="1410"/>
                      <a:pt x="886" y="1409"/>
                    </a:cubicBezTo>
                    <a:close/>
                    <a:moveTo>
                      <a:pt x="839" y="1412"/>
                    </a:moveTo>
                    <a:cubicBezTo>
                      <a:pt x="819" y="1430"/>
                      <a:pt x="798" y="1447"/>
                      <a:pt x="776" y="1463"/>
                    </a:cubicBezTo>
                    <a:cubicBezTo>
                      <a:pt x="814" y="1448"/>
                      <a:pt x="848" y="1430"/>
                      <a:pt x="879" y="1410"/>
                    </a:cubicBezTo>
                    <a:cubicBezTo>
                      <a:pt x="865" y="1410"/>
                      <a:pt x="853" y="1412"/>
                      <a:pt x="839" y="1412"/>
                    </a:cubicBezTo>
                    <a:close/>
                    <a:moveTo>
                      <a:pt x="736" y="1456"/>
                    </a:moveTo>
                    <a:cubicBezTo>
                      <a:pt x="735" y="1447"/>
                      <a:pt x="725" y="1440"/>
                      <a:pt x="718" y="1433"/>
                    </a:cubicBezTo>
                    <a:cubicBezTo>
                      <a:pt x="712" y="1427"/>
                      <a:pt x="704" y="1415"/>
                      <a:pt x="697" y="1413"/>
                    </a:cubicBezTo>
                    <a:cubicBezTo>
                      <a:pt x="687" y="1409"/>
                      <a:pt x="674" y="1412"/>
                      <a:pt x="661" y="1412"/>
                    </a:cubicBezTo>
                    <a:cubicBezTo>
                      <a:pt x="685" y="1428"/>
                      <a:pt x="708" y="1444"/>
                      <a:pt x="736" y="1456"/>
                    </a:cubicBezTo>
                    <a:close/>
                    <a:moveTo>
                      <a:pt x="770" y="1463"/>
                    </a:moveTo>
                    <a:cubicBezTo>
                      <a:pt x="769" y="1462"/>
                      <a:pt x="769" y="1463"/>
                      <a:pt x="769" y="1463"/>
                    </a:cubicBezTo>
                    <a:moveTo>
                      <a:pt x="769" y="1463"/>
                    </a:moveTo>
                    <a:cubicBezTo>
                      <a:pt x="767" y="1464"/>
                      <a:pt x="769" y="1465"/>
                      <a:pt x="769" y="1463"/>
                    </a:cubicBezTo>
                    <a:moveTo>
                      <a:pt x="769" y="1463"/>
                    </a:moveTo>
                    <a:cubicBezTo>
                      <a:pt x="770" y="1464"/>
                      <a:pt x="770" y="1463"/>
                      <a:pt x="770" y="1463"/>
                    </a:cubicBezTo>
                    <a:moveTo>
                      <a:pt x="770" y="1463"/>
                    </a:moveTo>
                    <a:cubicBezTo>
                      <a:pt x="789" y="1450"/>
                      <a:pt x="811" y="1435"/>
                      <a:pt x="828" y="1418"/>
                    </a:cubicBezTo>
                    <a:cubicBezTo>
                      <a:pt x="830" y="1417"/>
                      <a:pt x="834" y="1414"/>
                      <a:pt x="832" y="1412"/>
                    </a:cubicBezTo>
                    <a:cubicBezTo>
                      <a:pt x="824" y="1414"/>
                      <a:pt x="811" y="1412"/>
                      <a:pt x="801" y="1413"/>
                    </a:cubicBezTo>
                    <a:cubicBezTo>
                      <a:pt x="792" y="1430"/>
                      <a:pt x="781" y="1446"/>
                      <a:pt x="770" y="1463"/>
                    </a:cubicBezTo>
                    <a:moveTo>
                      <a:pt x="735" y="1445"/>
                    </a:moveTo>
                    <a:cubicBezTo>
                      <a:pt x="735" y="1434"/>
                      <a:pt x="734" y="1424"/>
                      <a:pt x="733" y="1414"/>
                    </a:cubicBezTo>
                    <a:cubicBezTo>
                      <a:pt x="724" y="1414"/>
                      <a:pt x="712" y="1411"/>
                      <a:pt x="702" y="1414"/>
                    </a:cubicBezTo>
                    <a:cubicBezTo>
                      <a:pt x="713" y="1424"/>
                      <a:pt x="723" y="1436"/>
                      <a:pt x="735" y="1445"/>
                    </a:cubicBezTo>
                    <a:close/>
                    <a:moveTo>
                      <a:pt x="574" y="1423"/>
                    </a:moveTo>
                    <a:cubicBezTo>
                      <a:pt x="566" y="1420"/>
                      <a:pt x="558" y="1416"/>
                      <a:pt x="549" y="1414"/>
                    </a:cubicBezTo>
                    <a:cubicBezTo>
                      <a:pt x="545" y="1420"/>
                      <a:pt x="540" y="1423"/>
                      <a:pt x="539" y="1433"/>
                    </a:cubicBezTo>
                    <a:cubicBezTo>
                      <a:pt x="554" y="1436"/>
                      <a:pt x="571" y="1443"/>
                      <a:pt x="584" y="1444"/>
                    </a:cubicBezTo>
                    <a:cubicBezTo>
                      <a:pt x="580" y="1438"/>
                      <a:pt x="578" y="1430"/>
                      <a:pt x="574" y="1423"/>
                    </a:cubicBezTo>
                    <a:close/>
                    <a:moveTo>
                      <a:pt x="761" y="1463"/>
                    </a:moveTo>
                    <a:cubicBezTo>
                      <a:pt x="763" y="1448"/>
                      <a:pt x="764" y="1430"/>
                      <a:pt x="766" y="1414"/>
                    </a:cubicBezTo>
                    <a:cubicBezTo>
                      <a:pt x="757" y="1414"/>
                      <a:pt x="745" y="1412"/>
                      <a:pt x="737" y="1415"/>
                    </a:cubicBezTo>
                    <a:cubicBezTo>
                      <a:pt x="745" y="1431"/>
                      <a:pt x="752" y="1449"/>
                      <a:pt x="761" y="1463"/>
                    </a:cubicBezTo>
                    <a:close/>
                    <a:moveTo>
                      <a:pt x="765" y="1464"/>
                    </a:moveTo>
                    <a:cubicBezTo>
                      <a:pt x="776" y="1448"/>
                      <a:pt x="788" y="1432"/>
                      <a:pt x="798" y="1414"/>
                    </a:cubicBezTo>
                    <a:cubicBezTo>
                      <a:pt x="788" y="1414"/>
                      <a:pt x="778" y="1414"/>
                      <a:pt x="768" y="1414"/>
                    </a:cubicBezTo>
                    <a:cubicBezTo>
                      <a:pt x="768" y="1431"/>
                      <a:pt x="764" y="1449"/>
                      <a:pt x="765" y="1464"/>
                    </a:cubicBezTo>
                    <a:close/>
                    <a:moveTo>
                      <a:pt x="366" y="1415"/>
                    </a:moveTo>
                    <a:cubicBezTo>
                      <a:pt x="366" y="1416"/>
                      <a:pt x="367" y="1416"/>
                      <a:pt x="367" y="1416"/>
                    </a:cubicBezTo>
                    <a:moveTo>
                      <a:pt x="367" y="1416"/>
                    </a:moveTo>
                    <a:cubicBezTo>
                      <a:pt x="382" y="1430"/>
                      <a:pt x="403" y="1442"/>
                      <a:pt x="422" y="1448"/>
                    </a:cubicBezTo>
                    <a:cubicBezTo>
                      <a:pt x="403" y="1438"/>
                      <a:pt x="388" y="1425"/>
                      <a:pt x="367" y="1416"/>
                    </a:cubicBezTo>
                    <a:moveTo>
                      <a:pt x="367" y="1416"/>
                    </a:moveTo>
                    <a:cubicBezTo>
                      <a:pt x="367" y="1416"/>
                      <a:pt x="366" y="1416"/>
                      <a:pt x="366" y="1415"/>
                    </a:cubicBezTo>
                    <a:moveTo>
                      <a:pt x="366" y="1415"/>
                    </a:moveTo>
                    <a:cubicBezTo>
                      <a:pt x="365" y="1414"/>
                      <a:pt x="364" y="1416"/>
                      <a:pt x="366" y="1415"/>
                    </a:cubicBezTo>
                    <a:moveTo>
                      <a:pt x="1132" y="1415"/>
                    </a:moveTo>
                    <a:cubicBezTo>
                      <a:pt x="1094" y="1431"/>
                      <a:pt x="1057" y="1446"/>
                      <a:pt x="1014" y="1456"/>
                    </a:cubicBezTo>
                    <a:cubicBezTo>
                      <a:pt x="1007" y="1463"/>
                      <a:pt x="999" y="1470"/>
                      <a:pt x="991" y="1477"/>
                    </a:cubicBezTo>
                    <a:cubicBezTo>
                      <a:pt x="1048" y="1467"/>
                      <a:pt x="1099" y="1450"/>
                      <a:pt x="1132" y="1415"/>
                    </a:cubicBezTo>
                    <a:moveTo>
                      <a:pt x="1132" y="1415"/>
                    </a:moveTo>
                    <a:cubicBezTo>
                      <a:pt x="1133" y="1415"/>
                      <a:pt x="1132" y="1414"/>
                      <a:pt x="1132" y="1415"/>
                    </a:cubicBezTo>
                    <a:moveTo>
                      <a:pt x="979" y="1419"/>
                    </a:moveTo>
                    <a:cubicBezTo>
                      <a:pt x="953" y="1430"/>
                      <a:pt x="925" y="1440"/>
                      <a:pt x="894" y="1447"/>
                    </a:cubicBezTo>
                    <a:cubicBezTo>
                      <a:pt x="893" y="1451"/>
                      <a:pt x="891" y="1455"/>
                      <a:pt x="890" y="1460"/>
                    </a:cubicBezTo>
                    <a:cubicBezTo>
                      <a:pt x="924" y="1455"/>
                      <a:pt x="955" y="1447"/>
                      <a:pt x="987" y="1439"/>
                    </a:cubicBezTo>
                    <a:cubicBezTo>
                      <a:pt x="986" y="1431"/>
                      <a:pt x="983" y="1424"/>
                      <a:pt x="979" y="1419"/>
                    </a:cubicBezTo>
                    <a:close/>
                    <a:moveTo>
                      <a:pt x="755" y="1463"/>
                    </a:moveTo>
                    <a:cubicBezTo>
                      <a:pt x="756" y="1464"/>
                      <a:pt x="756" y="1462"/>
                      <a:pt x="755" y="1463"/>
                    </a:cubicBezTo>
                    <a:moveTo>
                      <a:pt x="755" y="1463"/>
                    </a:moveTo>
                    <a:cubicBezTo>
                      <a:pt x="749" y="1449"/>
                      <a:pt x="743" y="1437"/>
                      <a:pt x="737" y="1424"/>
                    </a:cubicBezTo>
                    <a:cubicBezTo>
                      <a:pt x="736" y="1433"/>
                      <a:pt x="739" y="1439"/>
                      <a:pt x="738" y="1448"/>
                    </a:cubicBezTo>
                    <a:cubicBezTo>
                      <a:pt x="743" y="1453"/>
                      <a:pt x="749" y="1458"/>
                      <a:pt x="755" y="1463"/>
                    </a:cubicBezTo>
                    <a:moveTo>
                      <a:pt x="587" y="1446"/>
                    </a:moveTo>
                    <a:cubicBezTo>
                      <a:pt x="632" y="1456"/>
                      <a:pt x="682" y="1466"/>
                      <a:pt x="733" y="1466"/>
                    </a:cubicBezTo>
                    <a:cubicBezTo>
                      <a:pt x="676" y="1459"/>
                      <a:pt x="625" y="1440"/>
                      <a:pt x="578" y="1426"/>
                    </a:cubicBezTo>
                    <a:cubicBezTo>
                      <a:pt x="582" y="1432"/>
                      <a:pt x="584" y="1439"/>
                      <a:pt x="587" y="1446"/>
                    </a:cubicBezTo>
                    <a:close/>
                    <a:moveTo>
                      <a:pt x="1034" y="1427"/>
                    </a:moveTo>
                    <a:cubicBezTo>
                      <a:pt x="1019" y="1432"/>
                      <a:pt x="1004" y="1437"/>
                      <a:pt x="989" y="1441"/>
                    </a:cubicBezTo>
                    <a:cubicBezTo>
                      <a:pt x="989" y="1450"/>
                      <a:pt x="986" y="1454"/>
                      <a:pt x="984" y="1460"/>
                    </a:cubicBezTo>
                    <a:moveTo>
                      <a:pt x="984" y="1460"/>
                    </a:moveTo>
                    <a:cubicBezTo>
                      <a:pt x="982" y="1460"/>
                      <a:pt x="984" y="1461"/>
                      <a:pt x="984" y="1460"/>
                    </a:cubicBezTo>
                    <a:moveTo>
                      <a:pt x="984" y="1460"/>
                    </a:moveTo>
                    <a:cubicBezTo>
                      <a:pt x="994" y="1459"/>
                      <a:pt x="1001" y="1456"/>
                      <a:pt x="1011" y="1455"/>
                    </a:cubicBezTo>
                    <a:cubicBezTo>
                      <a:pt x="1019" y="1446"/>
                      <a:pt x="1027" y="1437"/>
                      <a:pt x="1034" y="1427"/>
                    </a:cubicBezTo>
                    <a:moveTo>
                      <a:pt x="1034" y="1427"/>
                    </a:moveTo>
                    <a:cubicBezTo>
                      <a:pt x="1035" y="1426"/>
                      <a:pt x="1034" y="1426"/>
                      <a:pt x="1034" y="1427"/>
                    </a:cubicBezTo>
                    <a:moveTo>
                      <a:pt x="1141" y="1428"/>
                    </a:moveTo>
                    <a:cubicBezTo>
                      <a:pt x="1141" y="1428"/>
                      <a:pt x="1142" y="1429"/>
                      <a:pt x="1141" y="1428"/>
                    </a:cubicBezTo>
                    <a:close/>
                    <a:moveTo>
                      <a:pt x="1139" y="1429"/>
                    </a:moveTo>
                    <a:cubicBezTo>
                      <a:pt x="1138" y="1429"/>
                      <a:pt x="1138" y="1429"/>
                      <a:pt x="1137" y="1430"/>
                    </a:cubicBezTo>
                    <a:moveTo>
                      <a:pt x="1137" y="1430"/>
                    </a:moveTo>
                    <a:cubicBezTo>
                      <a:pt x="1136" y="1430"/>
                      <a:pt x="1136" y="1430"/>
                      <a:pt x="1135" y="1431"/>
                    </a:cubicBezTo>
                    <a:moveTo>
                      <a:pt x="1135" y="1431"/>
                    </a:moveTo>
                    <a:cubicBezTo>
                      <a:pt x="1116" y="1441"/>
                      <a:pt x="1092" y="1448"/>
                      <a:pt x="1074" y="1461"/>
                    </a:cubicBezTo>
                    <a:cubicBezTo>
                      <a:pt x="1096" y="1452"/>
                      <a:pt x="1118" y="1443"/>
                      <a:pt x="1135" y="1431"/>
                    </a:cubicBezTo>
                    <a:moveTo>
                      <a:pt x="1135" y="1431"/>
                    </a:moveTo>
                    <a:cubicBezTo>
                      <a:pt x="1137" y="1431"/>
                      <a:pt x="1137" y="1431"/>
                      <a:pt x="1137" y="1430"/>
                    </a:cubicBezTo>
                    <a:moveTo>
                      <a:pt x="1137" y="1430"/>
                    </a:moveTo>
                    <a:cubicBezTo>
                      <a:pt x="1138" y="1430"/>
                      <a:pt x="1139" y="1430"/>
                      <a:pt x="1139" y="1429"/>
                    </a:cubicBezTo>
                    <a:moveTo>
                      <a:pt x="1139" y="1429"/>
                    </a:moveTo>
                    <a:cubicBezTo>
                      <a:pt x="1141" y="1428"/>
                      <a:pt x="1139" y="1428"/>
                      <a:pt x="1139" y="1429"/>
                    </a:cubicBezTo>
                    <a:moveTo>
                      <a:pt x="789" y="1465"/>
                    </a:moveTo>
                    <a:cubicBezTo>
                      <a:pt x="825" y="1461"/>
                      <a:pt x="858" y="1454"/>
                      <a:pt x="891" y="1446"/>
                    </a:cubicBezTo>
                    <a:cubicBezTo>
                      <a:pt x="892" y="1440"/>
                      <a:pt x="897" y="1434"/>
                      <a:pt x="895" y="1429"/>
                    </a:cubicBezTo>
                    <a:cubicBezTo>
                      <a:pt x="863" y="1444"/>
                      <a:pt x="826" y="1455"/>
                      <a:pt x="789" y="1465"/>
                    </a:cubicBezTo>
                    <a:close/>
                    <a:moveTo>
                      <a:pt x="404" y="1435"/>
                    </a:moveTo>
                    <a:cubicBezTo>
                      <a:pt x="404" y="1434"/>
                      <a:pt x="405" y="1435"/>
                      <a:pt x="404" y="1435"/>
                    </a:cubicBezTo>
                    <a:close/>
                    <a:moveTo>
                      <a:pt x="407" y="1436"/>
                    </a:moveTo>
                    <a:cubicBezTo>
                      <a:pt x="407" y="1437"/>
                      <a:pt x="408" y="1436"/>
                      <a:pt x="409" y="1437"/>
                    </a:cubicBezTo>
                    <a:moveTo>
                      <a:pt x="409" y="1437"/>
                    </a:moveTo>
                    <a:cubicBezTo>
                      <a:pt x="409" y="1437"/>
                      <a:pt x="409" y="1437"/>
                      <a:pt x="409" y="1438"/>
                    </a:cubicBezTo>
                    <a:cubicBezTo>
                      <a:pt x="439" y="1456"/>
                      <a:pt x="472" y="1472"/>
                      <a:pt x="513" y="1480"/>
                    </a:cubicBezTo>
                    <a:moveTo>
                      <a:pt x="513" y="1480"/>
                    </a:moveTo>
                    <a:cubicBezTo>
                      <a:pt x="514" y="1483"/>
                      <a:pt x="517" y="1479"/>
                      <a:pt x="513" y="1480"/>
                    </a:cubicBezTo>
                    <a:moveTo>
                      <a:pt x="513" y="1480"/>
                    </a:moveTo>
                    <a:cubicBezTo>
                      <a:pt x="487" y="1457"/>
                      <a:pt x="441" y="1454"/>
                      <a:pt x="409" y="1437"/>
                    </a:cubicBezTo>
                    <a:moveTo>
                      <a:pt x="409" y="1437"/>
                    </a:moveTo>
                    <a:cubicBezTo>
                      <a:pt x="409" y="1436"/>
                      <a:pt x="408" y="1436"/>
                      <a:pt x="407" y="1436"/>
                    </a:cubicBezTo>
                    <a:moveTo>
                      <a:pt x="407" y="1436"/>
                    </a:moveTo>
                    <a:cubicBezTo>
                      <a:pt x="406" y="1434"/>
                      <a:pt x="406" y="1436"/>
                      <a:pt x="407" y="1436"/>
                    </a:cubicBezTo>
                    <a:moveTo>
                      <a:pt x="541" y="1455"/>
                    </a:moveTo>
                    <a:cubicBezTo>
                      <a:pt x="559" y="1457"/>
                      <a:pt x="575" y="1462"/>
                      <a:pt x="594" y="1463"/>
                    </a:cubicBezTo>
                    <a:cubicBezTo>
                      <a:pt x="592" y="1458"/>
                      <a:pt x="588" y="1454"/>
                      <a:pt x="586" y="1448"/>
                    </a:cubicBezTo>
                    <a:cubicBezTo>
                      <a:pt x="570" y="1444"/>
                      <a:pt x="554" y="1440"/>
                      <a:pt x="538" y="1435"/>
                    </a:cubicBezTo>
                    <a:cubicBezTo>
                      <a:pt x="536" y="1441"/>
                      <a:pt x="539" y="1450"/>
                      <a:pt x="541" y="1455"/>
                    </a:cubicBezTo>
                    <a:close/>
                    <a:moveTo>
                      <a:pt x="466" y="1437"/>
                    </a:moveTo>
                    <a:cubicBezTo>
                      <a:pt x="466" y="1437"/>
                      <a:pt x="466" y="1437"/>
                      <a:pt x="466" y="1438"/>
                    </a:cubicBezTo>
                    <a:cubicBezTo>
                      <a:pt x="476" y="1446"/>
                      <a:pt x="485" y="1455"/>
                      <a:pt x="495" y="1463"/>
                    </a:cubicBezTo>
                    <a:cubicBezTo>
                      <a:pt x="514" y="1467"/>
                      <a:pt x="531" y="1473"/>
                      <a:pt x="552" y="1474"/>
                    </a:cubicBezTo>
                    <a:moveTo>
                      <a:pt x="552" y="1474"/>
                    </a:moveTo>
                    <a:cubicBezTo>
                      <a:pt x="552" y="1475"/>
                      <a:pt x="553" y="1474"/>
                      <a:pt x="552" y="1474"/>
                    </a:cubicBezTo>
                    <a:moveTo>
                      <a:pt x="552" y="1474"/>
                    </a:moveTo>
                    <a:cubicBezTo>
                      <a:pt x="547" y="1468"/>
                      <a:pt x="542" y="1463"/>
                      <a:pt x="538" y="1456"/>
                    </a:cubicBezTo>
                    <a:cubicBezTo>
                      <a:pt x="512" y="1451"/>
                      <a:pt x="490" y="1443"/>
                      <a:pt x="466" y="1437"/>
                    </a:cubicBezTo>
                    <a:moveTo>
                      <a:pt x="466" y="1437"/>
                    </a:moveTo>
                    <a:cubicBezTo>
                      <a:pt x="466" y="1435"/>
                      <a:pt x="465" y="1437"/>
                      <a:pt x="466" y="1437"/>
                    </a:cubicBezTo>
                    <a:moveTo>
                      <a:pt x="888" y="1463"/>
                    </a:moveTo>
                    <a:cubicBezTo>
                      <a:pt x="888" y="1467"/>
                      <a:pt x="885" y="1469"/>
                      <a:pt x="884" y="1472"/>
                    </a:cubicBezTo>
                    <a:cubicBezTo>
                      <a:pt x="919" y="1472"/>
                      <a:pt x="949" y="1466"/>
                      <a:pt x="980" y="1462"/>
                    </a:cubicBezTo>
                    <a:cubicBezTo>
                      <a:pt x="982" y="1456"/>
                      <a:pt x="988" y="1448"/>
                      <a:pt x="986" y="1441"/>
                    </a:cubicBezTo>
                    <a:cubicBezTo>
                      <a:pt x="956" y="1451"/>
                      <a:pt x="922" y="1458"/>
                      <a:pt x="888" y="1463"/>
                    </a:cubicBezTo>
                    <a:close/>
                    <a:moveTo>
                      <a:pt x="1098" y="1445"/>
                    </a:moveTo>
                    <a:cubicBezTo>
                      <a:pt x="1098" y="1445"/>
                      <a:pt x="1099" y="1446"/>
                      <a:pt x="1098" y="1445"/>
                    </a:cubicBezTo>
                    <a:close/>
                    <a:moveTo>
                      <a:pt x="423" y="1450"/>
                    </a:moveTo>
                    <a:cubicBezTo>
                      <a:pt x="423" y="1450"/>
                      <a:pt x="424" y="1451"/>
                      <a:pt x="423" y="1450"/>
                    </a:cubicBezTo>
                    <a:close/>
                    <a:moveTo>
                      <a:pt x="600" y="1464"/>
                    </a:moveTo>
                    <a:cubicBezTo>
                      <a:pt x="639" y="1469"/>
                      <a:pt x="688" y="1474"/>
                      <a:pt x="730" y="1469"/>
                    </a:cubicBezTo>
                    <a:cubicBezTo>
                      <a:pt x="679" y="1467"/>
                      <a:pt x="633" y="1459"/>
                      <a:pt x="590" y="1449"/>
                    </a:cubicBezTo>
                    <a:cubicBezTo>
                      <a:pt x="593" y="1455"/>
                      <a:pt x="595" y="1461"/>
                      <a:pt x="600" y="1464"/>
                    </a:cubicBezTo>
                    <a:close/>
                    <a:moveTo>
                      <a:pt x="888" y="1449"/>
                    </a:moveTo>
                    <a:cubicBezTo>
                      <a:pt x="859" y="1457"/>
                      <a:pt x="828" y="1462"/>
                      <a:pt x="797" y="1467"/>
                    </a:cubicBezTo>
                    <a:cubicBezTo>
                      <a:pt x="795" y="1467"/>
                      <a:pt x="793" y="1467"/>
                      <a:pt x="792" y="1467"/>
                    </a:cubicBezTo>
                    <a:cubicBezTo>
                      <a:pt x="790" y="1468"/>
                      <a:pt x="792" y="1469"/>
                      <a:pt x="794" y="1468"/>
                    </a:cubicBezTo>
                    <a:cubicBezTo>
                      <a:pt x="826" y="1467"/>
                      <a:pt x="856" y="1465"/>
                      <a:pt x="885" y="1461"/>
                    </a:cubicBezTo>
                    <a:cubicBezTo>
                      <a:pt x="887" y="1457"/>
                      <a:pt x="888" y="1453"/>
                      <a:pt x="890" y="1449"/>
                    </a:cubicBezTo>
                    <a:cubicBezTo>
                      <a:pt x="889" y="1449"/>
                      <a:pt x="888" y="1449"/>
                      <a:pt x="888" y="1449"/>
                    </a:cubicBezTo>
                    <a:close/>
                    <a:moveTo>
                      <a:pt x="425" y="1451"/>
                    </a:moveTo>
                    <a:cubicBezTo>
                      <a:pt x="425" y="1451"/>
                      <a:pt x="426" y="1452"/>
                      <a:pt x="425" y="1451"/>
                    </a:cubicBezTo>
                    <a:close/>
                    <a:moveTo>
                      <a:pt x="427" y="1452"/>
                    </a:moveTo>
                    <a:cubicBezTo>
                      <a:pt x="427" y="1452"/>
                      <a:pt x="428" y="1453"/>
                      <a:pt x="427" y="1452"/>
                    </a:cubicBezTo>
                    <a:close/>
                    <a:moveTo>
                      <a:pt x="429" y="1453"/>
                    </a:moveTo>
                    <a:cubicBezTo>
                      <a:pt x="428" y="1453"/>
                      <a:pt x="430" y="1454"/>
                      <a:pt x="429" y="1453"/>
                    </a:cubicBezTo>
                    <a:close/>
                    <a:moveTo>
                      <a:pt x="749" y="1462"/>
                    </a:moveTo>
                    <a:cubicBezTo>
                      <a:pt x="749" y="1462"/>
                      <a:pt x="750" y="1462"/>
                      <a:pt x="750" y="1463"/>
                    </a:cubicBezTo>
                    <a:moveTo>
                      <a:pt x="750" y="1463"/>
                    </a:moveTo>
                    <a:cubicBezTo>
                      <a:pt x="751" y="1464"/>
                      <a:pt x="752" y="1462"/>
                      <a:pt x="750" y="1463"/>
                    </a:cubicBezTo>
                    <a:moveTo>
                      <a:pt x="750" y="1463"/>
                    </a:moveTo>
                    <a:cubicBezTo>
                      <a:pt x="750" y="1462"/>
                      <a:pt x="749" y="1462"/>
                      <a:pt x="749" y="1462"/>
                    </a:cubicBezTo>
                    <a:moveTo>
                      <a:pt x="749" y="1462"/>
                    </a:moveTo>
                    <a:cubicBezTo>
                      <a:pt x="746" y="1458"/>
                      <a:pt x="742" y="1456"/>
                      <a:pt x="739" y="1453"/>
                    </a:cubicBezTo>
                    <a:cubicBezTo>
                      <a:pt x="738" y="1460"/>
                      <a:pt x="744" y="1460"/>
                      <a:pt x="749" y="1462"/>
                    </a:cubicBezTo>
                    <a:moveTo>
                      <a:pt x="559" y="1476"/>
                    </a:moveTo>
                    <a:cubicBezTo>
                      <a:pt x="572" y="1480"/>
                      <a:pt x="590" y="1477"/>
                      <a:pt x="605" y="1480"/>
                    </a:cubicBezTo>
                    <a:cubicBezTo>
                      <a:pt x="605" y="1476"/>
                      <a:pt x="598" y="1472"/>
                      <a:pt x="597" y="1466"/>
                    </a:cubicBezTo>
                    <a:cubicBezTo>
                      <a:pt x="577" y="1465"/>
                      <a:pt x="561" y="1460"/>
                      <a:pt x="543" y="1458"/>
                    </a:cubicBezTo>
                    <a:cubicBezTo>
                      <a:pt x="547" y="1464"/>
                      <a:pt x="551" y="1473"/>
                      <a:pt x="559" y="1476"/>
                    </a:cubicBezTo>
                    <a:close/>
                    <a:moveTo>
                      <a:pt x="981" y="1463"/>
                    </a:moveTo>
                    <a:cubicBezTo>
                      <a:pt x="976" y="1471"/>
                      <a:pt x="970" y="1476"/>
                      <a:pt x="964" y="1481"/>
                    </a:cubicBezTo>
                    <a:cubicBezTo>
                      <a:pt x="972" y="1480"/>
                      <a:pt x="978" y="1479"/>
                      <a:pt x="986" y="1478"/>
                    </a:cubicBezTo>
                    <a:cubicBezTo>
                      <a:pt x="993" y="1472"/>
                      <a:pt x="1000" y="1466"/>
                      <a:pt x="1007" y="1460"/>
                    </a:cubicBezTo>
                    <a:cubicBezTo>
                      <a:pt x="1007" y="1458"/>
                      <a:pt x="1008" y="1458"/>
                      <a:pt x="1006" y="1458"/>
                    </a:cubicBezTo>
                    <a:cubicBezTo>
                      <a:pt x="998" y="1460"/>
                      <a:pt x="989" y="1461"/>
                      <a:pt x="981" y="1463"/>
                    </a:cubicBezTo>
                    <a:close/>
                    <a:moveTo>
                      <a:pt x="1069" y="1460"/>
                    </a:moveTo>
                    <a:cubicBezTo>
                      <a:pt x="1069" y="1459"/>
                      <a:pt x="1070" y="1460"/>
                      <a:pt x="1069" y="1460"/>
                    </a:cubicBezTo>
                    <a:close/>
                    <a:moveTo>
                      <a:pt x="1066" y="1461"/>
                    </a:moveTo>
                    <a:cubicBezTo>
                      <a:pt x="1041" y="1468"/>
                      <a:pt x="1016" y="1476"/>
                      <a:pt x="987" y="1480"/>
                    </a:cubicBezTo>
                    <a:cubicBezTo>
                      <a:pt x="984" y="1484"/>
                      <a:pt x="979" y="1485"/>
                      <a:pt x="976" y="1488"/>
                    </a:cubicBezTo>
                    <a:cubicBezTo>
                      <a:pt x="1008" y="1481"/>
                      <a:pt x="1042" y="1475"/>
                      <a:pt x="1066" y="1461"/>
                    </a:cubicBezTo>
                    <a:moveTo>
                      <a:pt x="1066" y="1461"/>
                    </a:moveTo>
                    <a:cubicBezTo>
                      <a:pt x="1070" y="1462"/>
                      <a:pt x="1067" y="1458"/>
                      <a:pt x="1066" y="1461"/>
                    </a:cubicBezTo>
                    <a:moveTo>
                      <a:pt x="742" y="1463"/>
                    </a:moveTo>
                    <a:cubicBezTo>
                      <a:pt x="742" y="1465"/>
                      <a:pt x="746" y="1462"/>
                      <a:pt x="742" y="1463"/>
                    </a:cubicBezTo>
                    <a:moveTo>
                      <a:pt x="742" y="1463"/>
                    </a:moveTo>
                    <a:cubicBezTo>
                      <a:pt x="741" y="1462"/>
                      <a:pt x="740" y="1461"/>
                      <a:pt x="739" y="1461"/>
                    </a:cubicBezTo>
                    <a:cubicBezTo>
                      <a:pt x="739" y="1463"/>
                      <a:pt x="740" y="1462"/>
                      <a:pt x="742" y="1463"/>
                    </a:cubicBezTo>
                    <a:moveTo>
                      <a:pt x="1072" y="1462"/>
                    </a:moveTo>
                    <a:cubicBezTo>
                      <a:pt x="1072" y="1461"/>
                      <a:pt x="1073" y="1462"/>
                      <a:pt x="1072" y="1462"/>
                    </a:cubicBezTo>
                    <a:close/>
                    <a:moveTo>
                      <a:pt x="774" y="1463"/>
                    </a:moveTo>
                    <a:cubicBezTo>
                      <a:pt x="774" y="1463"/>
                      <a:pt x="775" y="1464"/>
                      <a:pt x="774" y="1463"/>
                    </a:cubicBezTo>
                    <a:close/>
                    <a:moveTo>
                      <a:pt x="746" y="1464"/>
                    </a:moveTo>
                    <a:cubicBezTo>
                      <a:pt x="745" y="1464"/>
                      <a:pt x="746" y="1465"/>
                      <a:pt x="746" y="1464"/>
                    </a:cubicBezTo>
                    <a:close/>
                    <a:moveTo>
                      <a:pt x="780" y="1464"/>
                    </a:moveTo>
                    <a:cubicBezTo>
                      <a:pt x="780" y="1464"/>
                      <a:pt x="781" y="1465"/>
                      <a:pt x="780" y="1464"/>
                    </a:cubicBezTo>
                    <a:close/>
                    <a:moveTo>
                      <a:pt x="796" y="1472"/>
                    </a:moveTo>
                    <a:cubicBezTo>
                      <a:pt x="823" y="1473"/>
                      <a:pt x="851" y="1473"/>
                      <a:pt x="879" y="1473"/>
                    </a:cubicBezTo>
                    <a:cubicBezTo>
                      <a:pt x="879" y="1470"/>
                      <a:pt x="886" y="1464"/>
                      <a:pt x="882" y="1463"/>
                    </a:cubicBezTo>
                    <a:cubicBezTo>
                      <a:pt x="855" y="1469"/>
                      <a:pt x="823" y="1468"/>
                      <a:pt x="796" y="1472"/>
                    </a:cubicBezTo>
                    <a:close/>
                    <a:moveTo>
                      <a:pt x="882" y="1475"/>
                    </a:moveTo>
                    <a:cubicBezTo>
                      <a:pt x="882" y="1479"/>
                      <a:pt x="879" y="1481"/>
                      <a:pt x="878" y="1485"/>
                    </a:cubicBezTo>
                    <a:cubicBezTo>
                      <a:pt x="901" y="1482"/>
                      <a:pt x="937" y="1489"/>
                      <a:pt x="958" y="1482"/>
                    </a:cubicBezTo>
                    <a:cubicBezTo>
                      <a:pt x="961" y="1480"/>
                      <a:pt x="965" y="1476"/>
                      <a:pt x="968" y="1473"/>
                    </a:cubicBezTo>
                    <a:cubicBezTo>
                      <a:pt x="971" y="1470"/>
                      <a:pt x="977" y="1467"/>
                      <a:pt x="975" y="1464"/>
                    </a:cubicBezTo>
                    <a:cubicBezTo>
                      <a:pt x="946" y="1470"/>
                      <a:pt x="916" y="1474"/>
                      <a:pt x="882" y="1475"/>
                    </a:cubicBezTo>
                    <a:close/>
                    <a:moveTo>
                      <a:pt x="784" y="1466"/>
                    </a:moveTo>
                    <a:cubicBezTo>
                      <a:pt x="784" y="1466"/>
                      <a:pt x="785" y="1467"/>
                      <a:pt x="784" y="1466"/>
                    </a:cubicBezTo>
                    <a:close/>
                    <a:moveTo>
                      <a:pt x="503" y="1468"/>
                    </a:moveTo>
                    <a:cubicBezTo>
                      <a:pt x="520" y="1486"/>
                      <a:pt x="554" y="1491"/>
                      <a:pt x="582" y="1493"/>
                    </a:cubicBezTo>
                    <a:cubicBezTo>
                      <a:pt x="572" y="1490"/>
                      <a:pt x="565" y="1483"/>
                      <a:pt x="556" y="1478"/>
                    </a:cubicBezTo>
                    <a:cubicBezTo>
                      <a:pt x="537" y="1475"/>
                      <a:pt x="521" y="1471"/>
                      <a:pt x="503" y="1468"/>
                    </a:cubicBezTo>
                    <a:moveTo>
                      <a:pt x="503" y="1468"/>
                    </a:moveTo>
                    <a:cubicBezTo>
                      <a:pt x="502" y="1467"/>
                      <a:pt x="502" y="1468"/>
                      <a:pt x="503" y="1468"/>
                    </a:cubicBezTo>
                    <a:moveTo>
                      <a:pt x="611" y="1480"/>
                    </a:moveTo>
                    <a:cubicBezTo>
                      <a:pt x="653" y="1483"/>
                      <a:pt x="697" y="1480"/>
                      <a:pt x="732" y="1473"/>
                    </a:cubicBezTo>
                    <a:cubicBezTo>
                      <a:pt x="687" y="1475"/>
                      <a:pt x="642" y="1473"/>
                      <a:pt x="601" y="1467"/>
                    </a:cubicBezTo>
                    <a:cubicBezTo>
                      <a:pt x="604" y="1472"/>
                      <a:pt x="605" y="1478"/>
                      <a:pt x="611" y="1480"/>
                    </a:cubicBezTo>
                    <a:close/>
                    <a:moveTo>
                      <a:pt x="738" y="1472"/>
                    </a:moveTo>
                    <a:cubicBezTo>
                      <a:pt x="737" y="1472"/>
                      <a:pt x="736" y="1472"/>
                      <a:pt x="736" y="1473"/>
                    </a:cubicBezTo>
                    <a:cubicBezTo>
                      <a:pt x="737" y="1473"/>
                      <a:pt x="738" y="1473"/>
                      <a:pt x="738" y="1472"/>
                    </a:cubicBezTo>
                    <a:close/>
                    <a:moveTo>
                      <a:pt x="789" y="1473"/>
                    </a:moveTo>
                    <a:cubicBezTo>
                      <a:pt x="788" y="1473"/>
                      <a:pt x="786" y="1473"/>
                      <a:pt x="786" y="1474"/>
                    </a:cubicBezTo>
                    <a:cubicBezTo>
                      <a:pt x="787" y="1474"/>
                      <a:pt x="789" y="1474"/>
                      <a:pt x="789" y="1473"/>
                    </a:cubicBezTo>
                    <a:close/>
                    <a:moveTo>
                      <a:pt x="742" y="1475"/>
                    </a:moveTo>
                    <a:cubicBezTo>
                      <a:pt x="741" y="1475"/>
                      <a:pt x="742" y="1476"/>
                      <a:pt x="742" y="1475"/>
                    </a:cubicBezTo>
                    <a:close/>
                    <a:moveTo>
                      <a:pt x="745" y="1509"/>
                    </a:moveTo>
                    <a:cubicBezTo>
                      <a:pt x="748" y="1509"/>
                      <a:pt x="752" y="1509"/>
                      <a:pt x="755" y="1509"/>
                    </a:cubicBezTo>
                    <a:cubicBezTo>
                      <a:pt x="757" y="1498"/>
                      <a:pt x="761" y="1484"/>
                      <a:pt x="759" y="1474"/>
                    </a:cubicBezTo>
                    <a:cubicBezTo>
                      <a:pt x="754" y="1485"/>
                      <a:pt x="737" y="1490"/>
                      <a:pt x="745" y="1509"/>
                    </a:cubicBezTo>
                    <a:close/>
                    <a:moveTo>
                      <a:pt x="877" y="1476"/>
                    </a:moveTo>
                    <a:cubicBezTo>
                      <a:pt x="879" y="1475"/>
                      <a:pt x="877" y="1475"/>
                      <a:pt x="877" y="1476"/>
                    </a:cubicBezTo>
                    <a:moveTo>
                      <a:pt x="877" y="1476"/>
                    </a:moveTo>
                    <a:cubicBezTo>
                      <a:pt x="848" y="1477"/>
                      <a:pt x="817" y="1475"/>
                      <a:pt x="791" y="1475"/>
                    </a:cubicBezTo>
                    <a:cubicBezTo>
                      <a:pt x="817" y="1479"/>
                      <a:pt x="844" y="1483"/>
                      <a:pt x="873" y="1485"/>
                    </a:cubicBezTo>
                    <a:cubicBezTo>
                      <a:pt x="875" y="1482"/>
                      <a:pt x="877" y="1480"/>
                      <a:pt x="877" y="1476"/>
                    </a:cubicBezTo>
                    <a:moveTo>
                      <a:pt x="655" y="1493"/>
                    </a:moveTo>
                    <a:cubicBezTo>
                      <a:pt x="685" y="1490"/>
                      <a:pt x="715" y="1482"/>
                      <a:pt x="737" y="1477"/>
                    </a:cubicBezTo>
                    <a:cubicBezTo>
                      <a:pt x="737" y="1476"/>
                      <a:pt x="739" y="1475"/>
                      <a:pt x="736" y="1475"/>
                    </a:cubicBezTo>
                    <a:cubicBezTo>
                      <a:pt x="700" y="1482"/>
                      <a:pt x="655" y="1485"/>
                      <a:pt x="612" y="1483"/>
                    </a:cubicBezTo>
                    <a:cubicBezTo>
                      <a:pt x="615" y="1498"/>
                      <a:pt x="635" y="1496"/>
                      <a:pt x="655" y="1493"/>
                    </a:cubicBezTo>
                    <a:close/>
                    <a:moveTo>
                      <a:pt x="749" y="1476"/>
                    </a:moveTo>
                    <a:cubicBezTo>
                      <a:pt x="748" y="1476"/>
                      <a:pt x="749" y="1477"/>
                      <a:pt x="749" y="1476"/>
                    </a:cubicBezTo>
                    <a:close/>
                    <a:moveTo>
                      <a:pt x="754" y="1476"/>
                    </a:moveTo>
                    <a:cubicBezTo>
                      <a:pt x="749" y="1477"/>
                      <a:pt x="746" y="1481"/>
                      <a:pt x="741" y="1483"/>
                    </a:cubicBezTo>
                    <a:cubicBezTo>
                      <a:pt x="742" y="1484"/>
                      <a:pt x="741" y="1488"/>
                      <a:pt x="743" y="1489"/>
                    </a:cubicBezTo>
                    <a:cubicBezTo>
                      <a:pt x="746" y="1485"/>
                      <a:pt x="752" y="1481"/>
                      <a:pt x="754" y="1476"/>
                    </a:cubicBezTo>
                    <a:moveTo>
                      <a:pt x="754" y="1476"/>
                    </a:moveTo>
                    <a:cubicBezTo>
                      <a:pt x="756" y="1475"/>
                      <a:pt x="754" y="1475"/>
                      <a:pt x="754" y="1476"/>
                    </a:cubicBezTo>
                    <a:moveTo>
                      <a:pt x="773" y="1476"/>
                    </a:moveTo>
                    <a:cubicBezTo>
                      <a:pt x="772" y="1476"/>
                      <a:pt x="773" y="1477"/>
                      <a:pt x="773" y="1476"/>
                    </a:cubicBezTo>
                    <a:close/>
                    <a:moveTo>
                      <a:pt x="782" y="1475"/>
                    </a:moveTo>
                    <a:cubicBezTo>
                      <a:pt x="781" y="1475"/>
                      <a:pt x="780" y="1475"/>
                      <a:pt x="780" y="1476"/>
                    </a:cubicBezTo>
                    <a:cubicBezTo>
                      <a:pt x="781" y="1476"/>
                      <a:pt x="782" y="1476"/>
                      <a:pt x="782" y="1475"/>
                    </a:cubicBezTo>
                    <a:close/>
                    <a:moveTo>
                      <a:pt x="746" y="1477"/>
                    </a:moveTo>
                    <a:cubicBezTo>
                      <a:pt x="743" y="1476"/>
                      <a:pt x="739" y="1478"/>
                      <a:pt x="742" y="1480"/>
                    </a:cubicBezTo>
                    <a:cubicBezTo>
                      <a:pt x="742" y="1478"/>
                      <a:pt x="745" y="1479"/>
                      <a:pt x="746" y="1477"/>
                    </a:cubicBezTo>
                    <a:moveTo>
                      <a:pt x="746" y="1477"/>
                    </a:moveTo>
                    <a:cubicBezTo>
                      <a:pt x="750" y="1478"/>
                      <a:pt x="746" y="1474"/>
                      <a:pt x="746" y="1477"/>
                    </a:cubicBezTo>
                    <a:moveTo>
                      <a:pt x="758" y="1509"/>
                    </a:moveTo>
                    <a:cubicBezTo>
                      <a:pt x="768" y="1509"/>
                      <a:pt x="777" y="1509"/>
                      <a:pt x="787" y="1509"/>
                    </a:cubicBezTo>
                    <a:cubicBezTo>
                      <a:pt x="781" y="1500"/>
                      <a:pt x="770" y="1487"/>
                      <a:pt x="763" y="1476"/>
                    </a:cubicBezTo>
                    <a:cubicBezTo>
                      <a:pt x="761" y="1486"/>
                      <a:pt x="760" y="1498"/>
                      <a:pt x="758" y="1509"/>
                    </a:cubicBezTo>
                    <a:close/>
                    <a:moveTo>
                      <a:pt x="796" y="1509"/>
                    </a:moveTo>
                    <a:cubicBezTo>
                      <a:pt x="804" y="1511"/>
                      <a:pt x="813" y="1505"/>
                      <a:pt x="826" y="1508"/>
                    </a:cubicBezTo>
                    <a:cubicBezTo>
                      <a:pt x="807" y="1497"/>
                      <a:pt x="786" y="1489"/>
                      <a:pt x="769" y="1476"/>
                    </a:cubicBezTo>
                    <a:cubicBezTo>
                      <a:pt x="777" y="1485"/>
                      <a:pt x="782" y="1505"/>
                      <a:pt x="796" y="1509"/>
                    </a:cubicBezTo>
                    <a:close/>
                    <a:moveTo>
                      <a:pt x="837" y="1507"/>
                    </a:moveTo>
                    <a:cubicBezTo>
                      <a:pt x="844" y="1507"/>
                      <a:pt x="860" y="1507"/>
                      <a:pt x="864" y="1499"/>
                    </a:cubicBezTo>
                    <a:cubicBezTo>
                      <a:pt x="831" y="1496"/>
                      <a:pt x="800" y="1484"/>
                      <a:pt x="774" y="1477"/>
                    </a:cubicBezTo>
                    <a:cubicBezTo>
                      <a:pt x="791" y="1485"/>
                      <a:pt x="814" y="1505"/>
                      <a:pt x="837" y="1507"/>
                    </a:cubicBezTo>
                    <a:close/>
                    <a:moveTo>
                      <a:pt x="865" y="1497"/>
                    </a:moveTo>
                    <a:cubicBezTo>
                      <a:pt x="867" y="1494"/>
                      <a:pt x="870" y="1491"/>
                      <a:pt x="871" y="1487"/>
                    </a:cubicBezTo>
                    <a:cubicBezTo>
                      <a:pt x="839" y="1487"/>
                      <a:pt x="810" y="1479"/>
                      <a:pt x="783" y="1477"/>
                    </a:cubicBezTo>
                    <a:cubicBezTo>
                      <a:pt x="809" y="1485"/>
                      <a:pt x="835" y="1493"/>
                      <a:pt x="865" y="1497"/>
                    </a:cubicBezTo>
                    <a:close/>
                    <a:moveTo>
                      <a:pt x="617" y="1495"/>
                    </a:moveTo>
                    <a:cubicBezTo>
                      <a:pt x="616" y="1492"/>
                      <a:pt x="610" y="1486"/>
                      <a:pt x="606" y="1483"/>
                    </a:cubicBezTo>
                    <a:cubicBezTo>
                      <a:pt x="592" y="1483"/>
                      <a:pt x="576" y="1479"/>
                      <a:pt x="563" y="1480"/>
                    </a:cubicBezTo>
                    <a:cubicBezTo>
                      <a:pt x="577" y="1489"/>
                      <a:pt x="591" y="1498"/>
                      <a:pt x="617" y="1495"/>
                    </a:cubicBezTo>
                    <a:close/>
                    <a:moveTo>
                      <a:pt x="626" y="1499"/>
                    </a:moveTo>
                    <a:cubicBezTo>
                      <a:pt x="667" y="1513"/>
                      <a:pt x="710" y="1498"/>
                      <a:pt x="738" y="1480"/>
                    </a:cubicBezTo>
                    <a:cubicBezTo>
                      <a:pt x="706" y="1488"/>
                      <a:pt x="665" y="1495"/>
                      <a:pt x="626" y="1499"/>
                    </a:cubicBezTo>
                    <a:close/>
                    <a:moveTo>
                      <a:pt x="1025" y="1480"/>
                    </a:moveTo>
                    <a:cubicBezTo>
                      <a:pt x="1025" y="1479"/>
                      <a:pt x="1026" y="1480"/>
                      <a:pt x="1025" y="1480"/>
                    </a:cubicBezTo>
                    <a:close/>
                    <a:moveTo>
                      <a:pt x="1022" y="1481"/>
                    </a:moveTo>
                    <a:cubicBezTo>
                      <a:pt x="1023" y="1481"/>
                      <a:pt x="1022" y="1480"/>
                      <a:pt x="1022" y="1481"/>
                    </a:cubicBezTo>
                    <a:close/>
                    <a:moveTo>
                      <a:pt x="516" y="1482"/>
                    </a:moveTo>
                    <a:cubicBezTo>
                      <a:pt x="516" y="1481"/>
                      <a:pt x="517" y="1482"/>
                      <a:pt x="516" y="1482"/>
                    </a:cubicBezTo>
                    <a:close/>
                    <a:moveTo>
                      <a:pt x="1018" y="1482"/>
                    </a:moveTo>
                    <a:cubicBezTo>
                      <a:pt x="1001" y="1486"/>
                      <a:pt x="981" y="1488"/>
                      <a:pt x="966" y="1495"/>
                    </a:cubicBezTo>
                    <a:moveTo>
                      <a:pt x="966" y="1495"/>
                    </a:moveTo>
                    <a:cubicBezTo>
                      <a:pt x="962" y="1494"/>
                      <a:pt x="965" y="1498"/>
                      <a:pt x="966" y="1495"/>
                    </a:cubicBezTo>
                    <a:moveTo>
                      <a:pt x="966" y="1495"/>
                    </a:moveTo>
                    <a:cubicBezTo>
                      <a:pt x="985" y="1493"/>
                      <a:pt x="1002" y="1488"/>
                      <a:pt x="1018" y="1482"/>
                    </a:cubicBezTo>
                    <a:moveTo>
                      <a:pt x="1018" y="1482"/>
                    </a:moveTo>
                    <a:cubicBezTo>
                      <a:pt x="1022" y="1483"/>
                      <a:pt x="1019" y="1479"/>
                      <a:pt x="1018" y="1482"/>
                    </a:cubicBezTo>
                    <a:moveTo>
                      <a:pt x="940" y="1495"/>
                    </a:moveTo>
                    <a:cubicBezTo>
                      <a:pt x="955" y="1492"/>
                      <a:pt x="972" y="1491"/>
                      <a:pt x="980" y="1482"/>
                    </a:cubicBezTo>
                    <a:cubicBezTo>
                      <a:pt x="962" y="1482"/>
                      <a:pt x="950" y="1488"/>
                      <a:pt x="940" y="1495"/>
                    </a:cubicBezTo>
                    <a:close/>
                    <a:moveTo>
                      <a:pt x="681" y="1507"/>
                    </a:moveTo>
                    <a:cubicBezTo>
                      <a:pt x="694" y="1507"/>
                      <a:pt x="707" y="1507"/>
                      <a:pt x="719" y="1509"/>
                    </a:cubicBezTo>
                    <a:cubicBezTo>
                      <a:pt x="726" y="1503"/>
                      <a:pt x="734" y="1498"/>
                      <a:pt x="740" y="1491"/>
                    </a:cubicBezTo>
                    <a:cubicBezTo>
                      <a:pt x="737" y="1491"/>
                      <a:pt x="741" y="1484"/>
                      <a:pt x="738" y="1484"/>
                    </a:cubicBezTo>
                    <a:cubicBezTo>
                      <a:pt x="722" y="1494"/>
                      <a:pt x="700" y="1499"/>
                      <a:pt x="681" y="1507"/>
                    </a:cubicBezTo>
                    <a:close/>
                    <a:moveTo>
                      <a:pt x="876" y="1487"/>
                    </a:moveTo>
                    <a:cubicBezTo>
                      <a:pt x="874" y="1491"/>
                      <a:pt x="871" y="1493"/>
                      <a:pt x="870" y="1498"/>
                    </a:cubicBezTo>
                    <a:cubicBezTo>
                      <a:pt x="900" y="1502"/>
                      <a:pt x="934" y="1501"/>
                      <a:pt x="950" y="1486"/>
                    </a:cubicBezTo>
                    <a:cubicBezTo>
                      <a:pt x="927" y="1487"/>
                      <a:pt x="902" y="1488"/>
                      <a:pt x="876" y="1487"/>
                    </a:cubicBezTo>
                    <a:close/>
                    <a:moveTo>
                      <a:pt x="542" y="1492"/>
                    </a:moveTo>
                    <a:cubicBezTo>
                      <a:pt x="542" y="1492"/>
                      <a:pt x="543" y="1493"/>
                      <a:pt x="542" y="1492"/>
                    </a:cubicBezTo>
                    <a:close/>
                    <a:moveTo>
                      <a:pt x="570" y="1495"/>
                    </a:moveTo>
                    <a:cubicBezTo>
                      <a:pt x="565" y="1495"/>
                      <a:pt x="538" y="1491"/>
                      <a:pt x="548" y="1494"/>
                    </a:cubicBezTo>
                    <a:cubicBezTo>
                      <a:pt x="571" y="1502"/>
                      <a:pt x="600" y="1512"/>
                      <a:pt x="625" y="1510"/>
                    </a:cubicBezTo>
                    <a:cubicBezTo>
                      <a:pt x="606" y="1504"/>
                      <a:pt x="592" y="1498"/>
                      <a:pt x="570" y="1495"/>
                    </a:cubicBezTo>
                    <a:close/>
                    <a:moveTo>
                      <a:pt x="958" y="1495"/>
                    </a:moveTo>
                    <a:cubicBezTo>
                      <a:pt x="949" y="1496"/>
                      <a:pt x="942" y="1497"/>
                      <a:pt x="935" y="1499"/>
                    </a:cubicBezTo>
                    <a:cubicBezTo>
                      <a:pt x="943" y="1498"/>
                      <a:pt x="953" y="1499"/>
                      <a:pt x="958" y="1495"/>
                    </a:cubicBezTo>
                    <a:moveTo>
                      <a:pt x="958" y="1495"/>
                    </a:moveTo>
                    <a:cubicBezTo>
                      <a:pt x="962" y="1496"/>
                      <a:pt x="958" y="1492"/>
                      <a:pt x="958" y="1495"/>
                    </a:cubicBezTo>
                    <a:moveTo>
                      <a:pt x="724" y="1509"/>
                    </a:moveTo>
                    <a:cubicBezTo>
                      <a:pt x="730" y="1509"/>
                      <a:pt x="736" y="1509"/>
                      <a:pt x="742" y="1509"/>
                    </a:cubicBezTo>
                    <a:cubicBezTo>
                      <a:pt x="740" y="1505"/>
                      <a:pt x="741" y="1498"/>
                      <a:pt x="739" y="1495"/>
                    </a:cubicBezTo>
                    <a:cubicBezTo>
                      <a:pt x="735" y="1501"/>
                      <a:pt x="728" y="1504"/>
                      <a:pt x="724" y="1509"/>
                    </a:cubicBezTo>
                    <a:close/>
                    <a:moveTo>
                      <a:pt x="613" y="1499"/>
                    </a:moveTo>
                    <a:cubicBezTo>
                      <a:pt x="615" y="1500"/>
                      <a:pt x="623" y="1501"/>
                      <a:pt x="624" y="1500"/>
                    </a:cubicBezTo>
                    <a:cubicBezTo>
                      <a:pt x="622" y="1496"/>
                      <a:pt x="599" y="1499"/>
                      <a:pt x="613" y="1499"/>
                    </a:cubicBezTo>
                    <a:close/>
                    <a:moveTo>
                      <a:pt x="929" y="1500"/>
                    </a:moveTo>
                    <a:cubicBezTo>
                      <a:pt x="929" y="1500"/>
                      <a:pt x="930" y="1501"/>
                      <a:pt x="929" y="1500"/>
                    </a:cubicBezTo>
                    <a:close/>
                    <a:moveTo>
                      <a:pt x="865" y="1505"/>
                    </a:moveTo>
                    <a:cubicBezTo>
                      <a:pt x="871" y="1503"/>
                      <a:pt x="880" y="1504"/>
                      <a:pt x="886" y="1502"/>
                    </a:cubicBezTo>
                    <a:cubicBezTo>
                      <a:pt x="879" y="1502"/>
                      <a:pt x="867" y="1497"/>
                      <a:pt x="865" y="1505"/>
                    </a:cubicBezTo>
                    <a:close/>
                    <a:moveTo>
                      <a:pt x="608" y="1501"/>
                    </a:moveTo>
                    <a:cubicBezTo>
                      <a:pt x="608" y="1501"/>
                      <a:pt x="607" y="1501"/>
                      <a:pt x="606" y="1502"/>
                    </a:cubicBezTo>
                    <a:cubicBezTo>
                      <a:pt x="607" y="1502"/>
                      <a:pt x="608" y="1502"/>
                      <a:pt x="608" y="1501"/>
                    </a:cubicBezTo>
                    <a:close/>
                    <a:moveTo>
                      <a:pt x="885" y="1514"/>
                    </a:moveTo>
                    <a:cubicBezTo>
                      <a:pt x="909" y="1514"/>
                      <a:pt x="929" y="1509"/>
                      <a:pt x="946" y="1501"/>
                    </a:cubicBezTo>
                    <a:cubicBezTo>
                      <a:pt x="921" y="1500"/>
                      <a:pt x="904" y="1509"/>
                      <a:pt x="885" y="1514"/>
                    </a:cubicBezTo>
                    <a:close/>
                    <a:moveTo>
                      <a:pt x="633" y="1509"/>
                    </a:moveTo>
                    <a:cubicBezTo>
                      <a:pt x="629" y="1504"/>
                      <a:pt x="618" y="1501"/>
                      <a:pt x="609" y="1503"/>
                    </a:cubicBezTo>
                    <a:cubicBezTo>
                      <a:pt x="618" y="1504"/>
                      <a:pt x="626" y="1509"/>
                      <a:pt x="633" y="1509"/>
                    </a:cubicBezTo>
                    <a:close/>
                    <a:moveTo>
                      <a:pt x="858" y="1512"/>
                    </a:moveTo>
                    <a:cubicBezTo>
                      <a:pt x="879" y="1516"/>
                      <a:pt x="896" y="1508"/>
                      <a:pt x="912" y="1503"/>
                    </a:cubicBezTo>
                    <a:cubicBezTo>
                      <a:pt x="893" y="1506"/>
                      <a:pt x="869" y="1502"/>
                      <a:pt x="858" y="1512"/>
                    </a:cubicBezTo>
                    <a:close/>
                    <a:moveTo>
                      <a:pt x="659" y="1507"/>
                    </a:moveTo>
                    <a:cubicBezTo>
                      <a:pt x="650" y="1508"/>
                      <a:pt x="641" y="1503"/>
                      <a:pt x="633" y="1506"/>
                    </a:cubicBezTo>
                    <a:cubicBezTo>
                      <a:pt x="638" y="1512"/>
                      <a:pt x="652" y="1509"/>
                      <a:pt x="659" y="1507"/>
                    </a:cubicBezTo>
                    <a:close/>
                    <a:moveTo>
                      <a:pt x="645" y="1512"/>
                    </a:moveTo>
                    <a:cubicBezTo>
                      <a:pt x="667" y="1518"/>
                      <a:pt x="698" y="1526"/>
                      <a:pt x="714" y="1511"/>
                    </a:cubicBezTo>
                    <a:cubicBezTo>
                      <a:pt x="688" y="1510"/>
                      <a:pt x="666" y="1506"/>
                      <a:pt x="645" y="1512"/>
                    </a:cubicBezTo>
                    <a:close/>
                    <a:moveTo>
                      <a:pt x="845" y="1510"/>
                    </a:moveTo>
                    <a:cubicBezTo>
                      <a:pt x="849" y="1510"/>
                      <a:pt x="855" y="1512"/>
                      <a:pt x="856" y="1508"/>
                    </a:cubicBezTo>
                    <a:cubicBezTo>
                      <a:pt x="852" y="1509"/>
                      <a:pt x="847" y="1508"/>
                      <a:pt x="845" y="1510"/>
                    </a:cubicBezTo>
                    <a:close/>
                    <a:moveTo>
                      <a:pt x="798" y="1512"/>
                    </a:moveTo>
                    <a:cubicBezTo>
                      <a:pt x="808" y="1524"/>
                      <a:pt x="839" y="1525"/>
                      <a:pt x="850" y="1513"/>
                    </a:cubicBezTo>
                    <a:cubicBezTo>
                      <a:pt x="837" y="1508"/>
                      <a:pt x="813" y="1509"/>
                      <a:pt x="798" y="1512"/>
                    </a:cubicBezTo>
                    <a:close/>
                    <a:moveTo>
                      <a:pt x="699" y="1522"/>
                    </a:moveTo>
                    <a:cubicBezTo>
                      <a:pt x="714" y="1522"/>
                      <a:pt x="731" y="1526"/>
                      <a:pt x="746" y="1524"/>
                    </a:cubicBezTo>
                    <a:cubicBezTo>
                      <a:pt x="743" y="1521"/>
                      <a:pt x="744" y="1515"/>
                      <a:pt x="742" y="1511"/>
                    </a:cubicBezTo>
                    <a:cubicBezTo>
                      <a:pt x="721" y="1509"/>
                      <a:pt x="710" y="1514"/>
                      <a:pt x="699" y="1522"/>
                    </a:cubicBezTo>
                    <a:close/>
                    <a:moveTo>
                      <a:pt x="750" y="1525"/>
                    </a:moveTo>
                    <a:cubicBezTo>
                      <a:pt x="753" y="1522"/>
                      <a:pt x="754" y="1517"/>
                      <a:pt x="754" y="1511"/>
                    </a:cubicBezTo>
                    <a:cubicBezTo>
                      <a:pt x="751" y="1511"/>
                      <a:pt x="748" y="1511"/>
                      <a:pt x="745" y="1511"/>
                    </a:cubicBezTo>
                    <a:cubicBezTo>
                      <a:pt x="747" y="1516"/>
                      <a:pt x="745" y="1524"/>
                      <a:pt x="750" y="1525"/>
                    </a:cubicBezTo>
                    <a:close/>
                    <a:moveTo>
                      <a:pt x="790" y="1511"/>
                    </a:moveTo>
                    <a:cubicBezTo>
                      <a:pt x="779" y="1511"/>
                      <a:pt x="768" y="1511"/>
                      <a:pt x="757" y="1511"/>
                    </a:cubicBezTo>
                    <a:cubicBezTo>
                      <a:pt x="757" y="1517"/>
                      <a:pt x="755" y="1520"/>
                      <a:pt x="754" y="1525"/>
                    </a:cubicBezTo>
                    <a:cubicBezTo>
                      <a:pt x="773" y="1525"/>
                      <a:pt x="792" y="1526"/>
                      <a:pt x="807" y="1522"/>
                    </a:cubicBezTo>
                    <a:cubicBezTo>
                      <a:pt x="800" y="1520"/>
                      <a:pt x="797" y="1514"/>
                      <a:pt x="790" y="1511"/>
                    </a:cubicBezTo>
                    <a:close/>
                    <a:moveTo>
                      <a:pt x="852" y="1517"/>
                    </a:moveTo>
                    <a:cubicBezTo>
                      <a:pt x="851" y="1518"/>
                      <a:pt x="852" y="1518"/>
                      <a:pt x="852" y="1517"/>
                    </a:cubicBezTo>
                    <a:moveTo>
                      <a:pt x="852" y="1517"/>
                    </a:moveTo>
                    <a:cubicBezTo>
                      <a:pt x="857" y="1517"/>
                      <a:pt x="861" y="1517"/>
                      <a:pt x="864" y="1515"/>
                    </a:cubicBezTo>
                    <a:cubicBezTo>
                      <a:pt x="859" y="1515"/>
                      <a:pt x="854" y="1513"/>
                      <a:pt x="852" y="1517"/>
                    </a:cubicBezTo>
                    <a:moveTo>
                      <a:pt x="655" y="1518"/>
                    </a:moveTo>
                    <a:cubicBezTo>
                      <a:pt x="655" y="1518"/>
                      <a:pt x="656" y="1519"/>
                      <a:pt x="655" y="1518"/>
                    </a:cubicBezTo>
                    <a:close/>
                    <a:moveTo>
                      <a:pt x="674" y="1522"/>
                    </a:moveTo>
                    <a:cubicBezTo>
                      <a:pt x="679" y="1522"/>
                      <a:pt x="678" y="1522"/>
                      <a:pt x="674" y="1521"/>
                    </a:cubicBezTo>
                    <a:cubicBezTo>
                      <a:pt x="672" y="1521"/>
                      <a:pt x="662" y="1518"/>
                      <a:pt x="658" y="1519"/>
                    </a:cubicBezTo>
                    <a:cubicBezTo>
                      <a:pt x="665" y="1520"/>
                      <a:pt x="671" y="1522"/>
                      <a:pt x="674" y="1522"/>
                    </a:cubicBezTo>
                    <a:close/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 dirty="0">
                  <a:latin typeface="+mj-lt"/>
                </a:endParaRPr>
              </a:p>
            </p:txBody>
          </p:sp>
          <p:sp>
            <p:nvSpPr>
              <p:cNvPr id="72" name="Freeform 40">
                <a:extLst>
                  <a:ext uri="{FF2B5EF4-FFF2-40B4-BE49-F238E27FC236}">
                    <a16:creationId xmlns:a16="http://schemas.microsoft.com/office/drawing/2014/main" id="{EE13117D-F86D-4A13-9703-490A47BEF99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880578" y="1824208"/>
                <a:ext cx="1614059" cy="1645049"/>
              </a:xfrm>
              <a:custGeom>
                <a:avLst/>
                <a:gdLst/>
                <a:ahLst/>
                <a:cxnLst>
                  <a:cxn ang="0">
                    <a:pos x="469" y="114"/>
                  </a:cxn>
                  <a:cxn ang="0">
                    <a:pos x="463" y="127"/>
                  </a:cxn>
                  <a:cxn ang="0">
                    <a:pos x="511" y="143"/>
                  </a:cxn>
                  <a:cxn ang="0">
                    <a:pos x="448" y="149"/>
                  </a:cxn>
                  <a:cxn ang="0">
                    <a:pos x="406" y="197"/>
                  </a:cxn>
                  <a:cxn ang="0">
                    <a:pos x="996" y="220"/>
                  </a:cxn>
                  <a:cxn ang="0">
                    <a:pos x="933" y="295"/>
                  </a:cxn>
                  <a:cxn ang="0">
                    <a:pos x="995" y="348"/>
                  </a:cxn>
                  <a:cxn ang="0">
                    <a:pos x="496" y="393"/>
                  </a:cxn>
                  <a:cxn ang="0">
                    <a:pos x="579" y="498"/>
                  </a:cxn>
                  <a:cxn ang="0">
                    <a:pos x="472" y="587"/>
                  </a:cxn>
                  <a:cxn ang="0">
                    <a:pos x="549" y="840"/>
                  </a:cxn>
                  <a:cxn ang="0">
                    <a:pos x="882" y="904"/>
                  </a:cxn>
                  <a:cxn ang="0">
                    <a:pos x="867" y="924"/>
                  </a:cxn>
                  <a:cxn ang="0">
                    <a:pos x="972" y="947"/>
                  </a:cxn>
                  <a:cxn ang="0">
                    <a:pos x="1271" y="1522"/>
                  </a:cxn>
                  <a:cxn ang="0">
                    <a:pos x="198" y="378"/>
                  </a:cxn>
                  <a:cxn ang="0">
                    <a:pos x="305" y="230"/>
                  </a:cxn>
                  <a:cxn ang="0">
                    <a:pos x="373" y="171"/>
                  </a:cxn>
                  <a:cxn ang="0">
                    <a:pos x="377" y="240"/>
                  </a:cxn>
                  <a:cxn ang="0">
                    <a:pos x="464" y="169"/>
                  </a:cxn>
                  <a:cxn ang="0">
                    <a:pos x="407" y="146"/>
                  </a:cxn>
                  <a:cxn ang="0">
                    <a:pos x="99" y="372"/>
                  </a:cxn>
                  <a:cxn ang="0">
                    <a:pos x="457" y="181"/>
                  </a:cxn>
                  <a:cxn ang="0">
                    <a:pos x="1352" y="201"/>
                  </a:cxn>
                  <a:cxn ang="0">
                    <a:pos x="1150" y="85"/>
                  </a:cxn>
                  <a:cxn ang="0">
                    <a:pos x="1139" y="191"/>
                  </a:cxn>
                  <a:cxn ang="0">
                    <a:pos x="1050" y="268"/>
                  </a:cxn>
                  <a:cxn ang="0">
                    <a:pos x="1010" y="322"/>
                  </a:cxn>
                  <a:cxn ang="0">
                    <a:pos x="907" y="423"/>
                  </a:cxn>
                  <a:cxn ang="0">
                    <a:pos x="826" y="355"/>
                  </a:cxn>
                  <a:cxn ang="0">
                    <a:pos x="700" y="448"/>
                  </a:cxn>
                  <a:cxn ang="0">
                    <a:pos x="779" y="456"/>
                  </a:cxn>
                  <a:cxn ang="0">
                    <a:pos x="773" y="594"/>
                  </a:cxn>
                  <a:cxn ang="0">
                    <a:pos x="627" y="606"/>
                  </a:cxn>
                  <a:cxn ang="0">
                    <a:pos x="531" y="552"/>
                  </a:cxn>
                  <a:cxn ang="0">
                    <a:pos x="524" y="633"/>
                  </a:cxn>
                  <a:cxn ang="0">
                    <a:pos x="378" y="819"/>
                  </a:cxn>
                  <a:cxn ang="0">
                    <a:pos x="706" y="853"/>
                  </a:cxn>
                  <a:cxn ang="0">
                    <a:pos x="675" y="773"/>
                  </a:cxn>
                  <a:cxn ang="0">
                    <a:pos x="810" y="898"/>
                  </a:cxn>
                  <a:cxn ang="0">
                    <a:pos x="883" y="899"/>
                  </a:cxn>
                  <a:cxn ang="0">
                    <a:pos x="780" y="1016"/>
                  </a:cxn>
                  <a:cxn ang="0">
                    <a:pos x="463" y="901"/>
                  </a:cxn>
                  <a:cxn ang="0">
                    <a:pos x="185" y="1125"/>
                  </a:cxn>
                  <a:cxn ang="0">
                    <a:pos x="513" y="1404"/>
                  </a:cxn>
                  <a:cxn ang="0">
                    <a:pos x="659" y="1606"/>
                  </a:cxn>
                  <a:cxn ang="0">
                    <a:pos x="1192" y="1444"/>
                  </a:cxn>
                  <a:cxn ang="0">
                    <a:pos x="1176" y="1258"/>
                  </a:cxn>
                  <a:cxn ang="0">
                    <a:pos x="1202" y="1240"/>
                  </a:cxn>
                  <a:cxn ang="0">
                    <a:pos x="1244" y="989"/>
                  </a:cxn>
                  <a:cxn ang="0">
                    <a:pos x="1506" y="934"/>
                  </a:cxn>
                  <a:cxn ang="0">
                    <a:pos x="1629" y="773"/>
                  </a:cxn>
                  <a:cxn ang="0">
                    <a:pos x="984" y="814"/>
                  </a:cxn>
                  <a:cxn ang="0">
                    <a:pos x="1009" y="714"/>
                  </a:cxn>
                  <a:cxn ang="0">
                    <a:pos x="506" y="117"/>
                  </a:cxn>
                  <a:cxn ang="0">
                    <a:pos x="498" y="156"/>
                  </a:cxn>
                  <a:cxn ang="0">
                    <a:pos x="472" y="245"/>
                  </a:cxn>
                  <a:cxn ang="0">
                    <a:pos x="427" y="331"/>
                  </a:cxn>
                  <a:cxn ang="0">
                    <a:pos x="615" y="278"/>
                  </a:cxn>
                  <a:cxn ang="0">
                    <a:pos x="522" y="156"/>
                  </a:cxn>
                  <a:cxn ang="0">
                    <a:pos x="152" y="431"/>
                  </a:cxn>
                </a:cxnLst>
                <a:rect l="0" t="0" r="r" b="b"/>
                <a:pathLst>
                  <a:path w="1656" h="1688">
                    <a:moveTo>
                      <a:pt x="1132" y="74"/>
                    </a:moveTo>
                    <a:cubicBezTo>
                      <a:pt x="1127" y="73"/>
                      <a:pt x="1125" y="68"/>
                      <a:pt x="1120" y="67"/>
                    </a:cubicBezTo>
                    <a:cubicBezTo>
                      <a:pt x="1119" y="73"/>
                      <a:pt x="1128" y="75"/>
                      <a:pt x="1132" y="74"/>
                    </a:cubicBezTo>
                    <a:close/>
                    <a:moveTo>
                      <a:pt x="493" y="82"/>
                    </a:moveTo>
                    <a:cubicBezTo>
                      <a:pt x="486" y="82"/>
                      <a:pt x="473" y="80"/>
                      <a:pt x="471" y="91"/>
                    </a:cubicBezTo>
                    <a:cubicBezTo>
                      <a:pt x="476" y="92"/>
                      <a:pt x="475" y="100"/>
                      <a:pt x="478" y="103"/>
                    </a:cubicBezTo>
                    <a:cubicBezTo>
                      <a:pt x="489" y="100"/>
                      <a:pt x="496" y="93"/>
                      <a:pt x="501" y="84"/>
                    </a:cubicBezTo>
                    <a:cubicBezTo>
                      <a:pt x="496" y="83"/>
                      <a:pt x="496" y="88"/>
                      <a:pt x="491" y="87"/>
                    </a:cubicBezTo>
                    <a:cubicBezTo>
                      <a:pt x="491" y="85"/>
                      <a:pt x="493" y="85"/>
                      <a:pt x="493" y="82"/>
                    </a:cubicBezTo>
                    <a:close/>
                    <a:moveTo>
                      <a:pt x="506" y="103"/>
                    </a:moveTo>
                    <a:cubicBezTo>
                      <a:pt x="514" y="107"/>
                      <a:pt x="524" y="104"/>
                      <a:pt x="524" y="95"/>
                    </a:cubicBezTo>
                    <a:cubicBezTo>
                      <a:pt x="523" y="95"/>
                      <a:pt x="521" y="96"/>
                      <a:pt x="521" y="94"/>
                    </a:cubicBezTo>
                    <a:cubicBezTo>
                      <a:pt x="519" y="90"/>
                      <a:pt x="524" y="92"/>
                      <a:pt x="523" y="89"/>
                    </a:cubicBezTo>
                    <a:cubicBezTo>
                      <a:pt x="514" y="89"/>
                      <a:pt x="509" y="92"/>
                      <a:pt x="506" y="98"/>
                    </a:cubicBezTo>
                    <a:cubicBezTo>
                      <a:pt x="508" y="98"/>
                      <a:pt x="511" y="96"/>
                      <a:pt x="512" y="99"/>
                    </a:cubicBezTo>
                    <a:cubicBezTo>
                      <a:pt x="510" y="100"/>
                      <a:pt x="506" y="99"/>
                      <a:pt x="506" y="103"/>
                    </a:cubicBezTo>
                    <a:close/>
                    <a:moveTo>
                      <a:pt x="420" y="139"/>
                    </a:moveTo>
                    <a:cubicBezTo>
                      <a:pt x="428" y="140"/>
                      <a:pt x="431" y="131"/>
                      <a:pt x="438" y="128"/>
                    </a:cubicBezTo>
                    <a:cubicBezTo>
                      <a:pt x="448" y="124"/>
                      <a:pt x="462" y="126"/>
                      <a:pt x="469" y="117"/>
                    </a:cubicBezTo>
                    <a:cubicBezTo>
                      <a:pt x="466" y="115"/>
                      <a:pt x="459" y="120"/>
                      <a:pt x="455" y="116"/>
                    </a:cubicBezTo>
                    <a:cubicBezTo>
                      <a:pt x="460" y="116"/>
                      <a:pt x="465" y="115"/>
                      <a:pt x="469" y="114"/>
                    </a:cubicBezTo>
                    <a:cubicBezTo>
                      <a:pt x="469" y="110"/>
                      <a:pt x="463" y="113"/>
                      <a:pt x="463" y="110"/>
                    </a:cubicBezTo>
                    <a:cubicBezTo>
                      <a:pt x="465" y="110"/>
                      <a:pt x="467" y="111"/>
                      <a:pt x="470" y="111"/>
                    </a:cubicBezTo>
                    <a:cubicBezTo>
                      <a:pt x="470" y="106"/>
                      <a:pt x="471" y="106"/>
                      <a:pt x="476" y="105"/>
                    </a:cubicBezTo>
                    <a:cubicBezTo>
                      <a:pt x="474" y="101"/>
                      <a:pt x="471" y="97"/>
                      <a:pt x="466" y="95"/>
                    </a:cubicBezTo>
                    <a:cubicBezTo>
                      <a:pt x="464" y="96"/>
                      <a:pt x="461" y="97"/>
                      <a:pt x="460" y="99"/>
                    </a:cubicBezTo>
                    <a:cubicBezTo>
                      <a:pt x="458" y="94"/>
                      <a:pt x="454" y="100"/>
                      <a:pt x="451" y="100"/>
                    </a:cubicBezTo>
                    <a:cubicBezTo>
                      <a:pt x="441" y="98"/>
                      <a:pt x="424" y="105"/>
                      <a:pt x="425" y="121"/>
                    </a:cubicBezTo>
                    <a:cubicBezTo>
                      <a:pt x="421" y="126"/>
                      <a:pt x="413" y="127"/>
                      <a:pt x="411" y="134"/>
                    </a:cubicBezTo>
                    <a:cubicBezTo>
                      <a:pt x="415" y="135"/>
                      <a:pt x="417" y="130"/>
                      <a:pt x="419" y="132"/>
                    </a:cubicBezTo>
                    <a:cubicBezTo>
                      <a:pt x="419" y="135"/>
                      <a:pt x="418" y="138"/>
                      <a:pt x="420" y="139"/>
                    </a:cubicBezTo>
                    <a:close/>
                    <a:moveTo>
                      <a:pt x="498" y="97"/>
                    </a:moveTo>
                    <a:cubicBezTo>
                      <a:pt x="497" y="101"/>
                      <a:pt x="504" y="99"/>
                      <a:pt x="503" y="97"/>
                    </a:cubicBezTo>
                    <a:cubicBezTo>
                      <a:pt x="501" y="97"/>
                      <a:pt x="500" y="95"/>
                      <a:pt x="498" y="97"/>
                    </a:cubicBezTo>
                    <a:close/>
                    <a:moveTo>
                      <a:pt x="521" y="113"/>
                    </a:moveTo>
                    <a:cubicBezTo>
                      <a:pt x="521" y="111"/>
                      <a:pt x="522" y="111"/>
                      <a:pt x="521" y="110"/>
                    </a:cubicBezTo>
                    <a:cubicBezTo>
                      <a:pt x="516" y="110"/>
                      <a:pt x="511" y="110"/>
                      <a:pt x="511" y="115"/>
                    </a:cubicBezTo>
                    <a:cubicBezTo>
                      <a:pt x="518" y="114"/>
                      <a:pt x="527" y="120"/>
                      <a:pt x="528" y="113"/>
                    </a:cubicBezTo>
                    <a:cubicBezTo>
                      <a:pt x="526" y="110"/>
                      <a:pt x="524" y="114"/>
                      <a:pt x="521" y="113"/>
                    </a:cubicBezTo>
                    <a:close/>
                    <a:moveTo>
                      <a:pt x="463" y="127"/>
                    </a:moveTo>
                    <a:cubicBezTo>
                      <a:pt x="468" y="127"/>
                      <a:pt x="471" y="124"/>
                      <a:pt x="473" y="120"/>
                    </a:cubicBezTo>
                    <a:cubicBezTo>
                      <a:pt x="468" y="121"/>
                      <a:pt x="463" y="122"/>
                      <a:pt x="463" y="127"/>
                    </a:cubicBezTo>
                    <a:close/>
                    <a:moveTo>
                      <a:pt x="515" y="122"/>
                    </a:moveTo>
                    <a:cubicBezTo>
                      <a:pt x="512" y="123"/>
                      <a:pt x="508" y="123"/>
                      <a:pt x="506" y="125"/>
                    </a:cubicBezTo>
                    <a:cubicBezTo>
                      <a:pt x="509" y="124"/>
                      <a:pt x="513" y="124"/>
                      <a:pt x="515" y="122"/>
                    </a:cubicBezTo>
                    <a:close/>
                    <a:moveTo>
                      <a:pt x="532" y="123"/>
                    </a:moveTo>
                    <a:cubicBezTo>
                      <a:pt x="523" y="124"/>
                      <a:pt x="519" y="130"/>
                      <a:pt x="514" y="134"/>
                    </a:cubicBezTo>
                    <a:cubicBezTo>
                      <a:pt x="523" y="133"/>
                      <a:pt x="531" y="132"/>
                      <a:pt x="532" y="123"/>
                    </a:cubicBezTo>
                    <a:close/>
                    <a:moveTo>
                      <a:pt x="500" y="125"/>
                    </a:moveTo>
                    <a:cubicBezTo>
                      <a:pt x="490" y="125"/>
                      <a:pt x="489" y="133"/>
                      <a:pt x="480" y="135"/>
                    </a:cubicBezTo>
                    <a:cubicBezTo>
                      <a:pt x="480" y="137"/>
                      <a:pt x="480" y="138"/>
                      <a:pt x="481" y="139"/>
                    </a:cubicBezTo>
                    <a:cubicBezTo>
                      <a:pt x="489" y="138"/>
                      <a:pt x="502" y="140"/>
                      <a:pt x="502" y="131"/>
                    </a:cubicBezTo>
                    <a:cubicBezTo>
                      <a:pt x="497" y="132"/>
                      <a:pt x="498" y="130"/>
                      <a:pt x="493" y="130"/>
                    </a:cubicBezTo>
                    <a:cubicBezTo>
                      <a:pt x="496" y="129"/>
                      <a:pt x="500" y="128"/>
                      <a:pt x="500" y="125"/>
                    </a:cubicBezTo>
                    <a:close/>
                    <a:moveTo>
                      <a:pt x="467" y="140"/>
                    </a:moveTo>
                    <a:cubicBezTo>
                      <a:pt x="471" y="139"/>
                      <a:pt x="476" y="134"/>
                      <a:pt x="472" y="130"/>
                    </a:cubicBezTo>
                    <a:cubicBezTo>
                      <a:pt x="467" y="129"/>
                      <a:pt x="466" y="133"/>
                      <a:pt x="462" y="133"/>
                    </a:cubicBezTo>
                    <a:cubicBezTo>
                      <a:pt x="462" y="130"/>
                      <a:pt x="466" y="132"/>
                      <a:pt x="465" y="129"/>
                    </a:cubicBezTo>
                    <a:cubicBezTo>
                      <a:pt x="455" y="131"/>
                      <a:pt x="449" y="136"/>
                      <a:pt x="441" y="139"/>
                    </a:cubicBezTo>
                    <a:cubicBezTo>
                      <a:pt x="440" y="142"/>
                      <a:pt x="443" y="141"/>
                      <a:pt x="443" y="144"/>
                    </a:cubicBezTo>
                    <a:cubicBezTo>
                      <a:pt x="454" y="146"/>
                      <a:pt x="458" y="136"/>
                      <a:pt x="467" y="140"/>
                    </a:cubicBezTo>
                    <a:close/>
                    <a:moveTo>
                      <a:pt x="525" y="135"/>
                    </a:moveTo>
                    <a:cubicBezTo>
                      <a:pt x="519" y="136"/>
                      <a:pt x="512" y="137"/>
                      <a:pt x="511" y="143"/>
                    </a:cubicBezTo>
                    <a:cubicBezTo>
                      <a:pt x="517" y="142"/>
                      <a:pt x="527" y="140"/>
                      <a:pt x="525" y="135"/>
                    </a:cubicBezTo>
                    <a:close/>
                    <a:moveTo>
                      <a:pt x="506" y="139"/>
                    </a:moveTo>
                    <a:cubicBezTo>
                      <a:pt x="502" y="137"/>
                      <a:pt x="499" y="142"/>
                      <a:pt x="496" y="142"/>
                    </a:cubicBezTo>
                    <a:cubicBezTo>
                      <a:pt x="495" y="152"/>
                      <a:pt x="482" y="148"/>
                      <a:pt x="476" y="152"/>
                    </a:cubicBezTo>
                    <a:cubicBezTo>
                      <a:pt x="478" y="161"/>
                      <a:pt x="473" y="168"/>
                      <a:pt x="480" y="176"/>
                    </a:cubicBezTo>
                    <a:cubicBezTo>
                      <a:pt x="487" y="175"/>
                      <a:pt x="496" y="175"/>
                      <a:pt x="497" y="166"/>
                    </a:cubicBezTo>
                    <a:cubicBezTo>
                      <a:pt x="488" y="164"/>
                      <a:pt x="490" y="161"/>
                      <a:pt x="490" y="159"/>
                    </a:cubicBezTo>
                    <a:cubicBezTo>
                      <a:pt x="489" y="151"/>
                      <a:pt x="495" y="156"/>
                      <a:pt x="501" y="149"/>
                    </a:cubicBezTo>
                    <a:cubicBezTo>
                      <a:pt x="502" y="148"/>
                      <a:pt x="501" y="146"/>
                      <a:pt x="501" y="145"/>
                    </a:cubicBezTo>
                    <a:cubicBezTo>
                      <a:pt x="503" y="143"/>
                      <a:pt x="507" y="143"/>
                      <a:pt x="506" y="139"/>
                    </a:cubicBezTo>
                    <a:close/>
                    <a:moveTo>
                      <a:pt x="1122" y="141"/>
                    </a:moveTo>
                    <a:cubicBezTo>
                      <a:pt x="1121" y="150"/>
                      <a:pt x="1134" y="146"/>
                      <a:pt x="1134" y="141"/>
                    </a:cubicBezTo>
                    <a:cubicBezTo>
                      <a:pt x="1132" y="140"/>
                      <a:pt x="1131" y="138"/>
                      <a:pt x="1127" y="139"/>
                    </a:cubicBezTo>
                    <a:cubicBezTo>
                      <a:pt x="1129" y="143"/>
                      <a:pt x="1124" y="143"/>
                      <a:pt x="1122" y="141"/>
                    </a:cubicBezTo>
                    <a:close/>
                    <a:moveTo>
                      <a:pt x="475" y="148"/>
                    </a:moveTo>
                    <a:cubicBezTo>
                      <a:pt x="481" y="147"/>
                      <a:pt x="489" y="149"/>
                      <a:pt x="488" y="141"/>
                    </a:cubicBezTo>
                    <a:cubicBezTo>
                      <a:pt x="482" y="139"/>
                      <a:pt x="477" y="143"/>
                      <a:pt x="475" y="148"/>
                    </a:cubicBezTo>
                    <a:close/>
                    <a:moveTo>
                      <a:pt x="452" y="155"/>
                    </a:moveTo>
                    <a:cubicBezTo>
                      <a:pt x="460" y="154"/>
                      <a:pt x="462" y="158"/>
                      <a:pt x="469" y="156"/>
                    </a:cubicBezTo>
                    <a:cubicBezTo>
                      <a:pt x="471" y="152"/>
                      <a:pt x="473" y="149"/>
                      <a:pt x="473" y="143"/>
                    </a:cubicBezTo>
                    <a:cubicBezTo>
                      <a:pt x="464" y="143"/>
                      <a:pt x="454" y="143"/>
                      <a:pt x="448" y="149"/>
                    </a:cubicBezTo>
                    <a:cubicBezTo>
                      <a:pt x="449" y="151"/>
                      <a:pt x="453" y="150"/>
                      <a:pt x="456" y="150"/>
                    </a:cubicBezTo>
                    <a:cubicBezTo>
                      <a:pt x="456" y="152"/>
                      <a:pt x="453" y="153"/>
                      <a:pt x="452" y="155"/>
                    </a:cubicBezTo>
                    <a:close/>
                    <a:moveTo>
                      <a:pt x="509" y="151"/>
                    </a:moveTo>
                    <a:cubicBezTo>
                      <a:pt x="511" y="150"/>
                      <a:pt x="514" y="150"/>
                      <a:pt x="515" y="148"/>
                    </a:cubicBezTo>
                    <a:cubicBezTo>
                      <a:pt x="512" y="148"/>
                      <a:pt x="508" y="148"/>
                      <a:pt x="509" y="151"/>
                    </a:cubicBezTo>
                    <a:close/>
                    <a:moveTo>
                      <a:pt x="1111" y="158"/>
                    </a:moveTo>
                    <a:cubicBezTo>
                      <a:pt x="1114" y="166"/>
                      <a:pt x="1123" y="164"/>
                      <a:pt x="1132" y="163"/>
                    </a:cubicBezTo>
                    <a:cubicBezTo>
                      <a:pt x="1129" y="158"/>
                      <a:pt x="1125" y="155"/>
                      <a:pt x="1127" y="150"/>
                    </a:cubicBezTo>
                    <a:cubicBezTo>
                      <a:pt x="1125" y="149"/>
                      <a:pt x="1119" y="146"/>
                      <a:pt x="1119" y="151"/>
                    </a:cubicBezTo>
                    <a:cubicBezTo>
                      <a:pt x="1118" y="154"/>
                      <a:pt x="1123" y="152"/>
                      <a:pt x="1123" y="154"/>
                    </a:cubicBezTo>
                    <a:cubicBezTo>
                      <a:pt x="1119" y="155"/>
                      <a:pt x="1117" y="151"/>
                      <a:pt x="1115" y="153"/>
                    </a:cubicBezTo>
                    <a:cubicBezTo>
                      <a:pt x="1113" y="155"/>
                      <a:pt x="1115" y="155"/>
                      <a:pt x="1116" y="157"/>
                    </a:cubicBezTo>
                    <a:cubicBezTo>
                      <a:pt x="1113" y="156"/>
                      <a:pt x="1114" y="159"/>
                      <a:pt x="1111" y="158"/>
                    </a:cubicBezTo>
                    <a:close/>
                    <a:moveTo>
                      <a:pt x="1150" y="154"/>
                    </a:moveTo>
                    <a:cubicBezTo>
                      <a:pt x="1148" y="152"/>
                      <a:pt x="1144" y="153"/>
                      <a:pt x="1141" y="153"/>
                    </a:cubicBezTo>
                    <a:cubicBezTo>
                      <a:pt x="1141" y="158"/>
                      <a:pt x="1144" y="160"/>
                      <a:pt x="1148" y="161"/>
                    </a:cubicBezTo>
                    <a:cubicBezTo>
                      <a:pt x="1148" y="157"/>
                      <a:pt x="1148" y="155"/>
                      <a:pt x="1150" y="154"/>
                    </a:cubicBezTo>
                    <a:close/>
                    <a:moveTo>
                      <a:pt x="1136" y="157"/>
                    </a:moveTo>
                    <a:cubicBezTo>
                      <a:pt x="1135" y="160"/>
                      <a:pt x="1141" y="162"/>
                      <a:pt x="1143" y="160"/>
                    </a:cubicBezTo>
                    <a:cubicBezTo>
                      <a:pt x="1140" y="159"/>
                      <a:pt x="1139" y="156"/>
                      <a:pt x="1136" y="157"/>
                    </a:cubicBezTo>
                    <a:close/>
                    <a:moveTo>
                      <a:pt x="406" y="197"/>
                    </a:moveTo>
                    <a:cubicBezTo>
                      <a:pt x="410" y="197"/>
                      <a:pt x="412" y="199"/>
                      <a:pt x="414" y="196"/>
                    </a:cubicBezTo>
                    <a:cubicBezTo>
                      <a:pt x="412" y="196"/>
                      <a:pt x="407" y="194"/>
                      <a:pt x="406" y="197"/>
                    </a:cubicBezTo>
                    <a:close/>
                    <a:moveTo>
                      <a:pt x="1344" y="196"/>
                    </a:moveTo>
                    <a:cubicBezTo>
                      <a:pt x="1346" y="197"/>
                      <a:pt x="1347" y="199"/>
                      <a:pt x="1350" y="199"/>
                    </a:cubicBezTo>
                    <a:cubicBezTo>
                      <a:pt x="1350" y="197"/>
                      <a:pt x="1345" y="194"/>
                      <a:pt x="1344" y="196"/>
                    </a:cubicBezTo>
                    <a:close/>
                    <a:moveTo>
                      <a:pt x="333" y="204"/>
                    </a:moveTo>
                    <a:cubicBezTo>
                      <a:pt x="328" y="205"/>
                      <a:pt x="321" y="204"/>
                      <a:pt x="320" y="210"/>
                    </a:cubicBezTo>
                    <a:cubicBezTo>
                      <a:pt x="325" y="211"/>
                      <a:pt x="333" y="209"/>
                      <a:pt x="333" y="204"/>
                    </a:cubicBezTo>
                    <a:close/>
                    <a:moveTo>
                      <a:pt x="387" y="212"/>
                    </a:moveTo>
                    <a:cubicBezTo>
                      <a:pt x="392" y="211"/>
                      <a:pt x="399" y="212"/>
                      <a:pt x="400" y="206"/>
                    </a:cubicBezTo>
                    <a:cubicBezTo>
                      <a:pt x="394" y="202"/>
                      <a:pt x="384" y="206"/>
                      <a:pt x="387" y="212"/>
                    </a:cubicBezTo>
                    <a:close/>
                    <a:moveTo>
                      <a:pt x="996" y="220"/>
                    </a:moveTo>
                    <a:cubicBezTo>
                      <a:pt x="999" y="220"/>
                      <a:pt x="999" y="220"/>
                      <a:pt x="999" y="220"/>
                    </a:cubicBezTo>
                    <a:cubicBezTo>
                      <a:pt x="1000" y="218"/>
                      <a:pt x="996" y="217"/>
                      <a:pt x="999" y="216"/>
                    </a:cubicBezTo>
                    <a:cubicBezTo>
                      <a:pt x="1000" y="216"/>
                      <a:pt x="1000" y="216"/>
                      <a:pt x="1001" y="215"/>
                    </a:cubicBezTo>
                    <a:cubicBezTo>
                      <a:pt x="1001" y="217"/>
                      <a:pt x="1002" y="218"/>
                      <a:pt x="1002" y="219"/>
                    </a:cubicBezTo>
                    <a:cubicBezTo>
                      <a:pt x="1010" y="219"/>
                      <a:pt x="1016" y="218"/>
                      <a:pt x="1021" y="215"/>
                    </a:cubicBezTo>
                    <a:cubicBezTo>
                      <a:pt x="1016" y="213"/>
                      <a:pt x="1013" y="209"/>
                      <a:pt x="1006" y="209"/>
                    </a:cubicBezTo>
                    <a:cubicBezTo>
                      <a:pt x="1006" y="210"/>
                      <a:pt x="1008" y="211"/>
                      <a:pt x="1006" y="211"/>
                    </a:cubicBezTo>
                    <a:cubicBezTo>
                      <a:pt x="999" y="211"/>
                      <a:pt x="990" y="204"/>
                      <a:pt x="980" y="206"/>
                    </a:cubicBezTo>
                    <a:cubicBezTo>
                      <a:pt x="982" y="214"/>
                      <a:pt x="992" y="214"/>
                      <a:pt x="996" y="220"/>
                    </a:cubicBezTo>
                    <a:close/>
                    <a:moveTo>
                      <a:pt x="1036" y="221"/>
                    </a:moveTo>
                    <a:cubicBezTo>
                      <a:pt x="1035" y="215"/>
                      <a:pt x="1039" y="214"/>
                      <a:pt x="1040" y="210"/>
                    </a:cubicBezTo>
                    <a:cubicBezTo>
                      <a:pt x="1032" y="207"/>
                      <a:pt x="1024" y="207"/>
                      <a:pt x="1019" y="208"/>
                    </a:cubicBezTo>
                    <a:cubicBezTo>
                      <a:pt x="1025" y="212"/>
                      <a:pt x="1028" y="219"/>
                      <a:pt x="1036" y="221"/>
                    </a:cubicBezTo>
                    <a:close/>
                    <a:moveTo>
                      <a:pt x="394" y="213"/>
                    </a:moveTo>
                    <a:cubicBezTo>
                      <a:pt x="394" y="215"/>
                      <a:pt x="394" y="216"/>
                      <a:pt x="395" y="216"/>
                    </a:cubicBezTo>
                    <a:cubicBezTo>
                      <a:pt x="397" y="216"/>
                      <a:pt x="398" y="215"/>
                      <a:pt x="399" y="213"/>
                    </a:cubicBezTo>
                    <a:cubicBezTo>
                      <a:pt x="397" y="212"/>
                      <a:pt x="395" y="212"/>
                      <a:pt x="394" y="213"/>
                    </a:cubicBezTo>
                    <a:close/>
                    <a:moveTo>
                      <a:pt x="315" y="221"/>
                    </a:moveTo>
                    <a:cubicBezTo>
                      <a:pt x="319" y="221"/>
                      <a:pt x="323" y="221"/>
                      <a:pt x="323" y="217"/>
                    </a:cubicBezTo>
                    <a:cubicBezTo>
                      <a:pt x="320" y="215"/>
                      <a:pt x="316" y="219"/>
                      <a:pt x="315" y="221"/>
                    </a:cubicBezTo>
                    <a:close/>
                    <a:moveTo>
                      <a:pt x="337" y="218"/>
                    </a:moveTo>
                    <a:cubicBezTo>
                      <a:pt x="334" y="219"/>
                      <a:pt x="332" y="220"/>
                      <a:pt x="331" y="223"/>
                    </a:cubicBezTo>
                    <a:cubicBezTo>
                      <a:pt x="334" y="222"/>
                      <a:pt x="338" y="222"/>
                      <a:pt x="337" y="218"/>
                    </a:cubicBezTo>
                    <a:close/>
                    <a:moveTo>
                      <a:pt x="250" y="247"/>
                    </a:moveTo>
                    <a:cubicBezTo>
                      <a:pt x="253" y="246"/>
                      <a:pt x="255" y="245"/>
                      <a:pt x="256" y="242"/>
                    </a:cubicBezTo>
                    <a:cubicBezTo>
                      <a:pt x="252" y="242"/>
                      <a:pt x="250" y="244"/>
                      <a:pt x="250" y="247"/>
                    </a:cubicBezTo>
                    <a:close/>
                    <a:moveTo>
                      <a:pt x="223" y="250"/>
                    </a:moveTo>
                    <a:cubicBezTo>
                      <a:pt x="220" y="250"/>
                      <a:pt x="220" y="253"/>
                      <a:pt x="218" y="255"/>
                    </a:cubicBezTo>
                    <a:cubicBezTo>
                      <a:pt x="221" y="254"/>
                      <a:pt x="222" y="253"/>
                      <a:pt x="223" y="250"/>
                    </a:cubicBezTo>
                    <a:close/>
                    <a:moveTo>
                      <a:pt x="933" y="295"/>
                    </a:moveTo>
                    <a:cubicBezTo>
                      <a:pt x="933" y="308"/>
                      <a:pt x="933" y="322"/>
                      <a:pt x="933" y="331"/>
                    </a:cubicBezTo>
                    <a:cubicBezTo>
                      <a:pt x="936" y="333"/>
                      <a:pt x="941" y="334"/>
                      <a:pt x="947" y="333"/>
                    </a:cubicBezTo>
                    <a:cubicBezTo>
                      <a:pt x="951" y="341"/>
                      <a:pt x="961" y="344"/>
                      <a:pt x="970" y="339"/>
                    </a:cubicBezTo>
                    <a:cubicBezTo>
                      <a:pt x="953" y="332"/>
                      <a:pt x="942" y="316"/>
                      <a:pt x="948" y="294"/>
                    </a:cubicBezTo>
                    <a:cubicBezTo>
                      <a:pt x="948" y="292"/>
                      <a:pt x="953" y="290"/>
                      <a:pt x="951" y="286"/>
                    </a:cubicBezTo>
                    <a:cubicBezTo>
                      <a:pt x="956" y="284"/>
                      <a:pt x="960" y="279"/>
                      <a:pt x="965" y="276"/>
                    </a:cubicBezTo>
                    <a:cubicBezTo>
                      <a:pt x="967" y="258"/>
                      <a:pt x="950" y="265"/>
                      <a:pt x="949" y="275"/>
                    </a:cubicBezTo>
                    <a:cubicBezTo>
                      <a:pt x="937" y="277"/>
                      <a:pt x="934" y="283"/>
                      <a:pt x="929" y="292"/>
                    </a:cubicBezTo>
                    <a:cubicBezTo>
                      <a:pt x="929" y="295"/>
                      <a:pt x="933" y="293"/>
                      <a:pt x="933" y="295"/>
                    </a:cubicBezTo>
                    <a:close/>
                    <a:moveTo>
                      <a:pt x="305" y="269"/>
                    </a:moveTo>
                    <a:cubicBezTo>
                      <a:pt x="301" y="269"/>
                      <a:pt x="301" y="272"/>
                      <a:pt x="300" y="275"/>
                    </a:cubicBezTo>
                    <a:cubicBezTo>
                      <a:pt x="303" y="274"/>
                      <a:pt x="305" y="273"/>
                      <a:pt x="305" y="269"/>
                    </a:cubicBezTo>
                    <a:close/>
                    <a:moveTo>
                      <a:pt x="319" y="275"/>
                    </a:moveTo>
                    <a:cubicBezTo>
                      <a:pt x="318" y="276"/>
                      <a:pt x="317" y="277"/>
                      <a:pt x="317" y="279"/>
                    </a:cubicBezTo>
                    <a:cubicBezTo>
                      <a:pt x="320" y="279"/>
                      <a:pt x="322" y="279"/>
                      <a:pt x="322" y="276"/>
                    </a:cubicBezTo>
                    <a:cubicBezTo>
                      <a:pt x="321" y="276"/>
                      <a:pt x="320" y="275"/>
                      <a:pt x="319" y="275"/>
                    </a:cubicBezTo>
                    <a:close/>
                    <a:moveTo>
                      <a:pt x="1006" y="296"/>
                    </a:moveTo>
                    <a:cubicBezTo>
                      <a:pt x="1006" y="292"/>
                      <a:pt x="1003" y="291"/>
                      <a:pt x="999" y="291"/>
                    </a:cubicBezTo>
                    <a:cubicBezTo>
                      <a:pt x="999" y="296"/>
                      <a:pt x="1003" y="298"/>
                      <a:pt x="1006" y="296"/>
                    </a:cubicBezTo>
                    <a:close/>
                    <a:moveTo>
                      <a:pt x="981" y="340"/>
                    </a:moveTo>
                    <a:cubicBezTo>
                      <a:pt x="983" y="346"/>
                      <a:pt x="989" y="347"/>
                      <a:pt x="995" y="348"/>
                    </a:cubicBezTo>
                    <a:cubicBezTo>
                      <a:pt x="995" y="341"/>
                      <a:pt x="986" y="339"/>
                      <a:pt x="981" y="340"/>
                    </a:cubicBezTo>
                    <a:close/>
                    <a:moveTo>
                      <a:pt x="171" y="378"/>
                    </a:moveTo>
                    <a:cubicBezTo>
                      <a:pt x="174" y="373"/>
                      <a:pt x="176" y="363"/>
                      <a:pt x="175" y="357"/>
                    </a:cubicBezTo>
                    <a:cubicBezTo>
                      <a:pt x="172" y="362"/>
                      <a:pt x="166" y="372"/>
                      <a:pt x="171" y="378"/>
                    </a:cubicBezTo>
                    <a:close/>
                    <a:moveTo>
                      <a:pt x="558" y="387"/>
                    </a:moveTo>
                    <a:cubicBezTo>
                      <a:pt x="558" y="383"/>
                      <a:pt x="560" y="382"/>
                      <a:pt x="561" y="379"/>
                    </a:cubicBezTo>
                    <a:cubicBezTo>
                      <a:pt x="558" y="379"/>
                      <a:pt x="556" y="377"/>
                      <a:pt x="557" y="373"/>
                    </a:cubicBezTo>
                    <a:cubicBezTo>
                      <a:pt x="551" y="378"/>
                      <a:pt x="547" y="374"/>
                      <a:pt x="541" y="375"/>
                    </a:cubicBezTo>
                    <a:cubicBezTo>
                      <a:pt x="539" y="373"/>
                      <a:pt x="542" y="372"/>
                      <a:pt x="539" y="371"/>
                    </a:cubicBezTo>
                    <a:cubicBezTo>
                      <a:pt x="537" y="373"/>
                      <a:pt x="534" y="374"/>
                      <a:pt x="531" y="375"/>
                    </a:cubicBezTo>
                    <a:cubicBezTo>
                      <a:pt x="531" y="372"/>
                      <a:pt x="533" y="371"/>
                      <a:pt x="530" y="370"/>
                    </a:cubicBezTo>
                    <a:cubicBezTo>
                      <a:pt x="528" y="376"/>
                      <a:pt x="524" y="375"/>
                      <a:pt x="521" y="375"/>
                    </a:cubicBezTo>
                    <a:cubicBezTo>
                      <a:pt x="521" y="372"/>
                      <a:pt x="523" y="371"/>
                      <a:pt x="525" y="370"/>
                    </a:cubicBezTo>
                    <a:cubicBezTo>
                      <a:pt x="526" y="366"/>
                      <a:pt x="525" y="364"/>
                      <a:pt x="524" y="361"/>
                    </a:cubicBezTo>
                    <a:cubicBezTo>
                      <a:pt x="518" y="364"/>
                      <a:pt x="509" y="362"/>
                      <a:pt x="505" y="371"/>
                    </a:cubicBezTo>
                    <a:cubicBezTo>
                      <a:pt x="509" y="373"/>
                      <a:pt x="514" y="369"/>
                      <a:pt x="516" y="373"/>
                    </a:cubicBezTo>
                    <a:cubicBezTo>
                      <a:pt x="513" y="374"/>
                      <a:pt x="512" y="376"/>
                      <a:pt x="510" y="378"/>
                    </a:cubicBezTo>
                    <a:cubicBezTo>
                      <a:pt x="507" y="377"/>
                      <a:pt x="502" y="374"/>
                      <a:pt x="499" y="376"/>
                    </a:cubicBezTo>
                    <a:cubicBezTo>
                      <a:pt x="501" y="380"/>
                      <a:pt x="509" y="383"/>
                      <a:pt x="504" y="389"/>
                    </a:cubicBezTo>
                    <a:cubicBezTo>
                      <a:pt x="501" y="392"/>
                      <a:pt x="500" y="387"/>
                      <a:pt x="497" y="389"/>
                    </a:cubicBezTo>
                    <a:cubicBezTo>
                      <a:pt x="497" y="391"/>
                      <a:pt x="495" y="391"/>
                      <a:pt x="496" y="393"/>
                    </a:cubicBezTo>
                    <a:cubicBezTo>
                      <a:pt x="497" y="395"/>
                      <a:pt x="500" y="395"/>
                      <a:pt x="504" y="395"/>
                    </a:cubicBezTo>
                    <a:cubicBezTo>
                      <a:pt x="505" y="400"/>
                      <a:pt x="508" y="402"/>
                      <a:pt x="509" y="406"/>
                    </a:cubicBezTo>
                    <a:cubicBezTo>
                      <a:pt x="528" y="404"/>
                      <a:pt x="551" y="409"/>
                      <a:pt x="562" y="389"/>
                    </a:cubicBezTo>
                    <a:cubicBezTo>
                      <a:pt x="562" y="389"/>
                      <a:pt x="559" y="388"/>
                      <a:pt x="558" y="387"/>
                    </a:cubicBezTo>
                    <a:close/>
                    <a:moveTo>
                      <a:pt x="136" y="406"/>
                    </a:moveTo>
                    <a:cubicBezTo>
                      <a:pt x="135" y="410"/>
                      <a:pt x="136" y="414"/>
                      <a:pt x="139" y="414"/>
                    </a:cubicBezTo>
                    <a:cubicBezTo>
                      <a:pt x="140" y="410"/>
                      <a:pt x="144" y="409"/>
                      <a:pt x="144" y="404"/>
                    </a:cubicBezTo>
                    <a:cubicBezTo>
                      <a:pt x="141" y="402"/>
                      <a:pt x="138" y="406"/>
                      <a:pt x="136" y="406"/>
                    </a:cubicBezTo>
                    <a:close/>
                    <a:moveTo>
                      <a:pt x="576" y="445"/>
                    </a:moveTo>
                    <a:cubicBezTo>
                      <a:pt x="573" y="445"/>
                      <a:pt x="572" y="447"/>
                      <a:pt x="572" y="451"/>
                    </a:cubicBezTo>
                    <a:cubicBezTo>
                      <a:pt x="576" y="450"/>
                      <a:pt x="576" y="448"/>
                      <a:pt x="576" y="445"/>
                    </a:cubicBezTo>
                    <a:close/>
                    <a:moveTo>
                      <a:pt x="607" y="477"/>
                    </a:moveTo>
                    <a:cubicBezTo>
                      <a:pt x="607" y="480"/>
                      <a:pt x="605" y="479"/>
                      <a:pt x="607" y="481"/>
                    </a:cubicBezTo>
                    <a:cubicBezTo>
                      <a:pt x="611" y="482"/>
                      <a:pt x="611" y="477"/>
                      <a:pt x="607" y="477"/>
                    </a:cubicBezTo>
                    <a:close/>
                    <a:moveTo>
                      <a:pt x="602" y="480"/>
                    </a:moveTo>
                    <a:cubicBezTo>
                      <a:pt x="600" y="482"/>
                      <a:pt x="598" y="485"/>
                      <a:pt x="599" y="490"/>
                    </a:cubicBezTo>
                    <a:cubicBezTo>
                      <a:pt x="603" y="490"/>
                      <a:pt x="607" y="482"/>
                      <a:pt x="602" y="480"/>
                    </a:cubicBezTo>
                    <a:close/>
                    <a:moveTo>
                      <a:pt x="486" y="492"/>
                    </a:moveTo>
                    <a:cubicBezTo>
                      <a:pt x="485" y="493"/>
                      <a:pt x="483" y="496"/>
                      <a:pt x="486" y="497"/>
                    </a:cubicBezTo>
                    <a:cubicBezTo>
                      <a:pt x="487" y="495"/>
                      <a:pt x="489" y="492"/>
                      <a:pt x="486" y="492"/>
                    </a:cubicBezTo>
                    <a:close/>
                    <a:moveTo>
                      <a:pt x="579" y="498"/>
                    </a:moveTo>
                    <a:cubicBezTo>
                      <a:pt x="579" y="498"/>
                      <a:pt x="579" y="499"/>
                      <a:pt x="578" y="499"/>
                    </a:cubicBezTo>
                    <a:cubicBezTo>
                      <a:pt x="579" y="502"/>
                      <a:pt x="579" y="504"/>
                      <a:pt x="582" y="504"/>
                    </a:cubicBezTo>
                    <a:cubicBezTo>
                      <a:pt x="580" y="501"/>
                      <a:pt x="584" y="498"/>
                      <a:pt x="579" y="498"/>
                    </a:cubicBezTo>
                    <a:close/>
                    <a:moveTo>
                      <a:pt x="551" y="502"/>
                    </a:moveTo>
                    <a:cubicBezTo>
                      <a:pt x="549" y="501"/>
                      <a:pt x="544" y="504"/>
                      <a:pt x="542" y="505"/>
                    </a:cubicBezTo>
                    <a:cubicBezTo>
                      <a:pt x="542" y="508"/>
                      <a:pt x="540" y="509"/>
                      <a:pt x="542" y="511"/>
                    </a:cubicBezTo>
                    <a:cubicBezTo>
                      <a:pt x="547" y="511"/>
                      <a:pt x="550" y="507"/>
                      <a:pt x="551" y="502"/>
                    </a:cubicBezTo>
                    <a:close/>
                    <a:moveTo>
                      <a:pt x="543" y="523"/>
                    </a:moveTo>
                    <a:cubicBezTo>
                      <a:pt x="544" y="521"/>
                      <a:pt x="546" y="519"/>
                      <a:pt x="545" y="515"/>
                    </a:cubicBezTo>
                    <a:cubicBezTo>
                      <a:pt x="539" y="514"/>
                      <a:pt x="538" y="522"/>
                      <a:pt x="543" y="523"/>
                    </a:cubicBezTo>
                    <a:close/>
                    <a:moveTo>
                      <a:pt x="466" y="602"/>
                    </a:moveTo>
                    <a:cubicBezTo>
                      <a:pt x="480" y="605"/>
                      <a:pt x="490" y="596"/>
                      <a:pt x="504" y="598"/>
                    </a:cubicBezTo>
                    <a:cubicBezTo>
                      <a:pt x="511" y="592"/>
                      <a:pt x="516" y="584"/>
                      <a:pt x="517" y="571"/>
                    </a:cubicBezTo>
                    <a:cubicBezTo>
                      <a:pt x="529" y="572"/>
                      <a:pt x="531" y="562"/>
                      <a:pt x="527" y="551"/>
                    </a:cubicBezTo>
                    <a:cubicBezTo>
                      <a:pt x="517" y="545"/>
                      <a:pt x="510" y="545"/>
                      <a:pt x="500" y="553"/>
                    </a:cubicBezTo>
                    <a:cubicBezTo>
                      <a:pt x="500" y="556"/>
                      <a:pt x="504" y="556"/>
                      <a:pt x="501" y="558"/>
                    </a:cubicBezTo>
                    <a:cubicBezTo>
                      <a:pt x="498" y="557"/>
                      <a:pt x="499" y="561"/>
                      <a:pt x="497" y="560"/>
                    </a:cubicBezTo>
                    <a:cubicBezTo>
                      <a:pt x="494" y="559"/>
                      <a:pt x="495" y="555"/>
                      <a:pt x="491" y="555"/>
                    </a:cubicBezTo>
                    <a:cubicBezTo>
                      <a:pt x="483" y="557"/>
                      <a:pt x="486" y="564"/>
                      <a:pt x="480" y="569"/>
                    </a:cubicBezTo>
                    <a:cubicBezTo>
                      <a:pt x="479" y="574"/>
                      <a:pt x="484" y="572"/>
                      <a:pt x="484" y="576"/>
                    </a:cubicBezTo>
                    <a:cubicBezTo>
                      <a:pt x="479" y="579"/>
                      <a:pt x="475" y="583"/>
                      <a:pt x="472" y="587"/>
                    </a:cubicBezTo>
                    <a:cubicBezTo>
                      <a:pt x="462" y="584"/>
                      <a:pt x="464" y="594"/>
                      <a:pt x="466" y="602"/>
                    </a:cubicBezTo>
                    <a:close/>
                    <a:moveTo>
                      <a:pt x="537" y="569"/>
                    </a:moveTo>
                    <a:cubicBezTo>
                      <a:pt x="533" y="568"/>
                      <a:pt x="532" y="572"/>
                      <a:pt x="531" y="574"/>
                    </a:cubicBezTo>
                    <a:cubicBezTo>
                      <a:pt x="535" y="575"/>
                      <a:pt x="537" y="573"/>
                      <a:pt x="537" y="569"/>
                    </a:cubicBezTo>
                    <a:close/>
                    <a:moveTo>
                      <a:pt x="609" y="872"/>
                    </a:moveTo>
                    <a:cubicBezTo>
                      <a:pt x="617" y="874"/>
                      <a:pt x="620" y="868"/>
                      <a:pt x="628" y="870"/>
                    </a:cubicBezTo>
                    <a:cubicBezTo>
                      <a:pt x="629" y="855"/>
                      <a:pt x="640" y="840"/>
                      <a:pt x="629" y="829"/>
                    </a:cubicBezTo>
                    <a:cubicBezTo>
                      <a:pt x="633" y="821"/>
                      <a:pt x="638" y="811"/>
                      <a:pt x="635" y="799"/>
                    </a:cubicBezTo>
                    <a:cubicBezTo>
                      <a:pt x="623" y="803"/>
                      <a:pt x="619" y="811"/>
                      <a:pt x="621" y="825"/>
                    </a:cubicBezTo>
                    <a:cubicBezTo>
                      <a:pt x="623" y="827"/>
                      <a:pt x="625" y="829"/>
                      <a:pt x="628" y="830"/>
                    </a:cubicBezTo>
                    <a:cubicBezTo>
                      <a:pt x="625" y="832"/>
                      <a:pt x="622" y="834"/>
                      <a:pt x="618" y="835"/>
                    </a:cubicBezTo>
                    <a:cubicBezTo>
                      <a:pt x="616" y="835"/>
                      <a:pt x="614" y="832"/>
                      <a:pt x="611" y="833"/>
                    </a:cubicBezTo>
                    <a:cubicBezTo>
                      <a:pt x="609" y="837"/>
                      <a:pt x="614" y="839"/>
                      <a:pt x="614" y="844"/>
                    </a:cubicBezTo>
                    <a:cubicBezTo>
                      <a:pt x="614" y="852"/>
                      <a:pt x="607" y="862"/>
                      <a:pt x="609" y="872"/>
                    </a:cubicBezTo>
                    <a:close/>
                    <a:moveTo>
                      <a:pt x="1654" y="815"/>
                    </a:moveTo>
                    <a:cubicBezTo>
                      <a:pt x="1655" y="818"/>
                      <a:pt x="1653" y="828"/>
                      <a:pt x="1655" y="826"/>
                    </a:cubicBezTo>
                    <a:cubicBezTo>
                      <a:pt x="1655" y="823"/>
                      <a:pt x="1656" y="813"/>
                      <a:pt x="1654" y="815"/>
                    </a:cubicBezTo>
                    <a:close/>
                    <a:moveTo>
                      <a:pt x="544" y="845"/>
                    </a:moveTo>
                    <a:cubicBezTo>
                      <a:pt x="543" y="839"/>
                      <a:pt x="531" y="837"/>
                      <a:pt x="528" y="845"/>
                    </a:cubicBezTo>
                    <a:cubicBezTo>
                      <a:pt x="531" y="852"/>
                      <a:pt x="544" y="854"/>
                      <a:pt x="544" y="845"/>
                    </a:cubicBezTo>
                    <a:close/>
                    <a:moveTo>
                      <a:pt x="549" y="840"/>
                    </a:moveTo>
                    <a:cubicBezTo>
                      <a:pt x="548" y="842"/>
                      <a:pt x="551" y="847"/>
                      <a:pt x="555" y="847"/>
                    </a:cubicBezTo>
                    <a:cubicBezTo>
                      <a:pt x="559" y="843"/>
                      <a:pt x="552" y="838"/>
                      <a:pt x="549" y="840"/>
                    </a:cubicBezTo>
                    <a:close/>
                    <a:moveTo>
                      <a:pt x="517" y="851"/>
                    </a:moveTo>
                    <a:cubicBezTo>
                      <a:pt x="515" y="851"/>
                      <a:pt x="515" y="848"/>
                      <a:pt x="513" y="849"/>
                    </a:cubicBezTo>
                    <a:cubicBezTo>
                      <a:pt x="511" y="850"/>
                      <a:pt x="509" y="854"/>
                      <a:pt x="511" y="856"/>
                    </a:cubicBezTo>
                    <a:cubicBezTo>
                      <a:pt x="514" y="855"/>
                      <a:pt x="516" y="854"/>
                      <a:pt x="517" y="851"/>
                    </a:cubicBezTo>
                    <a:close/>
                    <a:moveTo>
                      <a:pt x="838" y="859"/>
                    </a:moveTo>
                    <a:cubicBezTo>
                      <a:pt x="838" y="862"/>
                      <a:pt x="843" y="863"/>
                      <a:pt x="844" y="861"/>
                    </a:cubicBezTo>
                    <a:cubicBezTo>
                      <a:pt x="844" y="858"/>
                      <a:pt x="840" y="858"/>
                      <a:pt x="838" y="859"/>
                    </a:cubicBezTo>
                    <a:close/>
                    <a:moveTo>
                      <a:pt x="858" y="869"/>
                    </a:moveTo>
                    <a:cubicBezTo>
                      <a:pt x="858" y="868"/>
                      <a:pt x="859" y="867"/>
                      <a:pt x="859" y="866"/>
                    </a:cubicBezTo>
                    <a:cubicBezTo>
                      <a:pt x="858" y="863"/>
                      <a:pt x="852" y="864"/>
                      <a:pt x="852" y="868"/>
                    </a:cubicBezTo>
                    <a:cubicBezTo>
                      <a:pt x="853" y="869"/>
                      <a:pt x="856" y="869"/>
                      <a:pt x="858" y="869"/>
                    </a:cubicBezTo>
                    <a:close/>
                    <a:moveTo>
                      <a:pt x="786" y="895"/>
                    </a:moveTo>
                    <a:cubicBezTo>
                      <a:pt x="786" y="897"/>
                      <a:pt x="784" y="897"/>
                      <a:pt x="785" y="901"/>
                    </a:cubicBezTo>
                    <a:cubicBezTo>
                      <a:pt x="787" y="901"/>
                      <a:pt x="790" y="903"/>
                      <a:pt x="792" y="901"/>
                    </a:cubicBezTo>
                    <a:cubicBezTo>
                      <a:pt x="792" y="897"/>
                      <a:pt x="790" y="896"/>
                      <a:pt x="786" y="895"/>
                    </a:cubicBezTo>
                    <a:close/>
                    <a:moveTo>
                      <a:pt x="855" y="911"/>
                    </a:moveTo>
                    <a:cubicBezTo>
                      <a:pt x="861" y="911"/>
                      <a:pt x="857" y="903"/>
                      <a:pt x="852" y="904"/>
                    </a:cubicBezTo>
                    <a:cubicBezTo>
                      <a:pt x="851" y="908"/>
                      <a:pt x="855" y="908"/>
                      <a:pt x="855" y="911"/>
                    </a:cubicBezTo>
                    <a:close/>
                    <a:moveTo>
                      <a:pt x="882" y="904"/>
                    </a:moveTo>
                    <a:cubicBezTo>
                      <a:pt x="882" y="905"/>
                      <a:pt x="880" y="906"/>
                      <a:pt x="881" y="908"/>
                    </a:cubicBezTo>
                    <a:cubicBezTo>
                      <a:pt x="883" y="911"/>
                      <a:pt x="884" y="910"/>
                      <a:pt x="886" y="908"/>
                    </a:cubicBezTo>
                    <a:cubicBezTo>
                      <a:pt x="886" y="906"/>
                      <a:pt x="884" y="905"/>
                      <a:pt x="882" y="904"/>
                    </a:cubicBezTo>
                    <a:close/>
                    <a:moveTo>
                      <a:pt x="792" y="911"/>
                    </a:moveTo>
                    <a:cubicBezTo>
                      <a:pt x="792" y="909"/>
                      <a:pt x="793" y="906"/>
                      <a:pt x="791" y="905"/>
                    </a:cubicBezTo>
                    <a:cubicBezTo>
                      <a:pt x="788" y="905"/>
                      <a:pt x="788" y="905"/>
                      <a:pt x="788" y="905"/>
                    </a:cubicBezTo>
                    <a:cubicBezTo>
                      <a:pt x="787" y="908"/>
                      <a:pt x="787" y="912"/>
                      <a:pt x="792" y="911"/>
                    </a:cubicBezTo>
                    <a:close/>
                    <a:moveTo>
                      <a:pt x="872" y="908"/>
                    </a:moveTo>
                    <a:cubicBezTo>
                      <a:pt x="871" y="910"/>
                      <a:pt x="871" y="911"/>
                      <a:pt x="871" y="913"/>
                    </a:cubicBezTo>
                    <a:cubicBezTo>
                      <a:pt x="875" y="913"/>
                      <a:pt x="875" y="913"/>
                      <a:pt x="875" y="913"/>
                    </a:cubicBezTo>
                    <a:cubicBezTo>
                      <a:pt x="875" y="910"/>
                      <a:pt x="875" y="908"/>
                      <a:pt x="872" y="908"/>
                    </a:cubicBezTo>
                    <a:close/>
                    <a:moveTo>
                      <a:pt x="849" y="912"/>
                    </a:moveTo>
                    <a:cubicBezTo>
                      <a:pt x="849" y="910"/>
                      <a:pt x="845" y="912"/>
                      <a:pt x="844" y="911"/>
                    </a:cubicBezTo>
                    <a:cubicBezTo>
                      <a:pt x="842" y="915"/>
                      <a:pt x="850" y="916"/>
                      <a:pt x="849" y="912"/>
                    </a:cubicBezTo>
                    <a:close/>
                    <a:moveTo>
                      <a:pt x="887" y="914"/>
                    </a:moveTo>
                    <a:cubicBezTo>
                      <a:pt x="882" y="914"/>
                      <a:pt x="882" y="914"/>
                      <a:pt x="882" y="914"/>
                    </a:cubicBezTo>
                    <a:cubicBezTo>
                      <a:pt x="881" y="919"/>
                      <a:pt x="887" y="916"/>
                      <a:pt x="887" y="914"/>
                    </a:cubicBezTo>
                    <a:close/>
                    <a:moveTo>
                      <a:pt x="867" y="924"/>
                    </a:moveTo>
                    <a:cubicBezTo>
                      <a:pt x="867" y="922"/>
                      <a:pt x="868" y="922"/>
                      <a:pt x="868" y="920"/>
                    </a:cubicBezTo>
                    <a:cubicBezTo>
                      <a:pt x="867" y="917"/>
                      <a:pt x="863" y="916"/>
                      <a:pt x="860" y="918"/>
                    </a:cubicBezTo>
                    <a:cubicBezTo>
                      <a:pt x="860" y="922"/>
                      <a:pt x="862" y="925"/>
                      <a:pt x="867" y="924"/>
                    </a:cubicBezTo>
                    <a:close/>
                    <a:moveTo>
                      <a:pt x="889" y="927"/>
                    </a:moveTo>
                    <a:cubicBezTo>
                      <a:pt x="893" y="925"/>
                      <a:pt x="896" y="923"/>
                      <a:pt x="896" y="919"/>
                    </a:cubicBezTo>
                    <a:cubicBezTo>
                      <a:pt x="890" y="918"/>
                      <a:pt x="886" y="922"/>
                      <a:pt x="889" y="927"/>
                    </a:cubicBezTo>
                    <a:close/>
                    <a:moveTo>
                      <a:pt x="876" y="931"/>
                    </a:moveTo>
                    <a:cubicBezTo>
                      <a:pt x="886" y="935"/>
                      <a:pt x="879" y="921"/>
                      <a:pt x="876" y="931"/>
                    </a:cubicBezTo>
                    <a:close/>
                    <a:moveTo>
                      <a:pt x="856" y="928"/>
                    </a:moveTo>
                    <a:cubicBezTo>
                      <a:pt x="855" y="929"/>
                      <a:pt x="853" y="930"/>
                      <a:pt x="855" y="932"/>
                    </a:cubicBezTo>
                    <a:cubicBezTo>
                      <a:pt x="858" y="933"/>
                      <a:pt x="858" y="928"/>
                      <a:pt x="856" y="928"/>
                    </a:cubicBezTo>
                    <a:close/>
                    <a:moveTo>
                      <a:pt x="907" y="930"/>
                    </a:moveTo>
                    <a:cubicBezTo>
                      <a:pt x="902" y="926"/>
                      <a:pt x="898" y="935"/>
                      <a:pt x="901" y="940"/>
                    </a:cubicBezTo>
                    <a:cubicBezTo>
                      <a:pt x="906" y="940"/>
                      <a:pt x="906" y="934"/>
                      <a:pt x="907" y="930"/>
                    </a:cubicBezTo>
                    <a:close/>
                    <a:moveTo>
                      <a:pt x="695" y="941"/>
                    </a:moveTo>
                    <a:cubicBezTo>
                      <a:pt x="698" y="937"/>
                      <a:pt x="695" y="932"/>
                      <a:pt x="690" y="931"/>
                    </a:cubicBezTo>
                    <a:cubicBezTo>
                      <a:pt x="687" y="935"/>
                      <a:pt x="689" y="942"/>
                      <a:pt x="695" y="941"/>
                    </a:cubicBezTo>
                    <a:close/>
                    <a:moveTo>
                      <a:pt x="830" y="939"/>
                    </a:moveTo>
                    <a:cubicBezTo>
                      <a:pt x="829" y="935"/>
                      <a:pt x="827" y="935"/>
                      <a:pt x="824" y="936"/>
                    </a:cubicBezTo>
                    <a:cubicBezTo>
                      <a:pt x="823" y="941"/>
                      <a:pt x="827" y="940"/>
                      <a:pt x="830" y="939"/>
                    </a:cubicBezTo>
                    <a:close/>
                    <a:moveTo>
                      <a:pt x="972" y="947"/>
                    </a:moveTo>
                    <a:cubicBezTo>
                      <a:pt x="976" y="965"/>
                      <a:pt x="990" y="952"/>
                      <a:pt x="1001" y="949"/>
                    </a:cubicBezTo>
                    <a:cubicBezTo>
                      <a:pt x="999" y="942"/>
                      <a:pt x="1002" y="940"/>
                      <a:pt x="1003" y="935"/>
                    </a:cubicBezTo>
                    <a:cubicBezTo>
                      <a:pt x="993" y="940"/>
                      <a:pt x="982" y="943"/>
                      <a:pt x="972" y="947"/>
                    </a:cubicBezTo>
                    <a:close/>
                    <a:moveTo>
                      <a:pt x="895" y="951"/>
                    </a:moveTo>
                    <a:cubicBezTo>
                      <a:pt x="895" y="946"/>
                      <a:pt x="894" y="944"/>
                      <a:pt x="891" y="942"/>
                    </a:cubicBezTo>
                    <a:cubicBezTo>
                      <a:pt x="889" y="944"/>
                      <a:pt x="890" y="948"/>
                      <a:pt x="890" y="951"/>
                    </a:cubicBezTo>
                    <a:lnTo>
                      <a:pt x="895" y="951"/>
                    </a:lnTo>
                    <a:close/>
                    <a:moveTo>
                      <a:pt x="836" y="953"/>
                    </a:moveTo>
                    <a:cubicBezTo>
                      <a:pt x="837" y="958"/>
                      <a:pt x="845" y="954"/>
                      <a:pt x="851" y="956"/>
                    </a:cubicBezTo>
                    <a:cubicBezTo>
                      <a:pt x="854" y="958"/>
                      <a:pt x="855" y="962"/>
                      <a:pt x="858" y="962"/>
                    </a:cubicBezTo>
                    <a:cubicBezTo>
                      <a:pt x="865" y="963"/>
                      <a:pt x="884" y="961"/>
                      <a:pt x="880" y="953"/>
                    </a:cubicBezTo>
                    <a:cubicBezTo>
                      <a:pt x="866" y="954"/>
                      <a:pt x="851" y="950"/>
                      <a:pt x="838" y="947"/>
                    </a:cubicBezTo>
                    <a:cubicBezTo>
                      <a:pt x="838" y="949"/>
                      <a:pt x="837" y="950"/>
                      <a:pt x="836" y="953"/>
                    </a:cubicBezTo>
                    <a:close/>
                    <a:moveTo>
                      <a:pt x="1618" y="1038"/>
                    </a:moveTo>
                    <a:cubicBezTo>
                      <a:pt x="1625" y="1028"/>
                      <a:pt x="1635" y="1002"/>
                      <a:pt x="1623" y="990"/>
                    </a:cubicBezTo>
                    <a:cubicBezTo>
                      <a:pt x="1617" y="1003"/>
                      <a:pt x="1619" y="1020"/>
                      <a:pt x="1618" y="1038"/>
                    </a:cubicBezTo>
                    <a:close/>
                    <a:moveTo>
                      <a:pt x="1272" y="1507"/>
                    </a:moveTo>
                    <a:cubicBezTo>
                      <a:pt x="1255" y="1507"/>
                      <a:pt x="1255" y="1525"/>
                      <a:pt x="1240" y="1528"/>
                    </a:cubicBezTo>
                    <a:cubicBezTo>
                      <a:pt x="1238" y="1531"/>
                      <a:pt x="1238" y="1532"/>
                      <a:pt x="1235" y="1535"/>
                    </a:cubicBezTo>
                    <a:cubicBezTo>
                      <a:pt x="1232" y="1535"/>
                      <a:pt x="1231" y="1536"/>
                      <a:pt x="1229" y="1536"/>
                    </a:cubicBezTo>
                    <a:cubicBezTo>
                      <a:pt x="1213" y="1556"/>
                      <a:pt x="1182" y="1560"/>
                      <a:pt x="1164" y="1578"/>
                    </a:cubicBezTo>
                    <a:cubicBezTo>
                      <a:pt x="1162" y="1600"/>
                      <a:pt x="1128" y="1597"/>
                      <a:pt x="1128" y="1615"/>
                    </a:cubicBezTo>
                    <a:cubicBezTo>
                      <a:pt x="1178" y="1602"/>
                      <a:pt x="1209" y="1571"/>
                      <a:pt x="1245" y="1545"/>
                    </a:cubicBezTo>
                    <a:cubicBezTo>
                      <a:pt x="1250" y="1533"/>
                      <a:pt x="1261" y="1528"/>
                      <a:pt x="1271" y="1522"/>
                    </a:cubicBezTo>
                    <a:cubicBezTo>
                      <a:pt x="1270" y="1518"/>
                      <a:pt x="1273" y="1516"/>
                      <a:pt x="1275" y="1511"/>
                    </a:cubicBezTo>
                    <a:cubicBezTo>
                      <a:pt x="1270" y="1511"/>
                      <a:pt x="1274" y="1508"/>
                      <a:pt x="1272" y="1507"/>
                    </a:cubicBezTo>
                    <a:close/>
                    <a:moveTo>
                      <a:pt x="597" y="4"/>
                    </a:moveTo>
                    <a:cubicBezTo>
                      <a:pt x="601" y="2"/>
                      <a:pt x="608" y="3"/>
                      <a:pt x="611" y="0"/>
                    </a:cubicBezTo>
                    <a:cubicBezTo>
                      <a:pt x="606" y="0"/>
                      <a:pt x="598" y="2"/>
                      <a:pt x="597" y="4"/>
                    </a:cubicBezTo>
                    <a:close/>
                    <a:moveTo>
                      <a:pt x="138" y="388"/>
                    </a:moveTo>
                    <a:cubicBezTo>
                      <a:pt x="139" y="391"/>
                      <a:pt x="136" y="395"/>
                      <a:pt x="138" y="397"/>
                    </a:cubicBezTo>
                    <a:cubicBezTo>
                      <a:pt x="140" y="394"/>
                      <a:pt x="142" y="385"/>
                      <a:pt x="141" y="382"/>
                    </a:cubicBezTo>
                    <a:cubicBezTo>
                      <a:pt x="141" y="383"/>
                      <a:pt x="140" y="385"/>
                      <a:pt x="139" y="385"/>
                    </a:cubicBezTo>
                    <a:cubicBezTo>
                      <a:pt x="140" y="374"/>
                      <a:pt x="151" y="374"/>
                      <a:pt x="157" y="368"/>
                    </a:cubicBezTo>
                    <a:cubicBezTo>
                      <a:pt x="154" y="368"/>
                      <a:pt x="154" y="366"/>
                      <a:pt x="154" y="364"/>
                    </a:cubicBezTo>
                    <a:cubicBezTo>
                      <a:pt x="155" y="363"/>
                      <a:pt x="156" y="360"/>
                      <a:pt x="158" y="359"/>
                    </a:cubicBezTo>
                    <a:cubicBezTo>
                      <a:pt x="158" y="362"/>
                      <a:pt x="155" y="361"/>
                      <a:pt x="156" y="365"/>
                    </a:cubicBezTo>
                    <a:cubicBezTo>
                      <a:pt x="160" y="363"/>
                      <a:pt x="158" y="368"/>
                      <a:pt x="161" y="368"/>
                    </a:cubicBezTo>
                    <a:cubicBezTo>
                      <a:pt x="177" y="362"/>
                      <a:pt x="168" y="334"/>
                      <a:pt x="151" y="340"/>
                    </a:cubicBezTo>
                    <a:cubicBezTo>
                      <a:pt x="156" y="337"/>
                      <a:pt x="163" y="339"/>
                      <a:pt x="169" y="339"/>
                    </a:cubicBezTo>
                    <a:cubicBezTo>
                      <a:pt x="170" y="340"/>
                      <a:pt x="170" y="344"/>
                      <a:pt x="172" y="344"/>
                    </a:cubicBezTo>
                    <a:cubicBezTo>
                      <a:pt x="173" y="343"/>
                      <a:pt x="175" y="342"/>
                      <a:pt x="178" y="342"/>
                    </a:cubicBezTo>
                    <a:cubicBezTo>
                      <a:pt x="183" y="351"/>
                      <a:pt x="181" y="361"/>
                      <a:pt x="180" y="373"/>
                    </a:cubicBezTo>
                    <a:cubicBezTo>
                      <a:pt x="184" y="373"/>
                      <a:pt x="184" y="377"/>
                      <a:pt x="186" y="379"/>
                    </a:cubicBezTo>
                    <a:cubicBezTo>
                      <a:pt x="191" y="379"/>
                      <a:pt x="193" y="377"/>
                      <a:pt x="198" y="378"/>
                    </a:cubicBezTo>
                    <a:cubicBezTo>
                      <a:pt x="201" y="382"/>
                      <a:pt x="205" y="386"/>
                      <a:pt x="211" y="387"/>
                    </a:cubicBezTo>
                    <a:cubicBezTo>
                      <a:pt x="215" y="377"/>
                      <a:pt x="231" y="380"/>
                      <a:pt x="232" y="366"/>
                    </a:cubicBezTo>
                    <a:cubicBezTo>
                      <a:pt x="231" y="364"/>
                      <a:pt x="229" y="368"/>
                      <a:pt x="227" y="367"/>
                    </a:cubicBezTo>
                    <a:cubicBezTo>
                      <a:pt x="231" y="364"/>
                      <a:pt x="235" y="360"/>
                      <a:pt x="236" y="355"/>
                    </a:cubicBezTo>
                    <a:cubicBezTo>
                      <a:pt x="238" y="355"/>
                      <a:pt x="236" y="360"/>
                      <a:pt x="240" y="359"/>
                    </a:cubicBezTo>
                    <a:cubicBezTo>
                      <a:pt x="247" y="349"/>
                      <a:pt x="238" y="336"/>
                      <a:pt x="253" y="331"/>
                    </a:cubicBezTo>
                    <a:cubicBezTo>
                      <a:pt x="251" y="326"/>
                      <a:pt x="257" y="322"/>
                      <a:pt x="260" y="319"/>
                    </a:cubicBezTo>
                    <a:cubicBezTo>
                      <a:pt x="260" y="321"/>
                      <a:pt x="264" y="321"/>
                      <a:pt x="266" y="321"/>
                    </a:cubicBezTo>
                    <a:cubicBezTo>
                      <a:pt x="267" y="317"/>
                      <a:pt x="269" y="313"/>
                      <a:pt x="275" y="314"/>
                    </a:cubicBezTo>
                    <a:cubicBezTo>
                      <a:pt x="277" y="309"/>
                      <a:pt x="278" y="303"/>
                      <a:pt x="285" y="303"/>
                    </a:cubicBezTo>
                    <a:cubicBezTo>
                      <a:pt x="288" y="295"/>
                      <a:pt x="303" y="291"/>
                      <a:pt x="301" y="284"/>
                    </a:cubicBezTo>
                    <a:cubicBezTo>
                      <a:pt x="295" y="286"/>
                      <a:pt x="289" y="288"/>
                      <a:pt x="283" y="289"/>
                    </a:cubicBezTo>
                    <a:cubicBezTo>
                      <a:pt x="282" y="287"/>
                      <a:pt x="288" y="286"/>
                      <a:pt x="283" y="285"/>
                    </a:cubicBezTo>
                    <a:cubicBezTo>
                      <a:pt x="281" y="285"/>
                      <a:pt x="277" y="288"/>
                      <a:pt x="276" y="285"/>
                    </a:cubicBezTo>
                    <a:cubicBezTo>
                      <a:pt x="280" y="276"/>
                      <a:pt x="290" y="265"/>
                      <a:pt x="307" y="264"/>
                    </a:cubicBezTo>
                    <a:cubicBezTo>
                      <a:pt x="309" y="251"/>
                      <a:pt x="321" y="248"/>
                      <a:pt x="326" y="238"/>
                    </a:cubicBezTo>
                    <a:cubicBezTo>
                      <a:pt x="325" y="237"/>
                      <a:pt x="322" y="238"/>
                      <a:pt x="322" y="236"/>
                    </a:cubicBezTo>
                    <a:cubicBezTo>
                      <a:pt x="325" y="236"/>
                      <a:pt x="323" y="234"/>
                      <a:pt x="322" y="233"/>
                    </a:cubicBezTo>
                    <a:cubicBezTo>
                      <a:pt x="324" y="230"/>
                      <a:pt x="325" y="227"/>
                      <a:pt x="327" y="224"/>
                    </a:cubicBezTo>
                    <a:cubicBezTo>
                      <a:pt x="320" y="223"/>
                      <a:pt x="316" y="229"/>
                      <a:pt x="310" y="231"/>
                    </a:cubicBezTo>
                    <a:cubicBezTo>
                      <a:pt x="309" y="231"/>
                      <a:pt x="307" y="229"/>
                      <a:pt x="305" y="230"/>
                    </a:cubicBezTo>
                    <a:cubicBezTo>
                      <a:pt x="298" y="231"/>
                      <a:pt x="291" y="241"/>
                      <a:pt x="281" y="236"/>
                    </a:cubicBezTo>
                    <a:cubicBezTo>
                      <a:pt x="271" y="246"/>
                      <a:pt x="258" y="263"/>
                      <a:pt x="239" y="255"/>
                    </a:cubicBezTo>
                    <a:cubicBezTo>
                      <a:pt x="239" y="249"/>
                      <a:pt x="239" y="249"/>
                      <a:pt x="239" y="249"/>
                    </a:cubicBezTo>
                    <a:cubicBezTo>
                      <a:pt x="228" y="255"/>
                      <a:pt x="218" y="267"/>
                      <a:pt x="205" y="267"/>
                    </a:cubicBezTo>
                    <a:cubicBezTo>
                      <a:pt x="207" y="265"/>
                      <a:pt x="203" y="266"/>
                      <a:pt x="204" y="263"/>
                    </a:cubicBezTo>
                    <a:cubicBezTo>
                      <a:pt x="215" y="246"/>
                      <a:pt x="245" y="246"/>
                      <a:pt x="251" y="223"/>
                    </a:cubicBezTo>
                    <a:cubicBezTo>
                      <a:pt x="261" y="211"/>
                      <a:pt x="276" y="204"/>
                      <a:pt x="282" y="188"/>
                    </a:cubicBezTo>
                    <a:cubicBezTo>
                      <a:pt x="292" y="187"/>
                      <a:pt x="299" y="176"/>
                      <a:pt x="305" y="173"/>
                    </a:cubicBezTo>
                    <a:cubicBezTo>
                      <a:pt x="316" y="168"/>
                      <a:pt x="324" y="173"/>
                      <a:pt x="338" y="174"/>
                    </a:cubicBezTo>
                    <a:cubicBezTo>
                      <a:pt x="339" y="176"/>
                      <a:pt x="336" y="176"/>
                      <a:pt x="337" y="179"/>
                    </a:cubicBezTo>
                    <a:cubicBezTo>
                      <a:pt x="340" y="179"/>
                      <a:pt x="341" y="177"/>
                      <a:pt x="344" y="176"/>
                    </a:cubicBezTo>
                    <a:cubicBezTo>
                      <a:pt x="340" y="180"/>
                      <a:pt x="349" y="176"/>
                      <a:pt x="350" y="179"/>
                    </a:cubicBezTo>
                    <a:cubicBezTo>
                      <a:pt x="349" y="181"/>
                      <a:pt x="347" y="181"/>
                      <a:pt x="347" y="183"/>
                    </a:cubicBezTo>
                    <a:cubicBezTo>
                      <a:pt x="350" y="183"/>
                      <a:pt x="352" y="184"/>
                      <a:pt x="353" y="187"/>
                    </a:cubicBezTo>
                    <a:cubicBezTo>
                      <a:pt x="350" y="188"/>
                      <a:pt x="349" y="188"/>
                      <a:pt x="344" y="187"/>
                    </a:cubicBezTo>
                    <a:cubicBezTo>
                      <a:pt x="344" y="194"/>
                      <a:pt x="334" y="192"/>
                      <a:pt x="334" y="199"/>
                    </a:cubicBezTo>
                    <a:cubicBezTo>
                      <a:pt x="336" y="202"/>
                      <a:pt x="341" y="198"/>
                      <a:pt x="342" y="200"/>
                    </a:cubicBezTo>
                    <a:cubicBezTo>
                      <a:pt x="341" y="206"/>
                      <a:pt x="333" y="207"/>
                      <a:pt x="334" y="215"/>
                    </a:cubicBezTo>
                    <a:cubicBezTo>
                      <a:pt x="347" y="207"/>
                      <a:pt x="357" y="194"/>
                      <a:pt x="369" y="188"/>
                    </a:cubicBezTo>
                    <a:cubicBezTo>
                      <a:pt x="367" y="184"/>
                      <a:pt x="357" y="189"/>
                      <a:pt x="355" y="187"/>
                    </a:cubicBezTo>
                    <a:cubicBezTo>
                      <a:pt x="363" y="183"/>
                      <a:pt x="364" y="174"/>
                      <a:pt x="373" y="171"/>
                    </a:cubicBezTo>
                    <a:cubicBezTo>
                      <a:pt x="372" y="178"/>
                      <a:pt x="364" y="178"/>
                      <a:pt x="362" y="184"/>
                    </a:cubicBezTo>
                    <a:cubicBezTo>
                      <a:pt x="368" y="187"/>
                      <a:pt x="372" y="185"/>
                      <a:pt x="376" y="185"/>
                    </a:cubicBezTo>
                    <a:cubicBezTo>
                      <a:pt x="375" y="187"/>
                      <a:pt x="372" y="187"/>
                      <a:pt x="372" y="190"/>
                    </a:cubicBezTo>
                    <a:cubicBezTo>
                      <a:pt x="374" y="192"/>
                      <a:pt x="373" y="192"/>
                      <a:pt x="372" y="194"/>
                    </a:cubicBezTo>
                    <a:cubicBezTo>
                      <a:pt x="381" y="201"/>
                      <a:pt x="389" y="192"/>
                      <a:pt x="397" y="189"/>
                    </a:cubicBezTo>
                    <a:cubicBezTo>
                      <a:pt x="407" y="196"/>
                      <a:pt x="414" y="179"/>
                      <a:pt x="422" y="186"/>
                    </a:cubicBezTo>
                    <a:cubicBezTo>
                      <a:pt x="421" y="189"/>
                      <a:pt x="420" y="191"/>
                      <a:pt x="419" y="193"/>
                    </a:cubicBezTo>
                    <a:cubicBezTo>
                      <a:pt x="423" y="195"/>
                      <a:pt x="425" y="188"/>
                      <a:pt x="428" y="191"/>
                    </a:cubicBezTo>
                    <a:cubicBezTo>
                      <a:pt x="411" y="202"/>
                      <a:pt x="402" y="227"/>
                      <a:pt x="373" y="220"/>
                    </a:cubicBezTo>
                    <a:cubicBezTo>
                      <a:pt x="371" y="222"/>
                      <a:pt x="369" y="224"/>
                      <a:pt x="366" y="225"/>
                    </a:cubicBezTo>
                    <a:cubicBezTo>
                      <a:pt x="363" y="224"/>
                      <a:pt x="363" y="221"/>
                      <a:pt x="360" y="219"/>
                    </a:cubicBezTo>
                    <a:cubicBezTo>
                      <a:pt x="362" y="219"/>
                      <a:pt x="362" y="217"/>
                      <a:pt x="362" y="214"/>
                    </a:cubicBezTo>
                    <a:cubicBezTo>
                      <a:pt x="354" y="214"/>
                      <a:pt x="346" y="214"/>
                      <a:pt x="346" y="221"/>
                    </a:cubicBezTo>
                    <a:cubicBezTo>
                      <a:pt x="349" y="224"/>
                      <a:pt x="352" y="224"/>
                      <a:pt x="349" y="228"/>
                    </a:cubicBezTo>
                    <a:cubicBezTo>
                      <a:pt x="351" y="229"/>
                      <a:pt x="353" y="225"/>
                      <a:pt x="353" y="228"/>
                    </a:cubicBezTo>
                    <a:cubicBezTo>
                      <a:pt x="345" y="238"/>
                      <a:pt x="334" y="243"/>
                      <a:pt x="327" y="252"/>
                    </a:cubicBezTo>
                    <a:cubicBezTo>
                      <a:pt x="327" y="255"/>
                      <a:pt x="331" y="248"/>
                      <a:pt x="331" y="251"/>
                    </a:cubicBezTo>
                    <a:cubicBezTo>
                      <a:pt x="325" y="257"/>
                      <a:pt x="327" y="264"/>
                      <a:pt x="322" y="271"/>
                    </a:cubicBezTo>
                    <a:cubicBezTo>
                      <a:pt x="333" y="269"/>
                      <a:pt x="334" y="256"/>
                      <a:pt x="344" y="252"/>
                    </a:cubicBezTo>
                    <a:cubicBezTo>
                      <a:pt x="342" y="258"/>
                      <a:pt x="337" y="262"/>
                      <a:pt x="337" y="268"/>
                    </a:cubicBezTo>
                    <a:cubicBezTo>
                      <a:pt x="353" y="268"/>
                      <a:pt x="365" y="250"/>
                      <a:pt x="377" y="240"/>
                    </a:cubicBezTo>
                    <a:cubicBezTo>
                      <a:pt x="377" y="243"/>
                      <a:pt x="375" y="242"/>
                      <a:pt x="375" y="244"/>
                    </a:cubicBezTo>
                    <a:cubicBezTo>
                      <a:pt x="378" y="244"/>
                      <a:pt x="381" y="239"/>
                      <a:pt x="384" y="242"/>
                    </a:cubicBezTo>
                    <a:cubicBezTo>
                      <a:pt x="380" y="250"/>
                      <a:pt x="371" y="253"/>
                      <a:pt x="366" y="261"/>
                    </a:cubicBezTo>
                    <a:cubicBezTo>
                      <a:pt x="373" y="262"/>
                      <a:pt x="374" y="258"/>
                      <a:pt x="379" y="258"/>
                    </a:cubicBezTo>
                    <a:cubicBezTo>
                      <a:pt x="379" y="259"/>
                      <a:pt x="378" y="259"/>
                      <a:pt x="378" y="260"/>
                    </a:cubicBezTo>
                    <a:cubicBezTo>
                      <a:pt x="386" y="256"/>
                      <a:pt x="392" y="262"/>
                      <a:pt x="398" y="255"/>
                    </a:cubicBezTo>
                    <a:cubicBezTo>
                      <a:pt x="396" y="251"/>
                      <a:pt x="398" y="251"/>
                      <a:pt x="396" y="249"/>
                    </a:cubicBezTo>
                    <a:cubicBezTo>
                      <a:pt x="398" y="246"/>
                      <a:pt x="401" y="244"/>
                      <a:pt x="404" y="242"/>
                    </a:cubicBezTo>
                    <a:cubicBezTo>
                      <a:pt x="405" y="231"/>
                      <a:pt x="410" y="226"/>
                      <a:pt x="419" y="225"/>
                    </a:cubicBezTo>
                    <a:cubicBezTo>
                      <a:pt x="419" y="227"/>
                      <a:pt x="419" y="228"/>
                      <a:pt x="420" y="229"/>
                    </a:cubicBezTo>
                    <a:cubicBezTo>
                      <a:pt x="424" y="227"/>
                      <a:pt x="426" y="223"/>
                      <a:pt x="431" y="223"/>
                    </a:cubicBezTo>
                    <a:cubicBezTo>
                      <a:pt x="432" y="221"/>
                      <a:pt x="427" y="219"/>
                      <a:pt x="430" y="217"/>
                    </a:cubicBezTo>
                    <a:cubicBezTo>
                      <a:pt x="433" y="214"/>
                      <a:pt x="431" y="220"/>
                      <a:pt x="435" y="219"/>
                    </a:cubicBezTo>
                    <a:cubicBezTo>
                      <a:pt x="437" y="218"/>
                      <a:pt x="439" y="216"/>
                      <a:pt x="440" y="212"/>
                    </a:cubicBezTo>
                    <a:cubicBezTo>
                      <a:pt x="438" y="212"/>
                      <a:pt x="436" y="213"/>
                      <a:pt x="436" y="211"/>
                    </a:cubicBezTo>
                    <a:cubicBezTo>
                      <a:pt x="440" y="209"/>
                      <a:pt x="446" y="208"/>
                      <a:pt x="448" y="203"/>
                    </a:cubicBezTo>
                    <a:cubicBezTo>
                      <a:pt x="447" y="202"/>
                      <a:pt x="444" y="203"/>
                      <a:pt x="444" y="201"/>
                    </a:cubicBezTo>
                    <a:cubicBezTo>
                      <a:pt x="447" y="200"/>
                      <a:pt x="445" y="199"/>
                      <a:pt x="445" y="197"/>
                    </a:cubicBezTo>
                    <a:cubicBezTo>
                      <a:pt x="456" y="195"/>
                      <a:pt x="460" y="188"/>
                      <a:pt x="470" y="185"/>
                    </a:cubicBezTo>
                    <a:cubicBezTo>
                      <a:pt x="470" y="178"/>
                      <a:pt x="468" y="178"/>
                      <a:pt x="469" y="172"/>
                    </a:cubicBezTo>
                    <a:cubicBezTo>
                      <a:pt x="468" y="170"/>
                      <a:pt x="463" y="173"/>
                      <a:pt x="464" y="169"/>
                    </a:cubicBezTo>
                    <a:cubicBezTo>
                      <a:pt x="464" y="167"/>
                      <a:pt x="468" y="169"/>
                      <a:pt x="468" y="165"/>
                    </a:cubicBezTo>
                    <a:cubicBezTo>
                      <a:pt x="463" y="157"/>
                      <a:pt x="446" y="160"/>
                      <a:pt x="437" y="161"/>
                    </a:cubicBezTo>
                    <a:cubicBezTo>
                      <a:pt x="435" y="162"/>
                      <a:pt x="436" y="165"/>
                      <a:pt x="434" y="166"/>
                    </a:cubicBezTo>
                    <a:cubicBezTo>
                      <a:pt x="431" y="166"/>
                      <a:pt x="430" y="164"/>
                      <a:pt x="428" y="163"/>
                    </a:cubicBezTo>
                    <a:cubicBezTo>
                      <a:pt x="426" y="165"/>
                      <a:pt x="424" y="168"/>
                      <a:pt x="422" y="169"/>
                    </a:cubicBezTo>
                    <a:cubicBezTo>
                      <a:pt x="425" y="172"/>
                      <a:pt x="421" y="174"/>
                      <a:pt x="419" y="177"/>
                    </a:cubicBezTo>
                    <a:cubicBezTo>
                      <a:pt x="408" y="179"/>
                      <a:pt x="397" y="180"/>
                      <a:pt x="386" y="179"/>
                    </a:cubicBezTo>
                    <a:cubicBezTo>
                      <a:pt x="386" y="178"/>
                      <a:pt x="385" y="178"/>
                      <a:pt x="385" y="177"/>
                    </a:cubicBezTo>
                    <a:cubicBezTo>
                      <a:pt x="392" y="171"/>
                      <a:pt x="405" y="176"/>
                      <a:pt x="410" y="168"/>
                    </a:cubicBezTo>
                    <a:cubicBezTo>
                      <a:pt x="409" y="166"/>
                      <a:pt x="404" y="169"/>
                      <a:pt x="405" y="165"/>
                    </a:cubicBezTo>
                    <a:cubicBezTo>
                      <a:pt x="408" y="165"/>
                      <a:pt x="410" y="164"/>
                      <a:pt x="413" y="164"/>
                    </a:cubicBezTo>
                    <a:cubicBezTo>
                      <a:pt x="416" y="162"/>
                      <a:pt x="414" y="160"/>
                      <a:pt x="417" y="159"/>
                    </a:cubicBezTo>
                    <a:cubicBezTo>
                      <a:pt x="419" y="160"/>
                      <a:pt x="419" y="159"/>
                      <a:pt x="422" y="161"/>
                    </a:cubicBezTo>
                    <a:cubicBezTo>
                      <a:pt x="427" y="154"/>
                      <a:pt x="440" y="156"/>
                      <a:pt x="445" y="148"/>
                    </a:cubicBezTo>
                    <a:cubicBezTo>
                      <a:pt x="429" y="138"/>
                      <a:pt x="415" y="159"/>
                      <a:pt x="399" y="156"/>
                    </a:cubicBezTo>
                    <a:cubicBezTo>
                      <a:pt x="399" y="155"/>
                      <a:pt x="400" y="154"/>
                      <a:pt x="400" y="153"/>
                    </a:cubicBezTo>
                    <a:cubicBezTo>
                      <a:pt x="396" y="152"/>
                      <a:pt x="393" y="155"/>
                      <a:pt x="392" y="153"/>
                    </a:cubicBezTo>
                    <a:cubicBezTo>
                      <a:pt x="396" y="151"/>
                      <a:pt x="402" y="153"/>
                      <a:pt x="404" y="149"/>
                    </a:cubicBezTo>
                    <a:cubicBezTo>
                      <a:pt x="404" y="153"/>
                      <a:pt x="404" y="153"/>
                      <a:pt x="404" y="153"/>
                    </a:cubicBezTo>
                    <a:cubicBezTo>
                      <a:pt x="412" y="151"/>
                      <a:pt x="420" y="149"/>
                      <a:pt x="423" y="141"/>
                    </a:cubicBezTo>
                    <a:cubicBezTo>
                      <a:pt x="415" y="140"/>
                      <a:pt x="413" y="142"/>
                      <a:pt x="407" y="146"/>
                    </a:cubicBezTo>
                    <a:cubicBezTo>
                      <a:pt x="406" y="142"/>
                      <a:pt x="399" y="146"/>
                      <a:pt x="398" y="144"/>
                    </a:cubicBezTo>
                    <a:cubicBezTo>
                      <a:pt x="403" y="138"/>
                      <a:pt x="407" y="130"/>
                      <a:pt x="415" y="127"/>
                    </a:cubicBezTo>
                    <a:cubicBezTo>
                      <a:pt x="416" y="124"/>
                      <a:pt x="414" y="123"/>
                      <a:pt x="416" y="119"/>
                    </a:cubicBezTo>
                    <a:cubicBezTo>
                      <a:pt x="413" y="119"/>
                      <a:pt x="410" y="122"/>
                      <a:pt x="408" y="119"/>
                    </a:cubicBezTo>
                    <a:cubicBezTo>
                      <a:pt x="420" y="119"/>
                      <a:pt x="419" y="105"/>
                      <a:pt x="427" y="102"/>
                    </a:cubicBezTo>
                    <a:cubicBezTo>
                      <a:pt x="427" y="103"/>
                      <a:pt x="426" y="103"/>
                      <a:pt x="426" y="105"/>
                    </a:cubicBezTo>
                    <a:cubicBezTo>
                      <a:pt x="441" y="102"/>
                      <a:pt x="446" y="90"/>
                      <a:pt x="460" y="86"/>
                    </a:cubicBezTo>
                    <a:cubicBezTo>
                      <a:pt x="461" y="83"/>
                      <a:pt x="456" y="83"/>
                      <a:pt x="459" y="82"/>
                    </a:cubicBezTo>
                    <a:cubicBezTo>
                      <a:pt x="463" y="81"/>
                      <a:pt x="464" y="83"/>
                      <a:pt x="466" y="80"/>
                    </a:cubicBezTo>
                    <a:cubicBezTo>
                      <a:pt x="465" y="79"/>
                      <a:pt x="462" y="80"/>
                      <a:pt x="462" y="78"/>
                    </a:cubicBezTo>
                    <a:cubicBezTo>
                      <a:pt x="468" y="77"/>
                      <a:pt x="474" y="77"/>
                      <a:pt x="478" y="73"/>
                    </a:cubicBezTo>
                    <a:cubicBezTo>
                      <a:pt x="476" y="74"/>
                      <a:pt x="475" y="73"/>
                      <a:pt x="474" y="71"/>
                    </a:cubicBezTo>
                    <a:cubicBezTo>
                      <a:pt x="484" y="72"/>
                      <a:pt x="482" y="60"/>
                      <a:pt x="491" y="59"/>
                    </a:cubicBezTo>
                    <a:cubicBezTo>
                      <a:pt x="492" y="57"/>
                      <a:pt x="488" y="55"/>
                      <a:pt x="491" y="55"/>
                    </a:cubicBezTo>
                    <a:cubicBezTo>
                      <a:pt x="529" y="38"/>
                      <a:pt x="568" y="22"/>
                      <a:pt x="605" y="4"/>
                    </a:cubicBezTo>
                    <a:cubicBezTo>
                      <a:pt x="600" y="6"/>
                      <a:pt x="595" y="4"/>
                      <a:pt x="593" y="4"/>
                    </a:cubicBezTo>
                    <a:cubicBezTo>
                      <a:pt x="594" y="4"/>
                      <a:pt x="595" y="6"/>
                      <a:pt x="593" y="6"/>
                    </a:cubicBezTo>
                    <a:cubicBezTo>
                      <a:pt x="592" y="6"/>
                      <a:pt x="592" y="3"/>
                      <a:pt x="590" y="4"/>
                    </a:cubicBezTo>
                    <a:cubicBezTo>
                      <a:pt x="359" y="68"/>
                      <a:pt x="191" y="201"/>
                      <a:pt x="80" y="381"/>
                    </a:cubicBezTo>
                    <a:cubicBezTo>
                      <a:pt x="86" y="374"/>
                      <a:pt x="95" y="369"/>
                      <a:pt x="101" y="366"/>
                    </a:cubicBezTo>
                    <a:cubicBezTo>
                      <a:pt x="100" y="368"/>
                      <a:pt x="99" y="370"/>
                      <a:pt x="99" y="372"/>
                    </a:cubicBezTo>
                    <a:cubicBezTo>
                      <a:pt x="100" y="373"/>
                      <a:pt x="103" y="373"/>
                      <a:pt x="103" y="376"/>
                    </a:cubicBezTo>
                    <a:cubicBezTo>
                      <a:pt x="103" y="379"/>
                      <a:pt x="100" y="379"/>
                      <a:pt x="100" y="382"/>
                    </a:cubicBezTo>
                    <a:cubicBezTo>
                      <a:pt x="107" y="381"/>
                      <a:pt x="108" y="366"/>
                      <a:pt x="119" y="366"/>
                    </a:cubicBezTo>
                    <a:cubicBezTo>
                      <a:pt x="121" y="375"/>
                      <a:pt x="128" y="380"/>
                      <a:pt x="133" y="385"/>
                    </a:cubicBezTo>
                    <a:cubicBezTo>
                      <a:pt x="132" y="387"/>
                      <a:pt x="129" y="388"/>
                      <a:pt x="128" y="389"/>
                    </a:cubicBezTo>
                    <a:cubicBezTo>
                      <a:pt x="126" y="388"/>
                      <a:pt x="124" y="386"/>
                      <a:pt x="121" y="386"/>
                    </a:cubicBezTo>
                    <a:cubicBezTo>
                      <a:pt x="116" y="388"/>
                      <a:pt x="114" y="393"/>
                      <a:pt x="113" y="398"/>
                    </a:cubicBezTo>
                    <a:cubicBezTo>
                      <a:pt x="115" y="399"/>
                      <a:pt x="118" y="401"/>
                      <a:pt x="121" y="399"/>
                    </a:cubicBezTo>
                    <a:cubicBezTo>
                      <a:pt x="118" y="405"/>
                      <a:pt x="126" y="406"/>
                      <a:pt x="127" y="412"/>
                    </a:cubicBezTo>
                    <a:cubicBezTo>
                      <a:pt x="138" y="408"/>
                      <a:pt x="130" y="391"/>
                      <a:pt x="138" y="388"/>
                    </a:cubicBezTo>
                    <a:close/>
                    <a:moveTo>
                      <a:pt x="225" y="351"/>
                    </a:moveTo>
                    <a:cubicBezTo>
                      <a:pt x="228" y="353"/>
                      <a:pt x="235" y="351"/>
                      <a:pt x="233" y="356"/>
                    </a:cubicBezTo>
                    <a:cubicBezTo>
                      <a:pt x="231" y="354"/>
                      <a:pt x="230" y="356"/>
                      <a:pt x="226" y="355"/>
                    </a:cubicBezTo>
                    <a:cubicBezTo>
                      <a:pt x="225" y="354"/>
                      <a:pt x="225" y="353"/>
                      <a:pt x="225" y="351"/>
                    </a:cubicBezTo>
                    <a:close/>
                    <a:moveTo>
                      <a:pt x="457" y="181"/>
                    </a:moveTo>
                    <a:cubicBezTo>
                      <a:pt x="454" y="184"/>
                      <a:pt x="459" y="185"/>
                      <a:pt x="461" y="186"/>
                    </a:cubicBezTo>
                    <a:cubicBezTo>
                      <a:pt x="461" y="188"/>
                      <a:pt x="460" y="189"/>
                      <a:pt x="457" y="188"/>
                    </a:cubicBezTo>
                    <a:cubicBezTo>
                      <a:pt x="457" y="185"/>
                      <a:pt x="457" y="185"/>
                      <a:pt x="457" y="185"/>
                    </a:cubicBezTo>
                    <a:cubicBezTo>
                      <a:pt x="455" y="185"/>
                      <a:pt x="454" y="187"/>
                      <a:pt x="450" y="187"/>
                    </a:cubicBezTo>
                    <a:cubicBezTo>
                      <a:pt x="448" y="185"/>
                      <a:pt x="452" y="182"/>
                      <a:pt x="449" y="182"/>
                    </a:cubicBezTo>
                    <a:cubicBezTo>
                      <a:pt x="452" y="178"/>
                      <a:pt x="453" y="183"/>
                      <a:pt x="457" y="181"/>
                    </a:cubicBezTo>
                    <a:close/>
                    <a:moveTo>
                      <a:pt x="89" y="371"/>
                    </a:moveTo>
                    <a:cubicBezTo>
                      <a:pt x="90" y="369"/>
                      <a:pt x="92" y="367"/>
                      <a:pt x="93" y="364"/>
                    </a:cubicBezTo>
                    <a:cubicBezTo>
                      <a:pt x="95" y="363"/>
                      <a:pt x="91" y="371"/>
                      <a:pt x="89" y="371"/>
                    </a:cubicBezTo>
                    <a:close/>
                    <a:moveTo>
                      <a:pt x="80" y="381"/>
                    </a:moveTo>
                    <a:cubicBezTo>
                      <a:pt x="79" y="383"/>
                      <a:pt x="79" y="384"/>
                      <a:pt x="78" y="385"/>
                    </a:cubicBezTo>
                    <a:cubicBezTo>
                      <a:pt x="79" y="384"/>
                      <a:pt x="80" y="383"/>
                      <a:pt x="80" y="381"/>
                    </a:cubicBezTo>
                    <a:close/>
                    <a:moveTo>
                      <a:pt x="1653" y="739"/>
                    </a:moveTo>
                    <a:cubicBezTo>
                      <a:pt x="1639" y="588"/>
                      <a:pt x="1580" y="452"/>
                      <a:pt x="1512" y="356"/>
                    </a:cubicBezTo>
                    <a:cubicBezTo>
                      <a:pt x="1515" y="363"/>
                      <a:pt x="1520" y="368"/>
                      <a:pt x="1523" y="374"/>
                    </a:cubicBezTo>
                    <a:cubicBezTo>
                      <a:pt x="1519" y="372"/>
                      <a:pt x="1520" y="373"/>
                      <a:pt x="1521" y="377"/>
                    </a:cubicBezTo>
                    <a:cubicBezTo>
                      <a:pt x="1512" y="363"/>
                      <a:pt x="1500" y="348"/>
                      <a:pt x="1495" y="335"/>
                    </a:cubicBezTo>
                    <a:cubicBezTo>
                      <a:pt x="1498" y="338"/>
                      <a:pt x="1501" y="347"/>
                      <a:pt x="1505" y="346"/>
                    </a:cubicBezTo>
                    <a:cubicBezTo>
                      <a:pt x="1498" y="337"/>
                      <a:pt x="1489" y="325"/>
                      <a:pt x="1490" y="321"/>
                    </a:cubicBezTo>
                    <a:cubicBezTo>
                      <a:pt x="1448" y="272"/>
                      <a:pt x="1411" y="218"/>
                      <a:pt x="1353" y="186"/>
                    </a:cubicBezTo>
                    <a:cubicBezTo>
                      <a:pt x="1360" y="183"/>
                      <a:pt x="1367" y="195"/>
                      <a:pt x="1373" y="193"/>
                    </a:cubicBezTo>
                    <a:cubicBezTo>
                      <a:pt x="1367" y="189"/>
                      <a:pt x="1360" y="187"/>
                      <a:pt x="1357" y="180"/>
                    </a:cubicBezTo>
                    <a:cubicBezTo>
                      <a:pt x="1348" y="180"/>
                      <a:pt x="1342" y="175"/>
                      <a:pt x="1335" y="176"/>
                    </a:cubicBezTo>
                    <a:cubicBezTo>
                      <a:pt x="1340" y="179"/>
                      <a:pt x="1346" y="183"/>
                      <a:pt x="1352" y="186"/>
                    </a:cubicBezTo>
                    <a:cubicBezTo>
                      <a:pt x="1349" y="186"/>
                      <a:pt x="1346" y="182"/>
                      <a:pt x="1346" y="187"/>
                    </a:cubicBezTo>
                    <a:cubicBezTo>
                      <a:pt x="1344" y="194"/>
                      <a:pt x="1357" y="195"/>
                      <a:pt x="1356" y="202"/>
                    </a:cubicBezTo>
                    <a:cubicBezTo>
                      <a:pt x="1354" y="202"/>
                      <a:pt x="1354" y="201"/>
                      <a:pt x="1352" y="201"/>
                    </a:cubicBezTo>
                    <a:cubicBezTo>
                      <a:pt x="1351" y="204"/>
                      <a:pt x="1355" y="203"/>
                      <a:pt x="1354" y="207"/>
                    </a:cubicBezTo>
                    <a:cubicBezTo>
                      <a:pt x="1342" y="195"/>
                      <a:pt x="1326" y="188"/>
                      <a:pt x="1313" y="179"/>
                    </a:cubicBezTo>
                    <a:cubicBezTo>
                      <a:pt x="1308" y="176"/>
                      <a:pt x="1300" y="171"/>
                      <a:pt x="1296" y="166"/>
                    </a:cubicBezTo>
                    <a:cubicBezTo>
                      <a:pt x="1294" y="163"/>
                      <a:pt x="1294" y="160"/>
                      <a:pt x="1292" y="157"/>
                    </a:cubicBezTo>
                    <a:cubicBezTo>
                      <a:pt x="1287" y="149"/>
                      <a:pt x="1277" y="145"/>
                      <a:pt x="1274" y="137"/>
                    </a:cubicBezTo>
                    <a:cubicBezTo>
                      <a:pt x="1276" y="137"/>
                      <a:pt x="1277" y="139"/>
                      <a:pt x="1279" y="139"/>
                    </a:cubicBezTo>
                    <a:cubicBezTo>
                      <a:pt x="1275" y="134"/>
                      <a:pt x="1269" y="130"/>
                      <a:pt x="1265" y="125"/>
                    </a:cubicBezTo>
                    <a:cubicBezTo>
                      <a:pt x="1255" y="127"/>
                      <a:pt x="1241" y="119"/>
                      <a:pt x="1236" y="111"/>
                    </a:cubicBezTo>
                    <a:cubicBezTo>
                      <a:pt x="1237" y="111"/>
                      <a:pt x="1238" y="110"/>
                      <a:pt x="1239" y="109"/>
                    </a:cubicBezTo>
                    <a:cubicBezTo>
                      <a:pt x="1231" y="103"/>
                      <a:pt x="1222" y="102"/>
                      <a:pt x="1216" y="97"/>
                    </a:cubicBezTo>
                    <a:cubicBezTo>
                      <a:pt x="1243" y="102"/>
                      <a:pt x="1259" y="122"/>
                      <a:pt x="1285" y="126"/>
                    </a:cubicBezTo>
                    <a:cubicBezTo>
                      <a:pt x="1272" y="115"/>
                      <a:pt x="1254" y="104"/>
                      <a:pt x="1239" y="99"/>
                    </a:cubicBezTo>
                    <a:cubicBezTo>
                      <a:pt x="1236" y="100"/>
                      <a:pt x="1244" y="102"/>
                      <a:pt x="1241" y="103"/>
                    </a:cubicBezTo>
                    <a:cubicBezTo>
                      <a:pt x="1227" y="96"/>
                      <a:pt x="1212" y="90"/>
                      <a:pt x="1202" y="79"/>
                    </a:cubicBezTo>
                    <a:cubicBezTo>
                      <a:pt x="1185" y="74"/>
                      <a:pt x="1169" y="63"/>
                      <a:pt x="1155" y="58"/>
                    </a:cubicBezTo>
                    <a:cubicBezTo>
                      <a:pt x="1158" y="61"/>
                      <a:pt x="1156" y="63"/>
                      <a:pt x="1160" y="65"/>
                    </a:cubicBezTo>
                    <a:cubicBezTo>
                      <a:pt x="1154" y="64"/>
                      <a:pt x="1149" y="57"/>
                      <a:pt x="1144" y="61"/>
                    </a:cubicBezTo>
                    <a:cubicBezTo>
                      <a:pt x="1138" y="53"/>
                      <a:pt x="1123" y="41"/>
                      <a:pt x="1110" y="42"/>
                    </a:cubicBezTo>
                    <a:cubicBezTo>
                      <a:pt x="1115" y="46"/>
                      <a:pt x="1122" y="51"/>
                      <a:pt x="1128" y="52"/>
                    </a:cubicBezTo>
                    <a:cubicBezTo>
                      <a:pt x="1125" y="52"/>
                      <a:pt x="1125" y="52"/>
                      <a:pt x="1125" y="52"/>
                    </a:cubicBezTo>
                    <a:cubicBezTo>
                      <a:pt x="1133" y="63"/>
                      <a:pt x="1140" y="76"/>
                      <a:pt x="1150" y="85"/>
                    </a:cubicBezTo>
                    <a:cubicBezTo>
                      <a:pt x="1148" y="86"/>
                      <a:pt x="1151" y="88"/>
                      <a:pt x="1151" y="90"/>
                    </a:cubicBezTo>
                    <a:cubicBezTo>
                      <a:pt x="1158" y="93"/>
                      <a:pt x="1159" y="85"/>
                      <a:pt x="1164" y="90"/>
                    </a:cubicBezTo>
                    <a:cubicBezTo>
                      <a:pt x="1160" y="91"/>
                      <a:pt x="1165" y="94"/>
                      <a:pt x="1163" y="94"/>
                    </a:cubicBezTo>
                    <a:cubicBezTo>
                      <a:pt x="1160" y="95"/>
                      <a:pt x="1161" y="91"/>
                      <a:pt x="1157" y="92"/>
                    </a:cubicBezTo>
                    <a:cubicBezTo>
                      <a:pt x="1157" y="97"/>
                      <a:pt x="1162" y="96"/>
                      <a:pt x="1165" y="97"/>
                    </a:cubicBezTo>
                    <a:cubicBezTo>
                      <a:pt x="1165" y="106"/>
                      <a:pt x="1174" y="107"/>
                      <a:pt x="1174" y="115"/>
                    </a:cubicBezTo>
                    <a:cubicBezTo>
                      <a:pt x="1172" y="116"/>
                      <a:pt x="1168" y="115"/>
                      <a:pt x="1167" y="116"/>
                    </a:cubicBezTo>
                    <a:cubicBezTo>
                      <a:pt x="1164" y="124"/>
                      <a:pt x="1170" y="129"/>
                      <a:pt x="1173" y="133"/>
                    </a:cubicBezTo>
                    <a:cubicBezTo>
                      <a:pt x="1169" y="135"/>
                      <a:pt x="1168" y="140"/>
                      <a:pt x="1161" y="139"/>
                    </a:cubicBezTo>
                    <a:cubicBezTo>
                      <a:pt x="1157" y="147"/>
                      <a:pt x="1156" y="149"/>
                      <a:pt x="1157" y="158"/>
                    </a:cubicBezTo>
                    <a:cubicBezTo>
                      <a:pt x="1154" y="158"/>
                      <a:pt x="1154" y="158"/>
                      <a:pt x="1154" y="158"/>
                    </a:cubicBezTo>
                    <a:cubicBezTo>
                      <a:pt x="1155" y="161"/>
                      <a:pt x="1160" y="161"/>
                      <a:pt x="1162" y="164"/>
                    </a:cubicBezTo>
                    <a:cubicBezTo>
                      <a:pt x="1165" y="163"/>
                      <a:pt x="1168" y="162"/>
                      <a:pt x="1171" y="163"/>
                    </a:cubicBezTo>
                    <a:cubicBezTo>
                      <a:pt x="1167" y="166"/>
                      <a:pt x="1173" y="167"/>
                      <a:pt x="1174" y="169"/>
                    </a:cubicBezTo>
                    <a:cubicBezTo>
                      <a:pt x="1173" y="170"/>
                      <a:pt x="1171" y="170"/>
                      <a:pt x="1169" y="171"/>
                    </a:cubicBezTo>
                    <a:cubicBezTo>
                      <a:pt x="1169" y="175"/>
                      <a:pt x="1174" y="175"/>
                      <a:pt x="1171" y="178"/>
                    </a:cubicBezTo>
                    <a:cubicBezTo>
                      <a:pt x="1171" y="180"/>
                      <a:pt x="1165" y="178"/>
                      <a:pt x="1165" y="180"/>
                    </a:cubicBezTo>
                    <a:cubicBezTo>
                      <a:pt x="1168" y="183"/>
                      <a:pt x="1176" y="182"/>
                      <a:pt x="1178" y="187"/>
                    </a:cubicBezTo>
                    <a:cubicBezTo>
                      <a:pt x="1172" y="188"/>
                      <a:pt x="1168" y="186"/>
                      <a:pt x="1163" y="189"/>
                    </a:cubicBezTo>
                    <a:cubicBezTo>
                      <a:pt x="1158" y="184"/>
                      <a:pt x="1148" y="186"/>
                      <a:pt x="1139" y="187"/>
                    </a:cubicBezTo>
                    <a:cubicBezTo>
                      <a:pt x="1136" y="189"/>
                      <a:pt x="1141" y="189"/>
                      <a:pt x="1139" y="191"/>
                    </a:cubicBezTo>
                    <a:cubicBezTo>
                      <a:pt x="1136" y="191"/>
                      <a:pt x="1135" y="193"/>
                      <a:pt x="1132" y="192"/>
                    </a:cubicBezTo>
                    <a:cubicBezTo>
                      <a:pt x="1132" y="198"/>
                      <a:pt x="1140" y="196"/>
                      <a:pt x="1143" y="199"/>
                    </a:cubicBezTo>
                    <a:cubicBezTo>
                      <a:pt x="1138" y="202"/>
                      <a:pt x="1138" y="206"/>
                      <a:pt x="1134" y="208"/>
                    </a:cubicBezTo>
                    <a:cubicBezTo>
                      <a:pt x="1131" y="208"/>
                      <a:pt x="1132" y="205"/>
                      <a:pt x="1128" y="206"/>
                    </a:cubicBezTo>
                    <a:cubicBezTo>
                      <a:pt x="1126" y="210"/>
                      <a:pt x="1120" y="210"/>
                      <a:pt x="1121" y="217"/>
                    </a:cubicBezTo>
                    <a:cubicBezTo>
                      <a:pt x="1119" y="217"/>
                      <a:pt x="1115" y="214"/>
                      <a:pt x="1113" y="216"/>
                    </a:cubicBezTo>
                    <a:cubicBezTo>
                      <a:pt x="1114" y="217"/>
                      <a:pt x="1117" y="217"/>
                      <a:pt x="1117" y="220"/>
                    </a:cubicBezTo>
                    <a:cubicBezTo>
                      <a:pt x="1107" y="222"/>
                      <a:pt x="1112" y="211"/>
                      <a:pt x="1104" y="214"/>
                    </a:cubicBezTo>
                    <a:cubicBezTo>
                      <a:pt x="1105" y="219"/>
                      <a:pt x="1110" y="218"/>
                      <a:pt x="1109" y="223"/>
                    </a:cubicBezTo>
                    <a:cubicBezTo>
                      <a:pt x="1111" y="224"/>
                      <a:pt x="1115" y="223"/>
                      <a:pt x="1116" y="226"/>
                    </a:cubicBezTo>
                    <a:cubicBezTo>
                      <a:pt x="1116" y="232"/>
                      <a:pt x="1112" y="232"/>
                      <a:pt x="1114" y="236"/>
                    </a:cubicBezTo>
                    <a:cubicBezTo>
                      <a:pt x="1109" y="229"/>
                      <a:pt x="1104" y="222"/>
                      <a:pt x="1101" y="212"/>
                    </a:cubicBezTo>
                    <a:cubicBezTo>
                      <a:pt x="1092" y="204"/>
                      <a:pt x="1069" y="203"/>
                      <a:pt x="1067" y="215"/>
                    </a:cubicBezTo>
                    <a:cubicBezTo>
                      <a:pt x="1058" y="214"/>
                      <a:pt x="1054" y="213"/>
                      <a:pt x="1046" y="214"/>
                    </a:cubicBezTo>
                    <a:cubicBezTo>
                      <a:pt x="1047" y="217"/>
                      <a:pt x="1046" y="217"/>
                      <a:pt x="1046" y="220"/>
                    </a:cubicBezTo>
                    <a:cubicBezTo>
                      <a:pt x="1048" y="223"/>
                      <a:pt x="1053" y="223"/>
                      <a:pt x="1055" y="226"/>
                    </a:cubicBezTo>
                    <a:cubicBezTo>
                      <a:pt x="1049" y="227"/>
                      <a:pt x="1058" y="234"/>
                      <a:pt x="1052" y="236"/>
                    </a:cubicBezTo>
                    <a:cubicBezTo>
                      <a:pt x="1049" y="236"/>
                      <a:pt x="1049" y="233"/>
                      <a:pt x="1046" y="235"/>
                    </a:cubicBezTo>
                    <a:cubicBezTo>
                      <a:pt x="1044" y="240"/>
                      <a:pt x="1043" y="245"/>
                      <a:pt x="1039" y="249"/>
                    </a:cubicBezTo>
                    <a:cubicBezTo>
                      <a:pt x="1039" y="253"/>
                      <a:pt x="1042" y="255"/>
                      <a:pt x="1041" y="259"/>
                    </a:cubicBezTo>
                    <a:cubicBezTo>
                      <a:pt x="1044" y="263"/>
                      <a:pt x="1051" y="262"/>
                      <a:pt x="1050" y="268"/>
                    </a:cubicBezTo>
                    <a:cubicBezTo>
                      <a:pt x="1045" y="272"/>
                      <a:pt x="1040" y="271"/>
                      <a:pt x="1037" y="278"/>
                    </a:cubicBezTo>
                    <a:cubicBezTo>
                      <a:pt x="1040" y="288"/>
                      <a:pt x="1058" y="283"/>
                      <a:pt x="1065" y="290"/>
                    </a:cubicBezTo>
                    <a:cubicBezTo>
                      <a:pt x="1059" y="293"/>
                      <a:pt x="1050" y="287"/>
                      <a:pt x="1043" y="290"/>
                    </a:cubicBezTo>
                    <a:cubicBezTo>
                      <a:pt x="1040" y="293"/>
                      <a:pt x="1048" y="295"/>
                      <a:pt x="1046" y="297"/>
                    </a:cubicBezTo>
                    <a:cubicBezTo>
                      <a:pt x="1044" y="296"/>
                      <a:pt x="1040" y="295"/>
                      <a:pt x="1039" y="296"/>
                    </a:cubicBezTo>
                    <a:cubicBezTo>
                      <a:pt x="1039" y="301"/>
                      <a:pt x="1048" y="302"/>
                      <a:pt x="1047" y="305"/>
                    </a:cubicBezTo>
                    <a:cubicBezTo>
                      <a:pt x="1035" y="304"/>
                      <a:pt x="1036" y="292"/>
                      <a:pt x="1025" y="291"/>
                    </a:cubicBezTo>
                    <a:cubicBezTo>
                      <a:pt x="1025" y="296"/>
                      <a:pt x="1031" y="294"/>
                      <a:pt x="1031" y="298"/>
                    </a:cubicBezTo>
                    <a:cubicBezTo>
                      <a:pt x="1029" y="307"/>
                      <a:pt x="1036" y="312"/>
                      <a:pt x="1046" y="312"/>
                    </a:cubicBezTo>
                    <a:cubicBezTo>
                      <a:pt x="1050" y="321"/>
                      <a:pt x="1058" y="325"/>
                      <a:pt x="1065" y="330"/>
                    </a:cubicBezTo>
                    <a:cubicBezTo>
                      <a:pt x="1071" y="331"/>
                      <a:pt x="1072" y="322"/>
                      <a:pt x="1075" y="324"/>
                    </a:cubicBezTo>
                    <a:cubicBezTo>
                      <a:pt x="1075" y="327"/>
                      <a:pt x="1072" y="328"/>
                      <a:pt x="1072" y="331"/>
                    </a:cubicBezTo>
                    <a:cubicBezTo>
                      <a:pt x="1074" y="336"/>
                      <a:pt x="1079" y="337"/>
                      <a:pt x="1083" y="340"/>
                    </a:cubicBezTo>
                    <a:cubicBezTo>
                      <a:pt x="1085" y="348"/>
                      <a:pt x="1090" y="352"/>
                      <a:pt x="1090" y="362"/>
                    </a:cubicBezTo>
                    <a:cubicBezTo>
                      <a:pt x="1082" y="361"/>
                      <a:pt x="1076" y="369"/>
                      <a:pt x="1073" y="362"/>
                    </a:cubicBezTo>
                    <a:cubicBezTo>
                      <a:pt x="1077" y="362"/>
                      <a:pt x="1077" y="356"/>
                      <a:pt x="1082" y="356"/>
                    </a:cubicBezTo>
                    <a:cubicBezTo>
                      <a:pt x="1079" y="349"/>
                      <a:pt x="1075" y="342"/>
                      <a:pt x="1071" y="335"/>
                    </a:cubicBezTo>
                    <a:cubicBezTo>
                      <a:pt x="1067" y="335"/>
                      <a:pt x="1065" y="336"/>
                      <a:pt x="1063" y="336"/>
                    </a:cubicBezTo>
                    <a:cubicBezTo>
                      <a:pt x="1052" y="327"/>
                      <a:pt x="1042" y="316"/>
                      <a:pt x="1029" y="309"/>
                    </a:cubicBezTo>
                    <a:cubicBezTo>
                      <a:pt x="1028" y="298"/>
                      <a:pt x="1012" y="293"/>
                      <a:pt x="1002" y="301"/>
                    </a:cubicBezTo>
                    <a:cubicBezTo>
                      <a:pt x="1008" y="306"/>
                      <a:pt x="1011" y="312"/>
                      <a:pt x="1010" y="322"/>
                    </a:cubicBezTo>
                    <a:cubicBezTo>
                      <a:pt x="1017" y="325"/>
                      <a:pt x="1023" y="329"/>
                      <a:pt x="1026" y="336"/>
                    </a:cubicBezTo>
                    <a:cubicBezTo>
                      <a:pt x="1034" y="335"/>
                      <a:pt x="1036" y="340"/>
                      <a:pt x="1045" y="340"/>
                    </a:cubicBezTo>
                    <a:cubicBezTo>
                      <a:pt x="1045" y="343"/>
                      <a:pt x="1048" y="343"/>
                      <a:pt x="1048" y="346"/>
                    </a:cubicBezTo>
                    <a:cubicBezTo>
                      <a:pt x="1029" y="346"/>
                      <a:pt x="1016" y="338"/>
                      <a:pt x="997" y="344"/>
                    </a:cubicBezTo>
                    <a:cubicBezTo>
                      <a:pt x="996" y="350"/>
                      <a:pt x="1002" y="350"/>
                      <a:pt x="1004" y="354"/>
                    </a:cubicBezTo>
                    <a:cubicBezTo>
                      <a:pt x="1004" y="356"/>
                      <a:pt x="1006" y="361"/>
                      <a:pt x="1003" y="361"/>
                    </a:cubicBezTo>
                    <a:cubicBezTo>
                      <a:pt x="999" y="360"/>
                      <a:pt x="1001" y="354"/>
                      <a:pt x="996" y="354"/>
                    </a:cubicBezTo>
                    <a:cubicBezTo>
                      <a:pt x="992" y="355"/>
                      <a:pt x="994" y="361"/>
                      <a:pt x="991" y="362"/>
                    </a:cubicBezTo>
                    <a:cubicBezTo>
                      <a:pt x="988" y="363"/>
                      <a:pt x="988" y="361"/>
                      <a:pt x="985" y="361"/>
                    </a:cubicBezTo>
                    <a:cubicBezTo>
                      <a:pt x="979" y="363"/>
                      <a:pt x="982" y="372"/>
                      <a:pt x="975" y="372"/>
                    </a:cubicBezTo>
                    <a:cubicBezTo>
                      <a:pt x="971" y="369"/>
                      <a:pt x="972" y="362"/>
                      <a:pt x="968" y="361"/>
                    </a:cubicBezTo>
                    <a:cubicBezTo>
                      <a:pt x="965" y="364"/>
                      <a:pt x="964" y="365"/>
                      <a:pt x="965" y="371"/>
                    </a:cubicBezTo>
                    <a:cubicBezTo>
                      <a:pt x="956" y="368"/>
                      <a:pt x="945" y="382"/>
                      <a:pt x="948" y="394"/>
                    </a:cubicBezTo>
                    <a:cubicBezTo>
                      <a:pt x="943" y="398"/>
                      <a:pt x="930" y="396"/>
                      <a:pt x="930" y="386"/>
                    </a:cubicBezTo>
                    <a:cubicBezTo>
                      <a:pt x="932" y="385"/>
                      <a:pt x="935" y="385"/>
                      <a:pt x="937" y="385"/>
                    </a:cubicBezTo>
                    <a:cubicBezTo>
                      <a:pt x="938" y="379"/>
                      <a:pt x="922" y="369"/>
                      <a:pt x="915" y="379"/>
                    </a:cubicBezTo>
                    <a:cubicBezTo>
                      <a:pt x="924" y="378"/>
                      <a:pt x="920" y="391"/>
                      <a:pt x="924" y="397"/>
                    </a:cubicBezTo>
                    <a:cubicBezTo>
                      <a:pt x="925" y="399"/>
                      <a:pt x="929" y="398"/>
                      <a:pt x="931" y="400"/>
                    </a:cubicBezTo>
                    <a:cubicBezTo>
                      <a:pt x="930" y="403"/>
                      <a:pt x="934" y="407"/>
                      <a:pt x="931" y="408"/>
                    </a:cubicBezTo>
                    <a:cubicBezTo>
                      <a:pt x="927" y="410"/>
                      <a:pt x="924" y="403"/>
                      <a:pt x="917" y="403"/>
                    </a:cubicBezTo>
                    <a:cubicBezTo>
                      <a:pt x="917" y="413"/>
                      <a:pt x="909" y="415"/>
                      <a:pt x="907" y="423"/>
                    </a:cubicBezTo>
                    <a:cubicBezTo>
                      <a:pt x="910" y="427"/>
                      <a:pt x="916" y="427"/>
                      <a:pt x="917" y="433"/>
                    </a:cubicBezTo>
                    <a:cubicBezTo>
                      <a:pt x="910" y="438"/>
                      <a:pt x="900" y="431"/>
                      <a:pt x="895" y="427"/>
                    </a:cubicBezTo>
                    <a:cubicBezTo>
                      <a:pt x="892" y="428"/>
                      <a:pt x="891" y="431"/>
                      <a:pt x="889" y="433"/>
                    </a:cubicBezTo>
                    <a:cubicBezTo>
                      <a:pt x="892" y="437"/>
                      <a:pt x="896" y="440"/>
                      <a:pt x="903" y="441"/>
                    </a:cubicBezTo>
                    <a:cubicBezTo>
                      <a:pt x="902" y="442"/>
                      <a:pt x="904" y="446"/>
                      <a:pt x="902" y="446"/>
                    </a:cubicBezTo>
                    <a:cubicBezTo>
                      <a:pt x="892" y="446"/>
                      <a:pt x="891" y="438"/>
                      <a:pt x="881" y="441"/>
                    </a:cubicBezTo>
                    <a:cubicBezTo>
                      <a:pt x="879" y="433"/>
                      <a:pt x="874" y="429"/>
                      <a:pt x="878" y="422"/>
                    </a:cubicBezTo>
                    <a:cubicBezTo>
                      <a:pt x="871" y="414"/>
                      <a:pt x="858" y="414"/>
                      <a:pt x="856" y="403"/>
                    </a:cubicBezTo>
                    <a:cubicBezTo>
                      <a:pt x="858" y="408"/>
                      <a:pt x="864" y="406"/>
                      <a:pt x="868" y="407"/>
                    </a:cubicBezTo>
                    <a:cubicBezTo>
                      <a:pt x="870" y="408"/>
                      <a:pt x="872" y="412"/>
                      <a:pt x="875" y="413"/>
                    </a:cubicBezTo>
                    <a:cubicBezTo>
                      <a:pt x="877" y="414"/>
                      <a:pt x="883" y="412"/>
                      <a:pt x="887" y="413"/>
                    </a:cubicBezTo>
                    <a:cubicBezTo>
                      <a:pt x="890" y="414"/>
                      <a:pt x="892" y="416"/>
                      <a:pt x="894" y="416"/>
                    </a:cubicBezTo>
                    <a:cubicBezTo>
                      <a:pt x="904" y="416"/>
                      <a:pt x="913" y="409"/>
                      <a:pt x="913" y="403"/>
                    </a:cubicBezTo>
                    <a:cubicBezTo>
                      <a:pt x="913" y="396"/>
                      <a:pt x="905" y="394"/>
                      <a:pt x="903" y="388"/>
                    </a:cubicBezTo>
                    <a:cubicBezTo>
                      <a:pt x="891" y="388"/>
                      <a:pt x="884" y="379"/>
                      <a:pt x="874" y="376"/>
                    </a:cubicBezTo>
                    <a:cubicBezTo>
                      <a:pt x="865" y="373"/>
                      <a:pt x="854" y="378"/>
                      <a:pt x="850" y="372"/>
                    </a:cubicBezTo>
                    <a:cubicBezTo>
                      <a:pt x="849" y="369"/>
                      <a:pt x="851" y="369"/>
                      <a:pt x="851" y="366"/>
                    </a:cubicBezTo>
                    <a:cubicBezTo>
                      <a:pt x="847" y="366"/>
                      <a:pt x="846" y="364"/>
                      <a:pt x="842" y="364"/>
                    </a:cubicBezTo>
                    <a:cubicBezTo>
                      <a:pt x="843" y="370"/>
                      <a:pt x="834" y="372"/>
                      <a:pt x="832" y="368"/>
                    </a:cubicBezTo>
                    <a:cubicBezTo>
                      <a:pt x="832" y="364"/>
                      <a:pt x="837" y="365"/>
                      <a:pt x="837" y="361"/>
                    </a:cubicBezTo>
                    <a:cubicBezTo>
                      <a:pt x="834" y="358"/>
                      <a:pt x="831" y="356"/>
                      <a:pt x="826" y="355"/>
                    </a:cubicBezTo>
                    <a:cubicBezTo>
                      <a:pt x="823" y="356"/>
                      <a:pt x="825" y="361"/>
                      <a:pt x="822" y="361"/>
                    </a:cubicBezTo>
                    <a:cubicBezTo>
                      <a:pt x="824" y="356"/>
                      <a:pt x="822" y="351"/>
                      <a:pt x="816" y="352"/>
                    </a:cubicBezTo>
                    <a:cubicBezTo>
                      <a:pt x="816" y="356"/>
                      <a:pt x="816" y="361"/>
                      <a:pt x="813" y="362"/>
                    </a:cubicBezTo>
                    <a:cubicBezTo>
                      <a:pt x="811" y="362"/>
                      <a:pt x="814" y="357"/>
                      <a:pt x="811" y="356"/>
                    </a:cubicBezTo>
                    <a:cubicBezTo>
                      <a:pt x="809" y="358"/>
                      <a:pt x="808" y="365"/>
                      <a:pt x="806" y="363"/>
                    </a:cubicBezTo>
                    <a:cubicBezTo>
                      <a:pt x="806" y="359"/>
                      <a:pt x="810" y="357"/>
                      <a:pt x="809" y="353"/>
                    </a:cubicBezTo>
                    <a:cubicBezTo>
                      <a:pt x="801" y="353"/>
                      <a:pt x="797" y="359"/>
                      <a:pt x="793" y="364"/>
                    </a:cubicBezTo>
                    <a:cubicBezTo>
                      <a:pt x="788" y="358"/>
                      <a:pt x="788" y="369"/>
                      <a:pt x="781" y="367"/>
                    </a:cubicBezTo>
                    <a:cubicBezTo>
                      <a:pt x="781" y="370"/>
                      <a:pt x="781" y="373"/>
                      <a:pt x="778" y="373"/>
                    </a:cubicBezTo>
                    <a:cubicBezTo>
                      <a:pt x="775" y="373"/>
                      <a:pt x="779" y="366"/>
                      <a:pt x="775" y="368"/>
                    </a:cubicBezTo>
                    <a:cubicBezTo>
                      <a:pt x="772" y="369"/>
                      <a:pt x="773" y="373"/>
                      <a:pt x="770" y="374"/>
                    </a:cubicBezTo>
                    <a:cubicBezTo>
                      <a:pt x="770" y="370"/>
                      <a:pt x="773" y="368"/>
                      <a:pt x="770" y="365"/>
                    </a:cubicBezTo>
                    <a:cubicBezTo>
                      <a:pt x="767" y="375"/>
                      <a:pt x="757" y="379"/>
                      <a:pt x="754" y="389"/>
                    </a:cubicBezTo>
                    <a:cubicBezTo>
                      <a:pt x="750" y="386"/>
                      <a:pt x="749" y="392"/>
                      <a:pt x="745" y="391"/>
                    </a:cubicBezTo>
                    <a:cubicBezTo>
                      <a:pt x="744" y="394"/>
                      <a:pt x="746" y="394"/>
                      <a:pt x="746" y="397"/>
                    </a:cubicBezTo>
                    <a:cubicBezTo>
                      <a:pt x="740" y="398"/>
                      <a:pt x="738" y="403"/>
                      <a:pt x="733" y="405"/>
                    </a:cubicBezTo>
                    <a:cubicBezTo>
                      <a:pt x="734" y="414"/>
                      <a:pt x="722" y="414"/>
                      <a:pt x="726" y="422"/>
                    </a:cubicBezTo>
                    <a:cubicBezTo>
                      <a:pt x="725" y="423"/>
                      <a:pt x="722" y="423"/>
                      <a:pt x="721" y="424"/>
                    </a:cubicBezTo>
                    <a:cubicBezTo>
                      <a:pt x="721" y="428"/>
                      <a:pt x="722" y="429"/>
                      <a:pt x="721" y="432"/>
                    </a:cubicBezTo>
                    <a:cubicBezTo>
                      <a:pt x="715" y="431"/>
                      <a:pt x="717" y="437"/>
                      <a:pt x="713" y="438"/>
                    </a:cubicBezTo>
                    <a:cubicBezTo>
                      <a:pt x="708" y="436"/>
                      <a:pt x="703" y="444"/>
                      <a:pt x="700" y="448"/>
                    </a:cubicBezTo>
                    <a:cubicBezTo>
                      <a:pt x="685" y="441"/>
                      <a:pt x="686" y="463"/>
                      <a:pt x="674" y="460"/>
                    </a:cubicBezTo>
                    <a:cubicBezTo>
                      <a:pt x="672" y="463"/>
                      <a:pt x="677" y="464"/>
                      <a:pt x="674" y="466"/>
                    </a:cubicBezTo>
                    <a:cubicBezTo>
                      <a:pt x="667" y="464"/>
                      <a:pt x="658" y="469"/>
                      <a:pt x="659" y="480"/>
                    </a:cubicBezTo>
                    <a:cubicBezTo>
                      <a:pt x="660" y="483"/>
                      <a:pt x="665" y="481"/>
                      <a:pt x="665" y="484"/>
                    </a:cubicBezTo>
                    <a:cubicBezTo>
                      <a:pt x="661" y="484"/>
                      <a:pt x="660" y="482"/>
                      <a:pt x="656" y="483"/>
                    </a:cubicBezTo>
                    <a:cubicBezTo>
                      <a:pt x="657" y="494"/>
                      <a:pt x="657" y="503"/>
                      <a:pt x="649" y="507"/>
                    </a:cubicBezTo>
                    <a:cubicBezTo>
                      <a:pt x="650" y="510"/>
                      <a:pt x="656" y="508"/>
                      <a:pt x="656" y="512"/>
                    </a:cubicBezTo>
                    <a:cubicBezTo>
                      <a:pt x="655" y="516"/>
                      <a:pt x="651" y="515"/>
                      <a:pt x="649" y="516"/>
                    </a:cubicBezTo>
                    <a:cubicBezTo>
                      <a:pt x="648" y="524"/>
                      <a:pt x="655" y="525"/>
                      <a:pt x="656" y="532"/>
                    </a:cubicBezTo>
                    <a:cubicBezTo>
                      <a:pt x="674" y="538"/>
                      <a:pt x="679" y="519"/>
                      <a:pt x="694" y="516"/>
                    </a:cubicBezTo>
                    <a:cubicBezTo>
                      <a:pt x="694" y="518"/>
                      <a:pt x="698" y="517"/>
                      <a:pt x="698" y="520"/>
                    </a:cubicBezTo>
                    <a:cubicBezTo>
                      <a:pt x="698" y="527"/>
                      <a:pt x="696" y="531"/>
                      <a:pt x="701" y="534"/>
                    </a:cubicBezTo>
                    <a:cubicBezTo>
                      <a:pt x="694" y="545"/>
                      <a:pt x="704" y="552"/>
                      <a:pt x="706" y="563"/>
                    </a:cubicBezTo>
                    <a:cubicBezTo>
                      <a:pt x="701" y="569"/>
                      <a:pt x="706" y="575"/>
                      <a:pt x="707" y="583"/>
                    </a:cubicBezTo>
                    <a:cubicBezTo>
                      <a:pt x="712" y="582"/>
                      <a:pt x="714" y="584"/>
                      <a:pt x="718" y="584"/>
                    </a:cubicBezTo>
                    <a:cubicBezTo>
                      <a:pt x="719" y="576"/>
                      <a:pt x="724" y="566"/>
                      <a:pt x="736" y="572"/>
                    </a:cubicBezTo>
                    <a:cubicBezTo>
                      <a:pt x="742" y="561"/>
                      <a:pt x="746" y="546"/>
                      <a:pt x="746" y="533"/>
                    </a:cubicBezTo>
                    <a:cubicBezTo>
                      <a:pt x="753" y="533"/>
                      <a:pt x="752" y="524"/>
                      <a:pt x="759" y="527"/>
                    </a:cubicBezTo>
                    <a:cubicBezTo>
                      <a:pt x="765" y="519"/>
                      <a:pt x="768" y="509"/>
                      <a:pt x="760" y="500"/>
                    </a:cubicBezTo>
                    <a:cubicBezTo>
                      <a:pt x="757" y="500"/>
                      <a:pt x="753" y="501"/>
                      <a:pt x="753" y="499"/>
                    </a:cubicBezTo>
                    <a:cubicBezTo>
                      <a:pt x="752" y="477"/>
                      <a:pt x="758" y="459"/>
                      <a:pt x="779" y="456"/>
                    </a:cubicBezTo>
                    <a:cubicBezTo>
                      <a:pt x="785" y="447"/>
                      <a:pt x="785" y="438"/>
                      <a:pt x="786" y="427"/>
                    </a:cubicBezTo>
                    <a:cubicBezTo>
                      <a:pt x="794" y="420"/>
                      <a:pt x="802" y="425"/>
                      <a:pt x="809" y="427"/>
                    </a:cubicBezTo>
                    <a:cubicBezTo>
                      <a:pt x="809" y="430"/>
                      <a:pt x="812" y="430"/>
                      <a:pt x="811" y="433"/>
                    </a:cubicBezTo>
                    <a:cubicBezTo>
                      <a:pt x="806" y="442"/>
                      <a:pt x="799" y="447"/>
                      <a:pt x="793" y="453"/>
                    </a:cubicBezTo>
                    <a:cubicBezTo>
                      <a:pt x="791" y="455"/>
                      <a:pt x="792" y="458"/>
                      <a:pt x="791" y="459"/>
                    </a:cubicBezTo>
                    <a:cubicBezTo>
                      <a:pt x="788" y="463"/>
                      <a:pt x="786" y="462"/>
                      <a:pt x="785" y="464"/>
                    </a:cubicBezTo>
                    <a:cubicBezTo>
                      <a:pt x="781" y="472"/>
                      <a:pt x="786" y="475"/>
                      <a:pt x="786" y="486"/>
                    </a:cubicBezTo>
                    <a:cubicBezTo>
                      <a:pt x="787" y="491"/>
                      <a:pt x="784" y="496"/>
                      <a:pt x="785" y="500"/>
                    </a:cubicBezTo>
                    <a:cubicBezTo>
                      <a:pt x="787" y="505"/>
                      <a:pt x="792" y="505"/>
                      <a:pt x="796" y="507"/>
                    </a:cubicBezTo>
                    <a:cubicBezTo>
                      <a:pt x="800" y="509"/>
                      <a:pt x="800" y="512"/>
                      <a:pt x="803" y="513"/>
                    </a:cubicBezTo>
                    <a:cubicBezTo>
                      <a:pt x="812" y="515"/>
                      <a:pt x="820" y="506"/>
                      <a:pt x="830" y="503"/>
                    </a:cubicBezTo>
                    <a:cubicBezTo>
                      <a:pt x="836" y="502"/>
                      <a:pt x="840" y="505"/>
                      <a:pt x="845" y="500"/>
                    </a:cubicBezTo>
                    <a:cubicBezTo>
                      <a:pt x="846" y="505"/>
                      <a:pt x="850" y="506"/>
                      <a:pt x="853" y="509"/>
                    </a:cubicBezTo>
                    <a:cubicBezTo>
                      <a:pt x="850" y="513"/>
                      <a:pt x="844" y="514"/>
                      <a:pt x="842" y="519"/>
                    </a:cubicBezTo>
                    <a:cubicBezTo>
                      <a:pt x="829" y="513"/>
                      <a:pt x="812" y="517"/>
                      <a:pt x="804" y="524"/>
                    </a:cubicBezTo>
                    <a:cubicBezTo>
                      <a:pt x="801" y="535"/>
                      <a:pt x="809" y="536"/>
                      <a:pt x="813" y="539"/>
                    </a:cubicBezTo>
                    <a:cubicBezTo>
                      <a:pt x="809" y="545"/>
                      <a:pt x="818" y="554"/>
                      <a:pt x="812" y="558"/>
                    </a:cubicBezTo>
                    <a:cubicBezTo>
                      <a:pt x="801" y="559"/>
                      <a:pt x="805" y="547"/>
                      <a:pt x="797" y="547"/>
                    </a:cubicBezTo>
                    <a:cubicBezTo>
                      <a:pt x="791" y="546"/>
                      <a:pt x="784" y="559"/>
                      <a:pt x="784" y="563"/>
                    </a:cubicBezTo>
                    <a:cubicBezTo>
                      <a:pt x="782" y="573"/>
                      <a:pt x="788" y="585"/>
                      <a:pt x="786" y="592"/>
                    </a:cubicBezTo>
                    <a:cubicBezTo>
                      <a:pt x="783" y="594"/>
                      <a:pt x="776" y="592"/>
                      <a:pt x="773" y="594"/>
                    </a:cubicBezTo>
                    <a:cubicBezTo>
                      <a:pt x="779" y="604"/>
                      <a:pt x="761" y="606"/>
                      <a:pt x="761" y="596"/>
                    </a:cubicBezTo>
                    <a:cubicBezTo>
                      <a:pt x="746" y="591"/>
                      <a:pt x="741" y="603"/>
                      <a:pt x="730" y="604"/>
                    </a:cubicBezTo>
                    <a:cubicBezTo>
                      <a:pt x="721" y="605"/>
                      <a:pt x="719" y="607"/>
                      <a:pt x="714" y="611"/>
                    </a:cubicBezTo>
                    <a:cubicBezTo>
                      <a:pt x="712" y="605"/>
                      <a:pt x="707" y="601"/>
                      <a:pt x="700" y="598"/>
                    </a:cubicBezTo>
                    <a:cubicBezTo>
                      <a:pt x="695" y="601"/>
                      <a:pt x="689" y="602"/>
                      <a:pt x="684" y="604"/>
                    </a:cubicBezTo>
                    <a:cubicBezTo>
                      <a:pt x="682" y="602"/>
                      <a:pt x="684" y="598"/>
                      <a:pt x="685" y="595"/>
                    </a:cubicBezTo>
                    <a:cubicBezTo>
                      <a:pt x="677" y="595"/>
                      <a:pt x="677" y="595"/>
                      <a:pt x="677" y="595"/>
                    </a:cubicBezTo>
                    <a:cubicBezTo>
                      <a:pt x="669" y="590"/>
                      <a:pt x="675" y="581"/>
                      <a:pt x="674" y="573"/>
                    </a:cubicBezTo>
                    <a:cubicBezTo>
                      <a:pt x="681" y="572"/>
                      <a:pt x="682" y="565"/>
                      <a:pt x="687" y="562"/>
                    </a:cubicBezTo>
                    <a:cubicBezTo>
                      <a:pt x="688" y="558"/>
                      <a:pt x="682" y="561"/>
                      <a:pt x="683" y="557"/>
                    </a:cubicBezTo>
                    <a:cubicBezTo>
                      <a:pt x="683" y="551"/>
                      <a:pt x="690" y="549"/>
                      <a:pt x="687" y="542"/>
                    </a:cubicBezTo>
                    <a:cubicBezTo>
                      <a:pt x="678" y="540"/>
                      <a:pt x="680" y="550"/>
                      <a:pt x="673" y="551"/>
                    </a:cubicBezTo>
                    <a:cubicBezTo>
                      <a:pt x="671" y="551"/>
                      <a:pt x="673" y="548"/>
                      <a:pt x="672" y="547"/>
                    </a:cubicBezTo>
                    <a:cubicBezTo>
                      <a:pt x="669" y="547"/>
                      <a:pt x="667" y="549"/>
                      <a:pt x="665" y="551"/>
                    </a:cubicBezTo>
                    <a:cubicBezTo>
                      <a:pt x="665" y="555"/>
                      <a:pt x="669" y="554"/>
                      <a:pt x="668" y="557"/>
                    </a:cubicBezTo>
                    <a:cubicBezTo>
                      <a:pt x="653" y="559"/>
                      <a:pt x="665" y="577"/>
                      <a:pt x="660" y="583"/>
                    </a:cubicBezTo>
                    <a:cubicBezTo>
                      <a:pt x="664" y="589"/>
                      <a:pt x="662" y="595"/>
                      <a:pt x="662" y="601"/>
                    </a:cubicBezTo>
                    <a:cubicBezTo>
                      <a:pt x="657" y="602"/>
                      <a:pt x="657" y="607"/>
                      <a:pt x="653" y="608"/>
                    </a:cubicBezTo>
                    <a:cubicBezTo>
                      <a:pt x="650" y="607"/>
                      <a:pt x="650" y="602"/>
                      <a:pt x="644" y="603"/>
                    </a:cubicBezTo>
                    <a:cubicBezTo>
                      <a:pt x="642" y="604"/>
                      <a:pt x="643" y="609"/>
                      <a:pt x="641" y="609"/>
                    </a:cubicBezTo>
                    <a:cubicBezTo>
                      <a:pt x="636" y="607"/>
                      <a:pt x="631" y="605"/>
                      <a:pt x="627" y="606"/>
                    </a:cubicBezTo>
                    <a:cubicBezTo>
                      <a:pt x="614" y="609"/>
                      <a:pt x="610" y="628"/>
                      <a:pt x="599" y="634"/>
                    </a:cubicBezTo>
                    <a:cubicBezTo>
                      <a:pt x="598" y="635"/>
                      <a:pt x="595" y="634"/>
                      <a:pt x="593" y="635"/>
                    </a:cubicBezTo>
                    <a:cubicBezTo>
                      <a:pt x="585" y="638"/>
                      <a:pt x="582" y="643"/>
                      <a:pt x="571" y="637"/>
                    </a:cubicBezTo>
                    <a:cubicBezTo>
                      <a:pt x="575" y="632"/>
                      <a:pt x="569" y="631"/>
                      <a:pt x="569" y="627"/>
                    </a:cubicBezTo>
                    <a:cubicBezTo>
                      <a:pt x="575" y="622"/>
                      <a:pt x="587" y="619"/>
                      <a:pt x="585" y="610"/>
                    </a:cubicBezTo>
                    <a:cubicBezTo>
                      <a:pt x="584" y="604"/>
                      <a:pt x="575" y="603"/>
                      <a:pt x="570" y="604"/>
                    </a:cubicBezTo>
                    <a:cubicBezTo>
                      <a:pt x="571" y="601"/>
                      <a:pt x="574" y="600"/>
                      <a:pt x="574" y="596"/>
                    </a:cubicBezTo>
                    <a:cubicBezTo>
                      <a:pt x="569" y="592"/>
                      <a:pt x="574" y="585"/>
                      <a:pt x="572" y="578"/>
                    </a:cubicBezTo>
                    <a:cubicBezTo>
                      <a:pt x="571" y="573"/>
                      <a:pt x="567" y="571"/>
                      <a:pt x="567" y="567"/>
                    </a:cubicBezTo>
                    <a:cubicBezTo>
                      <a:pt x="566" y="562"/>
                      <a:pt x="570" y="559"/>
                      <a:pt x="569" y="554"/>
                    </a:cubicBezTo>
                    <a:cubicBezTo>
                      <a:pt x="569" y="550"/>
                      <a:pt x="565" y="548"/>
                      <a:pt x="563" y="546"/>
                    </a:cubicBezTo>
                    <a:cubicBezTo>
                      <a:pt x="569" y="538"/>
                      <a:pt x="578" y="533"/>
                      <a:pt x="582" y="523"/>
                    </a:cubicBezTo>
                    <a:cubicBezTo>
                      <a:pt x="576" y="521"/>
                      <a:pt x="569" y="520"/>
                      <a:pt x="565" y="517"/>
                    </a:cubicBezTo>
                    <a:cubicBezTo>
                      <a:pt x="569" y="513"/>
                      <a:pt x="577" y="513"/>
                      <a:pt x="576" y="504"/>
                    </a:cubicBezTo>
                    <a:cubicBezTo>
                      <a:pt x="569" y="505"/>
                      <a:pt x="566" y="505"/>
                      <a:pt x="562" y="502"/>
                    </a:cubicBezTo>
                    <a:cubicBezTo>
                      <a:pt x="557" y="506"/>
                      <a:pt x="556" y="513"/>
                      <a:pt x="548" y="514"/>
                    </a:cubicBezTo>
                    <a:cubicBezTo>
                      <a:pt x="551" y="528"/>
                      <a:pt x="537" y="526"/>
                      <a:pt x="536" y="536"/>
                    </a:cubicBezTo>
                    <a:cubicBezTo>
                      <a:pt x="539" y="537"/>
                      <a:pt x="541" y="531"/>
                      <a:pt x="543" y="534"/>
                    </a:cubicBezTo>
                    <a:cubicBezTo>
                      <a:pt x="538" y="536"/>
                      <a:pt x="538" y="543"/>
                      <a:pt x="535" y="547"/>
                    </a:cubicBezTo>
                    <a:cubicBezTo>
                      <a:pt x="533" y="546"/>
                      <a:pt x="535" y="540"/>
                      <a:pt x="532" y="541"/>
                    </a:cubicBezTo>
                    <a:cubicBezTo>
                      <a:pt x="525" y="544"/>
                      <a:pt x="535" y="547"/>
                      <a:pt x="531" y="552"/>
                    </a:cubicBezTo>
                    <a:cubicBezTo>
                      <a:pt x="535" y="553"/>
                      <a:pt x="533" y="549"/>
                      <a:pt x="536" y="548"/>
                    </a:cubicBezTo>
                    <a:cubicBezTo>
                      <a:pt x="535" y="552"/>
                      <a:pt x="539" y="550"/>
                      <a:pt x="540" y="552"/>
                    </a:cubicBezTo>
                    <a:cubicBezTo>
                      <a:pt x="538" y="556"/>
                      <a:pt x="531" y="558"/>
                      <a:pt x="534" y="563"/>
                    </a:cubicBezTo>
                    <a:cubicBezTo>
                      <a:pt x="538" y="565"/>
                      <a:pt x="545" y="563"/>
                      <a:pt x="549" y="563"/>
                    </a:cubicBezTo>
                    <a:cubicBezTo>
                      <a:pt x="548" y="566"/>
                      <a:pt x="543" y="566"/>
                      <a:pt x="545" y="572"/>
                    </a:cubicBezTo>
                    <a:cubicBezTo>
                      <a:pt x="545" y="576"/>
                      <a:pt x="549" y="575"/>
                      <a:pt x="548" y="578"/>
                    </a:cubicBezTo>
                    <a:cubicBezTo>
                      <a:pt x="546" y="583"/>
                      <a:pt x="544" y="587"/>
                      <a:pt x="541" y="591"/>
                    </a:cubicBezTo>
                    <a:cubicBezTo>
                      <a:pt x="536" y="589"/>
                      <a:pt x="533" y="585"/>
                      <a:pt x="526" y="585"/>
                    </a:cubicBezTo>
                    <a:cubicBezTo>
                      <a:pt x="528" y="590"/>
                      <a:pt x="524" y="590"/>
                      <a:pt x="523" y="593"/>
                    </a:cubicBezTo>
                    <a:cubicBezTo>
                      <a:pt x="523" y="596"/>
                      <a:pt x="529" y="593"/>
                      <a:pt x="528" y="597"/>
                    </a:cubicBezTo>
                    <a:cubicBezTo>
                      <a:pt x="525" y="603"/>
                      <a:pt x="521" y="606"/>
                      <a:pt x="513" y="606"/>
                    </a:cubicBezTo>
                    <a:cubicBezTo>
                      <a:pt x="513" y="609"/>
                      <a:pt x="510" y="609"/>
                      <a:pt x="511" y="613"/>
                    </a:cubicBezTo>
                    <a:cubicBezTo>
                      <a:pt x="513" y="616"/>
                      <a:pt x="514" y="613"/>
                      <a:pt x="518" y="613"/>
                    </a:cubicBezTo>
                    <a:cubicBezTo>
                      <a:pt x="520" y="618"/>
                      <a:pt x="525" y="619"/>
                      <a:pt x="529" y="622"/>
                    </a:cubicBezTo>
                    <a:cubicBezTo>
                      <a:pt x="525" y="624"/>
                      <a:pt x="521" y="621"/>
                      <a:pt x="518" y="621"/>
                    </a:cubicBezTo>
                    <a:cubicBezTo>
                      <a:pt x="512" y="622"/>
                      <a:pt x="511" y="626"/>
                      <a:pt x="505" y="630"/>
                    </a:cubicBezTo>
                    <a:cubicBezTo>
                      <a:pt x="506" y="630"/>
                      <a:pt x="503" y="629"/>
                      <a:pt x="502" y="629"/>
                    </a:cubicBezTo>
                    <a:cubicBezTo>
                      <a:pt x="499" y="631"/>
                      <a:pt x="495" y="635"/>
                      <a:pt x="495" y="638"/>
                    </a:cubicBezTo>
                    <a:cubicBezTo>
                      <a:pt x="499" y="642"/>
                      <a:pt x="503" y="636"/>
                      <a:pt x="507" y="635"/>
                    </a:cubicBezTo>
                    <a:cubicBezTo>
                      <a:pt x="510" y="636"/>
                      <a:pt x="513" y="637"/>
                      <a:pt x="514" y="641"/>
                    </a:cubicBezTo>
                    <a:cubicBezTo>
                      <a:pt x="518" y="639"/>
                      <a:pt x="521" y="635"/>
                      <a:pt x="524" y="633"/>
                    </a:cubicBezTo>
                    <a:cubicBezTo>
                      <a:pt x="528" y="642"/>
                      <a:pt x="537" y="634"/>
                      <a:pt x="543" y="641"/>
                    </a:cubicBezTo>
                    <a:cubicBezTo>
                      <a:pt x="547" y="635"/>
                      <a:pt x="564" y="645"/>
                      <a:pt x="571" y="638"/>
                    </a:cubicBezTo>
                    <a:cubicBezTo>
                      <a:pt x="577" y="660"/>
                      <a:pt x="554" y="650"/>
                      <a:pt x="548" y="664"/>
                    </a:cubicBezTo>
                    <a:cubicBezTo>
                      <a:pt x="536" y="667"/>
                      <a:pt x="541" y="653"/>
                      <a:pt x="531" y="653"/>
                    </a:cubicBezTo>
                    <a:cubicBezTo>
                      <a:pt x="531" y="660"/>
                      <a:pt x="534" y="667"/>
                      <a:pt x="528" y="669"/>
                    </a:cubicBezTo>
                    <a:cubicBezTo>
                      <a:pt x="523" y="669"/>
                      <a:pt x="521" y="667"/>
                      <a:pt x="515" y="667"/>
                    </a:cubicBezTo>
                    <a:cubicBezTo>
                      <a:pt x="515" y="659"/>
                      <a:pt x="499" y="663"/>
                      <a:pt x="493" y="665"/>
                    </a:cubicBezTo>
                    <a:cubicBezTo>
                      <a:pt x="492" y="668"/>
                      <a:pt x="494" y="667"/>
                      <a:pt x="494" y="670"/>
                    </a:cubicBezTo>
                    <a:cubicBezTo>
                      <a:pt x="491" y="670"/>
                      <a:pt x="488" y="670"/>
                      <a:pt x="489" y="673"/>
                    </a:cubicBezTo>
                    <a:cubicBezTo>
                      <a:pt x="495" y="682"/>
                      <a:pt x="508" y="683"/>
                      <a:pt x="511" y="693"/>
                    </a:cubicBezTo>
                    <a:cubicBezTo>
                      <a:pt x="513" y="701"/>
                      <a:pt x="509" y="709"/>
                      <a:pt x="517" y="715"/>
                    </a:cubicBezTo>
                    <a:cubicBezTo>
                      <a:pt x="514" y="733"/>
                      <a:pt x="506" y="749"/>
                      <a:pt x="496" y="762"/>
                    </a:cubicBezTo>
                    <a:cubicBezTo>
                      <a:pt x="487" y="762"/>
                      <a:pt x="481" y="756"/>
                      <a:pt x="473" y="754"/>
                    </a:cubicBezTo>
                    <a:cubicBezTo>
                      <a:pt x="469" y="753"/>
                      <a:pt x="464" y="755"/>
                      <a:pt x="460" y="752"/>
                    </a:cubicBezTo>
                    <a:cubicBezTo>
                      <a:pt x="458" y="751"/>
                      <a:pt x="458" y="747"/>
                      <a:pt x="456" y="746"/>
                    </a:cubicBezTo>
                    <a:cubicBezTo>
                      <a:pt x="448" y="740"/>
                      <a:pt x="434" y="744"/>
                      <a:pt x="427" y="734"/>
                    </a:cubicBezTo>
                    <a:cubicBezTo>
                      <a:pt x="422" y="737"/>
                      <a:pt x="413" y="736"/>
                      <a:pt x="406" y="738"/>
                    </a:cubicBezTo>
                    <a:cubicBezTo>
                      <a:pt x="404" y="742"/>
                      <a:pt x="405" y="745"/>
                      <a:pt x="406" y="751"/>
                    </a:cubicBezTo>
                    <a:cubicBezTo>
                      <a:pt x="401" y="762"/>
                      <a:pt x="400" y="777"/>
                      <a:pt x="390" y="788"/>
                    </a:cubicBezTo>
                    <a:cubicBezTo>
                      <a:pt x="384" y="796"/>
                      <a:pt x="375" y="803"/>
                      <a:pt x="375" y="811"/>
                    </a:cubicBezTo>
                    <a:cubicBezTo>
                      <a:pt x="375" y="814"/>
                      <a:pt x="378" y="817"/>
                      <a:pt x="378" y="819"/>
                    </a:cubicBezTo>
                    <a:cubicBezTo>
                      <a:pt x="379" y="828"/>
                      <a:pt x="371" y="833"/>
                      <a:pt x="370" y="843"/>
                    </a:cubicBezTo>
                    <a:cubicBezTo>
                      <a:pt x="379" y="846"/>
                      <a:pt x="382" y="852"/>
                      <a:pt x="393" y="849"/>
                    </a:cubicBezTo>
                    <a:cubicBezTo>
                      <a:pt x="402" y="856"/>
                      <a:pt x="393" y="874"/>
                      <a:pt x="405" y="876"/>
                    </a:cubicBezTo>
                    <a:cubicBezTo>
                      <a:pt x="408" y="876"/>
                      <a:pt x="411" y="873"/>
                      <a:pt x="415" y="872"/>
                    </a:cubicBezTo>
                    <a:cubicBezTo>
                      <a:pt x="430" y="868"/>
                      <a:pt x="441" y="878"/>
                      <a:pt x="456" y="880"/>
                    </a:cubicBezTo>
                    <a:cubicBezTo>
                      <a:pt x="462" y="874"/>
                      <a:pt x="466" y="865"/>
                      <a:pt x="478" y="868"/>
                    </a:cubicBezTo>
                    <a:cubicBezTo>
                      <a:pt x="480" y="860"/>
                      <a:pt x="484" y="854"/>
                      <a:pt x="495" y="855"/>
                    </a:cubicBezTo>
                    <a:cubicBezTo>
                      <a:pt x="498" y="848"/>
                      <a:pt x="491" y="846"/>
                      <a:pt x="491" y="840"/>
                    </a:cubicBezTo>
                    <a:cubicBezTo>
                      <a:pt x="495" y="828"/>
                      <a:pt x="510" y="825"/>
                      <a:pt x="517" y="814"/>
                    </a:cubicBezTo>
                    <a:cubicBezTo>
                      <a:pt x="528" y="813"/>
                      <a:pt x="539" y="811"/>
                      <a:pt x="548" y="806"/>
                    </a:cubicBezTo>
                    <a:cubicBezTo>
                      <a:pt x="552" y="801"/>
                      <a:pt x="551" y="797"/>
                      <a:pt x="549" y="790"/>
                    </a:cubicBezTo>
                    <a:cubicBezTo>
                      <a:pt x="554" y="784"/>
                      <a:pt x="558" y="779"/>
                      <a:pt x="568" y="778"/>
                    </a:cubicBezTo>
                    <a:cubicBezTo>
                      <a:pt x="572" y="779"/>
                      <a:pt x="572" y="783"/>
                      <a:pt x="579" y="782"/>
                    </a:cubicBezTo>
                    <a:cubicBezTo>
                      <a:pt x="584" y="784"/>
                      <a:pt x="586" y="795"/>
                      <a:pt x="596" y="792"/>
                    </a:cubicBezTo>
                    <a:cubicBezTo>
                      <a:pt x="599" y="792"/>
                      <a:pt x="600" y="785"/>
                      <a:pt x="606" y="783"/>
                    </a:cubicBezTo>
                    <a:cubicBezTo>
                      <a:pt x="609" y="781"/>
                      <a:pt x="613" y="783"/>
                      <a:pt x="617" y="782"/>
                    </a:cubicBezTo>
                    <a:cubicBezTo>
                      <a:pt x="622" y="779"/>
                      <a:pt x="624" y="773"/>
                      <a:pt x="630" y="773"/>
                    </a:cubicBezTo>
                    <a:cubicBezTo>
                      <a:pt x="641" y="773"/>
                      <a:pt x="650" y="785"/>
                      <a:pt x="647" y="802"/>
                    </a:cubicBezTo>
                    <a:cubicBezTo>
                      <a:pt x="649" y="807"/>
                      <a:pt x="656" y="806"/>
                      <a:pt x="656" y="812"/>
                    </a:cubicBezTo>
                    <a:cubicBezTo>
                      <a:pt x="672" y="816"/>
                      <a:pt x="669" y="838"/>
                      <a:pt x="688" y="839"/>
                    </a:cubicBezTo>
                    <a:cubicBezTo>
                      <a:pt x="689" y="850"/>
                      <a:pt x="701" y="845"/>
                      <a:pt x="706" y="853"/>
                    </a:cubicBezTo>
                    <a:cubicBezTo>
                      <a:pt x="708" y="856"/>
                      <a:pt x="705" y="859"/>
                      <a:pt x="709" y="862"/>
                    </a:cubicBezTo>
                    <a:cubicBezTo>
                      <a:pt x="711" y="864"/>
                      <a:pt x="716" y="863"/>
                      <a:pt x="716" y="866"/>
                    </a:cubicBezTo>
                    <a:cubicBezTo>
                      <a:pt x="717" y="874"/>
                      <a:pt x="719" y="878"/>
                      <a:pt x="722" y="883"/>
                    </a:cubicBezTo>
                    <a:cubicBezTo>
                      <a:pt x="717" y="887"/>
                      <a:pt x="718" y="896"/>
                      <a:pt x="711" y="898"/>
                    </a:cubicBezTo>
                    <a:cubicBezTo>
                      <a:pt x="709" y="898"/>
                      <a:pt x="703" y="896"/>
                      <a:pt x="698" y="897"/>
                    </a:cubicBezTo>
                    <a:cubicBezTo>
                      <a:pt x="688" y="898"/>
                      <a:pt x="684" y="900"/>
                      <a:pt x="680" y="894"/>
                    </a:cubicBezTo>
                    <a:cubicBezTo>
                      <a:pt x="675" y="897"/>
                      <a:pt x="673" y="895"/>
                      <a:pt x="667" y="894"/>
                    </a:cubicBezTo>
                    <a:cubicBezTo>
                      <a:pt x="665" y="897"/>
                      <a:pt x="664" y="899"/>
                      <a:pt x="665" y="903"/>
                    </a:cubicBezTo>
                    <a:cubicBezTo>
                      <a:pt x="668" y="904"/>
                      <a:pt x="670" y="906"/>
                      <a:pt x="674" y="906"/>
                    </a:cubicBezTo>
                    <a:cubicBezTo>
                      <a:pt x="678" y="911"/>
                      <a:pt x="681" y="918"/>
                      <a:pt x="690" y="917"/>
                    </a:cubicBezTo>
                    <a:cubicBezTo>
                      <a:pt x="694" y="921"/>
                      <a:pt x="697" y="925"/>
                      <a:pt x="704" y="926"/>
                    </a:cubicBezTo>
                    <a:cubicBezTo>
                      <a:pt x="710" y="920"/>
                      <a:pt x="702" y="906"/>
                      <a:pt x="712" y="903"/>
                    </a:cubicBezTo>
                    <a:cubicBezTo>
                      <a:pt x="726" y="906"/>
                      <a:pt x="726" y="887"/>
                      <a:pt x="737" y="884"/>
                    </a:cubicBezTo>
                    <a:cubicBezTo>
                      <a:pt x="739" y="875"/>
                      <a:pt x="732" y="874"/>
                      <a:pt x="729" y="869"/>
                    </a:cubicBezTo>
                    <a:cubicBezTo>
                      <a:pt x="730" y="864"/>
                      <a:pt x="732" y="859"/>
                      <a:pt x="737" y="858"/>
                    </a:cubicBezTo>
                    <a:cubicBezTo>
                      <a:pt x="738" y="860"/>
                      <a:pt x="742" y="861"/>
                      <a:pt x="746" y="861"/>
                    </a:cubicBezTo>
                    <a:cubicBezTo>
                      <a:pt x="747" y="866"/>
                      <a:pt x="753" y="872"/>
                      <a:pt x="758" y="867"/>
                    </a:cubicBezTo>
                    <a:cubicBezTo>
                      <a:pt x="755" y="848"/>
                      <a:pt x="733" y="847"/>
                      <a:pt x="721" y="836"/>
                    </a:cubicBezTo>
                    <a:cubicBezTo>
                      <a:pt x="723" y="834"/>
                      <a:pt x="725" y="833"/>
                      <a:pt x="725" y="829"/>
                    </a:cubicBezTo>
                    <a:cubicBezTo>
                      <a:pt x="709" y="826"/>
                      <a:pt x="698" y="821"/>
                      <a:pt x="694" y="806"/>
                    </a:cubicBezTo>
                    <a:cubicBezTo>
                      <a:pt x="691" y="790"/>
                      <a:pt x="680" y="785"/>
                      <a:pt x="675" y="773"/>
                    </a:cubicBezTo>
                    <a:cubicBezTo>
                      <a:pt x="679" y="771"/>
                      <a:pt x="680" y="766"/>
                      <a:pt x="677" y="762"/>
                    </a:cubicBezTo>
                    <a:cubicBezTo>
                      <a:pt x="681" y="758"/>
                      <a:pt x="691" y="752"/>
                      <a:pt x="696" y="757"/>
                    </a:cubicBezTo>
                    <a:cubicBezTo>
                      <a:pt x="696" y="762"/>
                      <a:pt x="692" y="765"/>
                      <a:pt x="694" y="771"/>
                    </a:cubicBezTo>
                    <a:cubicBezTo>
                      <a:pt x="700" y="772"/>
                      <a:pt x="697" y="765"/>
                      <a:pt x="703" y="766"/>
                    </a:cubicBezTo>
                    <a:cubicBezTo>
                      <a:pt x="704" y="771"/>
                      <a:pt x="705" y="774"/>
                      <a:pt x="709" y="775"/>
                    </a:cubicBezTo>
                    <a:cubicBezTo>
                      <a:pt x="709" y="787"/>
                      <a:pt x="720" y="788"/>
                      <a:pt x="721" y="799"/>
                    </a:cubicBezTo>
                    <a:cubicBezTo>
                      <a:pt x="725" y="800"/>
                      <a:pt x="731" y="800"/>
                      <a:pt x="735" y="801"/>
                    </a:cubicBezTo>
                    <a:cubicBezTo>
                      <a:pt x="734" y="804"/>
                      <a:pt x="736" y="804"/>
                      <a:pt x="736" y="808"/>
                    </a:cubicBezTo>
                    <a:cubicBezTo>
                      <a:pt x="752" y="812"/>
                      <a:pt x="757" y="828"/>
                      <a:pt x="772" y="834"/>
                    </a:cubicBezTo>
                    <a:cubicBezTo>
                      <a:pt x="772" y="845"/>
                      <a:pt x="769" y="852"/>
                      <a:pt x="767" y="861"/>
                    </a:cubicBezTo>
                    <a:cubicBezTo>
                      <a:pt x="770" y="865"/>
                      <a:pt x="776" y="867"/>
                      <a:pt x="776" y="874"/>
                    </a:cubicBezTo>
                    <a:cubicBezTo>
                      <a:pt x="786" y="878"/>
                      <a:pt x="790" y="889"/>
                      <a:pt x="796" y="897"/>
                    </a:cubicBezTo>
                    <a:cubicBezTo>
                      <a:pt x="799" y="898"/>
                      <a:pt x="805" y="895"/>
                      <a:pt x="807" y="900"/>
                    </a:cubicBezTo>
                    <a:cubicBezTo>
                      <a:pt x="804" y="901"/>
                      <a:pt x="799" y="901"/>
                      <a:pt x="798" y="905"/>
                    </a:cubicBezTo>
                    <a:cubicBezTo>
                      <a:pt x="801" y="912"/>
                      <a:pt x="805" y="914"/>
                      <a:pt x="803" y="925"/>
                    </a:cubicBezTo>
                    <a:cubicBezTo>
                      <a:pt x="806" y="928"/>
                      <a:pt x="809" y="926"/>
                      <a:pt x="814" y="926"/>
                    </a:cubicBezTo>
                    <a:cubicBezTo>
                      <a:pt x="815" y="928"/>
                      <a:pt x="816" y="929"/>
                      <a:pt x="816" y="931"/>
                    </a:cubicBezTo>
                    <a:cubicBezTo>
                      <a:pt x="820" y="930"/>
                      <a:pt x="822" y="931"/>
                      <a:pt x="828" y="933"/>
                    </a:cubicBezTo>
                    <a:cubicBezTo>
                      <a:pt x="830" y="926"/>
                      <a:pt x="824" y="919"/>
                      <a:pt x="823" y="912"/>
                    </a:cubicBezTo>
                    <a:cubicBezTo>
                      <a:pt x="827" y="912"/>
                      <a:pt x="829" y="918"/>
                      <a:pt x="833" y="914"/>
                    </a:cubicBezTo>
                    <a:cubicBezTo>
                      <a:pt x="829" y="905"/>
                      <a:pt x="817" y="905"/>
                      <a:pt x="810" y="898"/>
                    </a:cubicBezTo>
                    <a:cubicBezTo>
                      <a:pt x="823" y="894"/>
                      <a:pt x="831" y="908"/>
                      <a:pt x="840" y="907"/>
                    </a:cubicBezTo>
                    <a:cubicBezTo>
                      <a:pt x="842" y="904"/>
                      <a:pt x="840" y="902"/>
                      <a:pt x="839" y="899"/>
                    </a:cubicBezTo>
                    <a:cubicBezTo>
                      <a:pt x="841" y="896"/>
                      <a:pt x="846" y="896"/>
                      <a:pt x="845" y="890"/>
                    </a:cubicBezTo>
                    <a:cubicBezTo>
                      <a:pt x="842" y="889"/>
                      <a:pt x="839" y="890"/>
                      <a:pt x="836" y="889"/>
                    </a:cubicBezTo>
                    <a:cubicBezTo>
                      <a:pt x="828" y="886"/>
                      <a:pt x="818" y="866"/>
                      <a:pt x="817" y="859"/>
                    </a:cubicBezTo>
                    <a:cubicBezTo>
                      <a:pt x="823" y="861"/>
                      <a:pt x="825" y="866"/>
                      <a:pt x="831" y="868"/>
                    </a:cubicBezTo>
                    <a:cubicBezTo>
                      <a:pt x="831" y="867"/>
                      <a:pt x="832" y="865"/>
                      <a:pt x="834" y="865"/>
                    </a:cubicBezTo>
                    <a:cubicBezTo>
                      <a:pt x="835" y="859"/>
                      <a:pt x="833" y="851"/>
                      <a:pt x="839" y="851"/>
                    </a:cubicBezTo>
                    <a:cubicBezTo>
                      <a:pt x="843" y="851"/>
                      <a:pt x="842" y="856"/>
                      <a:pt x="847" y="855"/>
                    </a:cubicBezTo>
                    <a:cubicBezTo>
                      <a:pt x="850" y="853"/>
                      <a:pt x="851" y="849"/>
                      <a:pt x="855" y="848"/>
                    </a:cubicBezTo>
                    <a:cubicBezTo>
                      <a:pt x="859" y="851"/>
                      <a:pt x="867" y="850"/>
                      <a:pt x="868" y="857"/>
                    </a:cubicBezTo>
                    <a:cubicBezTo>
                      <a:pt x="866" y="860"/>
                      <a:pt x="860" y="858"/>
                      <a:pt x="861" y="864"/>
                    </a:cubicBezTo>
                    <a:cubicBezTo>
                      <a:pt x="866" y="868"/>
                      <a:pt x="867" y="861"/>
                      <a:pt x="871" y="861"/>
                    </a:cubicBezTo>
                    <a:cubicBezTo>
                      <a:pt x="870" y="867"/>
                      <a:pt x="870" y="877"/>
                      <a:pt x="866" y="882"/>
                    </a:cubicBezTo>
                    <a:cubicBezTo>
                      <a:pt x="869" y="883"/>
                      <a:pt x="874" y="887"/>
                      <a:pt x="877" y="883"/>
                    </a:cubicBezTo>
                    <a:cubicBezTo>
                      <a:pt x="877" y="880"/>
                      <a:pt x="877" y="880"/>
                      <a:pt x="877" y="880"/>
                    </a:cubicBezTo>
                    <a:cubicBezTo>
                      <a:pt x="876" y="877"/>
                      <a:pt x="871" y="879"/>
                      <a:pt x="872" y="876"/>
                    </a:cubicBezTo>
                    <a:cubicBezTo>
                      <a:pt x="880" y="873"/>
                      <a:pt x="882" y="890"/>
                      <a:pt x="882" y="895"/>
                    </a:cubicBezTo>
                    <a:cubicBezTo>
                      <a:pt x="878" y="890"/>
                      <a:pt x="871" y="890"/>
                      <a:pt x="866" y="893"/>
                    </a:cubicBezTo>
                    <a:cubicBezTo>
                      <a:pt x="865" y="896"/>
                      <a:pt x="868" y="896"/>
                      <a:pt x="867" y="899"/>
                    </a:cubicBezTo>
                    <a:cubicBezTo>
                      <a:pt x="874" y="895"/>
                      <a:pt x="876" y="903"/>
                      <a:pt x="883" y="899"/>
                    </a:cubicBezTo>
                    <a:cubicBezTo>
                      <a:pt x="885" y="903"/>
                      <a:pt x="889" y="904"/>
                      <a:pt x="891" y="907"/>
                    </a:cubicBezTo>
                    <a:cubicBezTo>
                      <a:pt x="884" y="918"/>
                      <a:pt x="904" y="915"/>
                      <a:pt x="904" y="925"/>
                    </a:cubicBezTo>
                    <a:cubicBezTo>
                      <a:pt x="916" y="923"/>
                      <a:pt x="923" y="937"/>
                      <a:pt x="940" y="931"/>
                    </a:cubicBezTo>
                    <a:cubicBezTo>
                      <a:pt x="938" y="918"/>
                      <a:pt x="953" y="915"/>
                      <a:pt x="963" y="921"/>
                    </a:cubicBezTo>
                    <a:cubicBezTo>
                      <a:pt x="966" y="923"/>
                      <a:pt x="966" y="928"/>
                      <a:pt x="970" y="930"/>
                    </a:cubicBezTo>
                    <a:cubicBezTo>
                      <a:pt x="993" y="937"/>
                      <a:pt x="1000" y="900"/>
                      <a:pt x="1016" y="915"/>
                    </a:cubicBezTo>
                    <a:cubicBezTo>
                      <a:pt x="1019" y="913"/>
                      <a:pt x="1021" y="907"/>
                      <a:pt x="1025" y="908"/>
                    </a:cubicBezTo>
                    <a:cubicBezTo>
                      <a:pt x="1024" y="922"/>
                      <a:pt x="1017" y="941"/>
                      <a:pt x="1028" y="949"/>
                    </a:cubicBezTo>
                    <a:cubicBezTo>
                      <a:pt x="1014" y="962"/>
                      <a:pt x="1025" y="990"/>
                      <a:pt x="1019" y="1005"/>
                    </a:cubicBezTo>
                    <a:cubicBezTo>
                      <a:pt x="1016" y="1005"/>
                      <a:pt x="1016" y="1007"/>
                      <a:pt x="1013" y="1006"/>
                    </a:cubicBezTo>
                    <a:cubicBezTo>
                      <a:pt x="1011" y="1020"/>
                      <a:pt x="997" y="1015"/>
                      <a:pt x="986" y="1018"/>
                    </a:cubicBezTo>
                    <a:cubicBezTo>
                      <a:pt x="971" y="1004"/>
                      <a:pt x="948" y="1023"/>
                      <a:pt x="934" y="1029"/>
                    </a:cubicBezTo>
                    <a:cubicBezTo>
                      <a:pt x="928" y="1024"/>
                      <a:pt x="918" y="1029"/>
                      <a:pt x="909" y="1027"/>
                    </a:cubicBezTo>
                    <a:cubicBezTo>
                      <a:pt x="907" y="1026"/>
                      <a:pt x="905" y="1023"/>
                      <a:pt x="903" y="1023"/>
                    </a:cubicBezTo>
                    <a:cubicBezTo>
                      <a:pt x="900" y="1022"/>
                      <a:pt x="896" y="1023"/>
                      <a:pt x="892" y="1023"/>
                    </a:cubicBezTo>
                    <a:cubicBezTo>
                      <a:pt x="887" y="1022"/>
                      <a:pt x="884" y="1019"/>
                      <a:pt x="881" y="1020"/>
                    </a:cubicBezTo>
                    <a:cubicBezTo>
                      <a:pt x="873" y="1021"/>
                      <a:pt x="868" y="1025"/>
                      <a:pt x="866" y="1015"/>
                    </a:cubicBezTo>
                    <a:cubicBezTo>
                      <a:pt x="853" y="1016"/>
                      <a:pt x="850" y="1009"/>
                      <a:pt x="835" y="1011"/>
                    </a:cubicBezTo>
                    <a:cubicBezTo>
                      <a:pt x="835" y="1008"/>
                      <a:pt x="831" y="1006"/>
                      <a:pt x="831" y="1003"/>
                    </a:cubicBezTo>
                    <a:cubicBezTo>
                      <a:pt x="815" y="1000"/>
                      <a:pt x="802" y="999"/>
                      <a:pt x="792" y="1003"/>
                    </a:cubicBezTo>
                    <a:cubicBezTo>
                      <a:pt x="789" y="1004"/>
                      <a:pt x="780" y="1012"/>
                      <a:pt x="780" y="1016"/>
                    </a:cubicBezTo>
                    <a:cubicBezTo>
                      <a:pt x="779" y="1022"/>
                      <a:pt x="786" y="1029"/>
                      <a:pt x="785" y="1036"/>
                    </a:cubicBezTo>
                    <a:cubicBezTo>
                      <a:pt x="784" y="1038"/>
                      <a:pt x="776" y="1046"/>
                      <a:pt x="772" y="1047"/>
                    </a:cubicBezTo>
                    <a:cubicBezTo>
                      <a:pt x="758" y="1049"/>
                      <a:pt x="750" y="1032"/>
                      <a:pt x="738" y="1028"/>
                    </a:cubicBezTo>
                    <a:cubicBezTo>
                      <a:pt x="724" y="1024"/>
                      <a:pt x="715" y="1030"/>
                      <a:pt x="710" y="1023"/>
                    </a:cubicBezTo>
                    <a:cubicBezTo>
                      <a:pt x="707" y="1019"/>
                      <a:pt x="709" y="1015"/>
                      <a:pt x="707" y="1010"/>
                    </a:cubicBezTo>
                    <a:cubicBezTo>
                      <a:pt x="704" y="1004"/>
                      <a:pt x="699" y="1005"/>
                      <a:pt x="692" y="1002"/>
                    </a:cubicBezTo>
                    <a:cubicBezTo>
                      <a:pt x="689" y="1000"/>
                      <a:pt x="687" y="996"/>
                      <a:pt x="684" y="995"/>
                    </a:cubicBezTo>
                    <a:cubicBezTo>
                      <a:pt x="676" y="993"/>
                      <a:pt x="668" y="997"/>
                      <a:pt x="661" y="995"/>
                    </a:cubicBezTo>
                    <a:cubicBezTo>
                      <a:pt x="653" y="993"/>
                      <a:pt x="640" y="981"/>
                      <a:pt x="638" y="975"/>
                    </a:cubicBezTo>
                    <a:cubicBezTo>
                      <a:pt x="630" y="974"/>
                      <a:pt x="624" y="972"/>
                      <a:pt x="623" y="964"/>
                    </a:cubicBezTo>
                    <a:cubicBezTo>
                      <a:pt x="630" y="956"/>
                      <a:pt x="644" y="954"/>
                      <a:pt x="642" y="942"/>
                    </a:cubicBezTo>
                    <a:cubicBezTo>
                      <a:pt x="642" y="937"/>
                      <a:pt x="635" y="936"/>
                      <a:pt x="635" y="931"/>
                    </a:cubicBezTo>
                    <a:cubicBezTo>
                      <a:pt x="634" y="922"/>
                      <a:pt x="647" y="923"/>
                      <a:pt x="643" y="911"/>
                    </a:cubicBezTo>
                    <a:cubicBezTo>
                      <a:pt x="637" y="911"/>
                      <a:pt x="635" y="919"/>
                      <a:pt x="630" y="917"/>
                    </a:cubicBezTo>
                    <a:cubicBezTo>
                      <a:pt x="629" y="912"/>
                      <a:pt x="632" y="909"/>
                      <a:pt x="630" y="905"/>
                    </a:cubicBezTo>
                    <a:cubicBezTo>
                      <a:pt x="617" y="903"/>
                      <a:pt x="601" y="912"/>
                      <a:pt x="590" y="903"/>
                    </a:cubicBezTo>
                    <a:cubicBezTo>
                      <a:pt x="584" y="907"/>
                      <a:pt x="578" y="902"/>
                      <a:pt x="575" y="899"/>
                    </a:cubicBezTo>
                    <a:cubicBezTo>
                      <a:pt x="571" y="906"/>
                      <a:pt x="565" y="900"/>
                      <a:pt x="558" y="905"/>
                    </a:cubicBezTo>
                    <a:cubicBezTo>
                      <a:pt x="551" y="898"/>
                      <a:pt x="537" y="899"/>
                      <a:pt x="524" y="898"/>
                    </a:cubicBezTo>
                    <a:cubicBezTo>
                      <a:pt x="508" y="897"/>
                      <a:pt x="487" y="888"/>
                      <a:pt x="478" y="902"/>
                    </a:cubicBezTo>
                    <a:cubicBezTo>
                      <a:pt x="473" y="900"/>
                      <a:pt x="469" y="901"/>
                      <a:pt x="463" y="901"/>
                    </a:cubicBezTo>
                    <a:cubicBezTo>
                      <a:pt x="454" y="916"/>
                      <a:pt x="442" y="898"/>
                      <a:pt x="430" y="900"/>
                    </a:cubicBezTo>
                    <a:cubicBezTo>
                      <a:pt x="427" y="897"/>
                      <a:pt x="422" y="893"/>
                      <a:pt x="417" y="896"/>
                    </a:cubicBezTo>
                    <a:cubicBezTo>
                      <a:pt x="408" y="893"/>
                      <a:pt x="411" y="878"/>
                      <a:pt x="400" y="879"/>
                    </a:cubicBezTo>
                    <a:cubicBezTo>
                      <a:pt x="391" y="887"/>
                      <a:pt x="386" y="903"/>
                      <a:pt x="374" y="907"/>
                    </a:cubicBezTo>
                    <a:cubicBezTo>
                      <a:pt x="369" y="908"/>
                      <a:pt x="365" y="903"/>
                      <a:pt x="360" y="907"/>
                    </a:cubicBezTo>
                    <a:cubicBezTo>
                      <a:pt x="351" y="901"/>
                      <a:pt x="347" y="914"/>
                      <a:pt x="338" y="914"/>
                    </a:cubicBezTo>
                    <a:cubicBezTo>
                      <a:pt x="339" y="917"/>
                      <a:pt x="336" y="918"/>
                      <a:pt x="337" y="921"/>
                    </a:cubicBezTo>
                    <a:cubicBezTo>
                      <a:pt x="328" y="925"/>
                      <a:pt x="325" y="934"/>
                      <a:pt x="322" y="943"/>
                    </a:cubicBezTo>
                    <a:cubicBezTo>
                      <a:pt x="323" y="948"/>
                      <a:pt x="323" y="950"/>
                      <a:pt x="322" y="955"/>
                    </a:cubicBezTo>
                    <a:cubicBezTo>
                      <a:pt x="312" y="956"/>
                      <a:pt x="310" y="968"/>
                      <a:pt x="299" y="965"/>
                    </a:cubicBezTo>
                    <a:cubicBezTo>
                      <a:pt x="294" y="973"/>
                      <a:pt x="277" y="973"/>
                      <a:pt x="269" y="968"/>
                    </a:cubicBezTo>
                    <a:cubicBezTo>
                      <a:pt x="260" y="973"/>
                      <a:pt x="259" y="990"/>
                      <a:pt x="242" y="982"/>
                    </a:cubicBezTo>
                    <a:cubicBezTo>
                      <a:pt x="240" y="988"/>
                      <a:pt x="238" y="992"/>
                      <a:pt x="233" y="994"/>
                    </a:cubicBezTo>
                    <a:cubicBezTo>
                      <a:pt x="237" y="1007"/>
                      <a:pt x="226" y="1010"/>
                      <a:pt x="215" y="1010"/>
                    </a:cubicBezTo>
                    <a:cubicBezTo>
                      <a:pt x="212" y="1018"/>
                      <a:pt x="208" y="1024"/>
                      <a:pt x="203" y="1029"/>
                    </a:cubicBezTo>
                    <a:cubicBezTo>
                      <a:pt x="200" y="1028"/>
                      <a:pt x="196" y="1030"/>
                      <a:pt x="195" y="1031"/>
                    </a:cubicBezTo>
                    <a:cubicBezTo>
                      <a:pt x="188" y="1041"/>
                      <a:pt x="199" y="1057"/>
                      <a:pt x="199" y="1061"/>
                    </a:cubicBezTo>
                    <a:cubicBezTo>
                      <a:pt x="199" y="1066"/>
                      <a:pt x="194" y="1070"/>
                      <a:pt x="193" y="1075"/>
                    </a:cubicBezTo>
                    <a:cubicBezTo>
                      <a:pt x="192" y="1081"/>
                      <a:pt x="197" y="1087"/>
                      <a:pt x="196" y="1094"/>
                    </a:cubicBezTo>
                    <a:cubicBezTo>
                      <a:pt x="195" y="1099"/>
                      <a:pt x="191" y="1101"/>
                      <a:pt x="192" y="1107"/>
                    </a:cubicBezTo>
                    <a:cubicBezTo>
                      <a:pt x="185" y="1108"/>
                      <a:pt x="186" y="1118"/>
                      <a:pt x="185" y="1125"/>
                    </a:cubicBezTo>
                    <a:cubicBezTo>
                      <a:pt x="179" y="1125"/>
                      <a:pt x="178" y="1130"/>
                      <a:pt x="173" y="1130"/>
                    </a:cubicBezTo>
                    <a:cubicBezTo>
                      <a:pt x="174" y="1138"/>
                      <a:pt x="180" y="1145"/>
                      <a:pt x="180" y="1153"/>
                    </a:cubicBezTo>
                    <a:cubicBezTo>
                      <a:pt x="179" y="1159"/>
                      <a:pt x="176" y="1161"/>
                      <a:pt x="176" y="1165"/>
                    </a:cubicBezTo>
                    <a:cubicBezTo>
                      <a:pt x="176" y="1171"/>
                      <a:pt x="185" y="1175"/>
                      <a:pt x="184" y="1182"/>
                    </a:cubicBezTo>
                    <a:cubicBezTo>
                      <a:pt x="194" y="1183"/>
                      <a:pt x="190" y="1191"/>
                      <a:pt x="194" y="1199"/>
                    </a:cubicBezTo>
                    <a:cubicBezTo>
                      <a:pt x="196" y="1203"/>
                      <a:pt x="201" y="1206"/>
                      <a:pt x="203" y="1210"/>
                    </a:cubicBezTo>
                    <a:cubicBezTo>
                      <a:pt x="204" y="1212"/>
                      <a:pt x="203" y="1215"/>
                      <a:pt x="205" y="1218"/>
                    </a:cubicBezTo>
                    <a:cubicBezTo>
                      <a:pt x="207" y="1222"/>
                      <a:pt x="213" y="1225"/>
                      <a:pt x="215" y="1229"/>
                    </a:cubicBezTo>
                    <a:cubicBezTo>
                      <a:pt x="219" y="1235"/>
                      <a:pt x="222" y="1242"/>
                      <a:pt x="220" y="1248"/>
                    </a:cubicBezTo>
                    <a:cubicBezTo>
                      <a:pt x="225" y="1256"/>
                      <a:pt x="227" y="1266"/>
                      <a:pt x="233" y="1273"/>
                    </a:cubicBezTo>
                    <a:cubicBezTo>
                      <a:pt x="244" y="1284"/>
                      <a:pt x="254" y="1293"/>
                      <a:pt x="263" y="1304"/>
                    </a:cubicBezTo>
                    <a:cubicBezTo>
                      <a:pt x="269" y="1311"/>
                      <a:pt x="272" y="1319"/>
                      <a:pt x="279" y="1325"/>
                    </a:cubicBezTo>
                    <a:cubicBezTo>
                      <a:pt x="281" y="1327"/>
                      <a:pt x="285" y="1329"/>
                      <a:pt x="289" y="1333"/>
                    </a:cubicBezTo>
                    <a:cubicBezTo>
                      <a:pt x="299" y="1341"/>
                      <a:pt x="300" y="1344"/>
                      <a:pt x="316" y="1345"/>
                    </a:cubicBezTo>
                    <a:cubicBezTo>
                      <a:pt x="333" y="1347"/>
                      <a:pt x="354" y="1357"/>
                      <a:pt x="369" y="1362"/>
                    </a:cubicBezTo>
                    <a:cubicBezTo>
                      <a:pt x="374" y="1365"/>
                      <a:pt x="381" y="1375"/>
                      <a:pt x="390" y="1377"/>
                    </a:cubicBezTo>
                    <a:cubicBezTo>
                      <a:pt x="394" y="1378"/>
                      <a:pt x="398" y="1376"/>
                      <a:pt x="402" y="1376"/>
                    </a:cubicBezTo>
                    <a:cubicBezTo>
                      <a:pt x="411" y="1376"/>
                      <a:pt x="420" y="1380"/>
                      <a:pt x="427" y="1376"/>
                    </a:cubicBezTo>
                    <a:cubicBezTo>
                      <a:pt x="438" y="1382"/>
                      <a:pt x="452" y="1377"/>
                      <a:pt x="467" y="1381"/>
                    </a:cubicBezTo>
                    <a:cubicBezTo>
                      <a:pt x="472" y="1387"/>
                      <a:pt x="477" y="1384"/>
                      <a:pt x="482" y="1385"/>
                    </a:cubicBezTo>
                    <a:cubicBezTo>
                      <a:pt x="494" y="1387"/>
                      <a:pt x="506" y="1394"/>
                      <a:pt x="513" y="1404"/>
                    </a:cubicBezTo>
                    <a:cubicBezTo>
                      <a:pt x="517" y="1409"/>
                      <a:pt x="516" y="1417"/>
                      <a:pt x="522" y="1420"/>
                    </a:cubicBezTo>
                    <a:cubicBezTo>
                      <a:pt x="529" y="1424"/>
                      <a:pt x="539" y="1422"/>
                      <a:pt x="544" y="1422"/>
                    </a:cubicBezTo>
                    <a:cubicBezTo>
                      <a:pt x="551" y="1422"/>
                      <a:pt x="558" y="1429"/>
                      <a:pt x="565" y="1429"/>
                    </a:cubicBezTo>
                    <a:cubicBezTo>
                      <a:pt x="567" y="1429"/>
                      <a:pt x="569" y="1427"/>
                      <a:pt x="571" y="1427"/>
                    </a:cubicBezTo>
                    <a:cubicBezTo>
                      <a:pt x="579" y="1428"/>
                      <a:pt x="578" y="1432"/>
                      <a:pt x="582" y="1436"/>
                    </a:cubicBezTo>
                    <a:cubicBezTo>
                      <a:pt x="589" y="1443"/>
                      <a:pt x="598" y="1446"/>
                      <a:pt x="599" y="1451"/>
                    </a:cubicBezTo>
                    <a:cubicBezTo>
                      <a:pt x="600" y="1456"/>
                      <a:pt x="592" y="1459"/>
                      <a:pt x="595" y="1464"/>
                    </a:cubicBezTo>
                    <a:cubicBezTo>
                      <a:pt x="592" y="1465"/>
                      <a:pt x="590" y="1466"/>
                      <a:pt x="588" y="1467"/>
                    </a:cubicBezTo>
                    <a:cubicBezTo>
                      <a:pt x="589" y="1472"/>
                      <a:pt x="594" y="1472"/>
                      <a:pt x="593" y="1479"/>
                    </a:cubicBezTo>
                    <a:cubicBezTo>
                      <a:pt x="591" y="1478"/>
                      <a:pt x="590" y="1479"/>
                      <a:pt x="589" y="1480"/>
                    </a:cubicBezTo>
                    <a:cubicBezTo>
                      <a:pt x="589" y="1487"/>
                      <a:pt x="589" y="1487"/>
                      <a:pt x="589" y="1487"/>
                    </a:cubicBezTo>
                    <a:cubicBezTo>
                      <a:pt x="586" y="1489"/>
                      <a:pt x="583" y="1490"/>
                      <a:pt x="579" y="1489"/>
                    </a:cubicBezTo>
                    <a:cubicBezTo>
                      <a:pt x="580" y="1495"/>
                      <a:pt x="586" y="1496"/>
                      <a:pt x="591" y="1499"/>
                    </a:cubicBezTo>
                    <a:cubicBezTo>
                      <a:pt x="591" y="1501"/>
                      <a:pt x="590" y="1501"/>
                      <a:pt x="590" y="1503"/>
                    </a:cubicBezTo>
                    <a:cubicBezTo>
                      <a:pt x="609" y="1520"/>
                      <a:pt x="634" y="1531"/>
                      <a:pt x="650" y="1551"/>
                    </a:cubicBezTo>
                    <a:cubicBezTo>
                      <a:pt x="650" y="1552"/>
                      <a:pt x="648" y="1551"/>
                      <a:pt x="648" y="1554"/>
                    </a:cubicBezTo>
                    <a:cubicBezTo>
                      <a:pt x="656" y="1560"/>
                      <a:pt x="663" y="1566"/>
                      <a:pt x="668" y="1574"/>
                    </a:cubicBezTo>
                    <a:cubicBezTo>
                      <a:pt x="669" y="1577"/>
                      <a:pt x="665" y="1576"/>
                      <a:pt x="664" y="1578"/>
                    </a:cubicBezTo>
                    <a:cubicBezTo>
                      <a:pt x="666" y="1587"/>
                      <a:pt x="677" y="1589"/>
                      <a:pt x="680" y="1598"/>
                    </a:cubicBezTo>
                    <a:cubicBezTo>
                      <a:pt x="678" y="1600"/>
                      <a:pt x="676" y="1602"/>
                      <a:pt x="674" y="1604"/>
                    </a:cubicBezTo>
                    <a:cubicBezTo>
                      <a:pt x="667" y="1603"/>
                      <a:pt x="666" y="1607"/>
                      <a:pt x="659" y="1606"/>
                    </a:cubicBezTo>
                    <a:cubicBezTo>
                      <a:pt x="659" y="1613"/>
                      <a:pt x="655" y="1610"/>
                      <a:pt x="657" y="1617"/>
                    </a:cubicBezTo>
                    <a:cubicBezTo>
                      <a:pt x="653" y="1617"/>
                      <a:pt x="654" y="1622"/>
                      <a:pt x="648" y="1621"/>
                    </a:cubicBezTo>
                    <a:cubicBezTo>
                      <a:pt x="647" y="1636"/>
                      <a:pt x="659" y="1637"/>
                      <a:pt x="672" y="1644"/>
                    </a:cubicBezTo>
                    <a:cubicBezTo>
                      <a:pt x="684" y="1650"/>
                      <a:pt x="690" y="1655"/>
                      <a:pt x="700" y="1657"/>
                    </a:cubicBezTo>
                    <a:cubicBezTo>
                      <a:pt x="704" y="1673"/>
                      <a:pt x="737" y="1679"/>
                      <a:pt x="751" y="1681"/>
                    </a:cubicBezTo>
                    <a:cubicBezTo>
                      <a:pt x="756" y="1682"/>
                      <a:pt x="767" y="1682"/>
                      <a:pt x="760" y="1684"/>
                    </a:cubicBezTo>
                    <a:cubicBezTo>
                      <a:pt x="839" y="1688"/>
                      <a:pt x="918" y="1682"/>
                      <a:pt x="976" y="1661"/>
                    </a:cubicBezTo>
                    <a:cubicBezTo>
                      <a:pt x="978" y="1660"/>
                      <a:pt x="974" y="1659"/>
                      <a:pt x="977" y="1658"/>
                    </a:cubicBezTo>
                    <a:cubicBezTo>
                      <a:pt x="994" y="1651"/>
                      <a:pt x="1017" y="1650"/>
                      <a:pt x="1027" y="1639"/>
                    </a:cubicBezTo>
                    <a:cubicBezTo>
                      <a:pt x="1028" y="1635"/>
                      <a:pt x="1023" y="1637"/>
                      <a:pt x="1023" y="1635"/>
                    </a:cubicBezTo>
                    <a:cubicBezTo>
                      <a:pt x="1027" y="1633"/>
                      <a:pt x="1022" y="1632"/>
                      <a:pt x="1021" y="1631"/>
                    </a:cubicBezTo>
                    <a:cubicBezTo>
                      <a:pt x="1035" y="1625"/>
                      <a:pt x="1048" y="1621"/>
                      <a:pt x="1060" y="1614"/>
                    </a:cubicBezTo>
                    <a:cubicBezTo>
                      <a:pt x="1084" y="1599"/>
                      <a:pt x="1115" y="1595"/>
                      <a:pt x="1133" y="1575"/>
                    </a:cubicBezTo>
                    <a:cubicBezTo>
                      <a:pt x="1131" y="1565"/>
                      <a:pt x="1138" y="1555"/>
                      <a:pt x="1143" y="1547"/>
                    </a:cubicBezTo>
                    <a:cubicBezTo>
                      <a:pt x="1139" y="1544"/>
                      <a:pt x="1136" y="1546"/>
                      <a:pt x="1131" y="1546"/>
                    </a:cubicBezTo>
                    <a:cubicBezTo>
                      <a:pt x="1130" y="1542"/>
                      <a:pt x="1130" y="1538"/>
                      <a:pt x="1127" y="1536"/>
                    </a:cubicBezTo>
                    <a:cubicBezTo>
                      <a:pt x="1130" y="1531"/>
                      <a:pt x="1131" y="1527"/>
                      <a:pt x="1134" y="1521"/>
                    </a:cubicBezTo>
                    <a:cubicBezTo>
                      <a:pt x="1129" y="1520"/>
                      <a:pt x="1126" y="1524"/>
                      <a:pt x="1123" y="1520"/>
                    </a:cubicBezTo>
                    <a:cubicBezTo>
                      <a:pt x="1131" y="1503"/>
                      <a:pt x="1147" y="1494"/>
                      <a:pt x="1154" y="1478"/>
                    </a:cubicBezTo>
                    <a:cubicBezTo>
                      <a:pt x="1160" y="1476"/>
                      <a:pt x="1162" y="1472"/>
                      <a:pt x="1166" y="1468"/>
                    </a:cubicBezTo>
                    <a:cubicBezTo>
                      <a:pt x="1179" y="1465"/>
                      <a:pt x="1183" y="1452"/>
                      <a:pt x="1192" y="1444"/>
                    </a:cubicBezTo>
                    <a:cubicBezTo>
                      <a:pt x="1196" y="1440"/>
                      <a:pt x="1201" y="1439"/>
                      <a:pt x="1204" y="1435"/>
                    </a:cubicBezTo>
                    <a:cubicBezTo>
                      <a:pt x="1206" y="1433"/>
                      <a:pt x="1207" y="1430"/>
                      <a:pt x="1209" y="1428"/>
                    </a:cubicBezTo>
                    <a:cubicBezTo>
                      <a:pt x="1228" y="1406"/>
                      <a:pt x="1254" y="1393"/>
                      <a:pt x="1271" y="1373"/>
                    </a:cubicBezTo>
                    <a:cubicBezTo>
                      <a:pt x="1278" y="1365"/>
                      <a:pt x="1284" y="1355"/>
                      <a:pt x="1290" y="1344"/>
                    </a:cubicBezTo>
                    <a:cubicBezTo>
                      <a:pt x="1294" y="1338"/>
                      <a:pt x="1300" y="1334"/>
                      <a:pt x="1304" y="1327"/>
                    </a:cubicBezTo>
                    <a:cubicBezTo>
                      <a:pt x="1306" y="1323"/>
                      <a:pt x="1306" y="1317"/>
                      <a:pt x="1308" y="1313"/>
                    </a:cubicBezTo>
                    <a:cubicBezTo>
                      <a:pt x="1312" y="1304"/>
                      <a:pt x="1322" y="1292"/>
                      <a:pt x="1323" y="1281"/>
                    </a:cubicBezTo>
                    <a:cubicBezTo>
                      <a:pt x="1326" y="1280"/>
                      <a:pt x="1327" y="1277"/>
                      <a:pt x="1329" y="1275"/>
                    </a:cubicBezTo>
                    <a:cubicBezTo>
                      <a:pt x="1325" y="1265"/>
                      <a:pt x="1332" y="1259"/>
                      <a:pt x="1334" y="1252"/>
                    </a:cubicBezTo>
                    <a:cubicBezTo>
                      <a:pt x="1335" y="1246"/>
                      <a:pt x="1331" y="1240"/>
                      <a:pt x="1335" y="1234"/>
                    </a:cubicBezTo>
                    <a:cubicBezTo>
                      <a:pt x="1326" y="1232"/>
                      <a:pt x="1325" y="1238"/>
                      <a:pt x="1321" y="1243"/>
                    </a:cubicBezTo>
                    <a:cubicBezTo>
                      <a:pt x="1311" y="1255"/>
                      <a:pt x="1293" y="1257"/>
                      <a:pt x="1284" y="1268"/>
                    </a:cubicBezTo>
                    <a:cubicBezTo>
                      <a:pt x="1281" y="1269"/>
                      <a:pt x="1282" y="1267"/>
                      <a:pt x="1279" y="1267"/>
                    </a:cubicBezTo>
                    <a:cubicBezTo>
                      <a:pt x="1274" y="1270"/>
                      <a:pt x="1270" y="1279"/>
                      <a:pt x="1262" y="1283"/>
                    </a:cubicBezTo>
                    <a:cubicBezTo>
                      <a:pt x="1260" y="1284"/>
                      <a:pt x="1257" y="1282"/>
                      <a:pt x="1255" y="1283"/>
                    </a:cubicBezTo>
                    <a:cubicBezTo>
                      <a:pt x="1248" y="1285"/>
                      <a:pt x="1244" y="1293"/>
                      <a:pt x="1239" y="1295"/>
                    </a:cubicBezTo>
                    <a:cubicBezTo>
                      <a:pt x="1223" y="1303"/>
                      <a:pt x="1218" y="1294"/>
                      <a:pt x="1205" y="1291"/>
                    </a:cubicBezTo>
                    <a:cubicBezTo>
                      <a:pt x="1207" y="1287"/>
                      <a:pt x="1211" y="1284"/>
                      <a:pt x="1212" y="1279"/>
                    </a:cubicBezTo>
                    <a:cubicBezTo>
                      <a:pt x="1207" y="1270"/>
                      <a:pt x="1194" y="1277"/>
                      <a:pt x="1192" y="1267"/>
                    </a:cubicBezTo>
                    <a:cubicBezTo>
                      <a:pt x="1187" y="1268"/>
                      <a:pt x="1185" y="1266"/>
                      <a:pt x="1179" y="1267"/>
                    </a:cubicBezTo>
                    <a:cubicBezTo>
                      <a:pt x="1178" y="1264"/>
                      <a:pt x="1178" y="1260"/>
                      <a:pt x="1176" y="1258"/>
                    </a:cubicBezTo>
                    <a:cubicBezTo>
                      <a:pt x="1161" y="1255"/>
                      <a:pt x="1142" y="1260"/>
                      <a:pt x="1137" y="1245"/>
                    </a:cubicBezTo>
                    <a:cubicBezTo>
                      <a:pt x="1136" y="1243"/>
                      <a:pt x="1137" y="1239"/>
                      <a:pt x="1137" y="1237"/>
                    </a:cubicBezTo>
                    <a:cubicBezTo>
                      <a:pt x="1134" y="1222"/>
                      <a:pt x="1121" y="1221"/>
                      <a:pt x="1110" y="1212"/>
                    </a:cubicBezTo>
                    <a:cubicBezTo>
                      <a:pt x="1106" y="1211"/>
                      <a:pt x="1105" y="1213"/>
                      <a:pt x="1101" y="1213"/>
                    </a:cubicBezTo>
                    <a:cubicBezTo>
                      <a:pt x="1100" y="1199"/>
                      <a:pt x="1090" y="1188"/>
                      <a:pt x="1095" y="1175"/>
                    </a:cubicBezTo>
                    <a:cubicBezTo>
                      <a:pt x="1090" y="1174"/>
                      <a:pt x="1086" y="1170"/>
                      <a:pt x="1089" y="1164"/>
                    </a:cubicBezTo>
                    <a:cubicBezTo>
                      <a:pt x="1078" y="1156"/>
                      <a:pt x="1054" y="1153"/>
                      <a:pt x="1062" y="1133"/>
                    </a:cubicBezTo>
                    <a:cubicBezTo>
                      <a:pt x="1045" y="1127"/>
                      <a:pt x="1043" y="1106"/>
                      <a:pt x="1028" y="1097"/>
                    </a:cubicBezTo>
                    <a:cubicBezTo>
                      <a:pt x="1029" y="1094"/>
                      <a:pt x="1027" y="1093"/>
                      <a:pt x="1027" y="1089"/>
                    </a:cubicBezTo>
                    <a:cubicBezTo>
                      <a:pt x="1024" y="1085"/>
                      <a:pt x="1018" y="1084"/>
                      <a:pt x="1017" y="1078"/>
                    </a:cubicBezTo>
                    <a:cubicBezTo>
                      <a:pt x="1021" y="1080"/>
                      <a:pt x="1023" y="1083"/>
                      <a:pt x="1030" y="1082"/>
                    </a:cubicBezTo>
                    <a:cubicBezTo>
                      <a:pt x="1033" y="1076"/>
                      <a:pt x="1025" y="1064"/>
                      <a:pt x="1030" y="1058"/>
                    </a:cubicBezTo>
                    <a:cubicBezTo>
                      <a:pt x="1035" y="1061"/>
                      <a:pt x="1032" y="1072"/>
                      <a:pt x="1035" y="1076"/>
                    </a:cubicBezTo>
                    <a:cubicBezTo>
                      <a:pt x="1039" y="1080"/>
                      <a:pt x="1047" y="1078"/>
                      <a:pt x="1051" y="1081"/>
                    </a:cubicBezTo>
                    <a:cubicBezTo>
                      <a:pt x="1056" y="1084"/>
                      <a:pt x="1058" y="1094"/>
                      <a:pt x="1062" y="1098"/>
                    </a:cubicBezTo>
                    <a:cubicBezTo>
                      <a:pt x="1069" y="1104"/>
                      <a:pt x="1077" y="1106"/>
                      <a:pt x="1081" y="1111"/>
                    </a:cubicBezTo>
                    <a:cubicBezTo>
                      <a:pt x="1085" y="1116"/>
                      <a:pt x="1084" y="1124"/>
                      <a:pt x="1091" y="1127"/>
                    </a:cubicBezTo>
                    <a:cubicBezTo>
                      <a:pt x="1136" y="1115"/>
                      <a:pt x="1111" y="1186"/>
                      <a:pt x="1153" y="1173"/>
                    </a:cubicBezTo>
                    <a:cubicBezTo>
                      <a:pt x="1160" y="1180"/>
                      <a:pt x="1167" y="1191"/>
                      <a:pt x="1177" y="1199"/>
                    </a:cubicBezTo>
                    <a:cubicBezTo>
                      <a:pt x="1188" y="1208"/>
                      <a:pt x="1205" y="1214"/>
                      <a:pt x="1194" y="1233"/>
                    </a:cubicBezTo>
                    <a:cubicBezTo>
                      <a:pt x="1197" y="1236"/>
                      <a:pt x="1200" y="1236"/>
                      <a:pt x="1202" y="1240"/>
                    </a:cubicBezTo>
                    <a:cubicBezTo>
                      <a:pt x="1202" y="1247"/>
                      <a:pt x="1203" y="1254"/>
                      <a:pt x="1201" y="1260"/>
                    </a:cubicBezTo>
                    <a:cubicBezTo>
                      <a:pt x="1206" y="1262"/>
                      <a:pt x="1210" y="1266"/>
                      <a:pt x="1214" y="1269"/>
                    </a:cubicBezTo>
                    <a:cubicBezTo>
                      <a:pt x="1229" y="1269"/>
                      <a:pt x="1236" y="1260"/>
                      <a:pt x="1242" y="1250"/>
                    </a:cubicBezTo>
                    <a:cubicBezTo>
                      <a:pt x="1290" y="1241"/>
                      <a:pt x="1302" y="1194"/>
                      <a:pt x="1341" y="1176"/>
                    </a:cubicBezTo>
                    <a:cubicBezTo>
                      <a:pt x="1346" y="1150"/>
                      <a:pt x="1369" y="1143"/>
                      <a:pt x="1383" y="1125"/>
                    </a:cubicBezTo>
                    <a:cubicBezTo>
                      <a:pt x="1383" y="1118"/>
                      <a:pt x="1383" y="1118"/>
                      <a:pt x="1383" y="1118"/>
                    </a:cubicBezTo>
                    <a:cubicBezTo>
                      <a:pt x="1387" y="1110"/>
                      <a:pt x="1398" y="1109"/>
                      <a:pt x="1397" y="1095"/>
                    </a:cubicBezTo>
                    <a:cubicBezTo>
                      <a:pt x="1404" y="1087"/>
                      <a:pt x="1409" y="1079"/>
                      <a:pt x="1408" y="1063"/>
                    </a:cubicBezTo>
                    <a:cubicBezTo>
                      <a:pt x="1411" y="1062"/>
                      <a:pt x="1414" y="1060"/>
                      <a:pt x="1416" y="1057"/>
                    </a:cubicBezTo>
                    <a:cubicBezTo>
                      <a:pt x="1415" y="1040"/>
                      <a:pt x="1429" y="1033"/>
                      <a:pt x="1422" y="1016"/>
                    </a:cubicBezTo>
                    <a:cubicBezTo>
                      <a:pt x="1419" y="1015"/>
                      <a:pt x="1418" y="1017"/>
                      <a:pt x="1416" y="1017"/>
                    </a:cubicBezTo>
                    <a:cubicBezTo>
                      <a:pt x="1407" y="1002"/>
                      <a:pt x="1387" y="1013"/>
                      <a:pt x="1374" y="1014"/>
                    </a:cubicBezTo>
                    <a:cubicBezTo>
                      <a:pt x="1364" y="1009"/>
                      <a:pt x="1366" y="992"/>
                      <a:pt x="1360" y="983"/>
                    </a:cubicBezTo>
                    <a:cubicBezTo>
                      <a:pt x="1357" y="1004"/>
                      <a:pt x="1343" y="1012"/>
                      <a:pt x="1343" y="1035"/>
                    </a:cubicBezTo>
                    <a:cubicBezTo>
                      <a:pt x="1329" y="1035"/>
                      <a:pt x="1315" y="1059"/>
                      <a:pt x="1306" y="1049"/>
                    </a:cubicBezTo>
                    <a:cubicBezTo>
                      <a:pt x="1308" y="1037"/>
                      <a:pt x="1310" y="1020"/>
                      <a:pt x="1300" y="1020"/>
                    </a:cubicBezTo>
                    <a:cubicBezTo>
                      <a:pt x="1287" y="1020"/>
                      <a:pt x="1302" y="1040"/>
                      <a:pt x="1293" y="1046"/>
                    </a:cubicBezTo>
                    <a:cubicBezTo>
                      <a:pt x="1291" y="1040"/>
                      <a:pt x="1288" y="1035"/>
                      <a:pt x="1280" y="1035"/>
                    </a:cubicBezTo>
                    <a:cubicBezTo>
                      <a:pt x="1276" y="1028"/>
                      <a:pt x="1276" y="1016"/>
                      <a:pt x="1261" y="1020"/>
                    </a:cubicBezTo>
                    <a:cubicBezTo>
                      <a:pt x="1256" y="1008"/>
                      <a:pt x="1245" y="1001"/>
                      <a:pt x="1236" y="994"/>
                    </a:cubicBezTo>
                    <a:cubicBezTo>
                      <a:pt x="1237" y="991"/>
                      <a:pt x="1243" y="992"/>
                      <a:pt x="1244" y="989"/>
                    </a:cubicBezTo>
                    <a:cubicBezTo>
                      <a:pt x="1245" y="986"/>
                      <a:pt x="1243" y="986"/>
                      <a:pt x="1243" y="983"/>
                    </a:cubicBezTo>
                    <a:cubicBezTo>
                      <a:pt x="1245" y="982"/>
                      <a:pt x="1249" y="983"/>
                      <a:pt x="1250" y="981"/>
                    </a:cubicBezTo>
                    <a:cubicBezTo>
                      <a:pt x="1250" y="976"/>
                      <a:pt x="1248" y="973"/>
                      <a:pt x="1252" y="971"/>
                    </a:cubicBezTo>
                    <a:cubicBezTo>
                      <a:pt x="1258" y="973"/>
                      <a:pt x="1263" y="974"/>
                      <a:pt x="1268" y="978"/>
                    </a:cubicBezTo>
                    <a:cubicBezTo>
                      <a:pt x="1274" y="981"/>
                      <a:pt x="1285" y="1000"/>
                      <a:pt x="1291" y="1001"/>
                    </a:cubicBezTo>
                    <a:cubicBezTo>
                      <a:pt x="1296" y="1001"/>
                      <a:pt x="1301" y="993"/>
                      <a:pt x="1306" y="993"/>
                    </a:cubicBezTo>
                    <a:cubicBezTo>
                      <a:pt x="1316" y="992"/>
                      <a:pt x="1325" y="1003"/>
                      <a:pt x="1336" y="1000"/>
                    </a:cubicBezTo>
                    <a:cubicBezTo>
                      <a:pt x="1348" y="995"/>
                      <a:pt x="1348" y="979"/>
                      <a:pt x="1361" y="973"/>
                    </a:cubicBezTo>
                    <a:cubicBezTo>
                      <a:pt x="1367" y="976"/>
                      <a:pt x="1371" y="981"/>
                      <a:pt x="1374" y="987"/>
                    </a:cubicBezTo>
                    <a:cubicBezTo>
                      <a:pt x="1386" y="989"/>
                      <a:pt x="1391" y="977"/>
                      <a:pt x="1404" y="980"/>
                    </a:cubicBezTo>
                    <a:cubicBezTo>
                      <a:pt x="1407" y="978"/>
                      <a:pt x="1410" y="977"/>
                      <a:pt x="1411" y="974"/>
                    </a:cubicBezTo>
                    <a:cubicBezTo>
                      <a:pt x="1422" y="976"/>
                      <a:pt x="1426" y="966"/>
                      <a:pt x="1432" y="961"/>
                    </a:cubicBezTo>
                    <a:cubicBezTo>
                      <a:pt x="1433" y="960"/>
                      <a:pt x="1435" y="961"/>
                      <a:pt x="1437" y="959"/>
                    </a:cubicBezTo>
                    <a:cubicBezTo>
                      <a:pt x="1442" y="957"/>
                      <a:pt x="1443" y="951"/>
                      <a:pt x="1447" y="947"/>
                    </a:cubicBezTo>
                    <a:cubicBezTo>
                      <a:pt x="1448" y="946"/>
                      <a:pt x="1451" y="946"/>
                      <a:pt x="1453" y="945"/>
                    </a:cubicBezTo>
                    <a:cubicBezTo>
                      <a:pt x="1459" y="940"/>
                      <a:pt x="1464" y="929"/>
                      <a:pt x="1471" y="925"/>
                    </a:cubicBezTo>
                    <a:cubicBezTo>
                      <a:pt x="1476" y="925"/>
                      <a:pt x="1476" y="932"/>
                      <a:pt x="1481" y="932"/>
                    </a:cubicBezTo>
                    <a:cubicBezTo>
                      <a:pt x="1485" y="931"/>
                      <a:pt x="1488" y="928"/>
                      <a:pt x="1492" y="927"/>
                    </a:cubicBezTo>
                    <a:cubicBezTo>
                      <a:pt x="1494" y="929"/>
                      <a:pt x="1495" y="931"/>
                      <a:pt x="1498" y="931"/>
                    </a:cubicBezTo>
                    <a:cubicBezTo>
                      <a:pt x="1499" y="929"/>
                      <a:pt x="1503" y="929"/>
                      <a:pt x="1505" y="927"/>
                    </a:cubicBezTo>
                    <a:cubicBezTo>
                      <a:pt x="1505" y="930"/>
                      <a:pt x="1507" y="931"/>
                      <a:pt x="1506" y="934"/>
                    </a:cubicBezTo>
                    <a:cubicBezTo>
                      <a:pt x="1517" y="934"/>
                      <a:pt x="1519" y="924"/>
                      <a:pt x="1524" y="918"/>
                    </a:cubicBezTo>
                    <a:cubicBezTo>
                      <a:pt x="1524" y="932"/>
                      <a:pt x="1510" y="936"/>
                      <a:pt x="1512" y="949"/>
                    </a:cubicBezTo>
                    <a:cubicBezTo>
                      <a:pt x="1532" y="957"/>
                      <a:pt x="1545" y="945"/>
                      <a:pt x="1546" y="928"/>
                    </a:cubicBezTo>
                    <a:cubicBezTo>
                      <a:pt x="1546" y="920"/>
                      <a:pt x="1541" y="911"/>
                      <a:pt x="1548" y="906"/>
                    </a:cubicBezTo>
                    <a:cubicBezTo>
                      <a:pt x="1548" y="912"/>
                      <a:pt x="1546" y="916"/>
                      <a:pt x="1546" y="923"/>
                    </a:cubicBezTo>
                    <a:cubicBezTo>
                      <a:pt x="1547" y="925"/>
                      <a:pt x="1552" y="923"/>
                      <a:pt x="1553" y="926"/>
                    </a:cubicBezTo>
                    <a:cubicBezTo>
                      <a:pt x="1552" y="950"/>
                      <a:pt x="1558" y="969"/>
                      <a:pt x="1569" y="981"/>
                    </a:cubicBezTo>
                    <a:cubicBezTo>
                      <a:pt x="1569" y="987"/>
                      <a:pt x="1569" y="987"/>
                      <a:pt x="1569" y="987"/>
                    </a:cubicBezTo>
                    <a:cubicBezTo>
                      <a:pt x="1571" y="989"/>
                      <a:pt x="1573" y="987"/>
                      <a:pt x="1575" y="986"/>
                    </a:cubicBezTo>
                    <a:cubicBezTo>
                      <a:pt x="1575" y="994"/>
                      <a:pt x="1581" y="992"/>
                      <a:pt x="1583" y="996"/>
                    </a:cubicBezTo>
                    <a:cubicBezTo>
                      <a:pt x="1579" y="1009"/>
                      <a:pt x="1593" y="1015"/>
                      <a:pt x="1596" y="1024"/>
                    </a:cubicBezTo>
                    <a:cubicBezTo>
                      <a:pt x="1598" y="1031"/>
                      <a:pt x="1595" y="1040"/>
                      <a:pt x="1604" y="1043"/>
                    </a:cubicBezTo>
                    <a:cubicBezTo>
                      <a:pt x="1610" y="1036"/>
                      <a:pt x="1607" y="1027"/>
                      <a:pt x="1610" y="1019"/>
                    </a:cubicBezTo>
                    <a:cubicBezTo>
                      <a:pt x="1611" y="1015"/>
                      <a:pt x="1616" y="1011"/>
                      <a:pt x="1616" y="1007"/>
                    </a:cubicBezTo>
                    <a:cubicBezTo>
                      <a:pt x="1616" y="999"/>
                      <a:pt x="1620" y="990"/>
                      <a:pt x="1621" y="983"/>
                    </a:cubicBezTo>
                    <a:cubicBezTo>
                      <a:pt x="1621" y="977"/>
                      <a:pt x="1618" y="970"/>
                      <a:pt x="1618" y="963"/>
                    </a:cubicBezTo>
                    <a:cubicBezTo>
                      <a:pt x="1618" y="954"/>
                      <a:pt x="1617" y="949"/>
                      <a:pt x="1616" y="941"/>
                    </a:cubicBezTo>
                    <a:cubicBezTo>
                      <a:pt x="1613" y="921"/>
                      <a:pt x="1618" y="909"/>
                      <a:pt x="1621" y="892"/>
                    </a:cubicBezTo>
                    <a:cubicBezTo>
                      <a:pt x="1622" y="885"/>
                      <a:pt x="1621" y="878"/>
                      <a:pt x="1622" y="871"/>
                    </a:cubicBezTo>
                    <a:cubicBezTo>
                      <a:pt x="1626" y="837"/>
                      <a:pt x="1627" y="804"/>
                      <a:pt x="1625" y="771"/>
                    </a:cubicBezTo>
                    <a:cubicBezTo>
                      <a:pt x="1628" y="770"/>
                      <a:pt x="1627" y="773"/>
                      <a:pt x="1629" y="773"/>
                    </a:cubicBezTo>
                    <a:cubicBezTo>
                      <a:pt x="1627" y="759"/>
                      <a:pt x="1632" y="746"/>
                      <a:pt x="1632" y="734"/>
                    </a:cubicBezTo>
                    <a:cubicBezTo>
                      <a:pt x="1635" y="742"/>
                      <a:pt x="1637" y="747"/>
                      <a:pt x="1643" y="746"/>
                    </a:cubicBezTo>
                    <a:cubicBezTo>
                      <a:pt x="1643" y="748"/>
                      <a:pt x="1642" y="751"/>
                      <a:pt x="1644" y="751"/>
                    </a:cubicBezTo>
                    <a:cubicBezTo>
                      <a:pt x="1644" y="749"/>
                      <a:pt x="1644" y="748"/>
                      <a:pt x="1646" y="747"/>
                    </a:cubicBezTo>
                    <a:cubicBezTo>
                      <a:pt x="1650" y="754"/>
                      <a:pt x="1650" y="766"/>
                      <a:pt x="1652" y="775"/>
                    </a:cubicBezTo>
                    <a:cubicBezTo>
                      <a:pt x="1654" y="765"/>
                      <a:pt x="1650" y="748"/>
                      <a:pt x="1651" y="739"/>
                    </a:cubicBezTo>
                    <a:cubicBezTo>
                      <a:pt x="1651" y="742"/>
                      <a:pt x="1653" y="744"/>
                      <a:pt x="1653" y="747"/>
                    </a:cubicBezTo>
                    <a:cubicBezTo>
                      <a:pt x="1656" y="758"/>
                      <a:pt x="1653" y="738"/>
                      <a:pt x="1653" y="739"/>
                    </a:cubicBezTo>
                    <a:close/>
                    <a:moveTo>
                      <a:pt x="871" y="858"/>
                    </a:moveTo>
                    <a:cubicBezTo>
                      <a:pt x="871" y="854"/>
                      <a:pt x="876" y="853"/>
                      <a:pt x="879" y="855"/>
                    </a:cubicBezTo>
                    <a:cubicBezTo>
                      <a:pt x="876" y="857"/>
                      <a:pt x="874" y="861"/>
                      <a:pt x="871" y="858"/>
                    </a:cubicBezTo>
                    <a:close/>
                    <a:moveTo>
                      <a:pt x="904" y="855"/>
                    </a:moveTo>
                    <a:cubicBezTo>
                      <a:pt x="895" y="853"/>
                      <a:pt x="888" y="858"/>
                      <a:pt x="882" y="854"/>
                    </a:cubicBezTo>
                    <a:cubicBezTo>
                      <a:pt x="885" y="844"/>
                      <a:pt x="900" y="841"/>
                      <a:pt x="907" y="847"/>
                    </a:cubicBezTo>
                    <a:cubicBezTo>
                      <a:pt x="907" y="851"/>
                      <a:pt x="904" y="851"/>
                      <a:pt x="904" y="855"/>
                    </a:cubicBezTo>
                    <a:close/>
                    <a:moveTo>
                      <a:pt x="1022" y="828"/>
                    </a:moveTo>
                    <a:cubicBezTo>
                      <a:pt x="1019" y="827"/>
                      <a:pt x="1019" y="824"/>
                      <a:pt x="1016" y="823"/>
                    </a:cubicBezTo>
                    <a:cubicBezTo>
                      <a:pt x="1012" y="822"/>
                      <a:pt x="1011" y="825"/>
                      <a:pt x="1008" y="825"/>
                    </a:cubicBezTo>
                    <a:cubicBezTo>
                      <a:pt x="1004" y="824"/>
                      <a:pt x="1004" y="819"/>
                      <a:pt x="1001" y="818"/>
                    </a:cubicBezTo>
                    <a:cubicBezTo>
                      <a:pt x="998" y="819"/>
                      <a:pt x="996" y="820"/>
                      <a:pt x="993" y="821"/>
                    </a:cubicBezTo>
                    <a:cubicBezTo>
                      <a:pt x="989" y="820"/>
                      <a:pt x="986" y="818"/>
                      <a:pt x="984" y="814"/>
                    </a:cubicBezTo>
                    <a:cubicBezTo>
                      <a:pt x="979" y="822"/>
                      <a:pt x="970" y="817"/>
                      <a:pt x="963" y="818"/>
                    </a:cubicBezTo>
                    <a:cubicBezTo>
                      <a:pt x="950" y="820"/>
                      <a:pt x="943" y="831"/>
                      <a:pt x="935" y="839"/>
                    </a:cubicBezTo>
                    <a:cubicBezTo>
                      <a:pt x="922" y="840"/>
                      <a:pt x="910" y="838"/>
                      <a:pt x="896" y="837"/>
                    </a:cubicBezTo>
                    <a:cubicBezTo>
                      <a:pt x="890" y="832"/>
                      <a:pt x="890" y="821"/>
                      <a:pt x="883" y="817"/>
                    </a:cubicBezTo>
                    <a:cubicBezTo>
                      <a:pt x="886" y="814"/>
                      <a:pt x="887" y="809"/>
                      <a:pt x="885" y="804"/>
                    </a:cubicBezTo>
                    <a:cubicBezTo>
                      <a:pt x="901" y="802"/>
                      <a:pt x="884" y="773"/>
                      <a:pt x="905" y="773"/>
                    </a:cubicBezTo>
                    <a:cubicBezTo>
                      <a:pt x="906" y="767"/>
                      <a:pt x="904" y="764"/>
                      <a:pt x="903" y="760"/>
                    </a:cubicBezTo>
                    <a:cubicBezTo>
                      <a:pt x="912" y="752"/>
                      <a:pt x="911" y="735"/>
                      <a:pt x="929" y="737"/>
                    </a:cubicBezTo>
                    <a:cubicBezTo>
                      <a:pt x="934" y="737"/>
                      <a:pt x="927" y="739"/>
                      <a:pt x="929" y="741"/>
                    </a:cubicBezTo>
                    <a:cubicBezTo>
                      <a:pt x="932" y="748"/>
                      <a:pt x="943" y="743"/>
                      <a:pt x="950" y="745"/>
                    </a:cubicBezTo>
                    <a:cubicBezTo>
                      <a:pt x="949" y="752"/>
                      <a:pt x="941" y="752"/>
                      <a:pt x="940" y="758"/>
                    </a:cubicBezTo>
                    <a:cubicBezTo>
                      <a:pt x="943" y="761"/>
                      <a:pt x="951" y="759"/>
                      <a:pt x="953" y="763"/>
                    </a:cubicBezTo>
                    <a:cubicBezTo>
                      <a:pt x="955" y="766"/>
                      <a:pt x="952" y="772"/>
                      <a:pt x="955" y="775"/>
                    </a:cubicBezTo>
                    <a:cubicBezTo>
                      <a:pt x="966" y="777"/>
                      <a:pt x="964" y="765"/>
                      <a:pt x="974" y="766"/>
                    </a:cubicBezTo>
                    <a:cubicBezTo>
                      <a:pt x="976" y="766"/>
                      <a:pt x="976" y="762"/>
                      <a:pt x="977" y="760"/>
                    </a:cubicBezTo>
                    <a:cubicBezTo>
                      <a:pt x="980" y="760"/>
                      <a:pt x="983" y="761"/>
                      <a:pt x="986" y="761"/>
                    </a:cubicBezTo>
                    <a:cubicBezTo>
                      <a:pt x="990" y="759"/>
                      <a:pt x="989" y="754"/>
                      <a:pt x="991" y="750"/>
                    </a:cubicBezTo>
                    <a:cubicBezTo>
                      <a:pt x="984" y="747"/>
                      <a:pt x="981" y="755"/>
                      <a:pt x="976" y="755"/>
                    </a:cubicBezTo>
                    <a:cubicBezTo>
                      <a:pt x="970" y="754"/>
                      <a:pt x="969" y="746"/>
                      <a:pt x="961" y="745"/>
                    </a:cubicBezTo>
                    <a:cubicBezTo>
                      <a:pt x="967" y="733"/>
                      <a:pt x="985" y="732"/>
                      <a:pt x="992" y="720"/>
                    </a:cubicBezTo>
                    <a:cubicBezTo>
                      <a:pt x="1000" y="720"/>
                      <a:pt x="1004" y="716"/>
                      <a:pt x="1009" y="714"/>
                    </a:cubicBezTo>
                    <a:cubicBezTo>
                      <a:pt x="1010" y="714"/>
                      <a:pt x="1011" y="714"/>
                      <a:pt x="1011" y="715"/>
                    </a:cubicBezTo>
                    <a:cubicBezTo>
                      <a:pt x="1011" y="723"/>
                      <a:pt x="1004" y="724"/>
                      <a:pt x="1000" y="727"/>
                    </a:cubicBezTo>
                    <a:cubicBezTo>
                      <a:pt x="1000" y="731"/>
                      <a:pt x="1004" y="732"/>
                      <a:pt x="1006" y="734"/>
                    </a:cubicBezTo>
                    <a:cubicBezTo>
                      <a:pt x="1002" y="739"/>
                      <a:pt x="1005" y="745"/>
                      <a:pt x="1001" y="751"/>
                    </a:cubicBezTo>
                    <a:cubicBezTo>
                      <a:pt x="997" y="752"/>
                      <a:pt x="997" y="749"/>
                      <a:pt x="994" y="749"/>
                    </a:cubicBezTo>
                    <a:cubicBezTo>
                      <a:pt x="990" y="757"/>
                      <a:pt x="1001" y="758"/>
                      <a:pt x="1003" y="763"/>
                    </a:cubicBezTo>
                    <a:cubicBezTo>
                      <a:pt x="1006" y="764"/>
                      <a:pt x="1006" y="762"/>
                      <a:pt x="1008" y="763"/>
                    </a:cubicBezTo>
                    <a:cubicBezTo>
                      <a:pt x="1013" y="764"/>
                      <a:pt x="1015" y="768"/>
                      <a:pt x="1023" y="766"/>
                    </a:cubicBezTo>
                    <a:cubicBezTo>
                      <a:pt x="1030" y="774"/>
                      <a:pt x="1040" y="779"/>
                      <a:pt x="1052" y="784"/>
                    </a:cubicBezTo>
                    <a:cubicBezTo>
                      <a:pt x="1066" y="789"/>
                      <a:pt x="1072" y="792"/>
                      <a:pt x="1076" y="807"/>
                    </a:cubicBezTo>
                    <a:cubicBezTo>
                      <a:pt x="1069" y="826"/>
                      <a:pt x="1040" y="825"/>
                      <a:pt x="1022" y="828"/>
                    </a:cubicBezTo>
                    <a:close/>
                    <a:moveTo>
                      <a:pt x="1081" y="327"/>
                    </a:moveTo>
                    <a:cubicBezTo>
                      <a:pt x="1084" y="322"/>
                      <a:pt x="1092" y="327"/>
                      <a:pt x="1093" y="331"/>
                    </a:cubicBezTo>
                    <a:cubicBezTo>
                      <a:pt x="1088" y="330"/>
                      <a:pt x="1084" y="328"/>
                      <a:pt x="1081" y="327"/>
                    </a:cubicBezTo>
                    <a:close/>
                    <a:moveTo>
                      <a:pt x="506" y="107"/>
                    </a:moveTo>
                    <a:cubicBezTo>
                      <a:pt x="504" y="101"/>
                      <a:pt x="498" y="105"/>
                      <a:pt x="496" y="101"/>
                    </a:cubicBezTo>
                    <a:cubicBezTo>
                      <a:pt x="491" y="107"/>
                      <a:pt x="481" y="107"/>
                      <a:pt x="480" y="115"/>
                    </a:cubicBezTo>
                    <a:cubicBezTo>
                      <a:pt x="484" y="116"/>
                      <a:pt x="488" y="118"/>
                      <a:pt x="485" y="122"/>
                    </a:cubicBezTo>
                    <a:cubicBezTo>
                      <a:pt x="488" y="126"/>
                      <a:pt x="496" y="126"/>
                      <a:pt x="498" y="121"/>
                    </a:cubicBezTo>
                    <a:cubicBezTo>
                      <a:pt x="497" y="121"/>
                      <a:pt x="496" y="121"/>
                      <a:pt x="496" y="120"/>
                    </a:cubicBezTo>
                    <a:cubicBezTo>
                      <a:pt x="499" y="119"/>
                      <a:pt x="504" y="120"/>
                      <a:pt x="506" y="117"/>
                    </a:cubicBezTo>
                    <a:cubicBezTo>
                      <a:pt x="502" y="112"/>
                      <a:pt x="499" y="119"/>
                      <a:pt x="495" y="116"/>
                    </a:cubicBezTo>
                    <a:cubicBezTo>
                      <a:pt x="496" y="110"/>
                      <a:pt x="506" y="114"/>
                      <a:pt x="506" y="107"/>
                    </a:cubicBezTo>
                    <a:close/>
                    <a:moveTo>
                      <a:pt x="607" y="185"/>
                    </a:moveTo>
                    <a:cubicBezTo>
                      <a:pt x="602" y="184"/>
                      <a:pt x="600" y="182"/>
                      <a:pt x="595" y="181"/>
                    </a:cubicBezTo>
                    <a:cubicBezTo>
                      <a:pt x="599" y="176"/>
                      <a:pt x="596" y="177"/>
                      <a:pt x="598" y="171"/>
                    </a:cubicBezTo>
                    <a:cubicBezTo>
                      <a:pt x="593" y="170"/>
                      <a:pt x="594" y="169"/>
                      <a:pt x="594" y="164"/>
                    </a:cubicBezTo>
                    <a:cubicBezTo>
                      <a:pt x="591" y="165"/>
                      <a:pt x="591" y="161"/>
                      <a:pt x="587" y="163"/>
                    </a:cubicBezTo>
                    <a:cubicBezTo>
                      <a:pt x="587" y="161"/>
                      <a:pt x="588" y="161"/>
                      <a:pt x="588" y="159"/>
                    </a:cubicBezTo>
                    <a:cubicBezTo>
                      <a:pt x="581" y="159"/>
                      <a:pt x="581" y="149"/>
                      <a:pt x="573" y="153"/>
                    </a:cubicBezTo>
                    <a:cubicBezTo>
                      <a:pt x="573" y="151"/>
                      <a:pt x="575" y="150"/>
                      <a:pt x="573" y="148"/>
                    </a:cubicBezTo>
                    <a:cubicBezTo>
                      <a:pt x="572" y="148"/>
                      <a:pt x="570" y="148"/>
                      <a:pt x="569" y="148"/>
                    </a:cubicBezTo>
                    <a:cubicBezTo>
                      <a:pt x="569" y="143"/>
                      <a:pt x="565" y="143"/>
                      <a:pt x="562" y="141"/>
                    </a:cubicBezTo>
                    <a:cubicBezTo>
                      <a:pt x="560" y="144"/>
                      <a:pt x="557" y="145"/>
                      <a:pt x="554" y="146"/>
                    </a:cubicBezTo>
                    <a:cubicBezTo>
                      <a:pt x="554" y="152"/>
                      <a:pt x="560" y="147"/>
                      <a:pt x="560" y="152"/>
                    </a:cubicBezTo>
                    <a:cubicBezTo>
                      <a:pt x="549" y="150"/>
                      <a:pt x="538" y="153"/>
                      <a:pt x="534" y="161"/>
                    </a:cubicBezTo>
                    <a:cubicBezTo>
                      <a:pt x="532" y="154"/>
                      <a:pt x="543" y="151"/>
                      <a:pt x="549" y="149"/>
                    </a:cubicBezTo>
                    <a:cubicBezTo>
                      <a:pt x="548" y="144"/>
                      <a:pt x="555" y="143"/>
                      <a:pt x="558" y="139"/>
                    </a:cubicBezTo>
                    <a:cubicBezTo>
                      <a:pt x="542" y="135"/>
                      <a:pt x="528" y="139"/>
                      <a:pt x="519" y="149"/>
                    </a:cubicBezTo>
                    <a:cubicBezTo>
                      <a:pt x="520" y="149"/>
                      <a:pt x="522" y="149"/>
                      <a:pt x="522" y="150"/>
                    </a:cubicBezTo>
                    <a:cubicBezTo>
                      <a:pt x="516" y="155"/>
                      <a:pt x="508" y="156"/>
                      <a:pt x="501" y="151"/>
                    </a:cubicBezTo>
                    <a:cubicBezTo>
                      <a:pt x="500" y="153"/>
                      <a:pt x="499" y="154"/>
                      <a:pt x="498" y="156"/>
                    </a:cubicBezTo>
                    <a:cubicBezTo>
                      <a:pt x="501" y="161"/>
                      <a:pt x="500" y="162"/>
                      <a:pt x="504" y="167"/>
                    </a:cubicBezTo>
                    <a:cubicBezTo>
                      <a:pt x="503" y="169"/>
                      <a:pt x="500" y="169"/>
                      <a:pt x="500" y="172"/>
                    </a:cubicBezTo>
                    <a:cubicBezTo>
                      <a:pt x="505" y="172"/>
                      <a:pt x="506" y="175"/>
                      <a:pt x="512" y="174"/>
                    </a:cubicBezTo>
                    <a:cubicBezTo>
                      <a:pt x="513" y="172"/>
                      <a:pt x="513" y="170"/>
                      <a:pt x="515" y="169"/>
                    </a:cubicBezTo>
                    <a:cubicBezTo>
                      <a:pt x="522" y="172"/>
                      <a:pt x="541" y="179"/>
                      <a:pt x="542" y="167"/>
                    </a:cubicBezTo>
                    <a:cubicBezTo>
                      <a:pt x="546" y="167"/>
                      <a:pt x="546" y="167"/>
                      <a:pt x="546" y="167"/>
                    </a:cubicBezTo>
                    <a:cubicBezTo>
                      <a:pt x="546" y="170"/>
                      <a:pt x="547" y="171"/>
                      <a:pt x="547" y="172"/>
                    </a:cubicBezTo>
                    <a:cubicBezTo>
                      <a:pt x="551" y="174"/>
                      <a:pt x="551" y="172"/>
                      <a:pt x="554" y="171"/>
                    </a:cubicBezTo>
                    <a:cubicBezTo>
                      <a:pt x="554" y="173"/>
                      <a:pt x="555" y="173"/>
                      <a:pt x="554" y="174"/>
                    </a:cubicBezTo>
                    <a:cubicBezTo>
                      <a:pt x="564" y="172"/>
                      <a:pt x="573" y="180"/>
                      <a:pt x="585" y="175"/>
                    </a:cubicBezTo>
                    <a:cubicBezTo>
                      <a:pt x="587" y="177"/>
                      <a:pt x="591" y="178"/>
                      <a:pt x="593" y="180"/>
                    </a:cubicBezTo>
                    <a:cubicBezTo>
                      <a:pt x="584" y="185"/>
                      <a:pt x="576" y="175"/>
                      <a:pt x="566" y="179"/>
                    </a:cubicBezTo>
                    <a:cubicBezTo>
                      <a:pt x="560" y="193"/>
                      <a:pt x="545" y="176"/>
                      <a:pt x="535" y="177"/>
                    </a:cubicBezTo>
                    <a:cubicBezTo>
                      <a:pt x="529" y="181"/>
                      <a:pt x="531" y="186"/>
                      <a:pt x="529" y="188"/>
                    </a:cubicBezTo>
                    <a:cubicBezTo>
                      <a:pt x="527" y="188"/>
                      <a:pt x="527" y="188"/>
                      <a:pt x="527" y="188"/>
                    </a:cubicBezTo>
                    <a:cubicBezTo>
                      <a:pt x="526" y="185"/>
                      <a:pt x="528" y="186"/>
                      <a:pt x="528" y="183"/>
                    </a:cubicBezTo>
                    <a:cubicBezTo>
                      <a:pt x="520" y="183"/>
                      <a:pt x="515" y="188"/>
                      <a:pt x="513" y="194"/>
                    </a:cubicBezTo>
                    <a:cubicBezTo>
                      <a:pt x="514" y="196"/>
                      <a:pt x="516" y="196"/>
                      <a:pt x="516" y="199"/>
                    </a:cubicBezTo>
                    <a:cubicBezTo>
                      <a:pt x="532" y="203"/>
                      <a:pt x="518" y="216"/>
                      <a:pt x="513" y="222"/>
                    </a:cubicBezTo>
                    <a:cubicBezTo>
                      <a:pt x="500" y="228"/>
                      <a:pt x="493" y="240"/>
                      <a:pt x="474" y="240"/>
                    </a:cubicBezTo>
                    <a:cubicBezTo>
                      <a:pt x="474" y="242"/>
                      <a:pt x="472" y="243"/>
                      <a:pt x="472" y="245"/>
                    </a:cubicBezTo>
                    <a:cubicBezTo>
                      <a:pt x="475" y="249"/>
                      <a:pt x="479" y="245"/>
                      <a:pt x="482" y="247"/>
                    </a:cubicBezTo>
                    <a:cubicBezTo>
                      <a:pt x="478" y="252"/>
                      <a:pt x="477" y="259"/>
                      <a:pt x="469" y="259"/>
                    </a:cubicBezTo>
                    <a:cubicBezTo>
                      <a:pt x="469" y="255"/>
                      <a:pt x="469" y="254"/>
                      <a:pt x="469" y="249"/>
                    </a:cubicBezTo>
                    <a:cubicBezTo>
                      <a:pt x="465" y="248"/>
                      <a:pt x="464" y="251"/>
                      <a:pt x="462" y="252"/>
                    </a:cubicBezTo>
                    <a:cubicBezTo>
                      <a:pt x="465" y="254"/>
                      <a:pt x="460" y="260"/>
                      <a:pt x="460" y="261"/>
                    </a:cubicBezTo>
                    <a:cubicBezTo>
                      <a:pt x="460" y="264"/>
                      <a:pt x="464" y="262"/>
                      <a:pt x="463" y="264"/>
                    </a:cubicBezTo>
                    <a:cubicBezTo>
                      <a:pt x="459" y="271"/>
                      <a:pt x="446" y="270"/>
                      <a:pt x="440" y="274"/>
                    </a:cubicBezTo>
                    <a:cubicBezTo>
                      <a:pt x="440" y="272"/>
                      <a:pt x="444" y="272"/>
                      <a:pt x="443" y="268"/>
                    </a:cubicBezTo>
                    <a:cubicBezTo>
                      <a:pt x="436" y="267"/>
                      <a:pt x="437" y="273"/>
                      <a:pt x="432" y="274"/>
                    </a:cubicBezTo>
                    <a:cubicBezTo>
                      <a:pt x="433" y="271"/>
                      <a:pt x="430" y="272"/>
                      <a:pt x="429" y="271"/>
                    </a:cubicBezTo>
                    <a:cubicBezTo>
                      <a:pt x="409" y="277"/>
                      <a:pt x="399" y="294"/>
                      <a:pt x="382" y="304"/>
                    </a:cubicBezTo>
                    <a:cubicBezTo>
                      <a:pt x="387" y="305"/>
                      <a:pt x="390" y="300"/>
                      <a:pt x="393" y="304"/>
                    </a:cubicBezTo>
                    <a:cubicBezTo>
                      <a:pt x="390" y="307"/>
                      <a:pt x="384" y="308"/>
                      <a:pt x="377" y="307"/>
                    </a:cubicBezTo>
                    <a:cubicBezTo>
                      <a:pt x="375" y="313"/>
                      <a:pt x="367" y="317"/>
                      <a:pt x="361" y="324"/>
                    </a:cubicBezTo>
                    <a:cubicBezTo>
                      <a:pt x="361" y="325"/>
                      <a:pt x="362" y="327"/>
                      <a:pt x="361" y="328"/>
                    </a:cubicBezTo>
                    <a:cubicBezTo>
                      <a:pt x="356" y="336"/>
                      <a:pt x="343" y="343"/>
                      <a:pt x="352" y="351"/>
                    </a:cubicBezTo>
                    <a:cubicBezTo>
                      <a:pt x="353" y="351"/>
                      <a:pt x="356" y="348"/>
                      <a:pt x="357" y="351"/>
                    </a:cubicBezTo>
                    <a:cubicBezTo>
                      <a:pt x="352" y="356"/>
                      <a:pt x="348" y="359"/>
                      <a:pt x="349" y="369"/>
                    </a:cubicBezTo>
                    <a:cubicBezTo>
                      <a:pt x="372" y="364"/>
                      <a:pt x="384" y="349"/>
                      <a:pt x="403" y="343"/>
                    </a:cubicBezTo>
                    <a:cubicBezTo>
                      <a:pt x="404" y="347"/>
                      <a:pt x="408" y="342"/>
                      <a:pt x="410" y="345"/>
                    </a:cubicBezTo>
                    <a:cubicBezTo>
                      <a:pt x="416" y="338"/>
                      <a:pt x="422" y="337"/>
                      <a:pt x="427" y="331"/>
                    </a:cubicBezTo>
                    <a:cubicBezTo>
                      <a:pt x="429" y="331"/>
                      <a:pt x="430" y="333"/>
                      <a:pt x="432" y="333"/>
                    </a:cubicBezTo>
                    <a:cubicBezTo>
                      <a:pt x="434" y="332"/>
                      <a:pt x="436" y="330"/>
                      <a:pt x="439" y="330"/>
                    </a:cubicBezTo>
                    <a:cubicBezTo>
                      <a:pt x="441" y="332"/>
                      <a:pt x="444" y="333"/>
                      <a:pt x="448" y="331"/>
                    </a:cubicBezTo>
                    <a:cubicBezTo>
                      <a:pt x="448" y="332"/>
                      <a:pt x="446" y="333"/>
                      <a:pt x="447" y="334"/>
                    </a:cubicBezTo>
                    <a:cubicBezTo>
                      <a:pt x="451" y="333"/>
                      <a:pt x="454" y="332"/>
                      <a:pt x="457" y="335"/>
                    </a:cubicBezTo>
                    <a:cubicBezTo>
                      <a:pt x="473" y="334"/>
                      <a:pt x="491" y="326"/>
                      <a:pt x="503" y="321"/>
                    </a:cubicBezTo>
                    <a:cubicBezTo>
                      <a:pt x="503" y="323"/>
                      <a:pt x="501" y="323"/>
                      <a:pt x="501" y="326"/>
                    </a:cubicBezTo>
                    <a:cubicBezTo>
                      <a:pt x="522" y="332"/>
                      <a:pt x="543" y="327"/>
                      <a:pt x="563" y="323"/>
                    </a:cubicBezTo>
                    <a:cubicBezTo>
                      <a:pt x="560" y="319"/>
                      <a:pt x="557" y="316"/>
                      <a:pt x="553" y="313"/>
                    </a:cubicBezTo>
                    <a:cubicBezTo>
                      <a:pt x="557" y="312"/>
                      <a:pt x="559" y="303"/>
                      <a:pt x="565" y="307"/>
                    </a:cubicBezTo>
                    <a:cubicBezTo>
                      <a:pt x="564" y="309"/>
                      <a:pt x="561" y="310"/>
                      <a:pt x="561" y="313"/>
                    </a:cubicBezTo>
                    <a:cubicBezTo>
                      <a:pt x="563" y="316"/>
                      <a:pt x="564" y="319"/>
                      <a:pt x="568" y="320"/>
                    </a:cubicBezTo>
                    <a:cubicBezTo>
                      <a:pt x="577" y="315"/>
                      <a:pt x="582" y="297"/>
                      <a:pt x="573" y="286"/>
                    </a:cubicBezTo>
                    <a:cubicBezTo>
                      <a:pt x="578" y="284"/>
                      <a:pt x="578" y="288"/>
                      <a:pt x="584" y="286"/>
                    </a:cubicBezTo>
                    <a:cubicBezTo>
                      <a:pt x="585" y="290"/>
                      <a:pt x="590" y="291"/>
                      <a:pt x="587" y="296"/>
                    </a:cubicBezTo>
                    <a:cubicBezTo>
                      <a:pt x="593" y="297"/>
                      <a:pt x="590" y="291"/>
                      <a:pt x="592" y="289"/>
                    </a:cubicBezTo>
                    <a:cubicBezTo>
                      <a:pt x="595" y="291"/>
                      <a:pt x="598" y="292"/>
                      <a:pt x="603" y="292"/>
                    </a:cubicBezTo>
                    <a:cubicBezTo>
                      <a:pt x="606" y="290"/>
                      <a:pt x="604" y="282"/>
                      <a:pt x="611" y="283"/>
                    </a:cubicBezTo>
                    <a:cubicBezTo>
                      <a:pt x="612" y="284"/>
                      <a:pt x="612" y="285"/>
                      <a:pt x="612" y="286"/>
                    </a:cubicBezTo>
                    <a:cubicBezTo>
                      <a:pt x="614" y="286"/>
                      <a:pt x="617" y="285"/>
                      <a:pt x="617" y="283"/>
                    </a:cubicBezTo>
                    <a:cubicBezTo>
                      <a:pt x="618" y="279"/>
                      <a:pt x="614" y="281"/>
                      <a:pt x="615" y="278"/>
                    </a:cubicBezTo>
                    <a:cubicBezTo>
                      <a:pt x="616" y="276"/>
                      <a:pt x="616" y="274"/>
                      <a:pt x="617" y="273"/>
                    </a:cubicBezTo>
                    <a:cubicBezTo>
                      <a:pt x="620" y="273"/>
                      <a:pt x="618" y="277"/>
                      <a:pt x="621" y="277"/>
                    </a:cubicBezTo>
                    <a:cubicBezTo>
                      <a:pt x="627" y="275"/>
                      <a:pt x="629" y="265"/>
                      <a:pt x="624" y="260"/>
                    </a:cubicBezTo>
                    <a:cubicBezTo>
                      <a:pt x="626" y="260"/>
                      <a:pt x="626" y="259"/>
                      <a:pt x="627" y="259"/>
                    </a:cubicBezTo>
                    <a:cubicBezTo>
                      <a:pt x="631" y="261"/>
                      <a:pt x="642" y="265"/>
                      <a:pt x="643" y="258"/>
                    </a:cubicBezTo>
                    <a:cubicBezTo>
                      <a:pt x="644" y="255"/>
                      <a:pt x="641" y="256"/>
                      <a:pt x="641" y="255"/>
                    </a:cubicBezTo>
                    <a:cubicBezTo>
                      <a:pt x="642" y="246"/>
                      <a:pt x="656" y="238"/>
                      <a:pt x="664" y="239"/>
                    </a:cubicBezTo>
                    <a:cubicBezTo>
                      <a:pt x="669" y="235"/>
                      <a:pt x="677" y="233"/>
                      <a:pt x="684" y="230"/>
                    </a:cubicBezTo>
                    <a:cubicBezTo>
                      <a:pt x="687" y="232"/>
                      <a:pt x="691" y="230"/>
                      <a:pt x="691" y="227"/>
                    </a:cubicBezTo>
                    <a:cubicBezTo>
                      <a:pt x="684" y="220"/>
                      <a:pt x="674" y="224"/>
                      <a:pt x="665" y="222"/>
                    </a:cubicBezTo>
                    <a:cubicBezTo>
                      <a:pt x="668" y="219"/>
                      <a:pt x="672" y="217"/>
                      <a:pt x="675" y="213"/>
                    </a:cubicBezTo>
                    <a:cubicBezTo>
                      <a:pt x="665" y="207"/>
                      <a:pt x="656" y="195"/>
                      <a:pt x="640" y="197"/>
                    </a:cubicBezTo>
                    <a:cubicBezTo>
                      <a:pt x="638" y="193"/>
                      <a:pt x="635" y="190"/>
                      <a:pt x="628" y="191"/>
                    </a:cubicBezTo>
                    <a:cubicBezTo>
                      <a:pt x="627" y="196"/>
                      <a:pt x="623" y="197"/>
                      <a:pt x="618" y="198"/>
                    </a:cubicBezTo>
                    <a:cubicBezTo>
                      <a:pt x="618" y="195"/>
                      <a:pt x="619" y="192"/>
                      <a:pt x="617" y="190"/>
                    </a:cubicBezTo>
                    <a:cubicBezTo>
                      <a:pt x="614" y="188"/>
                      <a:pt x="613" y="192"/>
                      <a:pt x="609" y="192"/>
                    </a:cubicBezTo>
                    <a:cubicBezTo>
                      <a:pt x="608" y="188"/>
                      <a:pt x="605" y="189"/>
                      <a:pt x="607" y="185"/>
                    </a:cubicBezTo>
                    <a:close/>
                    <a:moveTo>
                      <a:pt x="522" y="156"/>
                    </a:moveTo>
                    <a:cubicBezTo>
                      <a:pt x="520" y="157"/>
                      <a:pt x="517" y="159"/>
                      <a:pt x="514" y="160"/>
                    </a:cubicBezTo>
                    <a:cubicBezTo>
                      <a:pt x="516" y="157"/>
                      <a:pt x="518" y="152"/>
                      <a:pt x="524" y="153"/>
                    </a:cubicBezTo>
                    <a:cubicBezTo>
                      <a:pt x="528" y="154"/>
                      <a:pt x="518" y="154"/>
                      <a:pt x="522" y="156"/>
                    </a:cubicBezTo>
                    <a:close/>
                    <a:moveTo>
                      <a:pt x="545" y="161"/>
                    </a:moveTo>
                    <a:cubicBezTo>
                      <a:pt x="546" y="158"/>
                      <a:pt x="552" y="151"/>
                      <a:pt x="555" y="157"/>
                    </a:cubicBezTo>
                    <a:cubicBezTo>
                      <a:pt x="549" y="155"/>
                      <a:pt x="549" y="160"/>
                      <a:pt x="545" y="161"/>
                    </a:cubicBezTo>
                    <a:close/>
                    <a:moveTo>
                      <a:pt x="558" y="162"/>
                    </a:moveTo>
                    <a:cubicBezTo>
                      <a:pt x="559" y="157"/>
                      <a:pt x="561" y="160"/>
                      <a:pt x="565" y="160"/>
                    </a:cubicBezTo>
                    <a:cubicBezTo>
                      <a:pt x="563" y="161"/>
                      <a:pt x="561" y="162"/>
                      <a:pt x="558" y="162"/>
                    </a:cubicBezTo>
                    <a:close/>
                    <a:moveTo>
                      <a:pt x="660" y="218"/>
                    </a:moveTo>
                    <a:cubicBezTo>
                      <a:pt x="659" y="215"/>
                      <a:pt x="664" y="215"/>
                      <a:pt x="665" y="216"/>
                    </a:cubicBezTo>
                    <a:cubicBezTo>
                      <a:pt x="665" y="216"/>
                      <a:pt x="662" y="218"/>
                      <a:pt x="660" y="218"/>
                    </a:cubicBezTo>
                    <a:close/>
                    <a:moveTo>
                      <a:pt x="0" y="1114"/>
                    </a:moveTo>
                    <a:cubicBezTo>
                      <a:pt x="13" y="1155"/>
                      <a:pt x="31" y="1195"/>
                      <a:pt x="50" y="1230"/>
                    </a:cubicBezTo>
                    <a:cubicBezTo>
                      <a:pt x="50" y="1230"/>
                      <a:pt x="15" y="1154"/>
                      <a:pt x="0" y="1114"/>
                    </a:cubicBezTo>
                    <a:close/>
                    <a:moveTo>
                      <a:pt x="185" y="418"/>
                    </a:moveTo>
                    <a:cubicBezTo>
                      <a:pt x="183" y="417"/>
                      <a:pt x="180" y="419"/>
                      <a:pt x="180" y="417"/>
                    </a:cubicBezTo>
                    <a:cubicBezTo>
                      <a:pt x="181" y="410"/>
                      <a:pt x="186" y="407"/>
                      <a:pt x="187" y="401"/>
                    </a:cubicBezTo>
                    <a:cubicBezTo>
                      <a:pt x="191" y="397"/>
                      <a:pt x="202" y="397"/>
                      <a:pt x="205" y="390"/>
                    </a:cubicBezTo>
                    <a:cubicBezTo>
                      <a:pt x="204" y="389"/>
                      <a:pt x="203" y="388"/>
                      <a:pt x="203" y="386"/>
                    </a:cubicBezTo>
                    <a:cubicBezTo>
                      <a:pt x="192" y="389"/>
                      <a:pt x="179" y="398"/>
                      <a:pt x="167" y="398"/>
                    </a:cubicBezTo>
                    <a:cubicBezTo>
                      <a:pt x="161" y="398"/>
                      <a:pt x="158" y="399"/>
                      <a:pt x="155" y="403"/>
                    </a:cubicBezTo>
                    <a:cubicBezTo>
                      <a:pt x="157" y="410"/>
                      <a:pt x="156" y="419"/>
                      <a:pt x="158" y="427"/>
                    </a:cubicBezTo>
                    <a:cubicBezTo>
                      <a:pt x="155" y="428"/>
                      <a:pt x="152" y="428"/>
                      <a:pt x="152" y="431"/>
                    </a:cubicBezTo>
                    <a:cubicBezTo>
                      <a:pt x="157" y="437"/>
                      <a:pt x="152" y="443"/>
                      <a:pt x="154" y="450"/>
                    </a:cubicBezTo>
                    <a:cubicBezTo>
                      <a:pt x="158" y="448"/>
                      <a:pt x="162" y="447"/>
                      <a:pt x="165" y="445"/>
                    </a:cubicBezTo>
                    <a:cubicBezTo>
                      <a:pt x="166" y="440"/>
                      <a:pt x="165" y="440"/>
                      <a:pt x="166" y="434"/>
                    </a:cubicBezTo>
                    <a:cubicBezTo>
                      <a:pt x="176" y="432"/>
                      <a:pt x="181" y="426"/>
                      <a:pt x="185" y="418"/>
                    </a:cubicBezTo>
                    <a:close/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 dirty="0">
                  <a:latin typeface="+mj-lt"/>
                </a:endParaRPr>
              </a:p>
            </p:txBody>
          </p:sp>
        </p:grpSp>
        <p:grpSp>
          <p:nvGrpSpPr>
            <p:cNvPr id="67" name="Group 86">
              <a:extLst>
                <a:ext uri="{FF2B5EF4-FFF2-40B4-BE49-F238E27FC236}">
                  <a16:creationId xmlns:a16="http://schemas.microsoft.com/office/drawing/2014/main" id="{3A48BAAE-0935-42DF-8202-32EAB2C7B6DC}"/>
                </a:ext>
              </a:extLst>
            </p:cNvPr>
            <p:cNvGrpSpPr>
              <a:grpSpLocks/>
            </p:cNvGrpSpPr>
            <p:nvPr/>
          </p:nvGrpSpPr>
          <p:grpSpPr>
            <a:xfrm>
              <a:off x="10476046" y="3301521"/>
              <a:ext cx="1166454" cy="1166134"/>
              <a:chOff x="7130066" y="4154229"/>
              <a:chExt cx="1660544" cy="1660088"/>
            </a:xfrm>
            <a:solidFill>
              <a:srgbClr val="E6EBEE"/>
            </a:solidFill>
          </p:grpSpPr>
          <p:sp>
            <p:nvSpPr>
              <p:cNvPr id="68" name="Freeform 13">
                <a:extLst>
                  <a:ext uri="{FF2B5EF4-FFF2-40B4-BE49-F238E27FC236}">
                    <a16:creationId xmlns:a16="http://schemas.microsoft.com/office/drawing/2014/main" id="{7C250157-308C-4179-B013-461DFDD4BD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30066" y="4154229"/>
                <a:ext cx="1660544" cy="1660088"/>
              </a:xfrm>
              <a:custGeom>
                <a:avLst/>
                <a:gdLst/>
                <a:ahLst/>
                <a:cxnLst>
                  <a:cxn ang="0">
                    <a:pos x="43" y="519"/>
                  </a:cxn>
                  <a:cxn ang="0">
                    <a:pos x="688" y="16"/>
                  </a:cxn>
                  <a:cxn ang="0">
                    <a:pos x="710" y="20"/>
                  </a:cxn>
                  <a:cxn ang="0">
                    <a:pos x="799" y="22"/>
                  </a:cxn>
                  <a:cxn ang="0">
                    <a:pos x="581" y="42"/>
                  </a:cxn>
                  <a:cxn ang="0">
                    <a:pos x="530" y="61"/>
                  </a:cxn>
                  <a:cxn ang="0">
                    <a:pos x="991" y="49"/>
                  </a:cxn>
                  <a:cxn ang="0">
                    <a:pos x="372" y="115"/>
                  </a:cxn>
                  <a:cxn ang="0">
                    <a:pos x="428" y="107"/>
                  </a:cxn>
                  <a:cxn ang="0">
                    <a:pos x="818" y="92"/>
                  </a:cxn>
                  <a:cxn ang="0">
                    <a:pos x="1055" y="192"/>
                  </a:cxn>
                  <a:cxn ang="0">
                    <a:pos x="825" y="120"/>
                  </a:cxn>
                  <a:cxn ang="0">
                    <a:pos x="386" y="131"/>
                  </a:cxn>
                  <a:cxn ang="0">
                    <a:pos x="360" y="122"/>
                  </a:cxn>
                  <a:cxn ang="0">
                    <a:pos x="307" y="157"/>
                  </a:cxn>
                  <a:cxn ang="0">
                    <a:pos x="1281" y="215"/>
                  </a:cxn>
                  <a:cxn ang="0">
                    <a:pos x="262" y="197"/>
                  </a:cxn>
                  <a:cxn ang="0">
                    <a:pos x="342" y="207"/>
                  </a:cxn>
                  <a:cxn ang="0">
                    <a:pos x="515" y="222"/>
                  </a:cxn>
                  <a:cxn ang="0">
                    <a:pos x="1092" y="232"/>
                  </a:cxn>
                  <a:cxn ang="0">
                    <a:pos x="1054" y="395"/>
                  </a:cxn>
                  <a:cxn ang="0">
                    <a:pos x="286" y="259"/>
                  </a:cxn>
                  <a:cxn ang="0">
                    <a:pos x="422" y="400"/>
                  </a:cxn>
                  <a:cxn ang="0">
                    <a:pos x="139" y="360"/>
                  </a:cxn>
                  <a:cxn ang="0">
                    <a:pos x="735" y="383"/>
                  </a:cxn>
                  <a:cxn ang="0">
                    <a:pos x="401" y="453"/>
                  </a:cxn>
                  <a:cxn ang="0">
                    <a:pos x="1275" y="515"/>
                  </a:cxn>
                  <a:cxn ang="0">
                    <a:pos x="965" y="472"/>
                  </a:cxn>
                  <a:cxn ang="0">
                    <a:pos x="1457" y="507"/>
                  </a:cxn>
                  <a:cxn ang="0">
                    <a:pos x="1123" y="716"/>
                  </a:cxn>
                  <a:cxn ang="0">
                    <a:pos x="1284" y="635"/>
                  </a:cxn>
                  <a:cxn ang="0">
                    <a:pos x="109" y="683"/>
                  </a:cxn>
                  <a:cxn ang="0">
                    <a:pos x="320" y="836"/>
                  </a:cxn>
                  <a:cxn ang="0">
                    <a:pos x="942" y="737"/>
                  </a:cxn>
                  <a:cxn ang="0">
                    <a:pos x="1520" y="791"/>
                  </a:cxn>
                  <a:cxn ang="0">
                    <a:pos x="1506" y="837"/>
                  </a:cxn>
                  <a:cxn ang="0">
                    <a:pos x="1392" y="910"/>
                  </a:cxn>
                  <a:cxn ang="0">
                    <a:pos x="1322" y="936"/>
                  </a:cxn>
                  <a:cxn ang="0">
                    <a:pos x="497" y="992"/>
                  </a:cxn>
                  <a:cxn ang="0">
                    <a:pos x="637" y="1004"/>
                  </a:cxn>
                  <a:cxn ang="0">
                    <a:pos x="75" y="1026"/>
                  </a:cxn>
                  <a:cxn ang="0">
                    <a:pos x="155" y="1216"/>
                  </a:cxn>
                  <a:cxn ang="0">
                    <a:pos x="1376" y="1175"/>
                  </a:cxn>
                  <a:cxn ang="0">
                    <a:pos x="187" y="1148"/>
                  </a:cxn>
                  <a:cxn ang="0">
                    <a:pos x="163" y="1223"/>
                  </a:cxn>
                  <a:cxn ang="0">
                    <a:pos x="363" y="1201"/>
                  </a:cxn>
                  <a:cxn ang="0">
                    <a:pos x="535" y="1295"/>
                  </a:cxn>
                  <a:cxn ang="0">
                    <a:pos x="170" y="1239"/>
                  </a:cxn>
                  <a:cxn ang="0">
                    <a:pos x="195" y="1266"/>
                  </a:cxn>
                  <a:cxn ang="0">
                    <a:pos x="224" y="1300"/>
                  </a:cxn>
                  <a:cxn ang="0">
                    <a:pos x="309" y="1356"/>
                  </a:cxn>
                  <a:cxn ang="0">
                    <a:pos x="1151" y="1402"/>
                  </a:cxn>
                  <a:cxn ang="0">
                    <a:pos x="618" y="1375"/>
                  </a:cxn>
                  <a:cxn ang="0">
                    <a:pos x="956" y="1397"/>
                  </a:cxn>
                  <a:cxn ang="0">
                    <a:pos x="1038" y="1391"/>
                  </a:cxn>
                  <a:cxn ang="0">
                    <a:pos x="697" y="1413"/>
                  </a:cxn>
                  <a:cxn ang="0">
                    <a:pos x="987" y="1439"/>
                  </a:cxn>
                  <a:cxn ang="0">
                    <a:pos x="513" y="1480"/>
                  </a:cxn>
                  <a:cxn ang="0">
                    <a:pos x="749" y="1462"/>
                  </a:cxn>
                  <a:cxn ang="0">
                    <a:pos x="975" y="1464"/>
                  </a:cxn>
                  <a:cxn ang="0">
                    <a:pos x="782" y="1475"/>
                  </a:cxn>
                  <a:cxn ang="0">
                    <a:pos x="738" y="1484"/>
                  </a:cxn>
                  <a:cxn ang="0">
                    <a:pos x="845" y="1510"/>
                  </a:cxn>
                </a:cxnLst>
                <a:rect l="0" t="0" r="r" b="b"/>
                <a:pathLst>
                  <a:path w="1525" h="1529">
                    <a:moveTo>
                      <a:pt x="760" y="11"/>
                    </a:moveTo>
                    <a:cubicBezTo>
                      <a:pt x="764" y="10"/>
                      <a:pt x="762" y="3"/>
                      <a:pt x="767" y="3"/>
                    </a:cubicBezTo>
                    <a:cubicBezTo>
                      <a:pt x="772" y="2"/>
                      <a:pt x="769" y="11"/>
                      <a:pt x="774" y="8"/>
                    </a:cubicBezTo>
                    <a:cubicBezTo>
                      <a:pt x="798" y="0"/>
                      <a:pt x="832" y="6"/>
                      <a:pt x="860" y="10"/>
                    </a:cubicBezTo>
                    <a:cubicBezTo>
                      <a:pt x="920" y="18"/>
                      <a:pt x="979" y="31"/>
                      <a:pt x="1027" y="50"/>
                    </a:cubicBezTo>
                    <a:cubicBezTo>
                      <a:pt x="1077" y="70"/>
                      <a:pt x="1124" y="92"/>
                      <a:pt x="1166" y="119"/>
                    </a:cubicBezTo>
                    <a:cubicBezTo>
                      <a:pt x="1181" y="129"/>
                      <a:pt x="1197" y="136"/>
                      <a:pt x="1209" y="145"/>
                    </a:cubicBezTo>
                    <a:cubicBezTo>
                      <a:pt x="1217" y="151"/>
                      <a:pt x="1224" y="160"/>
                      <a:pt x="1232" y="167"/>
                    </a:cubicBezTo>
                    <a:cubicBezTo>
                      <a:pt x="1281" y="205"/>
                      <a:pt x="1322" y="252"/>
                      <a:pt x="1362" y="301"/>
                    </a:cubicBezTo>
                    <a:cubicBezTo>
                      <a:pt x="1369" y="310"/>
                      <a:pt x="1378" y="316"/>
                      <a:pt x="1383" y="323"/>
                    </a:cubicBezTo>
                    <a:cubicBezTo>
                      <a:pt x="1388" y="331"/>
                      <a:pt x="1392" y="340"/>
                      <a:pt x="1398" y="348"/>
                    </a:cubicBezTo>
                    <a:cubicBezTo>
                      <a:pt x="1468" y="449"/>
                      <a:pt x="1525" y="587"/>
                      <a:pt x="1522" y="761"/>
                    </a:cubicBezTo>
                    <a:cubicBezTo>
                      <a:pt x="1522" y="773"/>
                      <a:pt x="1525" y="784"/>
                      <a:pt x="1524" y="795"/>
                    </a:cubicBezTo>
                    <a:cubicBezTo>
                      <a:pt x="1524" y="805"/>
                      <a:pt x="1520" y="815"/>
                      <a:pt x="1518" y="826"/>
                    </a:cubicBezTo>
                    <a:cubicBezTo>
                      <a:pt x="1515" y="857"/>
                      <a:pt x="1508" y="890"/>
                      <a:pt x="1502" y="919"/>
                    </a:cubicBezTo>
                    <a:cubicBezTo>
                      <a:pt x="1495" y="950"/>
                      <a:pt x="1489" y="979"/>
                      <a:pt x="1481" y="1007"/>
                    </a:cubicBezTo>
                    <a:cubicBezTo>
                      <a:pt x="1478" y="1017"/>
                      <a:pt x="1477" y="1028"/>
                      <a:pt x="1474" y="1037"/>
                    </a:cubicBezTo>
                    <a:cubicBezTo>
                      <a:pt x="1472" y="1045"/>
                      <a:pt x="1468" y="1051"/>
                      <a:pt x="1465" y="1058"/>
                    </a:cubicBezTo>
                    <a:cubicBezTo>
                      <a:pt x="1455" y="1079"/>
                      <a:pt x="1446" y="1102"/>
                      <a:pt x="1436" y="1122"/>
                    </a:cubicBezTo>
                    <a:cubicBezTo>
                      <a:pt x="1414" y="1164"/>
                      <a:pt x="1392" y="1199"/>
                      <a:pt x="1364" y="1233"/>
                    </a:cubicBezTo>
                    <a:cubicBezTo>
                      <a:pt x="1355" y="1245"/>
                      <a:pt x="1347" y="1257"/>
                      <a:pt x="1337" y="1268"/>
                    </a:cubicBezTo>
                    <a:cubicBezTo>
                      <a:pt x="1318" y="1289"/>
                      <a:pt x="1295" y="1305"/>
                      <a:pt x="1274" y="1326"/>
                    </a:cubicBezTo>
                    <a:cubicBezTo>
                      <a:pt x="1232" y="1368"/>
                      <a:pt x="1185" y="1404"/>
                      <a:pt x="1136" y="1434"/>
                    </a:cubicBezTo>
                    <a:cubicBezTo>
                      <a:pt x="1110" y="1450"/>
                      <a:pt x="1082" y="1460"/>
                      <a:pt x="1052" y="1471"/>
                    </a:cubicBezTo>
                    <a:cubicBezTo>
                      <a:pt x="1037" y="1477"/>
                      <a:pt x="1023" y="1484"/>
                      <a:pt x="1008" y="1488"/>
                    </a:cubicBezTo>
                    <a:cubicBezTo>
                      <a:pt x="992" y="1493"/>
                      <a:pt x="976" y="1494"/>
                      <a:pt x="958" y="1499"/>
                    </a:cubicBezTo>
                    <a:cubicBezTo>
                      <a:pt x="948" y="1502"/>
                      <a:pt x="940" y="1508"/>
                      <a:pt x="930" y="1511"/>
                    </a:cubicBezTo>
                    <a:cubicBezTo>
                      <a:pt x="904" y="1518"/>
                      <a:pt x="872" y="1514"/>
                      <a:pt x="846" y="1522"/>
                    </a:cubicBezTo>
                    <a:cubicBezTo>
                      <a:pt x="840" y="1524"/>
                      <a:pt x="835" y="1527"/>
                      <a:pt x="828" y="1528"/>
                    </a:cubicBezTo>
                    <a:cubicBezTo>
                      <a:pt x="823" y="1528"/>
                      <a:pt x="818" y="1526"/>
                      <a:pt x="813" y="1526"/>
                    </a:cubicBezTo>
                    <a:cubicBezTo>
                      <a:pt x="796" y="1525"/>
                      <a:pt x="777" y="1527"/>
                      <a:pt x="758" y="1528"/>
                    </a:cubicBezTo>
                    <a:cubicBezTo>
                      <a:pt x="735" y="1529"/>
                      <a:pt x="713" y="1524"/>
                      <a:pt x="691" y="1523"/>
                    </a:cubicBezTo>
                    <a:cubicBezTo>
                      <a:pt x="683" y="1523"/>
                      <a:pt x="676" y="1525"/>
                      <a:pt x="669" y="1524"/>
                    </a:cubicBezTo>
                    <a:cubicBezTo>
                      <a:pt x="656" y="1523"/>
                      <a:pt x="646" y="1514"/>
                      <a:pt x="635" y="1512"/>
                    </a:cubicBezTo>
                    <a:cubicBezTo>
                      <a:pt x="620" y="1510"/>
                      <a:pt x="607" y="1512"/>
                      <a:pt x="594" y="1511"/>
                    </a:cubicBezTo>
                    <a:cubicBezTo>
                      <a:pt x="571" y="1507"/>
                      <a:pt x="551" y="1496"/>
                      <a:pt x="531" y="1489"/>
                    </a:cubicBezTo>
                    <a:cubicBezTo>
                      <a:pt x="520" y="1486"/>
                      <a:pt x="508" y="1484"/>
                      <a:pt x="497" y="1481"/>
                    </a:cubicBezTo>
                    <a:cubicBezTo>
                      <a:pt x="454" y="1468"/>
                      <a:pt x="414" y="1451"/>
                      <a:pt x="380" y="1429"/>
                    </a:cubicBezTo>
                    <a:cubicBezTo>
                      <a:pt x="363" y="1418"/>
                      <a:pt x="347" y="1404"/>
                      <a:pt x="330" y="1393"/>
                    </a:cubicBezTo>
                    <a:cubicBezTo>
                      <a:pt x="287" y="1366"/>
                      <a:pt x="251" y="1334"/>
                      <a:pt x="216" y="1296"/>
                    </a:cubicBezTo>
                    <a:cubicBezTo>
                      <a:pt x="202" y="1282"/>
                      <a:pt x="187" y="1270"/>
                      <a:pt x="174" y="1252"/>
                    </a:cubicBezTo>
                    <a:cubicBezTo>
                      <a:pt x="169" y="1244"/>
                      <a:pt x="165" y="1234"/>
                      <a:pt x="159" y="1225"/>
                    </a:cubicBezTo>
                    <a:cubicBezTo>
                      <a:pt x="147" y="1209"/>
                      <a:pt x="133" y="1193"/>
                      <a:pt x="123" y="1177"/>
                    </a:cubicBezTo>
                    <a:cubicBezTo>
                      <a:pt x="60" y="1083"/>
                      <a:pt x="16" y="977"/>
                      <a:pt x="6" y="830"/>
                    </a:cubicBezTo>
                    <a:cubicBezTo>
                      <a:pt x="5" y="816"/>
                      <a:pt x="0" y="804"/>
                      <a:pt x="0" y="791"/>
                    </a:cubicBezTo>
                    <a:cubicBezTo>
                      <a:pt x="0" y="782"/>
                      <a:pt x="4" y="772"/>
                      <a:pt x="5" y="762"/>
                    </a:cubicBezTo>
                    <a:cubicBezTo>
                      <a:pt x="11" y="698"/>
                      <a:pt x="14" y="634"/>
                      <a:pt x="27" y="577"/>
                    </a:cubicBezTo>
                    <a:cubicBezTo>
                      <a:pt x="29" y="567"/>
                      <a:pt x="29" y="558"/>
                      <a:pt x="31" y="549"/>
                    </a:cubicBezTo>
                    <a:cubicBezTo>
                      <a:pt x="34" y="539"/>
                      <a:pt x="40" y="529"/>
                      <a:pt x="43" y="519"/>
                    </a:cubicBezTo>
                    <a:cubicBezTo>
                      <a:pt x="65" y="448"/>
                      <a:pt x="100" y="386"/>
                      <a:pt x="137" y="330"/>
                    </a:cubicBezTo>
                    <a:cubicBezTo>
                      <a:pt x="170" y="280"/>
                      <a:pt x="209" y="240"/>
                      <a:pt x="252" y="202"/>
                    </a:cubicBezTo>
                    <a:cubicBezTo>
                      <a:pt x="266" y="190"/>
                      <a:pt x="282" y="179"/>
                      <a:pt x="296" y="166"/>
                    </a:cubicBezTo>
                    <a:cubicBezTo>
                      <a:pt x="303" y="159"/>
                      <a:pt x="307" y="151"/>
                      <a:pt x="315" y="145"/>
                    </a:cubicBezTo>
                    <a:cubicBezTo>
                      <a:pt x="323" y="139"/>
                      <a:pt x="332" y="137"/>
                      <a:pt x="341" y="132"/>
                    </a:cubicBezTo>
                    <a:cubicBezTo>
                      <a:pt x="354" y="124"/>
                      <a:pt x="367" y="114"/>
                      <a:pt x="380" y="106"/>
                    </a:cubicBezTo>
                    <a:cubicBezTo>
                      <a:pt x="419" y="82"/>
                      <a:pt x="466" y="61"/>
                      <a:pt x="514" y="46"/>
                    </a:cubicBezTo>
                    <a:cubicBezTo>
                      <a:pt x="531" y="40"/>
                      <a:pt x="546" y="33"/>
                      <a:pt x="563" y="29"/>
                    </a:cubicBezTo>
                    <a:cubicBezTo>
                      <a:pt x="605" y="19"/>
                      <a:pt x="652" y="8"/>
                      <a:pt x="702" y="5"/>
                    </a:cubicBezTo>
                    <a:cubicBezTo>
                      <a:pt x="711" y="5"/>
                      <a:pt x="721" y="5"/>
                      <a:pt x="731" y="3"/>
                    </a:cubicBezTo>
                    <a:cubicBezTo>
                      <a:pt x="741" y="1"/>
                      <a:pt x="752" y="5"/>
                      <a:pt x="760" y="11"/>
                    </a:cubicBezTo>
                    <a:close/>
                    <a:moveTo>
                      <a:pt x="765" y="11"/>
                    </a:moveTo>
                    <a:cubicBezTo>
                      <a:pt x="767" y="11"/>
                      <a:pt x="769" y="11"/>
                      <a:pt x="770" y="9"/>
                    </a:cubicBezTo>
                    <a:cubicBezTo>
                      <a:pt x="768" y="9"/>
                      <a:pt x="769" y="6"/>
                      <a:pt x="767" y="5"/>
                    </a:cubicBezTo>
                    <a:cubicBezTo>
                      <a:pt x="766" y="7"/>
                      <a:pt x="764" y="8"/>
                      <a:pt x="765" y="11"/>
                    </a:cubicBezTo>
                    <a:close/>
                    <a:moveTo>
                      <a:pt x="737" y="6"/>
                    </a:moveTo>
                    <a:cubicBezTo>
                      <a:pt x="736" y="6"/>
                      <a:pt x="735" y="6"/>
                      <a:pt x="735" y="7"/>
                    </a:cubicBezTo>
                    <a:cubicBezTo>
                      <a:pt x="736" y="7"/>
                      <a:pt x="737" y="7"/>
                      <a:pt x="737" y="6"/>
                    </a:cubicBezTo>
                    <a:close/>
                    <a:moveTo>
                      <a:pt x="800" y="6"/>
                    </a:moveTo>
                    <a:cubicBezTo>
                      <a:pt x="790" y="5"/>
                      <a:pt x="794" y="9"/>
                      <a:pt x="800" y="6"/>
                    </a:cubicBezTo>
                    <a:close/>
                    <a:moveTo>
                      <a:pt x="744" y="7"/>
                    </a:moveTo>
                    <a:cubicBezTo>
                      <a:pt x="742" y="8"/>
                      <a:pt x="738" y="6"/>
                      <a:pt x="738" y="8"/>
                    </a:cubicBezTo>
                    <a:cubicBezTo>
                      <a:pt x="740" y="8"/>
                      <a:pt x="744" y="9"/>
                      <a:pt x="744" y="7"/>
                    </a:cubicBezTo>
                    <a:close/>
                    <a:moveTo>
                      <a:pt x="792" y="7"/>
                    </a:moveTo>
                    <a:cubicBezTo>
                      <a:pt x="790" y="8"/>
                      <a:pt x="785" y="6"/>
                      <a:pt x="785" y="8"/>
                    </a:cubicBezTo>
                    <a:cubicBezTo>
                      <a:pt x="787" y="8"/>
                      <a:pt x="791" y="9"/>
                      <a:pt x="792" y="7"/>
                    </a:cubicBezTo>
                    <a:close/>
                    <a:moveTo>
                      <a:pt x="727" y="8"/>
                    </a:moveTo>
                    <a:cubicBezTo>
                      <a:pt x="726" y="8"/>
                      <a:pt x="725" y="8"/>
                      <a:pt x="725" y="9"/>
                    </a:cubicBezTo>
                    <a:cubicBezTo>
                      <a:pt x="726" y="9"/>
                      <a:pt x="727" y="9"/>
                      <a:pt x="727" y="8"/>
                    </a:cubicBezTo>
                    <a:close/>
                    <a:moveTo>
                      <a:pt x="747" y="8"/>
                    </a:moveTo>
                    <a:cubicBezTo>
                      <a:pt x="746" y="8"/>
                      <a:pt x="745" y="8"/>
                      <a:pt x="745" y="9"/>
                    </a:cubicBezTo>
                    <a:cubicBezTo>
                      <a:pt x="745" y="9"/>
                      <a:pt x="747" y="9"/>
                      <a:pt x="747" y="8"/>
                    </a:cubicBezTo>
                    <a:close/>
                    <a:moveTo>
                      <a:pt x="784" y="8"/>
                    </a:moveTo>
                    <a:cubicBezTo>
                      <a:pt x="783" y="8"/>
                      <a:pt x="781" y="8"/>
                      <a:pt x="781" y="9"/>
                    </a:cubicBezTo>
                    <a:cubicBezTo>
                      <a:pt x="782" y="9"/>
                      <a:pt x="784" y="9"/>
                      <a:pt x="784" y="8"/>
                    </a:cubicBezTo>
                    <a:close/>
                    <a:moveTo>
                      <a:pt x="748" y="10"/>
                    </a:moveTo>
                    <a:cubicBezTo>
                      <a:pt x="747" y="10"/>
                      <a:pt x="748" y="11"/>
                      <a:pt x="748" y="10"/>
                    </a:cubicBezTo>
                    <a:close/>
                    <a:moveTo>
                      <a:pt x="778" y="10"/>
                    </a:moveTo>
                    <a:cubicBezTo>
                      <a:pt x="778" y="10"/>
                      <a:pt x="779" y="11"/>
                      <a:pt x="778" y="10"/>
                    </a:cubicBezTo>
                    <a:close/>
                    <a:moveTo>
                      <a:pt x="688" y="10"/>
                    </a:moveTo>
                    <a:cubicBezTo>
                      <a:pt x="686" y="11"/>
                      <a:pt x="682" y="9"/>
                      <a:pt x="682" y="11"/>
                    </a:cubicBezTo>
                    <a:cubicBezTo>
                      <a:pt x="684" y="10"/>
                      <a:pt x="688" y="12"/>
                      <a:pt x="688" y="10"/>
                    </a:cubicBezTo>
                    <a:close/>
                    <a:moveTo>
                      <a:pt x="841" y="11"/>
                    </a:moveTo>
                    <a:cubicBezTo>
                      <a:pt x="836" y="10"/>
                      <a:pt x="840" y="14"/>
                      <a:pt x="841" y="11"/>
                    </a:cubicBezTo>
                    <a:close/>
                    <a:moveTo>
                      <a:pt x="857" y="12"/>
                    </a:moveTo>
                    <a:cubicBezTo>
                      <a:pt x="856" y="12"/>
                      <a:pt x="854" y="12"/>
                      <a:pt x="854" y="13"/>
                    </a:cubicBezTo>
                    <a:cubicBezTo>
                      <a:pt x="855" y="13"/>
                      <a:pt x="857" y="13"/>
                      <a:pt x="857" y="12"/>
                    </a:cubicBezTo>
                    <a:close/>
                    <a:moveTo>
                      <a:pt x="688" y="16"/>
                    </a:moveTo>
                    <a:cubicBezTo>
                      <a:pt x="680" y="15"/>
                      <a:pt x="684" y="19"/>
                      <a:pt x="688" y="16"/>
                    </a:cubicBezTo>
                    <a:close/>
                    <a:moveTo>
                      <a:pt x="678" y="17"/>
                    </a:moveTo>
                    <a:cubicBezTo>
                      <a:pt x="676" y="17"/>
                      <a:pt x="671" y="16"/>
                      <a:pt x="671" y="18"/>
                    </a:cubicBezTo>
                    <a:cubicBezTo>
                      <a:pt x="673" y="17"/>
                      <a:pt x="677" y="19"/>
                      <a:pt x="678" y="17"/>
                    </a:cubicBezTo>
                    <a:close/>
                    <a:moveTo>
                      <a:pt x="842" y="17"/>
                    </a:moveTo>
                    <a:cubicBezTo>
                      <a:pt x="836" y="16"/>
                      <a:pt x="840" y="20"/>
                      <a:pt x="842" y="17"/>
                    </a:cubicBezTo>
                    <a:close/>
                    <a:moveTo>
                      <a:pt x="664" y="19"/>
                    </a:moveTo>
                    <a:cubicBezTo>
                      <a:pt x="674" y="17"/>
                      <a:pt x="664" y="18"/>
                      <a:pt x="658" y="19"/>
                    </a:cubicBezTo>
                    <a:cubicBezTo>
                      <a:pt x="655" y="19"/>
                      <a:pt x="652" y="18"/>
                      <a:pt x="651" y="21"/>
                    </a:cubicBezTo>
                    <a:cubicBezTo>
                      <a:pt x="656" y="20"/>
                      <a:pt x="660" y="19"/>
                      <a:pt x="664" y="19"/>
                    </a:cubicBezTo>
                    <a:close/>
                    <a:moveTo>
                      <a:pt x="700" y="19"/>
                    </a:moveTo>
                    <a:cubicBezTo>
                      <a:pt x="699" y="18"/>
                      <a:pt x="700" y="19"/>
                      <a:pt x="700" y="19"/>
                    </a:cubicBezTo>
                    <a:close/>
                    <a:moveTo>
                      <a:pt x="698" y="81"/>
                    </a:moveTo>
                    <a:cubicBezTo>
                      <a:pt x="716" y="81"/>
                      <a:pt x="734" y="81"/>
                      <a:pt x="751" y="81"/>
                    </a:cubicBezTo>
                    <a:cubicBezTo>
                      <a:pt x="753" y="60"/>
                      <a:pt x="757" y="36"/>
                      <a:pt x="759" y="18"/>
                    </a:cubicBezTo>
                    <a:cubicBezTo>
                      <a:pt x="733" y="34"/>
                      <a:pt x="714" y="56"/>
                      <a:pt x="698" y="81"/>
                    </a:cubicBezTo>
                    <a:close/>
                    <a:moveTo>
                      <a:pt x="852" y="19"/>
                    </a:moveTo>
                    <a:cubicBezTo>
                      <a:pt x="852" y="19"/>
                      <a:pt x="852" y="19"/>
                      <a:pt x="852" y="20"/>
                    </a:cubicBezTo>
                    <a:cubicBezTo>
                      <a:pt x="870" y="21"/>
                      <a:pt x="885" y="24"/>
                      <a:pt x="901" y="26"/>
                    </a:cubicBezTo>
                    <a:moveTo>
                      <a:pt x="901" y="26"/>
                    </a:moveTo>
                    <a:cubicBezTo>
                      <a:pt x="902" y="29"/>
                      <a:pt x="906" y="25"/>
                      <a:pt x="901" y="26"/>
                    </a:cubicBezTo>
                    <a:moveTo>
                      <a:pt x="901" y="26"/>
                    </a:moveTo>
                    <a:cubicBezTo>
                      <a:pt x="901" y="26"/>
                      <a:pt x="901" y="26"/>
                      <a:pt x="901" y="25"/>
                    </a:cubicBezTo>
                    <a:cubicBezTo>
                      <a:pt x="887" y="21"/>
                      <a:pt x="870" y="20"/>
                      <a:pt x="852" y="19"/>
                    </a:cubicBezTo>
                    <a:moveTo>
                      <a:pt x="852" y="19"/>
                    </a:moveTo>
                    <a:cubicBezTo>
                      <a:pt x="846" y="16"/>
                      <a:pt x="842" y="20"/>
                      <a:pt x="852" y="19"/>
                    </a:cubicBezTo>
                    <a:moveTo>
                      <a:pt x="693" y="19"/>
                    </a:moveTo>
                    <a:cubicBezTo>
                      <a:pt x="683" y="17"/>
                      <a:pt x="687" y="22"/>
                      <a:pt x="693" y="19"/>
                    </a:cubicBezTo>
                    <a:close/>
                    <a:moveTo>
                      <a:pt x="751" y="20"/>
                    </a:moveTo>
                    <a:cubicBezTo>
                      <a:pt x="751" y="19"/>
                      <a:pt x="752" y="20"/>
                      <a:pt x="751" y="20"/>
                    </a:cubicBezTo>
                    <a:close/>
                    <a:moveTo>
                      <a:pt x="754" y="81"/>
                    </a:moveTo>
                    <a:cubicBezTo>
                      <a:pt x="762" y="81"/>
                      <a:pt x="770" y="81"/>
                      <a:pt x="778" y="81"/>
                    </a:cubicBezTo>
                    <a:cubicBezTo>
                      <a:pt x="774" y="59"/>
                      <a:pt x="781" y="26"/>
                      <a:pt x="762" y="19"/>
                    </a:cubicBezTo>
                    <a:cubicBezTo>
                      <a:pt x="759" y="39"/>
                      <a:pt x="756" y="59"/>
                      <a:pt x="754" y="81"/>
                    </a:cubicBezTo>
                    <a:close/>
                    <a:moveTo>
                      <a:pt x="826" y="19"/>
                    </a:moveTo>
                    <a:cubicBezTo>
                      <a:pt x="820" y="18"/>
                      <a:pt x="824" y="22"/>
                      <a:pt x="826" y="19"/>
                    </a:cubicBezTo>
                    <a:close/>
                    <a:moveTo>
                      <a:pt x="641" y="21"/>
                    </a:moveTo>
                    <a:cubicBezTo>
                      <a:pt x="619" y="23"/>
                      <a:pt x="596" y="25"/>
                      <a:pt x="580" y="33"/>
                    </a:cubicBezTo>
                    <a:moveTo>
                      <a:pt x="580" y="33"/>
                    </a:moveTo>
                    <a:cubicBezTo>
                      <a:pt x="576" y="32"/>
                      <a:pt x="579" y="36"/>
                      <a:pt x="580" y="33"/>
                    </a:cubicBezTo>
                    <a:moveTo>
                      <a:pt x="580" y="33"/>
                    </a:moveTo>
                    <a:cubicBezTo>
                      <a:pt x="600" y="29"/>
                      <a:pt x="622" y="26"/>
                      <a:pt x="641" y="21"/>
                    </a:cubicBezTo>
                    <a:moveTo>
                      <a:pt x="641" y="21"/>
                    </a:moveTo>
                    <a:cubicBezTo>
                      <a:pt x="646" y="22"/>
                      <a:pt x="642" y="18"/>
                      <a:pt x="641" y="21"/>
                    </a:cubicBezTo>
                    <a:moveTo>
                      <a:pt x="632" y="29"/>
                    </a:moveTo>
                    <a:cubicBezTo>
                      <a:pt x="649" y="25"/>
                      <a:pt x="668" y="24"/>
                      <a:pt x="684" y="20"/>
                    </a:cubicBezTo>
                    <a:cubicBezTo>
                      <a:pt x="666" y="22"/>
                      <a:pt x="644" y="21"/>
                      <a:pt x="632" y="29"/>
                    </a:cubicBezTo>
                    <a:close/>
                    <a:moveTo>
                      <a:pt x="710" y="20"/>
                    </a:moveTo>
                    <a:cubicBezTo>
                      <a:pt x="709" y="20"/>
                      <a:pt x="707" y="19"/>
                      <a:pt x="707" y="21"/>
                    </a:cubicBezTo>
                    <a:cubicBezTo>
                      <a:pt x="708" y="20"/>
                      <a:pt x="710" y="21"/>
                      <a:pt x="710" y="20"/>
                    </a:cubicBezTo>
                    <a:close/>
                    <a:moveTo>
                      <a:pt x="726" y="21"/>
                    </a:moveTo>
                    <a:cubicBezTo>
                      <a:pt x="725" y="20"/>
                      <a:pt x="726" y="21"/>
                      <a:pt x="726" y="21"/>
                    </a:cubicBezTo>
                    <a:close/>
                    <a:moveTo>
                      <a:pt x="739" y="21"/>
                    </a:moveTo>
                    <a:cubicBezTo>
                      <a:pt x="739" y="20"/>
                      <a:pt x="740" y="21"/>
                      <a:pt x="739" y="21"/>
                    </a:cubicBezTo>
                    <a:close/>
                    <a:moveTo>
                      <a:pt x="749" y="21"/>
                    </a:moveTo>
                    <a:cubicBezTo>
                      <a:pt x="725" y="27"/>
                      <a:pt x="705" y="37"/>
                      <a:pt x="686" y="48"/>
                    </a:cubicBezTo>
                    <a:cubicBezTo>
                      <a:pt x="681" y="59"/>
                      <a:pt x="675" y="70"/>
                      <a:pt x="672" y="82"/>
                    </a:cubicBezTo>
                    <a:cubicBezTo>
                      <a:pt x="679" y="82"/>
                      <a:pt x="686" y="82"/>
                      <a:pt x="693" y="82"/>
                    </a:cubicBezTo>
                    <a:cubicBezTo>
                      <a:pt x="709" y="59"/>
                      <a:pt x="727" y="38"/>
                      <a:pt x="749" y="21"/>
                    </a:cubicBezTo>
                    <a:moveTo>
                      <a:pt x="749" y="21"/>
                    </a:moveTo>
                    <a:cubicBezTo>
                      <a:pt x="753" y="22"/>
                      <a:pt x="749" y="18"/>
                      <a:pt x="749" y="21"/>
                    </a:cubicBezTo>
                    <a:moveTo>
                      <a:pt x="793" y="21"/>
                    </a:moveTo>
                    <a:cubicBezTo>
                      <a:pt x="792" y="20"/>
                      <a:pt x="793" y="21"/>
                      <a:pt x="793" y="21"/>
                    </a:cubicBezTo>
                    <a:close/>
                    <a:moveTo>
                      <a:pt x="810" y="20"/>
                    </a:moveTo>
                    <a:cubicBezTo>
                      <a:pt x="809" y="20"/>
                      <a:pt x="808" y="20"/>
                      <a:pt x="808" y="21"/>
                    </a:cubicBezTo>
                    <a:cubicBezTo>
                      <a:pt x="809" y="20"/>
                      <a:pt x="810" y="21"/>
                      <a:pt x="810" y="20"/>
                    </a:cubicBezTo>
                    <a:close/>
                    <a:moveTo>
                      <a:pt x="837" y="21"/>
                    </a:moveTo>
                    <a:cubicBezTo>
                      <a:pt x="837" y="22"/>
                      <a:pt x="839" y="22"/>
                      <a:pt x="839" y="21"/>
                    </a:cubicBezTo>
                    <a:cubicBezTo>
                      <a:pt x="834" y="18"/>
                      <a:pt x="826" y="21"/>
                      <a:pt x="837" y="21"/>
                    </a:cubicBezTo>
                    <a:close/>
                    <a:moveTo>
                      <a:pt x="699" y="22"/>
                    </a:moveTo>
                    <a:cubicBezTo>
                      <a:pt x="667" y="27"/>
                      <a:pt x="629" y="26"/>
                      <a:pt x="610" y="45"/>
                    </a:cubicBezTo>
                    <a:moveTo>
                      <a:pt x="610" y="45"/>
                    </a:moveTo>
                    <a:cubicBezTo>
                      <a:pt x="606" y="44"/>
                      <a:pt x="610" y="47"/>
                      <a:pt x="610" y="45"/>
                    </a:cubicBezTo>
                    <a:moveTo>
                      <a:pt x="699" y="22"/>
                    </a:moveTo>
                    <a:cubicBezTo>
                      <a:pt x="668" y="28"/>
                      <a:pt x="639" y="36"/>
                      <a:pt x="610" y="45"/>
                    </a:cubicBezTo>
                    <a:moveTo>
                      <a:pt x="699" y="22"/>
                    </a:moveTo>
                    <a:cubicBezTo>
                      <a:pt x="703" y="22"/>
                      <a:pt x="699" y="19"/>
                      <a:pt x="699" y="22"/>
                    </a:cubicBezTo>
                    <a:moveTo>
                      <a:pt x="720" y="22"/>
                    </a:moveTo>
                    <a:cubicBezTo>
                      <a:pt x="713" y="23"/>
                      <a:pt x="705" y="22"/>
                      <a:pt x="702" y="26"/>
                    </a:cubicBezTo>
                    <a:cubicBezTo>
                      <a:pt x="708" y="25"/>
                      <a:pt x="714" y="24"/>
                      <a:pt x="720" y="22"/>
                    </a:cubicBezTo>
                    <a:moveTo>
                      <a:pt x="720" y="22"/>
                    </a:moveTo>
                    <a:cubicBezTo>
                      <a:pt x="725" y="23"/>
                      <a:pt x="721" y="19"/>
                      <a:pt x="720" y="22"/>
                    </a:cubicBezTo>
                    <a:moveTo>
                      <a:pt x="690" y="43"/>
                    </a:moveTo>
                    <a:cubicBezTo>
                      <a:pt x="689" y="43"/>
                      <a:pt x="690" y="44"/>
                      <a:pt x="690" y="43"/>
                    </a:cubicBezTo>
                    <a:moveTo>
                      <a:pt x="690" y="43"/>
                    </a:moveTo>
                    <a:cubicBezTo>
                      <a:pt x="705" y="35"/>
                      <a:pt x="721" y="28"/>
                      <a:pt x="737" y="21"/>
                    </a:cubicBezTo>
                    <a:cubicBezTo>
                      <a:pt x="720" y="26"/>
                      <a:pt x="695" y="25"/>
                      <a:pt x="690" y="43"/>
                    </a:cubicBezTo>
                    <a:moveTo>
                      <a:pt x="812" y="81"/>
                    </a:moveTo>
                    <a:cubicBezTo>
                      <a:pt x="830" y="82"/>
                      <a:pt x="849" y="82"/>
                      <a:pt x="867" y="83"/>
                    </a:cubicBezTo>
                    <a:cubicBezTo>
                      <a:pt x="844" y="58"/>
                      <a:pt x="811" y="35"/>
                      <a:pt x="774" y="21"/>
                    </a:cubicBezTo>
                    <a:cubicBezTo>
                      <a:pt x="788" y="40"/>
                      <a:pt x="803" y="58"/>
                      <a:pt x="812" y="81"/>
                    </a:cubicBezTo>
                    <a:close/>
                    <a:moveTo>
                      <a:pt x="852" y="66"/>
                    </a:moveTo>
                    <a:cubicBezTo>
                      <a:pt x="863" y="75"/>
                      <a:pt x="870" y="86"/>
                      <a:pt x="887" y="84"/>
                    </a:cubicBezTo>
                    <a:cubicBezTo>
                      <a:pt x="882" y="71"/>
                      <a:pt x="874" y="61"/>
                      <a:pt x="867" y="49"/>
                    </a:cubicBezTo>
                    <a:cubicBezTo>
                      <a:pt x="840" y="39"/>
                      <a:pt x="812" y="26"/>
                      <a:pt x="783" y="22"/>
                    </a:cubicBezTo>
                    <a:cubicBezTo>
                      <a:pt x="810" y="32"/>
                      <a:pt x="831" y="48"/>
                      <a:pt x="852" y="66"/>
                    </a:cubicBezTo>
                    <a:close/>
                    <a:moveTo>
                      <a:pt x="799" y="22"/>
                    </a:moveTo>
                    <a:cubicBezTo>
                      <a:pt x="821" y="29"/>
                      <a:pt x="844" y="36"/>
                      <a:pt x="863" y="46"/>
                    </a:cubicBezTo>
                    <a:cubicBezTo>
                      <a:pt x="854" y="26"/>
                      <a:pt x="823" y="27"/>
                      <a:pt x="799" y="22"/>
                    </a:cubicBezTo>
                    <a:moveTo>
                      <a:pt x="799" y="22"/>
                    </a:moveTo>
                    <a:cubicBezTo>
                      <a:pt x="797" y="19"/>
                      <a:pt x="793" y="23"/>
                      <a:pt x="799" y="22"/>
                    </a:cubicBezTo>
                    <a:moveTo>
                      <a:pt x="817" y="21"/>
                    </a:moveTo>
                    <a:cubicBezTo>
                      <a:pt x="811" y="19"/>
                      <a:pt x="815" y="24"/>
                      <a:pt x="817" y="21"/>
                    </a:cubicBezTo>
                    <a:close/>
                    <a:moveTo>
                      <a:pt x="928" y="41"/>
                    </a:moveTo>
                    <a:cubicBezTo>
                      <a:pt x="928" y="44"/>
                      <a:pt x="932" y="40"/>
                      <a:pt x="928" y="41"/>
                    </a:cubicBezTo>
                    <a:moveTo>
                      <a:pt x="928" y="41"/>
                    </a:moveTo>
                    <a:cubicBezTo>
                      <a:pt x="909" y="25"/>
                      <a:pt x="871" y="25"/>
                      <a:pt x="844" y="22"/>
                    </a:cubicBezTo>
                    <a:cubicBezTo>
                      <a:pt x="872" y="28"/>
                      <a:pt x="901" y="33"/>
                      <a:pt x="928" y="41"/>
                    </a:cubicBezTo>
                    <a:moveTo>
                      <a:pt x="901" y="21"/>
                    </a:moveTo>
                    <a:cubicBezTo>
                      <a:pt x="900" y="21"/>
                      <a:pt x="899" y="21"/>
                      <a:pt x="899" y="22"/>
                    </a:cubicBezTo>
                    <a:cubicBezTo>
                      <a:pt x="900" y="21"/>
                      <a:pt x="901" y="22"/>
                      <a:pt x="901" y="21"/>
                    </a:cubicBezTo>
                    <a:close/>
                    <a:moveTo>
                      <a:pt x="847" y="28"/>
                    </a:moveTo>
                    <a:cubicBezTo>
                      <a:pt x="848" y="30"/>
                      <a:pt x="849" y="28"/>
                      <a:pt x="847" y="28"/>
                    </a:cubicBezTo>
                    <a:moveTo>
                      <a:pt x="847" y="28"/>
                    </a:moveTo>
                    <a:cubicBezTo>
                      <a:pt x="842" y="22"/>
                      <a:pt x="827" y="22"/>
                      <a:pt x="818" y="23"/>
                    </a:cubicBezTo>
                    <a:cubicBezTo>
                      <a:pt x="829" y="23"/>
                      <a:pt x="837" y="27"/>
                      <a:pt x="847" y="28"/>
                    </a:cubicBezTo>
                    <a:moveTo>
                      <a:pt x="909" y="22"/>
                    </a:moveTo>
                    <a:cubicBezTo>
                      <a:pt x="904" y="21"/>
                      <a:pt x="908" y="24"/>
                      <a:pt x="909" y="22"/>
                    </a:cubicBezTo>
                    <a:close/>
                    <a:moveTo>
                      <a:pt x="916" y="23"/>
                    </a:moveTo>
                    <a:cubicBezTo>
                      <a:pt x="914" y="23"/>
                      <a:pt x="913" y="22"/>
                      <a:pt x="913" y="23"/>
                    </a:cubicBezTo>
                    <a:cubicBezTo>
                      <a:pt x="914" y="23"/>
                      <a:pt x="915" y="24"/>
                      <a:pt x="916" y="23"/>
                    </a:cubicBezTo>
                    <a:close/>
                    <a:moveTo>
                      <a:pt x="922" y="24"/>
                    </a:moveTo>
                    <a:cubicBezTo>
                      <a:pt x="922" y="25"/>
                      <a:pt x="922" y="25"/>
                      <a:pt x="922" y="25"/>
                    </a:cubicBezTo>
                    <a:cubicBezTo>
                      <a:pt x="927" y="25"/>
                      <a:pt x="928" y="27"/>
                      <a:pt x="932" y="26"/>
                    </a:cubicBezTo>
                    <a:moveTo>
                      <a:pt x="932" y="26"/>
                    </a:moveTo>
                    <a:cubicBezTo>
                      <a:pt x="934" y="29"/>
                      <a:pt x="938" y="25"/>
                      <a:pt x="932" y="26"/>
                    </a:cubicBezTo>
                    <a:moveTo>
                      <a:pt x="932" y="26"/>
                    </a:moveTo>
                    <a:cubicBezTo>
                      <a:pt x="932" y="26"/>
                      <a:pt x="932" y="26"/>
                      <a:pt x="932" y="25"/>
                    </a:cubicBezTo>
                    <a:cubicBezTo>
                      <a:pt x="928" y="26"/>
                      <a:pt x="927" y="24"/>
                      <a:pt x="922" y="24"/>
                    </a:cubicBezTo>
                    <a:moveTo>
                      <a:pt x="922" y="24"/>
                    </a:moveTo>
                    <a:cubicBezTo>
                      <a:pt x="919" y="22"/>
                      <a:pt x="915" y="26"/>
                      <a:pt x="922" y="24"/>
                    </a:cubicBezTo>
                    <a:moveTo>
                      <a:pt x="907" y="25"/>
                    </a:moveTo>
                    <a:cubicBezTo>
                      <a:pt x="907" y="26"/>
                      <a:pt x="907" y="26"/>
                      <a:pt x="907" y="26"/>
                    </a:cubicBezTo>
                    <a:cubicBezTo>
                      <a:pt x="934" y="34"/>
                      <a:pt x="965" y="42"/>
                      <a:pt x="990" y="47"/>
                    </a:cubicBezTo>
                    <a:cubicBezTo>
                      <a:pt x="967" y="36"/>
                      <a:pt x="938" y="29"/>
                      <a:pt x="907" y="25"/>
                    </a:cubicBezTo>
                    <a:moveTo>
                      <a:pt x="907" y="25"/>
                    </a:moveTo>
                    <a:cubicBezTo>
                      <a:pt x="907" y="23"/>
                      <a:pt x="903" y="26"/>
                      <a:pt x="907" y="25"/>
                    </a:cubicBezTo>
                    <a:moveTo>
                      <a:pt x="602" y="50"/>
                    </a:moveTo>
                    <a:cubicBezTo>
                      <a:pt x="598" y="55"/>
                      <a:pt x="592" y="59"/>
                      <a:pt x="587" y="64"/>
                    </a:cubicBezTo>
                    <a:cubicBezTo>
                      <a:pt x="583" y="68"/>
                      <a:pt x="576" y="75"/>
                      <a:pt x="577" y="78"/>
                    </a:cubicBezTo>
                    <a:cubicBezTo>
                      <a:pt x="587" y="77"/>
                      <a:pt x="597" y="71"/>
                      <a:pt x="606" y="66"/>
                    </a:cubicBezTo>
                    <a:cubicBezTo>
                      <a:pt x="631" y="53"/>
                      <a:pt x="656" y="41"/>
                      <a:pt x="683" y="32"/>
                    </a:cubicBezTo>
                    <a:cubicBezTo>
                      <a:pt x="687" y="31"/>
                      <a:pt x="696" y="31"/>
                      <a:pt x="695" y="25"/>
                    </a:cubicBezTo>
                    <a:cubicBezTo>
                      <a:pt x="662" y="32"/>
                      <a:pt x="632" y="41"/>
                      <a:pt x="602" y="50"/>
                    </a:cubicBezTo>
                    <a:close/>
                    <a:moveTo>
                      <a:pt x="530" y="58"/>
                    </a:moveTo>
                    <a:cubicBezTo>
                      <a:pt x="526" y="57"/>
                      <a:pt x="529" y="61"/>
                      <a:pt x="530" y="58"/>
                    </a:cubicBezTo>
                    <a:moveTo>
                      <a:pt x="530" y="58"/>
                    </a:moveTo>
                    <a:cubicBezTo>
                      <a:pt x="546" y="53"/>
                      <a:pt x="563" y="47"/>
                      <a:pt x="581" y="42"/>
                    </a:cubicBezTo>
                    <a:cubicBezTo>
                      <a:pt x="598" y="37"/>
                      <a:pt x="617" y="35"/>
                      <a:pt x="631" y="26"/>
                    </a:cubicBezTo>
                    <a:cubicBezTo>
                      <a:pt x="593" y="33"/>
                      <a:pt x="554" y="38"/>
                      <a:pt x="530" y="58"/>
                    </a:cubicBezTo>
                    <a:moveTo>
                      <a:pt x="969" y="73"/>
                    </a:moveTo>
                    <a:cubicBezTo>
                      <a:pt x="947" y="41"/>
                      <a:pt x="895" y="34"/>
                      <a:pt x="850" y="27"/>
                    </a:cubicBezTo>
                    <a:cubicBezTo>
                      <a:pt x="890" y="42"/>
                      <a:pt x="933" y="54"/>
                      <a:pt x="969" y="73"/>
                    </a:cubicBezTo>
                    <a:close/>
                    <a:moveTo>
                      <a:pt x="939" y="27"/>
                    </a:moveTo>
                    <a:cubicBezTo>
                      <a:pt x="938" y="28"/>
                      <a:pt x="937" y="27"/>
                      <a:pt x="937" y="28"/>
                    </a:cubicBezTo>
                    <a:cubicBezTo>
                      <a:pt x="937" y="28"/>
                      <a:pt x="939" y="28"/>
                      <a:pt x="939" y="27"/>
                    </a:cubicBezTo>
                    <a:close/>
                    <a:moveTo>
                      <a:pt x="574" y="32"/>
                    </a:moveTo>
                    <a:cubicBezTo>
                      <a:pt x="574" y="33"/>
                      <a:pt x="573" y="32"/>
                      <a:pt x="574" y="32"/>
                    </a:cubicBezTo>
                    <a:close/>
                    <a:moveTo>
                      <a:pt x="781" y="81"/>
                    </a:moveTo>
                    <a:cubicBezTo>
                      <a:pt x="790" y="80"/>
                      <a:pt x="801" y="82"/>
                      <a:pt x="808" y="80"/>
                    </a:cubicBezTo>
                    <a:cubicBezTo>
                      <a:pt x="798" y="63"/>
                      <a:pt x="789" y="45"/>
                      <a:pt x="776" y="31"/>
                    </a:cubicBezTo>
                    <a:cubicBezTo>
                      <a:pt x="778" y="48"/>
                      <a:pt x="779" y="65"/>
                      <a:pt x="781" y="81"/>
                    </a:cubicBezTo>
                    <a:close/>
                    <a:moveTo>
                      <a:pt x="526" y="47"/>
                    </a:moveTo>
                    <a:cubicBezTo>
                      <a:pt x="524" y="48"/>
                      <a:pt x="526" y="49"/>
                      <a:pt x="526" y="47"/>
                    </a:cubicBezTo>
                    <a:moveTo>
                      <a:pt x="526" y="47"/>
                    </a:moveTo>
                    <a:cubicBezTo>
                      <a:pt x="543" y="43"/>
                      <a:pt x="560" y="40"/>
                      <a:pt x="573" y="32"/>
                    </a:cubicBezTo>
                    <a:cubicBezTo>
                      <a:pt x="557" y="37"/>
                      <a:pt x="537" y="38"/>
                      <a:pt x="526" y="47"/>
                    </a:cubicBezTo>
                    <a:moveTo>
                      <a:pt x="963" y="32"/>
                    </a:moveTo>
                    <a:cubicBezTo>
                      <a:pt x="962" y="32"/>
                      <a:pt x="961" y="32"/>
                      <a:pt x="961" y="33"/>
                    </a:cubicBezTo>
                    <a:cubicBezTo>
                      <a:pt x="961" y="33"/>
                      <a:pt x="963" y="33"/>
                      <a:pt x="963" y="32"/>
                    </a:cubicBezTo>
                    <a:close/>
                    <a:moveTo>
                      <a:pt x="585" y="80"/>
                    </a:moveTo>
                    <a:cubicBezTo>
                      <a:pt x="601" y="82"/>
                      <a:pt x="616" y="87"/>
                      <a:pt x="632" y="84"/>
                    </a:cubicBezTo>
                    <a:cubicBezTo>
                      <a:pt x="648" y="70"/>
                      <a:pt x="665" y="58"/>
                      <a:pt x="683" y="47"/>
                    </a:cubicBezTo>
                    <a:cubicBezTo>
                      <a:pt x="683" y="42"/>
                      <a:pt x="693" y="36"/>
                      <a:pt x="689" y="33"/>
                    </a:cubicBezTo>
                    <a:cubicBezTo>
                      <a:pt x="652" y="46"/>
                      <a:pt x="617" y="61"/>
                      <a:pt x="585" y="80"/>
                    </a:cubicBezTo>
                    <a:close/>
                    <a:moveTo>
                      <a:pt x="966" y="34"/>
                    </a:moveTo>
                    <a:cubicBezTo>
                      <a:pt x="968" y="37"/>
                      <a:pt x="972" y="33"/>
                      <a:pt x="966" y="34"/>
                    </a:cubicBezTo>
                    <a:moveTo>
                      <a:pt x="966" y="34"/>
                    </a:moveTo>
                    <a:cubicBezTo>
                      <a:pt x="965" y="31"/>
                      <a:pt x="961" y="35"/>
                      <a:pt x="966" y="34"/>
                    </a:cubicBezTo>
                    <a:moveTo>
                      <a:pt x="575" y="35"/>
                    </a:moveTo>
                    <a:cubicBezTo>
                      <a:pt x="574" y="35"/>
                      <a:pt x="575" y="36"/>
                      <a:pt x="575" y="35"/>
                    </a:cubicBezTo>
                    <a:close/>
                    <a:moveTo>
                      <a:pt x="859" y="35"/>
                    </a:moveTo>
                    <a:cubicBezTo>
                      <a:pt x="861" y="40"/>
                      <a:pt x="866" y="43"/>
                      <a:pt x="869" y="48"/>
                    </a:cubicBezTo>
                    <a:cubicBezTo>
                      <a:pt x="878" y="53"/>
                      <a:pt x="889" y="57"/>
                      <a:pt x="900" y="64"/>
                    </a:cubicBezTo>
                    <a:cubicBezTo>
                      <a:pt x="909" y="69"/>
                      <a:pt x="921" y="80"/>
                      <a:pt x="930" y="81"/>
                    </a:cubicBezTo>
                    <a:cubicBezTo>
                      <a:pt x="940" y="82"/>
                      <a:pt x="953" y="76"/>
                      <a:pt x="965" y="73"/>
                    </a:cubicBezTo>
                    <a:cubicBezTo>
                      <a:pt x="931" y="59"/>
                      <a:pt x="898" y="44"/>
                      <a:pt x="859" y="35"/>
                    </a:cubicBezTo>
                    <a:moveTo>
                      <a:pt x="859" y="35"/>
                    </a:moveTo>
                    <a:cubicBezTo>
                      <a:pt x="858" y="34"/>
                      <a:pt x="858" y="35"/>
                      <a:pt x="859" y="35"/>
                    </a:cubicBezTo>
                    <a:moveTo>
                      <a:pt x="993" y="63"/>
                    </a:moveTo>
                    <a:cubicBezTo>
                      <a:pt x="997" y="61"/>
                      <a:pt x="1000" y="59"/>
                      <a:pt x="1001" y="55"/>
                    </a:cubicBezTo>
                    <a:cubicBezTo>
                      <a:pt x="977" y="47"/>
                      <a:pt x="949" y="38"/>
                      <a:pt x="924" y="35"/>
                    </a:cubicBezTo>
                    <a:cubicBezTo>
                      <a:pt x="943" y="48"/>
                      <a:pt x="970" y="54"/>
                      <a:pt x="993" y="63"/>
                    </a:cubicBezTo>
                    <a:close/>
                    <a:moveTo>
                      <a:pt x="973" y="35"/>
                    </a:moveTo>
                    <a:cubicBezTo>
                      <a:pt x="972" y="35"/>
                      <a:pt x="970" y="35"/>
                      <a:pt x="970" y="36"/>
                    </a:cubicBezTo>
                    <a:cubicBezTo>
                      <a:pt x="971" y="36"/>
                      <a:pt x="973" y="36"/>
                      <a:pt x="973" y="35"/>
                    </a:cubicBezTo>
                    <a:close/>
                    <a:moveTo>
                      <a:pt x="530" y="61"/>
                    </a:moveTo>
                    <a:cubicBezTo>
                      <a:pt x="542" y="76"/>
                      <a:pt x="556" y="66"/>
                      <a:pt x="573" y="59"/>
                    </a:cubicBezTo>
                    <a:cubicBezTo>
                      <a:pt x="588" y="53"/>
                      <a:pt x="599" y="49"/>
                      <a:pt x="608" y="42"/>
                    </a:cubicBezTo>
                    <a:cubicBezTo>
                      <a:pt x="611" y="39"/>
                      <a:pt x="617" y="37"/>
                      <a:pt x="614" y="36"/>
                    </a:cubicBezTo>
                    <a:cubicBezTo>
                      <a:pt x="585" y="43"/>
                      <a:pt x="557" y="52"/>
                      <a:pt x="530" y="61"/>
                    </a:cubicBezTo>
                    <a:close/>
                    <a:moveTo>
                      <a:pt x="976" y="36"/>
                    </a:moveTo>
                    <a:cubicBezTo>
                      <a:pt x="975" y="36"/>
                      <a:pt x="974" y="36"/>
                      <a:pt x="974" y="37"/>
                    </a:cubicBezTo>
                    <a:cubicBezTo>
                      <a:pt x="975" y="37"/>
                      <a:pt x="976" y="37"/>
                      <a:pt x="976" y="36"/>
                    </a:cubicBezTo>
                    <a:close/>
                    <a:moveTo>
                      <a:pt x="978" y="38"/>
                    </a:moveTo>
                    <a:cubicBezTo>
                      <a:pt x="978" y="37"/>
                      <a:pt x="979" y="39"/>
                      <a:pt x="978" y="38"/>
                    </a:cubicBezTo>
                    <a:close/>
                    <a:moveTo>
                      <a:pt x="982" y="39"/>
                    </a:moveTo>
                    <a:cubicBezTo>
                      <a:pt x="981" y="38"/>
                      <a:pt x="982" y="39"/>
                      <a:pt x="982" y="39"/>
                    </a:cubicBezTo>
                    <a:close/>
                    <a:moveTo>
                      <a:pt x="931" y="43"/>
                    </a:moveTo>
                    <a:cubicBezTo>
                      <a:pt x="931" y="42"/>
                      <a:pt x="932" y="43"/>
                      <a:pt x="931" y="43"/>
                    </a:cubicBezTo>
                    <a:close/>
                    <a:moveTo>
                      <a:pt x="985" y="43"/>
                    </a:moveTo>
                    <a:cubicBezTo>
                      <a:pt x="984" y="42"/>
                      <a:pt x="985" y="43"/>
                      <a:pt x="985" y="43"/>
                    </a:cubicBezTo>
                    <a:close/>
                    <a:moveTo>
                      <a:pt x="1000" y="48"/>
                    </a:moveTo>
                    <a:cubicBezTo>
                      <a:pt x="997" y="46"/>
                      <a:pt x="991" y="42"/>
                      <a:pt x="987" y="44"/>
                    </a:cubicBezTo>
                    <a:cubicBezTo>
                      <a:pt x="992" y="44"/>
                      <a:pt x="996" y="50"/>
                      <a:pt x="1000" y="48"/>
                    </a:cubicBezTo>
                    <a:close/>
                    <a:moveTo>
                      <a:pt x="489" y="60"/>
                    </a:moveTo>
                    <a:cubicBezTo>
                      <a:pt x="488" y="60"/>
                      <a:pt x="487" y="60"/>
                      <a:pt x="486" y="61"/>
                    </a:cubicBezTo>
                    <a:moveTo>
                      <a:pt x="486" y="61"/>
                    </a:moveTo>
                    <a:cubicBezTo>
                      <a:pt x="485" y="61"/>
                      <a:pt x="485" y="61"/>
                      <a:pt x="485" y="62"/>
                    </a:cubicBezTo>
                    <a:moveTo>
                      <a:pt x="485" y="62"/>
                    </a:moveTo>
                    <a:cubicBezTo>
                      <a:pt x="481" y="61"/>
                      <a:pt x="484" y="65"/>
                      <a:pt x="485" y="62"/>
                    </a:cubicBezTo>
                    <a:moveTo>
                      <a:pt x="485" y="62"/>
                    </a:moveTo>
                    <a:cubicBezTo>
                      <a:pt x="486" y="62"/>
                      <a:pt x="486" y="62"/>
                      <a:pt x="486" y="61"/>
                    </a:cubicBezTo>
                    <a:moveTo>
                      <a:pt x="486" y="61"/>
                    </a:moveTo>
                    <a:cubicBezTo>
                      <a:pt x="488" y="61"/>
                      <a:pt x="489" y="61"/>
                      <a:pt x="489" y="60"/>
                    </a:cubicBezTo>
                    <a:moveTo>
                      <a:pt x="489" y="60"/>
                    </a:moveTo>
                    <a:cubicBezTo>
                      <a:pt x="500" y="55"/>
                      <a:pt x="516" y="55"/>
                      <a:pt x="523" y="46"/>
                    </a:cubicBezTo>
                    <a:cubicBezTo>
                      <a:pt x="511" y="50"/>
                      <a:pt x="500" y="54"/>
                      <a:pt x="489" y="60"/>
                    </a:cubicBezTo>
                    <a:moveTo>
                      <a:pt x="542" y="47"/>
                    </a:moveTo>
                    <a:cubicBezTo>
                      <a:pt x="535" y="47"/>
                      <a:pt x="530" y="50"/>
                      <a:pt x="523" y="51"/>
                    </a:cubicBezTo>
                    <a:cubicBezTo>
                      <a:pt x="523" y="54"/>
                      <a:pt x="523" y="56"/>
                      <a:pt x="524" y="57"/>
                    </a:cubicBezTo>
                    <a:cubicBezTo>
                      <a:pt x="531" y="55"/>
                      <a:pt x="537" y="50"/>
                      <a:pt x="542" y="47"/>
                    </a:cubicBezTo>
                    <a:moveTo>
                      <a:pt x="542" y="47"/>
                    </a:moveTo>
                    <a:cubicBezTo>
                      <a:pt x="546" y="47"/>
                      <a:pt x="542" y="44"/>
                      <a:pt x="542" y="47"/>
                    </a:cubicBezTo>
                    <a:moveTo>
                      <a:pt x="1113" y="98"/>
                    </a:moveTo>
                    <a:cubicBezTo>
                      <a:pt x="1113" y="99"/>
                      <a:pt x="1115" y="99"/>
                      <a:pt x="1115" y="99"/>
                    </a:cubicBezTo>
                    <a:moveTo>
                      <a:pt x="1115" y="99"/>
                    </a:moveTo>
                    <a:cubicBezTo>
                      <a:pt x="1116" y="101"/>
                      <a:pt x="1116" y="99"/>
                      <a:pt x="1115" y="99"/>
                    </a:cubicBezTo>
                    <a:moveTo>
                      <a:pt x="1115" y="99"/>
                    </a:moveTo>
                    <a:cubicBezTo>
                      <a:pt x="1115" y="98"/>
                      <a:pt x="1114" y="99"/>
                      <a:pt x="1113" y="98"/>
                    </a:cubicBezTo>
                    <a:moveTo>
                      <a:pt x="1113" y="98"/>
                    </a:moveTo>
                    <a:cubicBezTo>
                      <a:pt x="1081" y="77"/>
                      <a:pt x="1043" y="57"/>
                      <a:pt x="1002" y="48"/>
                    </a:cubicBezTo>
                    <a:cubicBezTo>
                      <a:pt x="1008" y="57"/>
                      <a:pt x="1020" y="58"/>
                      <a:pt x="1029" y="62"/>
                    </a:cubicBezTo>
                    <a:cubicBezTo>
                      <a:pt x="1057" y="72"/>
                      <a:pt x="1086" y="86"/>
                      <a:pt x="1113" y="98"/>
                    </a:cubicBezTo>
                    <a:moveTo>
                      <a:pt x="991" y="49"/>
                    </a:moveTo>
                    <a:cubicBezTo>
                      <a:pt x="991" y="49"/>
                      <a:pt x="992" y="50"/>
                      <a:pt x="991" y="49"/>
                    </a:cubicBezTo>
                    <a:close/>
                    <a:moveTo>
                      <a:pt x="948" y="50"/>
                    </a:moveTo>
                    <a:cubicBezTo>
                      <a:pt x="957" y="57"/>
                      <a:pt x="965" y="65"/>
                      <a:pt x="974" y="71"/>
                    </a:cubicBezTo>
                    <a:cubicBezTo>
                      <a:pt x="979" y="69"/>
                      <a:pt x="987" y="69"/>
                      <a:pt x="990" y="64"/>
                    </a:cubicBezTo>
                    <a:cubicBezTo>
                      <a:pt x="975" y="60"/>
                      <a:pt x="963" y="54"/>
                      <a:pt x="948" y="50"/>
                    </a:cubicBezTo>
                    <a:moveTo>
                      <a:pt x="948" y="50"/>
                    </a:moveTo>
                    <a:cubicBezTo>
                      <a:pt x="948" y="49"/>
                      <a:pt x="947" y="50"/>
                      <a:pt x="948" y="50"/>
                    </a:cubicBezTo>
                    <a:moveTo>
                      <a:pt x="399" y="114"/>
                    </a:moveTo>
                    <a:cubicBezTo>
                      <a:pt x="405" y="112"/>
                      <a:pt x="411" y="111"/>
                      <a:pt x="416" y="110"/>
                    </a:cubicBezTo>
                    <a:cubicBezTo>
                      <a:pt x="433" y="101"/>
                      <a:pt x="450" y="91"/>
                      <a:pt x="468" y="83"/>
                    </a:cubicBezTo>
                    <a:cubicBezTo>
                      <a:pt x="486" y="75"/>
                      <a:pt x="506" y="70"/>
                      <a:pt x="522" y="58"/>
                    </a:cubicBezTo>
                    <a:cubicBezTo>
                      <a:pt x="520" y="58"/>
                      <a:pt x="520" y="56"/>
                      <a:pt x="520" y="53"/>
                    </a:cubicBezTo>
                    <a:cubicBezTo>
                      <a:pt x="473" y="66"/>
                      <a:pt x="432" y="86"/>
                      <a:pt x="399" y="114"/>
                    </a:cubicBezTo>
                    <a:close/>
                    <a:moveTo>
                      <a:pt x="593" y="54"/>
                    </a:moveTo>
                    <a:cubicBezTo>
                      <a:pt x="578" y="59"/>
                      <a:pt x="564" y="65"/>
                      <a:pt x="550" y="71"/>
                    </a:cubicBezTo>
                    <a:cubicBezTo>
                      <a:pt x="556" y="74"/>
                      <a:pt x="564" y="75"/>
                      <a:pt x="570" y="77"/>
                    </a:cubicBezTo>
                    <a:cubicBezTo>
                      <a:pt x="579" y="71"/>
                      <a:pt x="585" y="62"/>
                      <a:pt x="593" y="54"/>
                    </a:cubicBezTo>
                    <a:moveTo>
                      <a:pt x="593" y="54"/>
                    </a:moveTo>
                    <a:cubicBezTo>
                      <a:pt x="594" y="54"/>
                      <a:pt x="593" y="53"/>
                      <a:pt x="593" y="54"/>
                    </a:cubicBezTo>
                    <a:moveTo>
                      <a:pt x="637" y="84"/>
                    </a:moveTo>
                    <a:cubicBezTo>
                      <a:pt x="647" y="83"/>
                      <a:pt x="659" y="84"/>
                      <a:pt x="668" y="82"/>
                    </a:cubicBezTo>
                    <a:cubicBezTo>
                      <a:pt x="669" y="72"/>
                      <a:pt x="679" y="60"/>
                      <a:pt x="678" y="53"/>
                    </a:cubicBezTo>
                    <a:cubicBezTo>
                      <a:pt x="664" y="64"/>
                      <a:pt x="649" y="72"/>
                      <a:pt x="637" y="84"/>
                    </a:cubicBezTo>
                    <a:close/>
                    <a:moveTo>
                      <a:pt x="890" y="84"/>
                    </a:moveTo>
                    <a:cubicBezTo>
                      <a:pt x="901" y="85"/>
                      <a:pt x="916" y="86"/>
                      <a:pt x="924" y="81"/>
                    </a:cubicBezTo>
                    <a:cubicBezTo>
                      <a:pt x="907" y="73"/>
                      <a:pt x="890" y="59"/>
                      <a:pt x="872" y="54"/>
                    </a:cubicBezTo>
                    <a:cubicBezTo>
                      <a:pt x="879" y="63"/>
                      <a:pt x="885" y="73"/>
                      <a:pt x="890" y="84"/>
                    </a:cubicBezTo>
                    <a:close/>
                    <a:moveTo>
                      <a:pt x="1063" y="94"/>
                    </a:moveTo>
                    <a:cubicBezTo>
                      <a:pt x="1063" y="94"/>
                      <a:pt x="1063" y="94"/>
                      <a:pt x="1063" y="95"/>
                    </a:cubicBezTo>
                    <a:cubicBezTo>
                      <a:pt x="1064" y="95"/>
                      <a:pt x="1065" y="96"/>
                      <a:pt x="1066" y="95"/>
                    </a:cubicBezTo>
                    <a:moveTo>
                      <a:pt x="1066" y="95"/>
                    </a:moveTo>
                    <a:cubicBezTo>
                      <a:pt x="1067" y="97"/>
                      <a:pt x="1067" y="95"/>
                      <a:pt x="1066" y="95"/>
                    </a:cubicBezTo>
                    <a:moveTo>
                      <a:pt x="1066" y="95"/>
                    </a:moveTo>
                    <a:cubicBezTo>
                      <a:pt x="1066" y="94"/>
                      <a:pt x="1065" y="94"/>
                      <a:pt x="1063" y="94"/>
                    </a:cubicBezTo>
                    <a:moveTo>
                      <a:pt x="1063" y="94"/>
                    </a:moveTo>
                    <a:cubicBezTo>
                      <a:pt x="1046" y="79"/>
                      <a:pt x="1027" y="67"/>
                      <a:pt x="1006" y="56"/>
                    </a:cubicBezTo>
                    <a:cubicBezTo>
                      <a:pt x="1001" y="58"/>
                      <a:pt x="1000" y="63"/>
                      <a:pt x="996" y="65"/>
                    </a:cubicBezTo>
                    <a:cubicBezTo>
                      <a:pt x="1020" y="73"/>
                      <a:pt x="1041" y="84"/>
                      <a:pt x="1063" y="94"/>
                    </a:cubicBezTo>
                    <a:moveTo>
                      <a:pt x="482" y="60"/>
                    </a:moveTo>
                    <a:cubicBezTo>
                      <a:pt x="482" y="61"/>
                      <a:pt x="481" y="60"/>
                      <a:pt x="482" y="60"/>
                    </a:cubicBezTo>
                    <a:close/>
                    <a:moveTo>
                      <a:pt x="526" y="60"/>
                    </a:moveTo>
                    <a:cubicBezTo>
                      <a:pt x="526" y="61"/>
                      <a:pt x="525" y="60"/>
                      <a:pt x="526" y="60"/>
                    </a:cubicBezTo>
                    <a:close/>
                    <a:moveTo>
                      <a:pt x="479" y="61"/>
                    </a:moveTo>
                    <a:cubicBezTo>
                      <a:pt x="478" y="61"/>
                      <a:pt x="477" y="61"/>
                      <a:pt x="477" y="62"/>
                    </a:cubicBezTo>
                    <a:moveTo>
                      <a:pt x="477" y="62"/>
                    </a:moveTo>
                    <a:cubicBezTo>
                      <a:pt x="441" y="76"/>
                      <a:pt x="407" y="92"/>
                      <a:pt x="377" y="112"/>
                    </a:cubicBezTo>
                    <a:moveTo>
                      <a:pt x="377" y="112"/>
                    </a:moveTo>
                    <a:cubicBezTo>
                      <a:pt x="375" y="112"/>
                      <a:pt x="375" y="113"/>
                      <a:pt x="374" y="114"/>
                    </a:cubicBezTo>
                    <a:moveTo>
                      <a:pt x="374" y="114"/>
                    </a:moveTo>
                    <a:cubicBezTo>
                      <a:pt x="373" y="114"/>
                      <a:pt x="372" y="114"/>
                      <a:pt x="372" y="115"/>
                    </a:cubicBezTo>
                    <a:moveTo>
                      <a:pt x="372" y="115"/>
                    </a:moveTo>
                    <a:cubicBezTo>
                      <a:pt x="371" y="115"/>
                      <a:pt x="371" y="115"/>
                      <a:pt x="370" y="116"/>
                    </a:cubicBezTo>
                    <a:moveTo>
                      <a:pt x="370" y="116"/>
                    </a:moveTo>
                    <a:cubicBezTo>
                      <a:pt x="370" y="115"/>
                      <a:pt x="369" y="116"/>
                      <a:pt x="369" y="117"/>
                    </a:cubicBezTo>
                    <a:moveTo>
                      <a:pt x="369" y="117"/>
                    </a:moveTo>
                    <a:cubicBezTo>
                      <a:pt x="368" y="116"/>
                      <a:pt x="368" y="117"/>
                      <a:pt x="367" y="118"/>
                    </a:cubicBezTo>
                    <a:moveTo>
                      <a:pt x="367" y="118"/>
                    </a:moveTo>
                    <a:cubicBezTo>
                      <a:pt x="366" y="118"/>
                      <a:pt x="368" y="119"/>
                      <a:pt x="367" y="118"/>
                    </a:cubicBezTo>
                    <a:moveTo>
                      <a:pt x="367" y="118"/>
                    </a:moveTo>
                    <a:cubicBezTo>
                      <a:pt x="369" y="118"/>
                      <a:pt x="369" y="117"/>
                      <a:pt x="369" y="117"/>
                    </a:cubicBezTo>
                    <a:moveTo>
                      <a:pt x="369" y="117"/>
                    </a:moveTo>
                    <a:cubicBezTo>
                      <a:pt x="370" y="117"/>
                      <a:pt x="370" y="116"/>
                      <a:pt x="370" y="116"/>
                    </a:cubicBezTo>
                    <a:moveTo>
                      <a:pt x="370" y="116"/>
                    </a:moveTo>
                    <a:cubicBezTo>
                      <a:pt x="371" y="116"/>
                      <a:pt x="372" y="115"/>
                      <a:pt x="372" y="115"/>
                    </a:cubicBezTo>
                    <a:moveTo>
                      <a:pt x="372" y="115"/>
                    </a:moveTo>
                    <a:cubicBezTo>
                      <a:pt x="373" y="115"/>
                      <a:pt x="374" y="114"/>
                      <a:pt x="374" y="114"/>
                    </a:cubicBezTo>
                    <a:moveTo>
                      <a:pt x="374" y="114"/>
                    </a:moveTo>
                    <a:cubicBezTo>
                      <a:pt x="376" y="114"/>
                      <a:pt x="377" y="113"/>
                      <a:pt x="377" y="112"/>
                    </a:cubicBezTo>
                    <a:moveTo>
                      <a:pt x="377" y="112"/>
                    </a:moveTo>
                    <a:cubicBezTo>
                      <a:pt x="409" y="94"/>
                      <a:pt x="445" y="80"/>
                      <a:pt x="477" y="62"/>
                    </a:cubicBezTo>
                    <a:moveTo>
                      <a:pt x="477" y="62"/>
                    </a:moveTo>
                    <a:cubicBezTo>
                      <a:pt x="478" y="62"/>
                      <a:pt x="479" y="62"/>
                      <a:pt x="479" y="61"/>
                    </a:cubicBezTo>
                    <a:moveTo>
                      <a:pt x="479" y="61"/>
                    </a:moveTo>
                    <a:cubicBezTo>
                      <a:pt x="483" y="62"/>
                      <a:pt x="479" y="58"/>
                      <a:pt x="479" y="61"/>
                    </a:cubicBezTo>
                    <a:moveTo>
                      <a:pt x="481" y="64"/>
                    </a:moveTo>
                    <a:cubicBezTo>
                      <a:pt x="480" y="63"/>
                      <a:pt x="481" y="64"/>
                      <a:pt x="481" y="64"/>
                    </a:cubicBezTo>
                    <a:close/>
                    <a:moveTo>
                      <a:pt x="524" y="63"/>
                    </a:moveTo>
                    <a:cubicBezTo>
                      <a:pt x="510" y="69"/>
                      <a:pt x="495" y="80"/>
                      <a:pt x="484" y="90"/>
                    </a:cubicBezTo>
                    <a:cubicBezTo>
                      <a:pt x="480" y="92"/>
                      <a:pt x="475" y="96"/>
                      <a:pt x="476" y="99"/>
                    </a:cubicBezTo>
                    <a:cubicBezTo>
                      <a:pt x="504" y="96"/>
                      <a:pt x="519" y="80"/>
                      <a:pt x="542" y="71"/>
                    </a:cubicBezTo>
                    <a:cubicBezTo>
                      <a:pt x="535" y="69"/>
                      <a:pt x="530" y="65"/>
                      <a:pt x="524" y="63"/>
                    </a:cubicBezTo>
                    <a:close/>
                    <a:moveTo>
                      <a:pt x="479" y="65"/>
                    </a:moveTo>
                    <a:cubicBezTo>
                      <a:pt x="478" y="64"/>
                      <a:pt x="479" y="65"/>
                      <a:pt x="479" y="65"/>
                    </a:cubicBezTo>
                    <a:close/>
                    <a:moveTo>
                      <a:pt x="1028" y="65"/>
                    </a:moveTo>
                    <a:cubicBezTo>
                      <a:pt x="1048" y="78"/>
                      <a:pt x="1066" y="92"/>
                      <a:pt x="1086" y="106"/>
                    </a:cubicBezTo>
                    <a:cubicBezTo>
                      <a:pt x="1106" y="107"/>
                      <a:pt x="1124" y="115"/>
                      <a:pt x="1141" y="117"/>
                    </a:cubicBezTo>
                    <a:cubicBezTo>
                      <a:pt x="1105" y="97"/>
                      <a:pt x="1069" y="79"/>
                      <a:pt x="1028" y="65"/>
                    </a:cubicBezTo>
                    <a:moveTo>
                      <a:pt x="1028" y="65"/>
                    </a:moveTo>
                    <a:cubicBezTo>
                      <a:pt x="1028" y="62"/>
                      <a:pt x="1024" y="66"/>
                      <a:pt x="1028" y="65"/>
                    </a:cubicBezTo>
                    <a:moveTo>
                      <a:pt x="993" y="66"/>
                    </a:moveTo>
                    <a:cubicBezTo>
                      <a:pt x="989" y="70"/>
                      <a:pt x="981" y="71"/>
                      <a:pt x="975" y="74"/>
                    </a:cubicBezTo>
                    <a:cubicBezTo>
                      <a:pt x="984" y="83"/>
                      <a:pt x="999" y="87"/>
                      <a:pt x="1009" y="95"/>
                    </a:cubicBezTo>
                    <a:cubicBezTo>
                      <a:pt x="1032" y="95"/>
                      <a:pt x="1054" y="102"/>
                      <a:pt x="1074" y="102"/>
                    </a:cubicBezTo>
                    <a:cubicBezTo>
                      <a:pt x="1048" y="89"/>
                      <a:pt x="1021" y="77"/>
                      <a:pt x="993" y="66"/>
                    </a:cubicBezTo>
                    <a:close/>
                    <a:moveTo>
                      <a:pt x="504" y="71"/>
                    </a:moveTo>
                    <a:cubicBezTo>
                      <a:pt x="503" y="71"/>
                      <a:pt x="504" y="72"/>
                      <a:pt x="504" y="71"/>
                    </a:cubicBezTo>
                    <a:close/>
                    <a:moveTo>
                      <a:pt x="502" y="72"/>
                    </a:moveTo>
                    <a:cubicBezTo>
                      <a:pt x="476" y="83"/>
                      <a:pt x="450" y="93"/>
                      <a:pt x="428" y="107"/>
                    </a:cubicBezTo>
                    <a:moveTo>
                      <a:pt x="428" y="107"/>
                    </a:moveTo>
                    <a:cubicBezTo>
                      <a:pt x="424" y="106"/>
                      <a:pt x="428" y="110"/>
                      <a:pt x="428" y="107"/>
                    </a:cubicBezTo>
                    <a:moveTo>
                      <a:pt x="428" y="107"/>
                    </a:moveTo>
                    <a:cubicBezTo>
                      <a:pt x="442" y="105"/>
                      <a:pt x="455" y="103"/>
                      <a:pt x="468" y="100"/>
                    </a:cubicBezTo>
                    <a:cubicBezTo>
                      <a:pt x="479" y="91"/>
                      <a:pt x="490" y="82"/>
                      <a:pt x="502" y="72"/>
                    </a:cubicBezTo>
                    <a:moveTo>
                      <a:pt x="502" y="72"/>
                    </a:moveTo>
                    <a:cubicBezTo>
                      <a:pt x="503" y="72"/>
                      <a:pt x="502" y="71"/>
                      <a:pt x="502" y="72"/>
                    </a:cubicBezTo>
                    <a:moveTo>
                      <a:pt x="544" y="73"/>
                    </a:moveTo>
                    <a:cubicBezTo>
                      <a:pt x="530" y="79"/>
                      <a:pt x="513" y="89"/>
                      <a:pt x="501" y="95"/>
                    </a:cubicBezTo>
                    <a:cubicBezTo>
                      <a:pt x="522" y="94"/>
                      <a:pt x="540" y="90"/>
                      <a:pt x="561" y="90"/>
                    </a:cubicBezTo>
                    <a:cubicBezTo>
                      <a:pt x="565" y="87"/>
                      <a:pt x="567" y="83"/>
                      <a:pt x="570" y="79"/>
                    </a:cubicBezTo>
                    <a:cubicBezTo>
                      <a:pt x="561" y="81"/>
                      <a:pt x="551" y="71"/>
                      <a:pt x="544" y="73"/>
                    </a:cubicBezTo>
                    <a:close/>
                    <a:moveTo>
                      <a:pt x="933" y="85"/>
                    </a:moveTo>
                    <a:cubicBezTo>
                      <a:pt x="948" y="90"/>
                      <a:pt x="970" y="89"/>
                      <a:pt x="988" y="92"/>
                    </a:cubicBezTo>
                    <a:cubicBezTo>
                      <a:pt x="981" y="71"/>
                      <a:pt x="952" y="78"/>
                      <a:pt x="933" y="85"/>
                    </a:cubicBezTo>
                    <a:close/>
                    <a:moveTo>
                      <a:pt x="569" y="86"/>
                    </a:moveTo>
                    <a:cubicBezTo>
                      <a:pt x="568" y="86"/>
                      <a:pt x="569" y="87"/>
                      <a:pt x="569" y="86"/>
                    </a:cubicBezTo>
                    <a:moveTo>
                      <a:pt x="569" y="86"/>
                    </a:moveTo>
                    <a:cubicBezTo>
                      <a:pt x="572" y="85"/>
                      <a:pt x="575" y="84"/>
                      <a:pt x="577" y="81"/>
                    </a:cubicBezTo>
                    <a:cubicBezTo>
                      <a:pt x="574" y="81"/>
                      <a:pt x="575" y="79"/>
                      <a:pt x="572" y="80"/>
                    </a:cubicBezTo>
                    <a:cubicBezTo>
                      <a:pt x="572" y="84"/>
                      <a:pt x="569" y="82"/>
                      <a:pt x="569" y="86"/>
                    </a:cubicBezTo>
                    <a:moveTo>
                      <a:pt x="573" y="88"/>
                    </a:moveTo>
                    <a:cubicBezTo>
                      <a:pt x="569" y="87"/>
                      <a:pt x="573" y="91"/>
                      <a:pt x="573" y="88"/>
                    </a:cubicBezTo>
                    <a:moveTo>
                      <a:pt x="573" y="88"/>
                    </a:moveTo>
                    <a:cubicBezTo>
                      <a:pt x="583" y="87"/>
                      <a:pt x="594" y="88"/>
                      <a:pt x="602" y="85"/>
                    </a:cubicBezTo>
                    <a:cubicBezTo>
                      <a:pt x="590" y="84"/>
                      <a:pt x="579" y="79"/>
                      <a:pt x="573" y="88"/>
                    </a:cubicBezTo>
                    <a:moveTo>
                      <a:pt x="1092" y="83"/>
                    </a:moveTo>
                    <a:cubicBezTo>
                      <a:pt x="1092" y="83"/>
                      <a:pt x="1093" y="84"/>
                      <a:pt x="1092" y="83"/>
                    </a:cubicBezTo>
                    <a:close/>
                    <a:moveTo>
                      <a:pt x="695" y="84"/>
                    </a:moveTo>
                    <a:cubicBezTo>
                      <a:pt x="694" y="87"/>
                      <a:pt x="692" y="89"/>
                      <a:pt x="690" y="92"/>
                    </a:cubicBezTo>
                    <a:cubicBezTo>
                      <a:pt x="710" y="92"/>
                      <a:pt x="729" y="93"/>
                      <a:pt x="750" y="93"/>
                    </a:cubicBezTo>
                    <a:cubicBezTo>
                      <a:pt x="750" y="88"/>
                      <a:pt x="752" y="87"/>
                      <a:pt x="751" y="83"/>
                    </a:cubicBezTo>
                    <a:cubicBezTo>
                      <a:pt x="732" y="82"/>
                      <a:pt x="715" y="85"/>
                      <a:pt x="695" y="84"/>
                    </a:cubicBezTo>
                    <a:close/>
                    <a:moveTo>
                      <a:pt x="753" y="94"/>
                    </a:moveTo>
                    <a:cubicBezTo>
                      <a:pt x="763" y="94"/>
                      <a:pt x="770" y="92"/>
                      <a:pt x="779" y="93"/>
                    </a:cubicBezTo>
                    <a:cubicBezTo>
                      <a:pt x="780" y="89"/>
                      <a:pt x="778" y="87"/>
                      <a:pt x="778" y="83"/>
                    </a:cubicBezTo>
                    <a:cubicBezTo>
                      <a:pt x="768" y="84"/>
                      <a:pt x="749" y="77"/>
                      <a:pt x="753" y="94"/>
                    </a:cubicBezTo>
                    <a:close/>
                    <a:moveTo>
                      <a:pt x="781" y="93"/>
                    </a:moveTo>
                    <a:cubicBezTo>
                      <a:pt x="792" y="92"/>
                      <a:pt x="805" y="94"/>
                      <a:pt x="814" y="92"/>
                    </a:cubicBezTo>
                    <a:cubicBezTo>
                      <a:pt x="812" y="90"/>
                      <a:pt x="811" y="87"/>
                      <a:pt x="810" y="84"/>
                    </a:cubicBezTo>
                    <a:cubicBezTo>
                      <a:pt x="800" y="84"/>
                      <a:pt x="792" y="82"/>
                      <a:pt x="781" y="83"/>
                    </a:cubicBezTo>
                    <a:cubicBezTo>
                      <a:pt x="781" y="86"/>
                      <a:pt x="781" y="89"/>
                      <a:pt x="781" y="93"/>
                    </a:cubicBezTo>
                    <a:close/>
                    <a:moveTo>
                      <a:pt x="1094" y="84"/>
                    </a:moveTo>
                    <a:cubicBezTo>
                      <a:pt x="1095" y="85"/>
                      <a:pt x="1094" y="84"/>
                      <a:pt x="1094" y="84"/>
                    </a:cubicBezTo>
                    <a:close/>
                    <a:moveTo>
                      <a:pt x="670" y="85"/>
                    </a:moveTo>
                    <a:cubicBezTo>
                      <a:pt x="671" y="88"/>
                      <a:pt x="668" y="87"/>
                      <a:pt x="669" y="90"/>
                    </a:cubicBezTo>
                    <a:cubicBezTo>
                      <a:pt x="675" y="90"/>
                      <a:pt x="681" y="91"/>
                      <a:pt x="688" y="91"/>
                    </a:cubicBezTo>
                    <a:cubicBezTo>
                      <a:pt x="688" y="88"/>
                      <a:pt x="691" y="86"/>
                      <a:pt x="692" y="84"/>
                    </a:cubicBezTo>
                    <a:cubicBezTo>
                      <a:pt x="685" y="84"/>
                      <a:pt x="678" y="85"/>
                      <a:pt x="670" y="85"/>
                    </a:cubicBezTo>
                    <a:close/>
                    <a:moveTo>
                      <a:pt x="818" y="92"/>
                    </a:moveTo>
                    <a:cubicBezTo>
                      <a:pt x="837" y="91"/>
                      <a:pt x="856" y="90"/>
                      <a:pt x="873" y="88"/>
                    </a:cubicBezTo>
                    <a:cubicBezTo>
                      <a:pt x="858" y="83"/>
                      <a:pt x="832" y="84"/>
                      <a:pt x="814" y="85"/>
                    </a:cubicBezTo>
                    <a:cubicBezTo>
                      <a:pt x="816" y="86"/>
                      <a:pt x="816" y="90"/>
                      <a:pt x="818" y="92"/>
                    </a:cubicBezTo>
                    <a:close/>
                    <a:moveTo>
                      <a:pt x="1096" y="85"/>
                    </a:moveTo>
                    <a:cubicBezTo>
                      <a:pt x="1096" y="85"/>
                      <a:pt x="1097" y="86"/>
                      <a:pt x="1096" y="85"/>
                    </a:cubicBezTo>
                    <a:close/>
                    <a:moveTo>
                      <a:pt x="639" y="88"/>
                    </a:moveTo>
                    <a:cubicBezTo>
                      <a:pt x="648" y="88"/>
                      <a:pt x="656" y="89"/>
                      <a:pt x="665" y="90"/>
                    </a:cubicBezTo>
                    <a:cubicBezTo>
                      <a:pt x="664" y="87"/>
                      <a:pt x="666" y="87"/>
                      <a:pt x="666" y="85"/>
                    </a:cubicBezTo>
                    <a:cubicBezTo>
                      <a:pt x="658" y="87"/>
                      <a:pt x="645" y="84"/>
                      <a:pt x="639" y="88"/>
                    </a:cubicBezTo>
                    <a:close/>
                    <a:moveTo>
                      <a:pt x="931" y="86"/>
                    </a:moveTo>
                    <a:cubicBezTo>
                      <a:pt x="930" y="85"/>
                      <a:pt x="923" y="84"/>
                      <a:pt x="922" y="86"/>
                    </a:cubicBezTo>
                    <a:cubicBezTo>
                      <a:pt x="926" y="85"/>
                      <a:pt x="929" y="89"/>
                      <a:pt x="931" y="86"/>
                    </a:cubicBezTo>
                    <a:close/>
                    <a:moveTo>
                      <a:pt x="988" y="86"/>
                    </a:moveTo>
                    <a:cubicBezTo>
                      <a:pt x="988" y="86"/>
                      <a:pt x="988" y="87"/>
                      <a:pt x="988" y="87"/>
                    </a:cubicBezTo>
                    <a:cubicBezTo>
                      <a:pt x="990" y="88"/>
                      <a:pt x="991" y="90"/>
                      <a:pt x="992" y="93"/>
                    </a:cubicBezTo>
                    <a:cubicBezTo>
                      <a:pt x="995" y="93"/>
                      <a:pt x="998" y="93"/>
                      <a:pt x="1000" y="93"/>
                    </a:cubicBezTo>
                    <a:moveTo>
                      <a:pt x="1000" y="93"/>
                    </a:moveTo>
                    <a:cubicBezTo>
                      <a:pt x="1001" y="94"/>
                      <a:pt x="1001" y="93"/>
                      <a:pt x="1000" y="93"/>
                    </a:cubicBezTo>
                    <a:moveTo>
                      <a:pt x="1000" y="93"/>
                    </a:moveTo>
                    <a:cubicBezTo>
                      <a:pt x="996" y="90"/>
                      <a:pt x="993" y="87"/>
                      <a:pt x="988" y="86"/>
                    </a:cubicBezTo>
                    <a:moveTo>
                      <a:pt x="988" y="86"/>
                    </a:moveTo>
                    <a:cubicBezTo>
                      <a:pt x="987" y="84"/>
                      <a:pt x="986" y="86"/>
                      <a:pt x="988" y="86"/>
                    </a:cubicBezTo>
                    <a:moveTo>
                      <a:pt x="1173" y="127"/>
                    </a:moveTo>
                    <a:cubicBezTo>
                      <a:pt x="1173" y="128"/>
                      <a:pt x="1174" y="128"/>
                      <a:pt x="1175" y="128"/>
                    </a:cubicBezTo>
                    <a:moveTo>
                      <a:pt x="1175" y="128"/>
                    </a:moveTo>
                    <a:cubicBezTo>
                      <a:pt x="1175" y="130"/>
                      <a:pt x="1176" y="128"/>
                      <a:pt x="1175" y="128"/>
                    </a:cubicBezTo>
                    <a:moveTo>
                      <a:pt x="1175" y="128"/>
                    </a:moveTo>
                    <a:cubicBezTo>
                      <a:pt x="1175" y="127"/>
                      <a:pt x="1174" y="127"/>
                      <a:pt x="1173" y="127"/>
                    </a:cubicBezTo>
                    <a:moveTo>
                      <a:pt x="1173" y="127"/>
                    </a:moveTo>
                    <a:cubicBezTo>
                      <a:pt x="1150" y="112"/>
                      <a:pt x="1124" y="95"/>
                      <a:pt x="1098" y="86"/>
                    </a:cubicBezTo>
                    <a:cubicBezTo>
                      <a:pt x="1125" y="98"/>
                      <a:pt x="1141" y="120"/>
                      <a:pt x="1173" y="127"/>
                    </a:cubicBezTo>
                    <a:moveTo>
                      <a:pt x="885" y="86"/>
                    </a:moveTo>
                    <a:cubicBezTo>
                      <a:pt x="882" y="86"/>
                      <a:pt x="877" y="85"/>
                      <a:pt x="875" y="87"/>
                    </a:cubicBezTo>
                    <a:cubicBezTo>
                      <a:pt x="877" y="88"/>
                      <a:pt x="885" y="90"/>
                      <a:pt x="885" y="86"/>
                    </a:cubicBezTo>
                    <a:close/>
                    <a:moveTo>
                      <a:pt x="430" y="89"/>
                    </a:moveTo>
                    <a:cubicBezTo>
                      <a:pt x="429" y="88"/>
                      <a:pt x="430" y="89"/>
                      <a:pt x="430" y="89"/>
                    </a:cubicBezTo>
                    <a:close/>
                    <a:moveTo>
                      <a:pt x="564" y="92"/>
                    </a:moveTo>
                    <a:cubicBezTo>
                      <a:pt x="535" y="128"/>
                      <a:pt x="514" y="173"/>
                      <a:pt x="497" y="221"/>
                    </a:cubicBezTo>
                    <a:cubicBezTo>
                      <a:pt x="502" y="220"/>
                      <a:pt x="508" y="220"/>
                      <a:pt x="513" y="219"/>
                    </a:cubicBezTo>
                    <a:cubicBezTo>
                      <a:pt x="545" y="174"/>
                      <a:pt x="578" y="131"/>
                      <a:pt x="619" y="95"/>
                    </a:cubicBezTo>
                    <a:cubicBezTo>
                      <a:pt x="620" y="94"/>
                      <a:pt x="628" y="90"/>
                      <a:pt x="624" y="89"/>
                    </a:cubicBezTo>
                    <a:cubicBezTo>
                      <a:pt x="604" y="86"/>
                      <a:pt x="584" y="91"/>
                      <a:pt x="564" y="92"/>
                    </a:cubicBezTo>
                    <a:close/>
                    <a:moveTo>
                      <a:pt x="1055" y="192"/>
                    </a:moveTo>
                    <a:cubicBezTo>
                      <a:pt x="1019" y="154"/>
                      <a:pt x="980" y="120"/>
                      <a:pt x="937" y="90"/>
                    </a:cubicBezTo>
                    <a:cubicBezTo>
                      <a:pt x="922" y="89"/>
                      <a:pt x="906" y="86"/>
                      <a:pt x="893" y="90"/>
                    </a:cubicBezTo>
                    <a:cubicBezTo>
                      <a:pt x="901" y="111"/>
                      <a:pt x="911" y="126"/>
                      <a:pt x="923" y="142"/>
                    </a:cubicBezTo>
                    <a:cubicBezTo>
                      <a:pt x="942" y="166"/>
                      <a:pt x="959" y="189"/>
                      <a:pt x="973" y="216"/>
                    </a:cubicBezTo>
                    <a:cubicBezTo>
                      <a:pt x="1006" y="219"/>
                      <a:pt x="1038" y="222"/>
                      <a:pt x="1069" y="226"/>
                    </a:cubicBezTo>
                    <a:cubicBezTo>
                      <a:pt x="1065" y="214"/>
                      <a:pt x="1059" y="204"/>
                      <a:pt x="1055" y="192"/>
                    </a:cubicBezTo>
                    <a:close/>
                    <a:moveTo>
                      <a:pt x="366" y="122"/>
                    </a:moveTo>
                    <a:cubicBezTo>
                      <a:pt x="394" y="118"/>
                      <a:pt x="410" y="101"/>
                      <a:pt x="429" y="89"/>
                    </a:cubicBezTo>
                    <a:cubicBezTo>
                      <a:pt x="407" y="99"/>
                      <a:pt x="386" y="110"/>
                      <a:pt x="366" y="122"/>
                    </a:cubicBezTo>
                    <a:close/>
                    <a:moveTo>
                      <a:pt x="631" y="90"/>
                    </a:moveTo>
                    <a:cubicBezTo>
                      <a:pt x="632" y="88"/>
                      <a:pt x="629" y="90"/>
                      <a:pt x="629" y="91"/>
                    </a:cubicBezTo>
                    <a:cubicBezTo>
                      <a:pt x="589" y="125"/>
                      <a:pt x="552" y="168"/>
                      <a:pt x="523" y="212"/>
                    </a:cubicBezTo>
                    <a:cubicBezTo>
                      <a:pt x="522" y="214"/>
                      <a:pt x="517" y="216"/>
                      <a:pt x="519" y="219"/>
                    </a:cubicBezTo>
                    <a:cubicBezTo>
                      <a:pt x="554" y="215"/>
                      <a:pt x="591" y="214"/>
                      <a:pt x="629" y="212"/>
                    </a:cubicBezTo>
                    <a:cubicBezTo>
                      <a:pt x="645" y="177"/>
                      <a:pt x="650" y="130"/>
                      <a:pt x="663" y="93"/>
                    </a:cubicBezTo>
                    <a:cubicBezTo>
                      <a:pt x="653" y="91"/>
                      <a:pt x="643" y="90"/>
                      <a:pt x="631" y="90"/>
                    </a:cubicBezTo>
                    <a:close/>
                    <a:moveTo>
                      <a:pt x="899" y="111"/>
                    </a:moveTo>
                    <a:cubicBezTo>
                      <a:pt x="900" y="112"/>
                      <a:pt x="900" y="111"/>
                      <a:pt x="899" y="111"/>
                    </a:cubicBezTo>
                    <a:moveTo>
                      <a:pt x="899" y="111"/>
                    </a:moveTo>
                    <a:cubicBezTo>
                      <a:pt x="897" y="103"/>
                      <a:pt x="893" y="97"/>
                      <a:pt x="891" y="90"/>
                    </a:cubicBezTo>
                    <a:cubicBezTo>
                      <a:pt x="886" y="90"/>
                      <a:pt x="882" y="89"/>
                      <a:pt x="880" y="92"/>
                    </a:cubicBezTo>
                    <a:cubicBezTo>
                      <a:pt x="887" y="97"/>
                      <a:pt x="892" y="105"/>
                      <a:pt x="899" y="111"/>
                    </a:cubicBezTo>
                    <a:moveTo>
                      <a:pt x="943" y="91"/>
                    </a:moveTo>
                    <a:cubicBezTo>
                      <a:pt x="979" y="114"/>
                      <a:pt x="1013" y="148"/>
                      <a:pt x="1044" y="177"/>
                    </a:cubicBezTo>
                    <a:cubicBezTo>
                      <a:pt x="1045" y="178"/>
                      <a:pt x="1047" y="183"/>
                      <a:pt x="1049" y="180"/>
                    </a:cubicBezTo>
                    <a:cubicBezTo>
                      <a:pt x="1032" y="150"/>
                      <a:pt x="1014" y="120"/>
                      <a:pt x="991" y="95"/>
                    </a:cubicBezTo>
                    <a:cubicBezTo>
                      <a:pt x="975" y="94"/>
                      <a:pt x="961" y="91"/>
                      <a:pt x="943" y="91"/>
                    </a:cubicBezTo>
                    <a:moveTo>
                      <a:pt x="943" y="91"/>
                    </a:moveTo>
                    <a:cubicBezTo>
                      <a:pt x="943" y="88"/>
                      <a:pt x="939" y="92"/>
                      <a:pt x="943" y="91"/>
                    </a:cubicBezTo>
                    <a:moveTo>
                      <a:pt x="904" y="120"/>
                    </a:moveTo>
                    <a:cubicBezTo>
                      <a:pt x="894" y="111"/>
                      <a:pt x="886" y="98"/>
                      <a:pt x="874" y="91"/>
                    </a:cubicBezTo>
                    <a:cubicBezTo>
                      <a:pt x="857" y="93"/>
                      <a:pt x="838" y="94"/>
                      <a:pt x="820" y="95"/>
                    </a:cubicBezTo>
                    <a:cubicBezTo>
                      <a:pt x="835" y="132"/>
                      <a:pt x="849" y="170"/>
                      <a:pt x="860" y="211"/>
                    </a:cubicBezTo>
                    <a:cubicBezTo>
                      <a:pt x="885" y="210"/>
                      <a:pt x="907" y="212"/>
                      <a:pt x="931" y="214"/>
                    </a:cubicBezTo>
                    <a:cubicBezTo>
                      <a:pt x="924" y="180"/>
                      <a:pt x="914" y="150"/>
                      <a:pt x="904" y="120"/>
                    </a:cubicBezTo>
                    <a:close/>
                    <a:moveTo>
                      <a:pt x="558" y="93"/>
                    </a:moveTo>
                    <a:cubicBezTo>
                      <a:pt x="558" y="92"/>
                      <a:pt x="559" y="93"/>
                      <a:pt x="558" y="93"/>
                    </a:cubicBezTo>
                    <a:close/>
                    <a:moveTo>
                      <a:pt x="492" y="99"/>
                    </a:moveTo>
                    <a:cubicBezTo>
                      <a:pt x="485" y="102"/>
                      <a:pt x="476" y="109"/>
                      <a:pt x="468" y="114"/>
                    </a:cubicBezTo>
                    <a:cubicBezTo>
                      <a:pt x="460" y="119"/>
                      <a:pt x="450" y="123"/>
                      <a:pt x="444" y="128"/>
                    </a:cubicBezTo>
                    <a:cubicBezTo>
                      <a:pt x="432" y="139"/>
                      <a:pt x="421" y="155"/>
                      <a:pt x="411" y="169"/>
                    </a:cubicBezTo>
                    <a:cubicBezTo>
                      <a:pt x="400" y="185"/>
                      <a:pt x="389" y="201"/>
                      <a:pt x="382" y="216"/>
                    </a:cubicBezTo>
                    <a:cubicBezTo>
                      <a:pt x="390" y="219"/>
                      <a:pt x="399" y="220"/>
                      <a:pt x="407" y="223"/>
                    </a:cubicBezTo>
                    <a:cubicBezTo>
                      <a:pt x="452" y="175"/>
                      <a:pt x="501" y="130"/>
                      <a:pt x="558" y="93"/>
                    </a:cubicBezTo>
                    <a:cubicBezTo>
                      <a:pt x="533" y="97"/>
                      <a:pt x="512" y="93"/>
                      <a:pt x="492" y="99"/>
                    </a:cubicBezTo>
                    <a:close/>
                    <a:moveTo>
                      <a:pt x="667" y="93"/>
                    </a:moveTo>
                    <a:cubicBezTo>
                      <a:pt x="661" y="115"/>
                      <a:pt x="652" y="139"/>
                      <a:pt x="650" y="163"/>
                    </a:cubicBezTo>
                    <a:cubicBezTo>
                      <a:pt x="660" y="138"/>
                      <a:pt x="673" y="116"/>
                      <a:pt x="685" y="94"/>
                    </a:cubicBezTo>
                    <a:cubicBezTo>
                      <a:pt x="678" y="94"/>
                      <a:pt x="674" y="92"/>
                      <a:pt x="667" y="93"/>
                    </a:cubicBezTo>
                    <a:close/>
                    <a:moveTo>
                      <a:pt x="639" y="211"/>
                    </a:moveTo>
                    <a:cubicBezTo>
                      <a:pt x="674" y="211"/>
                      <a:pt x="707" y="208"/>
                      <a:pt x="743" y="209"/>
                    </a:cubicBezTo>
                    <a:cubicBezTo>
                      <a:pt x="745" y="170"/>
                      <a:pt x="747" y="132"/>
                      <a:pt x="750" y="95"/>
                    </a:cubicBezTo>
                    <a:cubicBezTo>
                      <a:pt x="729" y="96"/>
                      <a:pt x="708" y="95"/>
                      <a:pt x="689" y="94"/>
                    </a:cubicBezTo>
                    <a:cubicBezTo>
                      <a:pt x="669" y="129"/>
                      <a:pt x="646" y="162"/>
                      <a:pt x="639" y="211"/>
                    </a:cubicBezTo>
                    <a:close/>
                    <a:moveTo>
                      <a:pt x="825" y="120"/>
                    </a:moveTo>
                    <a:cubicBezTo>
                      <a:pt x="823" y="113"/>
                      <a:pt x="819" y="96"/>
                      <a:pt x="811" y="95"/>
                    </a:cubicBezTo>
                    <a:cubicBezTo>
                      <a:pt x="803" y="93"/>
                      <a:pt x="791" y="98"/>
                      <a:pt x="782" y="95"/>
                    </a:cubicBezTo>
                    <a:cubicBezTo>
                      <a:pt x="784" y="133"/>
                      <a:pt x="786" y="171"/>
                      <a:pt x="787" y="209"/>
                    </a:cubicBezTo>
                    <a:cubicBezTo>
                      <a:pt x="811" y="208"/>
                      <a:pt x="832" y="210"/>
                      <a:pt x="855" y="210"/>
                    </a:cubicBezTo>
                    <a:cubicBezTo>
                      <a:pt x="848" y="183"/>
                      <a:pt x="836" y="148"/>
                      <a:pt x="825" y="120"/>
                    </a:cubicBezTo>
                    <a:close/>
                    <a:moveTo>
                      <a:pt x="499" y="96"/>
                    </a:moveTo>
                    <a:cubicBezTo>
                      <a:pt x="499" y="96"/>
                      <a:pt x="500" y="97"/>
                      <a:pt x="499" y="96"/>
                    </a:cubicBezTo>
                    <a:close/>
                    <a:moveTo>
                      <a:pt x="752" y="98"/>
                    </a:moveTo>
                    <a:cubicBezTo>
                      <a:pt x="750" y="135"/>
                      <a:pt x="747" y="171"/>
                      <a:pt x="746" y="209"/>
                    </a:cubicBezTo>
                    <a:cubicBezTo>
                      <a:pt x="758" y="209"/>
                      <a:pt x="771" y="209"/>
                      <a:pt x="784" y="209"/>
                    </a:cubicBezTo>
                    <a:cubicBezTo>
                      <a:pt x="783" y="170"/>
                      <a:pt x="781" y="133"/>
                      <a:pt x="779" y="95"/>
                    </a:cubicBezTo>
                    <a:cubicBezTo>
                      <a:pt x="771" y="97"/>
                      <a:pt x="756" y="92"/>
                      <a:pt x="752" y="98"/>
                    </a:cubicBezTo>
                    <a:close/>
                    <a:moveTo>
                      <a:pt x="1056" y="191"/>
                    </a:moveTo>
                    <a:cubicBezTo>
                      <a:pt x="1069" y="202"/>
                      <a:pt x="1077" y="217"/>
                      <a:pt x="1090" y="228"/>
                    </a:cubicBezTo>
                    <a:cubicBezTo>
                      <a:pt x="1115" y="224"/>
                      <a:pt x="1137" y="218"/>
                      <a:pt x="1159" y="212"/>
                    </a:cubicBezTo>
                    <a:cubicBezTo>
                      <a:pt x="1152" y="199"/>
                      <a:pt x="1138" y="190"/>
                      <a:pt x="1126" y="180"/>
                    </a:cubicBezTo>
                    <a:cubicBezTo>
                      <a:pt x="1101" y="159"/>
                      <a:pt x="1078" y="141"/>
                      <a:pt x="1049" y="122"/>
                    </a:cubicBezTo>
                    <a:cubicBezTo>
                      <a:pt x="1032" y="112"/>
                      <a:pt x="1016" y="96"/>
                      <a:pt x="996" y="96"/>
                    </a:cubicBezTo>
                    <a:cubicBezTo>
                      <a:pt x="1020" y="124"/>
                      <a:pt x="1040" y="155"/>
                      <a:pt x="1056" y="191"/>
                    </a:cubicBezTo>
                    <a:close/>
                    <a:moveTo>
                      <a:pt x="1095" y="150"/>
                    </a:moveTo>
                    <a:cubicBezTo>
                      <a:pt x="1112" y="165"/>
                      <a:pt x="1132" y="180"/>
                      <a:pt x="1149" y="195"/>
                    </a:cubicBezTo>
                    <a:cubicBezTo>
                      <a:pt x="1154" y="200"/>
                      <a:pt x="1159" y="209"/>
                      <a:pt x="1167" y="209"/>
                    </a:cubicBezTo>
                    <a:cubicBezTo>
                      <a:pt x="1146" y="171"/>
                      <a:pt x="1113" y="136"/>
                      <a:pt x="1081" y="107"/>
                    </a:cubicBezTo>
                    <a:cubicBezTo>
                      <a:pt x="1060" y="104"/>
                      <a:pt x="1036" y="99"/>
                      <a:pt x="1015" y="98"/>
                    </a:cubicBezTo>
                    <a:cubicBezTo>
                      <a:pt x="1044" y="113"/>
                      <a:pt x="1069" y="132"/>
                      <a:pt x="1095" y="150"/>
                    </a:cubicBezTo>
                    <a:close/>
                    <a:moveTo>
                      <a:pt x="555" y="99"/>
                    </a:moveTo>
                    <a:cubicBezTo>
                      <a:pt x="506" y="130"/>
                      <a:pt x="457" y="172"/>
                      <a:pt x="418" y="216"/>
                    </a:cubicBezTo>
                    <a:cubicBezTo>
                      <a:pt x="417" y="218"/>
                      <a:pt x="411" y="220"/>
                      <a:pt x="414" y="224"/>
                    </a:cubicBezTo>
                    <a:cubicBezTo>
                      <a:pt x="438" y="232"/>
                      <a:pt x="467" y="223"/>
                      <a:pt x="494" y="221"/>
                    </a:cubicBezTo>
                    <a:cubicBezTo>
                      <a:pt x="510" y="176"/>
                      <a:pt x="530" y="135"/>
                      <a:pt x="555" y="99"/>
                    </a:cubicBezTo>
                    <a:moveTo>
                      <a:pt x="555" y="99"/>
                    </a:moveTo>
                    <a:cubicBezTo>
                      <a:pt x="556" y="99"/>
                      <a:pt x="555" y="98"/>
                      <a:pt x="555" y="99"/>
                    </a:cubicBezTo>
                    <a:moveTo>
                      <a:pt x="484" y="101"/>
                    </a:moveTo>
                    <a:cubicBezTo>
                      <a:pt x="483" y="101"/>
                      <a:pt x="484" y="102"/>
                      <a:pt x="484" y="101"/>
                    </a:cubicBezTo>
                    <a:close/>
                    <a:moveTo>
                      <a:pt x="1118" y="101"/>
                    </a:moveTo>
                    <a:cubicBezTo>
                      <a:pt x="1119" y="103"/>
                      <a:pt x="1119" y="101"/>
                      <a:pt x="1118" y="101"/>
                    </a:cubicBezTo>
                    <a:moveTo>
                      <a:pt x="1118" y="101"/>
                    </a:moveTo>
                    <a:cubicBezTo>
                      <a:pt x="1118" y="100"/>
                      <a:pt x="1117" y="101"/>
                      <a:pt x="1118" y="101"/>
                    </a:cubicBezTo>
                    <a:moveTo>
                      <a:pt x="454" y="119"/>
                    </a:moveTo>
                    <a:cubicBezTo>
                      <a:pt x="452" y="119"/>
                      <a:pt x="454" y="120"/>
                      <a:pt x="454" y="119"/>
                    </a:cubicBezTo>
                    <a:moveTo>
                      <a:pt x="454" y="119"/>
                    </a:moveTo>
                    <a:cubicBezTo>
                      <a:pt x="464" y="113"/>
                      <a:pt x="474" y="108"/>
                      <a:pt x="483" y="101"/>
                    </a:cubicBezTo>
                    <a:cubicBezTo>
                      <a:pt x="466" y="100"/>
                      <a:pt x="462" y="111"/>
                      <a:pt x="454" y="119"/>
                    </a:cubicBezTo>
                    <a:moveTo>
                      <a:pt x="1120" y="103"/>
                    </a:moveTo>
                    <a:cubicBezTo>
                      <a:pt x="1120" y="103"/>
                      <a:pt x="1121" y="104"/>
                      <a:pt x="1120" y="103"/>
                    </a:cubicBezTo>
                    <a:close/>
                    <a:moveTo>
                      <a:pt x="1075" y="104"/>
                    </a:moveTo>
                    <a:cubicBezTo>
                      <a:pt x="1075" y="104"/>
                      <a:pt x="1076" y="105"/>
                      <a:pt x="1075" y="104"/>
                    </a:cubicBezTo>
                    <a:close/>
                    <a:moveTo>
                      <a:pt x="417" y="112"/>
                    </a:moveTo>
                    <a:cubicBezTo>
                      <a:pt x="407" y="115"/>
                      <a:pt x="396" y="125"/>
                      <a:pt x="386" y="131"/>
                    </a:cubicBezTo>
                    <a:cubicBezTo>
                      <a:pt x="357" y="148"/>
                      <a:pt x="335" y="165"/>
                      <a:pt x="317" y="191"/>
                    </a:cubicBezTo>
                    <a:cubicBezTo>
                      <a:pt x="325" y="195"/>
                      <a:pt x="332" y="200"/>
                      <a:pt x="342" y="203"/>
                    </a:cubicBezTo>
                    <a:cubicBezTo>
                      <a:pt x="374" y="176"/>
                      <a:pt x="406" y="149"/>
                      <a:pt x="442" y="127"/>
                    </a:cubicBezTo>
                    <a:cubicBezTo>
                      <a:pt x="445" y="123"/>
                      <a:pt x="449" y="119"/>
                      <a:pt x="453" y="115"/>
                    </a:cubicBezTo>
                    <a:cubicBezTo>
                      <a:pt x="455" y="112"/>
                      <a:pt x="466" y="105"/>
                      <a:pt x="461" y="104"/>
                    </a:cubicBezTo>
                    <a:cubicBezTo>
                      <a:pt x="446" y="109"/>
                      <a:pt x="430" y="107"/>
                      <a:pt x="417" y="112"/>
                    </a:cubicBezTo>
                    <a:close/>
                    <a:moveTo>
                      <a:pt x="1210" y="188"/>
                    </a:moveTo>
                    <a:cubicBezTo>
                      <a:pt x="1213" y="187"/>
                      <a:pt x="1214" y="184"/>
                      <a:pt x="1216" y="183"/>
                    </a:cubicBezTo>
                    <a:cubicBezTo>
                      <a:pt x="1210" y="171"/>
                      <a:pt x="1197" y="162"/>
                      <a:pt x="1185" y="152"/>
                    </a:cubicBezTo>
                    <a:cubicBezTo>
                      <a:pt x="1175" y="143"/>
                      <a:pt x="1164" y="130"/>
                      <a:pt x="1151" y="123"/>
                    </a:cubicBezTo>
                    <a:cubicBezTo>
                      <a:pt x="1135" y="116"/>
                      <a:pt x="1116" y="117"/>
                      <a:pt x="1097" y="110"/>
                    </a:cubicBezTo>
                    <a:cubicBezTo>
                      <a:pt x="1096" y="110"/>
                      <a:pt x="1094" y="110"/>
                      <a:pt x="1094" y="111"/>
                    </a:cubicBezTo>
                    <a:cubicBezTo>
                      <a:pt x="1136" y="132"/>
                      <a:pt x="1174" y="163"/>
                      <a:pt x="1210" y="188"/>
                    </a:cubicBezTo>
                    <a:close/>
                    <a:moveTo>
                      <a:pt x="1090" y="112"/>
                    </a:moveTo>
                    <a:cubicBezTo>
                      <a:pt x="1090" y="112"/>
                      <a:pt x="1090" y="113"/>
                      <a:pt x="1090" y="113"/>
                    </a:cubicBezTo>
                    <a:cubicBezTo>
                      <a:pt x="1124" y="138"/>
                      <a:pt x="1146" y="175"/>
                      <a:pt x="1173" y="207"/>
                    </a:cubicBezTo>
                    <a:cubicBezTo>
                      <a:pt x="1185" y="202"/>
                      <a:pt x="1198" y="198"/>
                      <a:pt x="1206" y="190"/>
                    </a:cubicBezTo>
                    <a:cubicBezTo>
                      <a:pt x="1170" y="161"/>
                      <a:pt x="1132" y="134"/>
                      <a:pt x="1090" y="112"/>
                    </a:cubicBezTo>
                    <a:moveTo>
                      <a:pt x="1090" y="112"/>
                    </a:moveTo>
                    <a:cubicBezTo>
                      <a:pt x="1090" y="110"/>
                      <a:pt x="1089" y="112"/>
                      <a:pt x="1090" y="112"/>
                    </a:cubicBezTo>
                    <a:moveTo>
                      <a:pt x="405" y="116"/>
                    </a:moveTo>
                    <a:cubicBezTo>
                      <a:pt x="389" y="116"/>
                      <a:pt x="383" y="126"/>
                      <a:pt x="374" y="134"/>
                    </a:cubicBezTo>
                    <a:moveTo>
                      <a:pt x="374" y="134"/>
                    </a:moveTo>
                    <a:cubicBezTo>
                      <a:pt x="373" y="134"/>
                      <a:pt x="372" y="135"/>
                      <a:pt x="371" y="136"/>
                    </a:cubicBezTo>
                    <a:moveTo>
                      <a:pt x="371" y="136"/>
                    </a:moveTo>
                    <a:cubicBezTo>
                      <a:pt x="370" y="136"/>
                      <a:pt x="370" y="136"/>
                      <a:pt x="370" y="137"/>
                    </a:cubicBezTo>
                    <a:moveTo>
                      <a:pt x="370" y="137"/>
                    </a:moveTo>
                    <a:cubicBezTo>
                      <a:pt x="369" y="137"/>
                      <a:pt x="370" y="138"/>
                      <a:pt x="370" y="137"/>
                    </a:cubicBezTo>
                    <a:moveTo>
                      <a:pt x="370" y="137"/>
                    </a:moveTo>
                    <a:cubicBezTo>
                      <a:pt x="371" y="137"/>
                      <a:pt x="371" y="136"/>
                      <a:pt x="371" y="136"/>
                    </a:cubicBezTo>
                    <a:moveTo>
                      <a:pt x="371" y="136"/>
                    </a:moveTo>
                    <a:cubicBezTo>
                      <a:pt x="373" y="136"/>
                      <a:pt x="374" y="135"/>
                      <a:pt x="374" y="134"/>
                    </a:cubicBezTo>
                    <a:moveTo>
                      <a:pt x="374" y="134"/>
                    </a:moveTo>
                    <a:cubicBezTo>
                      <a:pt x="385" y="129"/>
                      <a:pt x="395" y="122"/>
                      <a:pt x="405" y="116"/>
                    </a:cubicBezTo>
                    <a:moveTo>
                      <a:pt x="405" y="116"/>
                    </a:moveTo>
                    <a:cubicBezTo>
                      <a:pt x="409" y="117"/>
                      <a:pt x="405" y="113"/>
                      <a:pt x="405" y="116"/>
                    </a:cubicBezTo>
                    <a:moveTo>
                      <a:pt x="1142" y="119"/>
                    </a:moveTo>
                    <a:cubicBezTo>
                      <a:pt x="1142" y="118"/>
                      <a:pt x="1143" y="119"/>
                      <a:pt x="1142" y="119"/>
                    </a:cubicBezTo>
                    <a:close/>
                    <a:moveTo>
                      <a:pt x="365" y="119"/>
                    </a:moveTo>
                    <a:cubicBezTo>
                      <a:pt x="364" y="119"/>
                      <a:pt x="365" y="120"/>
                      <a:pt x="365" y="119"/>
                    </a:cubicBezTo>
                    <a:close/>
                    <a:moveTo>
                      <a:pt x="363" y="120"/>
                    </a:moveTo>
                    <a:cubicBezTo>
                      <a:pt x="361" y="121"/>
                      <a:pt x="363" y="122"/>
                      <a:pt x="363" y="120"/>
                    </a:cubicBezTo>
                    <a:moveTo>
                      <a:pt x="363" y="120"/>
                    </a:moveTo>
                    <a:cubicBezTo>
                      <a:pt x="364" y="120"/>
                      <a:pt x="363" y="119"/>
                      <a:pt x="363" y="120"/>
                    </a:cubicBezTo>
                    <a:moveTo>
                      <a:pt x="326" y="147"/>
                    </a:moveTo>
                    <a:cubicBezTo>
                      <a:pt x="312" y="157"/>
                      <a:pt x="291" y="166"/>
                      <a:pt x="308" y="182"/>
                    </a:cubicBezTo>
                    <a:cubicBezTo>
                      <a:pt x="333" y="161"/>
                      <a:pt x="362" y="143"/>
                      <a:pt x="385" y="120"/>
                    </a:cubicBezTo>
                    <a:cubicBezTo>
                      <a:pt x="360" y="124"/>
                      <a:pt x="343" y="136"/>
                      <a:pt x="326" y="147"/>
                    </a:cubicBezTo>
                    <a:close/>
                    <a:moveTo>
                      <a:pt x="360" y="122"/>
                    </a:moveTo>
                    <a:cubicBezTo>
                      <a:pt x="359" y="122"/>
                      <a:pt x="360" y="123"/>
                      <a:pt x="360" y="122"/>
                    </a:cubicBezTo>
                    <a:close/>
                    <a:moveTo>
                      <a:pt x="365" y="123"/>
                    </a:moveTo>
                    <a:cubicBezTo>
                      <a:pt x="364" y="123"/>
                      <a:pt x="365" y="124"/>
                      <a:pt x="365" y="123"/>
                    </a:cubicBezTo>
                    <a:close/>
                    <a:moveTo>
                      <a:pt x="357" y="124"/>
                    </a:moveTo>
                    <a:cubicBezTo>
                      <a:pt x="356" y="124"/>
                      <a:pt x="358" y="125"/>
                      <a:pt x="357" y="124"/>
                    </a:cubicBezTo>
                    <a:close/>
                    <a:moveTo>
                      <a:pt x="354" y="126"/>
                    </a:moveTo>
                    <a:cubicBezTo>
                      <a:pt x="354" y="126"/>
                      <a:pt x="355" y="127"/>
                      <a:pt x="354" y="126"/>
                    </a:cubicBezTo>
                    <a:close/>
                    <a:moveTo>
                      <a:pt x="910" y="129"/>
                    </a:moveTo>
                    <a:cubicBezTo>
                      <a:pt x="919" y="156"/>
                      <a:pt x="927" y="184"/>
                      <a:pt x="934" y="214"/>
                    </a:cubicBezTo>
                    <a:cubicBezTo>
                      <a:pt x="946" y="215"/>
                      <a:pt x="959" y="215"/>
                      <a:pt x="970" y="216"/>
                    </a:cubicBezTo>
                    <a:cubicBezTo>
                      <a:pt x="952" y="185"/>
                      <a:pt x="933" y="155"/>
                      <a:pt x="910" y="129"/>
                    </a:cubicBezTo>
                    <a:moveTo>
                      <a:pt x="910" y="129"/>
                    </a:moveTo>
                    <a:cubicBezTo>
                      <a:pt x="911" y="125"/>
                      <a:pt x="907" y="129"/>
                      <a:pt x="910" y="129"/>
                    </a:cubicBezTo>
                    <a:moveTo>
                      <a:pt x="1166" y="129"/>
                    </a:moveTo>
                    <a:cubicBezTo>
                      <a:pt x="1166" y="129"/>
                      <a:pt x="1167" y="130"/>
                      <a:pt x="1166" y="129"/>
                    </a:cubicBezTo>
                    <a:close/>
                    <a:moveTo>
                      <a:pt x="1222" y="166"/>
                    </a:moveTo>
                    <a:cubicBezTo>
                      <a:pt x="1218" y="155"/>
                      <a:pt x="1206" y="150"/>
                      <a:pt x="1198" y="144"/>
                    </a:cubicBezTo>
                    <a:cubicBezTo>
                      <a:pt x="1189" y="138"/>
                      <a:pt x="1180" y="130"/>
                      <a:pt x="1168" y="130"/>
                    </a:cubicBezTo>
                    <a:cubicBezTo>
                      <a:pt x="1187" y="141"/>
                      <a:pt x="1204" y="154"/>
                      <a:pt x="1222" y="166"/>
                    </a:cubicBezTo>
                    <a:close/>
                    <a:moveTo>
                      <a:pt x="1165" y="132"/>
                    </a:moveTo>
                    <a:cubicBezTo>
                      <a:pt x="1166" y="133"/>
                      <a:pt x="1165" y="132"/>
                      <a:pt x="1165" y="132"/>
                    </a:cubicBezTo>
                    <a:close/>
                    <a:moveTo>
                      <a:pt x="1169" y="134"/>
                    </a:moveTo>
                    <a:cubicBezTo>
                      <a:pt x="1187" y="147"/>
                      <a:pt x="1204" y="167"/>
                      <a:pt x="1220" y="178"/>
                    </a:cubicBezTo>
                    <a:cubicBezTo>
                      <a:pt x="1220" y="175"/>
                      <a:pt x="1223" y="174"/>
                      <a:pt x="1222" y="170"/>
                    </a:cubicBezTo>
                    <a:cubicBezTo>
                      <a:pt x="1206" y="157"/>
                      <a:pt x="1188" y="145"/>
                      <a:pt x="1169" y="134"/>
                    </a:cubicBezTo>
                    <a:moveTo>
                      <a:pt x="1169" y="134"/>
                    </a:moveTo>
                    <a:cubicBezTo>
                      <a:pt x="1168" y="132"/>
                      <a:pt x="1168" y="134"/>
                      <a:pt x="1169" y="134"/>
                    </a:cubicBezTo>
                    <a:moveTo>
                      <a:pt x="434" y="136"/>
                    </a:moveTo>
                    <a:cubicBezTo>
                      <a:pt x="433" y="136"/>
                      <a:pt x="433" y="136"/>
                      <a:pt x="433" y="137"/>
                    </a:cubicBezTo>
                    <a:moveTo>
                      <a:pt x="433" y="137"/>
                    </a:moveTo>
                    <a:cubicBezTo>
                      <a:pt x="401" y="157"/>
                      <a:pt x="372" y="180"/>
                      <a:pt x="345" y="205"/>
                    </a:cubicBezTo>
                    <a:cubicBezTo>
                      <a:pt x="357" y="209"/>
                      <a:pt x="367" y="213"/>
                      <a:pt x="379" y="215"/>
                    </a:cubicBezTo>
                    <a:cubicBezTo>
                      <a:pt x="394" y="187"/>
                      <a:pt x="413" y="162"/>
                      <a:pt x="433" y="137"/>
                    </a:cubicBezTo>
                    <a:moveTo>
                      <a:pt x="433" y="137"/>
                    </a:moveTo>
                    <a:cubicBezTo>
                      <a:pt x="434" y="137"/>
                      <a:pt x="434" y="136"/>
                      <a:pt x="434" y="136"/>
                    </a:cubicBezTo>
                    <a:moveTo>
                      <a:pt x="434" y="136"/>
                    </a:moveTo>
                    <a:cubicBezTo>
                      <a:pt x="435" y="135"/>
                      <a:pt x="434" y="135"/>
                      <a:pt x="434" y="136"/>
                    </a:cubicBezTo>
                    <a:moveTo>
                      <a:pt x="327" y="142"/>
                    </a:moveTo>
                    <a:cubicBezTo>
                      <a:pt x="327" y="141"/>
                      <a:pt x="328" y="142"/>
                      <a:pt x="327" y="142"/>
                    </a:cubicBezTo>
                    <a:close/>
                    <a:moveTo>
                      <a:pt x="325" y="143"/>
                    </a:moveTo>
                    <a:cubicBezTo>
                      <a:pt x="319" y="146"/>
                      <a:pt x="312" y="150"/>
                      <a:pt x="308" y="156"/>
                    </a:cubicBezTo>
                    <a:moveTo>
                      <a:pt x="308" y="156"/>
                    </a:moveTo>
                    <a:cubicBezTo>
                      <a:pt x="307" y="156"/>
                      <a:pt x="307" y="156"/>
                      <a:pt x="307" y="157"/>
                    </a:cubicBezTo>
                    <a:moveTo>
                      <a:pt x="307" y="157"/>
                    </a:moveTo>
                    <a:cubicBezTo>
                      <a:pt x="306" y="157"/>
                      <a:pt x="306" y="157"/>
                      <a:pt x="306" y="158"/>
                    </a:cubicBezTo>
                    <a:moveTo>
                      <a:pt x="306" y="158"/>
                    </a:moveTo>
                    <a:cubicBezTo>
                      <a:pt x="305" y="158"/>
                      <a:pt x="306" y="159"/>
                      <a:pt x="306" y="158"/>
                    </a:cubicBezTo>
                    <a:moveTo>
                      <a:pt x="306" y="158"/>
                    </a:moveTo>
                    <a:cubicBezTo>
                      <a:pt x="307" y="158"/>
                      <a:pt x="307" y="158"/>
                      <a:pt x="307" y="157"/>
                    </a:cubicBezTo>
                    <a:moveTo>
                      <a:pt x="307" y="157"/>
                    </a:moveTo>
                    <a:cubicBezTo>
                      <a:pt x="308" y="157"/>
                      <a:pt x="308" y="157"/>
                      <a:pt x="308" y="156"/>
                    </a:cubicBezTo>
                    <a:moveTo>
                      <a:pt x="308" y="156"/>
                    </a:moveTo>
                    <a:cubicBezTo>
                      <a:pt x="314" y="152"/>
                      <a:pt x="320" y="147"/>
                      <a:pt x="325" y="143"/>
                    </a:cubicBezTo>
                    <a:moveTo>
                      <a:pt x="325" y="143"/>
                    </a:moveTo>
                    <a:cubicBezTo>
                      <a:pt x="327" y="142"/>
                      <a:pt x="325" y="141"/>
                      <a:pt x="325" y="143"/>
                    </a:cubicBezTo>
                    <a:moveTo>
                      <a:pt x="338" y="163"/>
                    </a:moveTo>
                    <a:cubicBezTo>
                      <a:pt x="337" y="163"/>
                      <a:pt x="337" y="163"/>
                      <a:pt x="337" y="164"/>
                    </a:cubicBezTo>
                    <a:moveTo>
                      <a:pt x="337" y="164"/>
                    </a:moveTo>
                    <a:cubicBezTo>
                      <a:pt x="327" y="170"/>
                      <a:pt x="317" y="176"/>
                      <a:pt x="310" y="185"/>
                    </a:cubicBezTo>
                    <a:cubicBezTo>
                      <a:pt x="312" y="185"/>
                      <a:pt x="312" y="188"/>
                      <a:pt x="315" y="188"/>
                    </a:cubicBezTo>
                    <a:cubicBezTo>
                      <a:pt x="322" y="180"/>
                      <a:pt x="330" y="172"/>
                      <a:pt x="337" y="164"/>
                    </a:cubicBezTo>
                    <a:moveTo>
                      <a:pt x="337" y="164"/>
                    </a:moveTo>
                    <a:cubicBezTo>
                      <a:pt x="338" y="164"/>
                      <a:pt x="338" y="163"/>
                      <a:pt x="338" y="163"/>
                    </a:cubicBezTo>
                    <a:moveTo>
                      <a:pt x="338" y="163"/>
                    </a:moveTo>
                    <a:cubicBezTo>
                      <a:pt x="339" y="162"/>
                      <a:pt x="338" y="162"/>
                      <a:pt x="338" y="163"/>
                    </a:cubicBezTo>
                    <a:moveTo>
                      <a:pt x="648" y="165"/>
                    </a:moveTo>
                    <a:cubicBezTo>
                      <a:pt x="647" y="164"/>
                      <a:pt x="648" y="165"/>
                      <a:pt x="648" y="165"/>
                    </a:cubicBezTo>
                    <a:close/>
                    <a:moveTo>
                      <a:pt x="1279" y="213"/>
                    </a:moveTo>
                    <a:cubicBezTo>
                      <a:pt x="1279" y="213"/>
                      <a:pt x="1280" y="214"/>
                      <a:pt x="1280" y="214"/>
                    </a:cubicBezTo>
                    <a:moveTo>
                      <a:pt x="1280" y="214"/>
                    </a:moveTo>
                    <a:cubicBezTo>
                      <a:pt x="1280" y="214"/>
                      <a:pt x="1281" y="214"/>
                      <a:pt x="1281" y="215"/>
                    </a:cubicBezTo>
                    <a:moveTo>
                      <a:pt x="1281" y="215"/>
                    </a:moveTo>
                    <a:cubicBezTo>
                      <a:pt x="1281" y="215"/>
                      <a:pt x="1282" y="215"/>
                      <a:pt x="1282" y="215"/>
                    </a:cubicBezTo>
                    <a:moveTo>
                      <a:pt x="1282" y="215"/>
                    </a:moveTo>
                    <a:cubicBezTo>
                      <a:pt x="1282" y="216"/>
                      <a:pt x="1283" y="216"/>
                      <a:pt x="1283" y="216"/>
                    </a:cubicBezTo>
                    <a:moveTo>
                      <a:pt x="1283" y="216"/>
                    </a:moveTo>
                    <a:cubicBezTo>
                      <a:pt x="1283" y="217"/>
                      <a:pt x="1284" y="217"/>
                      <a:pt x="1284" y="217"/>
                    </a:cubicBezTo>
                    <a:moveTo>
                      <a:pt x="1284" y="217"/>
                    </a:moveTo>
                    <a:cubicBezTo>
                      <a:pt x="1284" y="218"/>
                      <a:pt x="1285" y="218"/>
                      <a:pt x="1285" y="218"/>
                    </a:cubicBezTo>
                    <a:moveTo>
                      <a:pt x="1285" y="218"/>
                    </a:moveTo>
                    <a:cubicBezTo>
                      <a:pt x="1285" y="219"/>
                      <a:pt x="1286" y="219"/>
                      <a:pt x="1286" y="219"/>
                    </a:cubicBezTo>
                    <a:moveTo>
                      <a:pt x="1286" y="219"/>
                    </a:moveTo>
                    <a:cubicBezTo>
                      <a:pt x="1286" y="220"/>
                      <a:pt x="1287" y="220"/>
                      <a:pt x="1287" y="220"/>
                    </a:cubicBezTo>
                    <a:moveTo>
                      <a:pt x="1287" y="220"/>
                    </a:moveTo>
                    <a:cubicBezTo>
                      <a:pt x="1288" y="222"/>
                      <a:pt x="1288" y="220"/>
                      <a:pt x="1287" y="220"/>
                    </a:cubicBezTo>
                    <a:moveTo>
                      <a:pt x="1287" y="220"/>
                    </a:moveTo>
                    <a:cubicBezTo>
                      <a:pt x="1287" y="219"/>
                      <a:pt x="1287" y="219"/>
                      <a:pt x="1286" y="219"/>
                    </a:cubicBezTo>
                    <a:moveTo>
                      <a:pt x="1286" y="219"/>
                    </a:moveTo>
                    <a:cubicBezTo>
                      <a:pt x="1286" y="219"/>
                      <a:pt x="1286" y="218"/>
                      <a:pt x="1285" y="218"/>
                    </a:cubicBezTo>
                    <a:moveTo>
                      <a:pt x="1285" y="218"/>
                    </a:moveTo>
                    <a:cubicBezTo>
                      <a:pt x="1285" y="218"/>
                      <a:pt x="1285" y="217"/>
                      <a:pt x="1284" y="217"/>
                    </a:cubicBezTo>
                    <a:moveTo>
                      <a:pt x="1284" y="217"/>
                    </a:moveTo>
                    <a:cubicBezTo>
                      <a:pt x="1284" y="217"/>
                      <a:pt x="1284" y="216"/>
                      <a:pt x="1283" y="216"/>
                    </a:cubicBezTo>
                    <a:moveTo>
                      <a:pt x="1283" y="216"/>
                    </a:moveTo>
                    <a:cubicBezTo>
                      <a:pt x="1283" y="216"/>
                      <a:pt x="1283" y="216"/>
                      <a:pt x="1282" y="215"/>
                    </a:cubicBezTo>
                    <a:moveTo>
                      <a:pt x="1282" y="215"/>
                    </a:moveTo>
                    <a:cubicBezTo>
                      <a:pt x="1283" y="215"/>
                      <a:pt x="1282" y="215"/>
                      <a:pt x="1281" y="215"/>
                    </a:cubicBezTo>
                    <a:moveTo>
                      <a:pt x="1281" y="215"/>
                    </a:moveTo>
                    <a:cubicBezTo>
                      <a:pt x="1282" y="214"/>
                      <a:pt x="1281" y="214"/>
                      <a:pt x="1280" y="214"/>
                    </a:cubicBezTo>
                    <a:moveTo>
                      <a:pt x="1280" y="214"/>
                    </a:moveTo>
                    <a:cubicBezTo>
                      <a:pt x="1281" y="213"/>
                      <a:pt x="1280" y="213"/>
                      <a:pt x="1279" y="213"/>
                    </a:cubicBezTo>
                    <a:moveTo>
                      <a:pt x="1279" y="213"/>
                    </a:moveTo>
                    <a:cubicBezTo>
                      <a:pt x="1262" y="195"/>
                      <a:pt x="1245" y="179"/>
                      <a:pt x="1225" y="165"/>
                    </a:cubicBezTo>
                    <a:cubicBezTo>
                      <a:pt x="1226" y="171"/>
                      <a:pt x="1233" y="175"/>
                      <a:pt x="1237" y="178"/>
                    </a:cubicBezTo>
                    <a:cubicBezTo>
                      <a:pt x="1251" y="189"/>
                      <a:pt x="1265" y="201"/>
                      <a:pt x="1279" y="213"/>
                    </a:cubicBezTo>
                    <a:moveTo>
                      <a:pt x="188" y="288"/>
                    </a:moveTo>
                    <a:cubicBezTo>
                      <a:pt x="205" y="283"/>
                      <a:pt x="212" y="269"/>
                      <a:pt x="223" y="257"/>
                    </a:cubicBezTo>
                    <a:cubicBezTo>
                      <a:pt x="250" y="230"/>
                      <a:pt x="277" y="206"/>
                      <a:pt x="305" y="183"/>
                    </a:cubicBezTo>
                    <a:cubicBezTo>
                      <a:pt x="301" y="179"/>
                      <a:pt x="300" y="173"/>
                      <a:pt x="298" y="167"/>
                    </a:cubicBezTo>
                    <a:cubicBezTo>
                      <a:pt x="257" y="204"/>
                      <a:pt x="219" y="243"/>
                      <a:pt x="188" y="288"/>
                    </a:cubicBezTo>
                    <a:close/>
                    <a:moveTo>
                      <a:pt x="1351" y="296"/>
                    </a:moveTo>
                    <a:cubicBezTo>
                      <a:pt x="1351" y="297"/>
                      <a:pt x="1352" y="297"/>
                      <a:pt x="1352" y="297"/>
                    </a:cubicBezTo>
                    <a:moveTo>
                      <a:pt x="1352" y="297"/>
                    </a:moveTo>
                    <a:cubicBezTo>
                      <a:pt x="1353" y="298"/>
                      <a:pt x="1354" y="297"/>
                      <a:pt x="1352" y="297"/>
                    </a:cubicBezTo>
                    <a:moveTo>
                      <a:pt x="1352" y="297"/>
                    </a:moveTo>
                    <a:cubicBezTo>
                      <a:pt x="1353" y="296"/>
                      <a:pt x="1352" y="296"/>
                      <a:pt x="1351" y="296"/>
                    </a:cubicBezTo>
                    <a:moveTo>
                      <a:pt x="1351" y="296"/>
                    </a:moveTo>
                    <a:cubicBezTo>
                      <a:pt x="1351" y="295"/>
                      <a:pt x="1351" y="293"/>
                      <a:pt x="1350" y="293"/>
                    </a:cubicBezTo>
                    <a:cubicBezTo>
                      <a:pt x="1320" y="252"/>
                      <a:pt x="1281" y="217"/>
                      <a:pt x="1241" y="185"/>
                    </a:cubicBezTo>
                    <a:cubicBezTo>
                      <a:pt x="1236" y="181"/>
                      <a:pt x="1231" y="174"/>
                      <a:pt x="1224" y="173"/>
                    </a:cubicBezTo>
                    <a:cubicBezTo>
                      <a:pt x="1218" y="183"/>
                      <a:pt x="1228" y="188"/>
                      <a:pt x="1233" y="194"/>
                    </a:cubicBezTo>
                    <a:cubicBezTo>
                      <a:pt x="1239" y="201"/>
                      <a:pt x="1244" y="208"/>
                      <a:pt x="1250" y="214"/>
                    </a:cubicBezTo>
                    <a:cubicBezTo>
                      <a:pt x="1267" y="233"/>
                      <a:pt x="1280" y="256"/>
                      <a:pt x="1300" y="274"/>
                    </a:cubicBezTo>
                    <a:cubicBezTo>
                      <a:pt x="1319" y="279"/>
                      <a:pt x="1335" y="288"/>
                      <a:pt x="1351" y="296"/>
                    </a:cubicBezTo>
                    <a:moveTo>
                      <a:pt x="1218" y="184"/>
                    </a:moveTo>
                    <a:cubicBezTo>
                      <a:pt x="1217" y="187"/>
                      <a:pt x="1213" y="188"/>
                      <a:pt x="1211" y="191"/>
                    </a:cubicBezTo>
                    <a:cubicBezTo>
                      <a:pt x="1231" y="205"/>
                      <a:pt x="1249" y="226"/>
                      <a:pt x="1267" y="239"/>
                    </a:cubicBezTo>
                    <a:cubicBezTo>
                      <a:pt x="1250" y="220"/>
                      <a:pt x="1237" y="199"/>
                      <a:pt x="1218" y="184"/>
                    </a:cubicBezTo>
                    <a:close/>
                    <a:moveTo>
                      <a:pt x="207" y="280"/>
                    </a:moveTo>
                    <a:cubicBezTo>
                      <a:pt x="206" y="280"/>
                      <a:pt x="207" y="281"/>
                      <a:pt x="207" y="280"/>
                    </a:cubicBezTo>
                    <a:moveTo>
                      <a:pt x="207" y="280"/>
                    </a:moveTo>
                    <a:cubicBezTo>
                      <a:pt x="225" y="274"/>
                      <a:pt x="241" y="267"/>
                      <a:pt x="260" y="263"/>
                    </a:cubicBezTo>
                    <a:cubicBezTo>
                      <a:pt x="272" y="244"/>
                      <a:pt x="285" y="224"/>
                      <a:pt x="299" y="206"/>
                    </a:cubicBezTo>
                    <a:cubicBezTo>
                      <a:pt x="304" y="200"/>
                      <a:pt x="311" y="196"/>
                      <a:pt x="312" y="189"/>
                    </a:cubicBezTo>
                    <a:cubicBezTo>
                      <a:pt x="306" y="183"/>
                      <a:pt x="301" y="190"/>
                      <a:pt x="297" y="193"/>
                    </a:cubicBezTo>
                    <a:cubicBezTo>
                      <a:pt x="268" y="218"/>
                      <a:pt x="231" y="250"/>
                      <a:pt x="207" y="280"/>
                    </a:cubicBezTo>
                    <a:moveTo>
                      <a:pt x="267" y="192"/>
                    </a:moveTo>
                    <a:cubicBezTo>
                      <a:pt x="266" y="192"/>
                      <a:pt x="266" y="193"/>
                      <a:pt x="266" y="193"/>
                    </a:cubicBezTo>
                    <a:moveTo>
                      <a:pt x="266" y="193"/>
                    </a:moveTo>
                    <a:cubicBezTo>
                      <a:pt x="265" y="193"/>
                      <a:pt x="265" y="194"/>
                      <a:pt x="265" y="194"/>
                    </a:cubicBezTo>
                    <a:moveTo>
                      <a:pt x="265" y="194"/>
                    </a:moveTo>
                    <a:cubicBezTo>
                      <a:pt x="264" y="194"/>
                      <a:pt x="264" y="195"/>
                      <a:pt x="264" y="195"/>
                    </a:cubicBezTo>
                    <a:moveTo>
                      <a:pt x="264" y="195"/>
                    </a:moveTo>
                    <a:cubicBezTo>
                      <a:pt x="263" y="195"/>
                      <a:pt x="263" y="196"/>
                      <a:pt x="263" y="196"/>
                    </a:cubicBezTo>
                    <a:moveTo>
                      <a:pt x="263" y="196"/>
                    </a:moveTo>
                    <a:cubicBezTo>
                      <a:pt x="262" y="196"/>
                      <a:pt x="262" y="197"/>
                      <a:pt x="262" y="197"/>
                    </a:cubicBezTo>
                    <a:moveTo>
                      <a:pt x="262" y="197"/>
                    </a:moveTo>
                    <a:cubicBezTo>
                      <a:pt x="261" y="197"/>
                      <a:pt x="261" y="198"/>
                      <a:pt x="261" y="198"/>
                    </a:cubicBezTo>
                    <a:moveTo>
                      <a:pt x="261" y="198"/>
                    </a:moveTo>
                    <a:cubicBezTo>
                      <a:pt x="222" y="229"/>
                      <a:pt x="189" y="265"/>
                      <a:pt x="159" y="305"/>
                    </a:cubicBezTo>
                    <a:moveTo>
                      <a:pt x="159" y="305"/>
                    </a:moveTo>
                    <a:cubicBezTo>
                      <a:pt x="158" y="305"/>
                      <a:pt x="158" y="305"/>
                      <a:pt x="158" y="306"/>
                    </a:cubicBezTo>
                    <a:moveTo>
                      <a:pt x="158" y="306"/>
                    </a:moveTo>
                    <a:cubicBezTo>
                      <a:pt x="157" y="306"/>
                      <a:pt x="158" y="307"/>
                      <a:pt x="158" y="306"/>
                    </a:cubicBezTo>
                    <a:moveTo>
                      <a:pt x="158" y="306"/>
                    </a:moveTo>
                    <a:cubicBezTo>
                      <a:pt x="159" y="306"/>
                      <a:pt x="159" y="305"/>
                      <a:pt x="159" y="305"/>
                    </a:cubicBezTo>
                    <a:moveTo>
                      <a:pt x="159" y="305"/>
                    </a:moveTo>
                    <a:cubicBezTo>
                      <a:pt x="167" y="301"/>
                      <a:pt x="173" y="295"/>
                      <a:pt x="182" y="292"/>
                    </a:cubicBezTo>
                    <a:cubicBezTo>
                      <a:pt x="205" y="258"/>
                      <a:pt x="232" y="227"/>
                      <a:pt x="261" y="198"/>
                    </a:cubicBezTo>
                    <a:moveTo>
                      <a:pt x="261" y="198"/>
                    </a:moveTo>
                    <a:cubicBezTo>
                      <a:pt x="262" y="198"/>
                      <a:pt x="262" y="198"/>
                      <a:pt x="262" y="197"/>
                    </a:cubicBezTo>
                    <a:moveTo>
                      <a:pt x="262" y="197"/>
                    </a:moveTo>
                    <a:cubicBezTo>
                      <a:pt x="263" y="197"/>
                      <a:pt x="263" y="197"/>
                      <a:pt x="263" y="196"/>
                    </a:cubicBezTo>
                    <a:moveTo>
                      <a:pt x="263" y="196"/>
                    </a:moveTo>
                    <a:cubicBezTo>
                      <a:pt x="264" y="196"/>
                      <a:pt x="264" y="196"/>
                      <a:pt x="264" y="195"/>
                    </a:cubicBezTo>
                    <a:moveTo>
                      <a:pt x="264" y="195"/>
                    </a:moveTo>
                    <a:cubicBezTo>
                      <a:pt x="265" y="195"/>
                      <a:pt x="265" y="195"/>
                      <a:pt x="265" y="194"/>
                    </a:cubicBezTo>
                    <a:moveTo>
                      <a:pt x="265" y="194"/>
                    </a:moveTo>
                    <a:cubicBezTo>
                      <a:pt x="266" y="195"/>
                      <a:pt x="266" y="194"/>
                      <a:pt x="266" y="193"/>
                    </a:cubicBezTo>
                    <a:moveTo>
                      <a:pt x="266" y="193"/>
                    </a:moveTo>
                    <a:cubicBezTo>
                      <a:pt x="266" y="194"/>
                      <a:pt x="267" y="193"/>
                      <a:pt x="267" y="192"/>
                    </a:cubicBezTo>
                    <a:moveTo>
                      <a:pt x="267" y="192"/>
                    </a:moveTo>
                    <a:cubicBezTo>
                      <a:pt x="268" y="192"/>
                      <a:pt x="267" y="191"/>
                      <a:pt x="267" y="192"/>
                    </a:cubicBezTo>
                    <a:moveTo>
                      <a:pt x="265" y="261"/>
                    </a:moveTo>
                    <a:cubicBezTo>
                      <a:pt x="263" y="261"/>
                      <a:pt x="265" y="262"/>
                      <a:pt x="265" y="261"/>
                    </a:cubicBezTo>
                    <a:moveTo>
                      <a:pt x="265" y="261"/>
                    </a:moveTo>
                    <a:cubicBezTo>
                      <a:pt x="274" y="259"/>
                      <a:pt x="281" y="256"/>
                      <a:pt x="291" y="255"/>
                    </a:cubicBezTo>
                    <a:cubicBezTo>
                      <a:pt x="305" y="236"/>
                      <a:pt x="324" y="222"/>
                      <a:pt x="340" y="205"/>
                    </a:cubicBezTo>
                    <a:cubicBezTo>
                      <a:pt x="330" y="202"/>
                      <a:pt x="323" y="196"/>
                      <a:pt x="315" y="192"/>
                    </a:cubicBezTo>
                    <a:cubicBezTo>
                      <a:pt x="296" y="214"/>
                      <a:pt x="279" y="236"/>
                      <a:pt x="265" y="261"/>
                    </a:cubicBezTo>
                    <a:moveTo>
                      <a:pt x="1208" y="192"/>
                    </a:moveTo>
                    <a:cubicBezTo>
                      <a:pt x="1198" y="200"/>
                      <a:pt x="1184" y="204"/>
                      <a:pt x="1173" y="211"/>
                    </a:cubicBezTo>
                    <a:cubicBezTo>
                      <a:pt x="1184" y="223"/>
                      <a:pt x="1187" y="240"/>
                      <a:pt x="1203" y="247"/>
                    </a:cubicBezTo>
                    <a:cubicBezTo>
                      <a:pt x="1215" y="253"/>
                      <a:pt x="1231" y="253"/>
                      <a:pt x="1246" y="257"/>
                    </a:cubicBezTo>
                    <a:cubicBezTo>
                      <a:pt x="1260" y="261"/>
                      <a:pt x="1274" y="266"/>
                      <a:pt x="1287" y="269"/>
                    </a:cubicBezTo>
                    <a:cubicBezTo>
                      <a:pt x="1267" y="238"/>
                      <a:pt x="1237" y="216"/>
                      <a:pt x="1208" y="192"/>
                    </a:cubicBezTo>
                    <a:close/>
                    <a:moveTo>
                      <a:pt x="637" y="198"/>
                    </a:moveTo>
                    <a:cubicBezTo>
                      <a:pt x="636" y="202"/>
                      <a:pt x="630" y="210"/>
                      <a:pt x="633" y="212"/>
                    </a:cubicBezTo>
                    <a:cubicBezTo>
                      <a:pt x="638" y="210"/>
                      <a:pt x="636" y="203"/>
                      <a:pt x="637" y="198"/>
                    </a:cubicBezTo>
                    <a:moveTo>
                      <a:pt x="637" y="198"/>
                    </a:moveTo>
                    <a:cubicBezTo>
                      <a:pt x="640" y="198"/>
                      <a:pt x="636" y="194"/>
                      <a:pt x="637" y="198"/>
                    </a:cubicBezTo>
                    <a:moveTo>
                      <a:pt x="1072" y="226"/>
                    </a:moveTo>
                    <a:cubicBezTo>
                      <a:pt x="1076" y="226"/>
                      <a:pt x="1083" y="228"/>
                      <a:pt x="1085" y="227"/>
                    </a:cubicBezTo>
                    <a:cubicBezTo>
                      <a:pt x="1077" y="219"/>
                      <a:pt x="1070" y="209"/>
                      <a:pt x="1062" y="201"/>
                    </a:cubicBezTo>
                    <a:cubicBezTo>
                      <a:pt x="1065" y="210"/>
                      <a:pt x="1069" y="217"/>
                      <a:pt x="1072" y="226"/>
                    </a:cubicBezTo>
                    <a:close/>
                    <a:moveTo>
                      <a:pt x="342" y="207"/>
                    </a:moveTo>
                    <a:cubicBezTo>
                      <a:pt x="327" y="222"/>
                      <a:pt x="310" y="236"/>
                      <a:pt x="296" y="253"/>
                    </a:cubicBezTo>
                    <a:cubicBezTo>
                      <a:pt x="319" y="247"/>
                      <a:pt x="343" y="243"/>
                      <a:pt x="366" y="239"/>
                    </a:cubicBezTo>
                    <a:cubicBezTo>
                      <a:pt x="370" y="231"/>
                      <a:pt x="374" y="225"/>
                      <a:pt x="377" y="217"/>
                    </a:cubicBezTo>
                    <a:cubicBezTo>
                      <a:pt x="364" y="215"/>
                      <a:pt x="354" y="210"/>
                      <a:pt x="342" y="207"/>
                    </a:cubicBezTo>
                    <a:close/>
                    <a:moveTo>
                      <a:pt x="745" y="212"/>
                    </a:moveTo>
                    <a:cubicBezTo>
                      <a:pt x="745" y="226"/>
                      <a:pt x="744" y="240"/>
                      <a:pt x="743" y="254"/>
                    </a:cubicBezTo>
                    <a:cubicBezTo>
                      <a:pt x="757" y="253"/>
                      <a:pt x="774" y="255"/>
                      <a:pt x="786" y="253"/>
                    </a:cubicBezTo>
                    <a:cubicBezTo>
                      <a:pt x="784" y="241"/>
                      <a:pt x="786" y="224"/>
                      <a:pt x="784" y="212"/>
                    </a:cubicBezTo>
                    <a:cubicBezTo>
                      <a:pt x="773" y="210"/>
                      <a:pt x="756" y="210"/>
                      <a:pt x="745" y="212"/>
                    </a:cubicBezTo>
                    <a:close/>
                    <a:moveTo>
                      <a:pt x="1176" y="220"/>
                    </a:moveTo>
                    <a:cubicBezTo>
                      <a:pt x="1176" y="221"/>
                      <a:pt x="1176" y="221"/>
                      <a:pt x="1177" y="221"/>
                    </a:cubicBezTo>
                    <a:moveTo>
                      <a:pt x="1177" y="221"/>
                    </a:moveTo>
                    <a:cubicBezTo>
                      <a:pt x="1177" y="223"/>
                      <a:pt x="1178" y="221"/>
                      <a:pt x="1177" y="221"/>
                    </a:cubicBezTo>
                    <a:moveTo>
                      <a:pt x="1177" y="221"/>
                    </a:moveTo>
                    <a:cubicBezTo>
                      <a:pt x="1177" y="220"/>
                      <a:pt x="1176" y="220"/>
                      <a:pt x="1176" y="220"/>
                    </a:cubicBezTo>
                    <a:moveTo>
                      <a:pt x="1176" y="220"/>
                    </a:moveTo>
                    <a:cubicBezTo>
                      <a:pt x="1174" y="216"/>
                      <a:pt x="1171" y="207"/>
                      <a:pt x="1166" y="213"/>
                    </a:cubicBezTo>
                    <a:cubicBezTo>
                      <a:pt x="1170" y="214"/>
                      <a:pt x="1172" y="218"/>
                      <a:pt x="1176" y="220"/>
                    </a:cubicBezTo>
                    <a:moveTo>
                      <a:pt x="639" y="214"/>
                    </a:moveTo>
                    <a:cubicBezTo>
                      <a:pt x="637" y="225"/>
                      <a:pt x="635" y="238"/>
                      <a:pt x="633" y="251"/>
                    </a:cubicBezTo>
                    <a:cubicBezTo>
                      <a:pt x="669" y="252"/>
                      <a:pt x="704" y="254"/>
                      <a:pt x="741" y="254"/>
                    </a:cubicBezTo>
                    <a:cubicBezTo>
                      <a:pt x="741" y="239"/>
                      <a:pt x="742" y="225"/>
                      <a:pt x="743" y="212"/>
                    </a:cubicBezTo>
                    <a:cubicBezTo>
                      <a:pt x="707" y="211"/>
                      <a:pt x="673" y="213"/>
                      <a:pt x="639" y="214"/>
                    </a:cubicBezTo>
                    <a:close/>
                    <a:moveTo>
                      <a:pt x="787" y="212"/>
                    </a:moveTo>
                    <a:cubicBezTo>
                      <a:pt x="786" y="227"/>
                      <a:pt x="789" y="239"/>
                      <a:pt x="788" y="254"/>
                    </a:cubicBezTo>
                    <a:cubicBezTo>
                      <a:pt x="815" y="254"/>
                      <a:pt x="840" y="252"/>
                      <a:pt x="867" y="252"/>
                    </a:cubicBezTo>
                    <a:cubicBezTo>
                      <a:pt x="863" y="238"/>
                      <a:pt x="860" y="225"/>
                      <a:pt x="856" y="213"/>
                    </a:cubicBezTo>
                    <a:cubicBezTo>
                      <a:pt x="834" y="212"/>
                      <a:pt x="811" y="211"/>
                      <a:pt x="787" y="212"/>
                    </a:cubicBezTo>
                    <a:close/>
                    <a:moveTo>
                      <a:pt x="870" y="251"/>
                    </a:moveTo>
                    <a:cubicBezTo>
                      <a:pt x="891" y="251"/>
                      <a:pt x="917" y="249"/>
                      <a:pt x="938" y="247"/>
                    </a:cubicBezTo>
                    <a:cubicBezTo>
                      <a:pt x="937" y="236"/>
                      <a:pt x="934" y="227"/>
                      <a:pt x="932" y="216"/>
                    </a:cubicBezTo>
                    <a:cubicBezTo>
                      <a:pt x="909" y="214"/>
                      <a:pt x="884" y="214"/>
                      <a:pt x="861" y="213"/>
                    </a:cubicBezTo>
                    <a:cubicBezTo>
                      <a:pt x="864" y="226"/>
                      <a:pt x="868" y="237"/>
                      <a:pt x="870" y="251"/>
                    </a:cubicBezTo>
                    <a:close/>
                    <a:moveTo>
                      <a:pt x="1190" y="244"/>
                    </a:moveTo>
                    <a:cubicBezTo>
                      <a:pt x="1191" y="246"/>
                      <a:pt x="1191" y="244"/>
                      <a:pt x="1190" y="244"/>
                    </a:cubicBezTo>
                    <a:moveTo>
                      <a:pt x="1190" y="244"/>
                    </a:moveTo>
                    <a:cubicBezTo>
                      <a:pt x="1184" y="231"/>
                      <a:pt x="1173" y="222"/>
                      <a:pt x="1162" y="213"/>
                    </a:cubicBezTo>
                    <a:cubicBezTo>
                      <a:pt x="1143" y="221"/>
                      <a:pt x="1120" y="224"/>
                      <a:pt x="1099" y="230"/>
                    </a:cubicBezTo>
                    <a:cubicBezTo>
                      <a:pt x="1131" y="233"/>
                      <a:pt x="1160" y="239"/>
                      <a:pt x="1190" y="244"/>
                    </a:cubicBezTo>
                    <a:moveTo>
                      <a:pt x="632" y="214"/>
                    </a:moveTo>
                    <a:cubicBezTo>
                      <a:pt x="625" y="223"/>
                      <a:pt x="622" y="237"/>
                      <a:pt x="618" y="250"/>
                    </a:cubicBezTo>
                    <a:cubicBezTo>
                      <a:pt x="622" y="250"/>
                      <a:pt x="626" y="250"/>
                      <a:pt x="630" y="250"/>
                    </a:cubicBezTo>
                    <a:cubicBezTo>
                      <a:pt x="631" y="238"/>
                      <a:pt x="633" y="225"/>
                      <a:pt x="635" y="214"/>
                    </a:cubicBezTo>
                    <a:cubicBezTo>
                      <a:pt x="634" y="214"/>
                      <a:pt x="633" y="214"/>
                      <a:pt x="632" y="214"/>
                    </a:cubicBezTo>
                    <a:close/>
                    <a:moveTo>
                      <a:pt x="515" y="222"/>
                    </a:moveTo>
                    <a:cubicBezTo>
                      <a:pt x="512" y="228"/>
                      <a:pt x="507" y="233"/>
                      <a:pt x="505" y="239"/>
                    </a:cubicBezTo>
                    <a:cubicBezTo>
                      <a:pt x="541" y="243"/>
                      <a:pt x="576" y="248"/>
                      <a:pt x="615" y="249"/>
                    </a:cubicBezTo>
                    <a:cubicBezTo>
                      <a:pt x="619" y="237"/>
                      <a:pt x="623" y="226"/>
                      <a:pt x="628" y="215"/>
                    </a:cubicBezTo>
                    <a:cubicBezTo>
                      <a:pt x="589" y="216"/>
                      <a:pt x="552" y="218"/>
                      <a:pt x="515" y="222"/>
                    </a:cubicBezTo>
                    <a:close/>
                    <a:moveTo>
                      <a:pt x="941" y="247"/>
                    </a:moveTo>
                    <a:cubicBezTo>
                      <a:pt x="956" y="246"/>
                      <a:pt x="972" y="245"/>
                      <a:pt x="986" y="242"/>
                    </a:cubicBezTo>
                    <a:cubicBezTo>
                      <a:pt x="980" y="235"/>
                      <a:pt x="978" y="225"/>
                      <a:pt x="971" y="219"/>
                    </a:cubicBezTo>
                    <a:cubicBezTo>
                      <a:pt x="960" y="218"/>
                      <a:pt x="947" y="217"/>
                      <a:pt x="935" y="216"/>
                    </a:cubicBezTo>
                    <a:cubicBezTo>
                      <a:pt x="936" y="227"/>
                      <a:pt x="939" y="236"/>
                      <a:pt x="941" y="247"/>
                    </a:cubicBezTo>
                    <a:close/>
                    <a:moveTo>
                      <a:pt x="370" y="238"/>
                    </a:moveTo>
                    <a:cubicBezTo>
                      <a:pt x="369" y="238"/>
                      <a:pt x="370" y="239"/>
                      <a:pt x="370" y="238"/>
                    </a:cubicBezTo>
                    <a:moveTo>
                      <a:pt x="370" y="238"/>
                    </a:moveTo>
                    <a:cubicBezTo>
                      <a:pt x="384" y="235"/>
                      <a:pt x="401" y="237"/>
                      <a:pt x="406" y="225"/>
                    </a:cubicBezTo>
                    <a:cubicBezTo>
                      <a:pt x="396" y="224"/>
                      <a:pt x="389" y="220"/>
                      <a:pt x="379" y="219"/>
                    </a:cubicBezTo>
                    <a:cubicBezTo>
                      <a:pt x="377" y="226"/>
                      <a:pt x="372" y="230"/>
                      <a:pt x="370" y="238"/>
                    </a:cubicBezTo>
                    <a:moveTo>
                      <a:pt x="989" y="242"/>
                    </a:moveTo>
                    <a:cubicBezTo>
                      <a:pt x="1017" y="239"/>
                      <a:pt x="1047" y="238"/>
                      <a:pt x="1071" y="230"/>
                    </a:cubicBezTo>
                    <a:cubicBezTo>
                      <a:pt x="1042" y="224"/>
                      <a:pt x="1008" y="222"/>
                      <a:pt x="976" y="219"/>
                    </a:cubicBezTo>
                    <a:cubicBezTo>
                      <a:pt x="980" y="227"/>
                      <a:pt x="984" y="235"/>
                      <a:pt x="989" y="242"/>
                    </a:cubicBezTo>
                    <a:close/>
                    <a:moveTo>
                      <a:pt x="497" y="223"/>
                    </a:moveTo>
                    <a:cubicBezTo>
                      <a:pt x="494" y="227"/>
                      <a:pt x="494" y="233"/>
                      <a:pt x="491" y="238"/>
                    </a:cubicBezTo>
                    <a:cubicBezTo>
                      <a:pt x="495" y="237"/>
                      <a:pt x="497" y="239"/>
                      <a:pt x="502" y="239"/>
                    </a:cubicBezTo>
                    <a:cubicBezTo>
                      <a:pt x="504" y="232"/>
                      <a:pt x="509" y="228"/>
                      <a:pt x="511" y="222"/>
                    </a:cubicBezTo>
                    <a:cubicBezTo>
                      <a:pt x="507" y="223"/>
                      <a:pt x="503" y="224"/>
                      <a:pt x="497" y="223"/>
                    </a:cubicBezTo>
                    <a:close/>
                    <a:moveTo>
                      <a:pt x="1178" y="224"/>
                    </a:moveTo>
                    <a:cubicBezTo>
                      <a:pt x="1177" y="224"/>
                      <a:pt x="1178" y="225"/>
                      <a:pt x="1178" y="224"/>
                    </a:cubicBezTo>
                    <a:close/>
                    <a:moveTo>
                      <a:pt x="445" y="231"/>
                    </a:moveTo>
                    <a:cubicBezTo>
                      <a:pt x="460" y="233"/>
                      <a:pt x="475" y="235"/>
                      <a:pt x="489" y="238"/>
                    </a:cubicBezTo>
                    <a:cubicBezTo>
                      <a:pt x="490" y="232"/>
                      <a:pt x="492" y="229"/>
                      <a:pt x="493" y="224"/>
                    </a:cubicBezTo>
                    <a:cubicBezTo>
                      <a:pt x="477" y="226"/>
                      <a:pt x="459" y="226"/>
                      <a:pt x="445" y="231"/>
                    </a:cubicBezTo>
                    <a:close/>
                    <a:moveTo>
                      <a:pt x="421" y="230"/>
                    </a:moveTo>
                    <a:cubicBezTo>
                      <a:pt x="423" y="230"/>
                      <a:pt x="429" y="229"/>
                      <a:pt x="424" y="229"/>
                    </a:cubicBezTo>
                    <a:cubicBezTo>
                      <a:pt x="419" y="228"/>
                      <a:pt x="414" y="227"/>
                      <a:pt x="409" y="226"/>
                    </a:cubicBezTo>
                    <a:cubicBezTo>
                      <a:pt x="407" y="229"/>
                      <a:pt x="404" y="230"/>
                      <a:pt x="403" y="233"/>
                    </a:cubicBezTo>
                    <a:cubicBezTo>
                      <a:pt x="409" y="232"/>
                      <a:pt x="416" y="231"/>
                      <a:pt x="421" y="230"/>
                    </a:cubicBezTo>
                    <a:close/>
                    <a:moveTo>
                      <a:pt x="1079" y="230"/>
                    </a:moveTo>
                    <a:cubicBezTo>
                      <a:pt x="1078" y="229"/>
                      <a:pt x="1073" y="228"/>
                      <a:pt x="1073" y="230"/>
                    </a:cubicBezTo>
                    <a:cubicBezTo>
                      <a:pt x="1074" y="231"/>
                      <a:pt x="1078" y="232"/>
                      <a:pt x="1079" y="230"/>
                    </a:cubicBezTo>
                    <a:close/>
                    <a:moveTo>
                      <a:pt x="309" y="418"/>
                    </a:moveTo>
                    <a:cubicBezTo>
                      <a:pt x="307" y="419"/>
                      <a:pt x="309" y="419"/>
                      <a:pt x="309" y="418"/>
                    </a:cubicBezTo>
                    <a:moveTo>
                      <a:pt x="309" y="418"/>
                    </a:moveTo>
                    <a:cubicBezTo>
                      <a:pt x="345" y="412"/>
                      <a:pt x="381" y="406"/>
                      <a:pt x="418" y="401"/>
                    </a:cubicBezTo>
                    <a:cubicBezTo>
                      <a:pt x="436" y="359"/>
                      <a:pt x="455" y="318"/>
                      <a:pt x="477" y="281"/>
                    </a:cubicBezTo>
                    <a:cubicBezTo>
                      <a:pt x="479" y="266"/>
                      <a:pt x="484" y="253"/>
                      <a:pt x="488" y="239"/>
                    </a:cubicBezTo>
                    <a:cubicBezTo>
                      <a:pt x="458" y="236"/>
                      <a:pt x="431" y="227"/>
                      <a:pt x="401" y="236"/>
                    </a:cubicBezTo>
                    <a:cubicBezTo>
                      <a:pt x="376" y="263"/>
                      <a:pt x="355" y="294"/>
                      <a:pt x="333" y="324"/>
                    </a:cubicBezTo>
                    <a:cubicBezTo>
                      <a:pt x="324" y="355"/>
                      <a:pt x="314" y="384"/>
                      <a:pt x="309" y="418"/>
                    </a:cubicBezTo>
                    <a:moveTo>
                      <a:pt x="1092" y="232"/>
                    </a:moveTo>
                    <a:cubicBezTo>
                      <a:pt x="1137" y="288"/>
                      <a:pt x="1175" y="350"/>
                      <a:pt x="1208" y="417"/>
                    </a:cubicBezTo>
                    <a:cubicBezTo>
                      <a:pt x="1224" y="419"/>
                      <a:pt x="1240" y="426"/>
                      <a:pt x="1256" y="425"/>
                    </a:cubicBezTo>
                    <a:cubicBezTo>
                      <a:pt x="1244" y="360"/>
                      <a:pt x="1220" y="299"/>
                      <a:pt x="1192" y="247"/>
                    </a:cubicBezTo>
                    <a:cubicBezTo>
                      <a:pt x="1159" y="242"/>
                      <a:pt x="1128" y="235"/>
                      <a:pt x="1092" y="232"/>
                    </a:cubicBezTo>
                    <a:moveTo>
                      <a:pt x="1092" y="232"/>
                    </a:moveTo>
                    <a:cubicBezTo>
                      <a:pt x="1092" y="230"/>
                      <a:pt x="1091" y="232"/>
                      <a:pt x="1092" y="232"/>
                    </a:cubicBezTo>
                    <a:moveTo>
                      <a:pt x="1104" y="252"/>
                    </a:moveTo>
                    <a:cubicBezTo>
                      <a:pt x="1096" y="241"/>
                      <a:pt x="1089" y="225"/>
                      <a:pt x="1075" y="235"/>
                    </a:cubicBezTo>
                    <a:cubicBezTo>
                      <a:pt x="1096" y="285"/>
                      <a:pt x="1109" y="342"/>
                      <a:pt x="1119" y="403"/>
                    </a:cubicBezTo>
                    <a:cubicBezTo>
                      <a:pt x="1148" y="406"/>
                      <a:pt x="1178" y="413"/>
                      <a:pt x="1205" y="415"/>
                    </a:cubicBezTo>
                    <a:cubicBezTo>
                      <a:pt x="1178" y="360"/>
                      <a:pt x="1141" y="300"/>
                      <a:pt x="1104" y="252"/>
                    </a:cubicBezTo>
                    <a:close/>
                    <a:moveTo>
                      <a:pt x="990" y="245"/>
                    </a:moveTo>
                    <a:cubicBezTo>
                      <a:pt x="1015" y="293"/>
                      <a:pt x="1038" y="342"/>
                      <a:pt x="1057" y="395"/>
                    </a:cubicBezTo>
                    <a:cubicBezTo>
                      <a:pt x="1077" y="398"/>
                      <a:pt x="1097" y="399"/>
                      <a:pt x="1116" y="403"/>
                    </a:cubicBezTo>
                    <a:cubicBezTo>
                      <a:pt x="1108" y="349"/>
                      <a:pt x="1096" y="297"/>
                      <a:pt x="1080" y="252"/>
                    </a:cubicBezTo>
                    <a:cubicBezTo>
                      <a:pt x="1078" y="246"/>
                      <a:pt x="1076" y="238"/>
                      <a:pt x="1070" y="235"/>
                    </a:cubicBezTo>
                    <a:cubicBezTo>
                      <a:pt x="1044" y="239"/>
                      <a:pt x="1018" y="243"/>
                      <a:pt x="990" y="245"/>
                    </a:cubicBezTo>
                    <a:close/>
                    <a:moveTo>
                      <a:pt x="368" y="240"/>
                    </a:moveTo>
                    <a:cubicBezTo>
                      <a:pt x="357" y="263"/>
                      <a:pt x="345" y="288"/>
                      <a:pt x="339" y="312"/>
                    </a:cubicBezTo>
                    <a:cubicBezTo>
                      <a:pt x="353" y="289"/>
                      <a:pt x="373" y="265"/>
                      <a:pt x="390" y="245"/>
                    </a:cubicBezTo>
                    <a:cubicBezTo>
                      <a:pt x="392" y="243"/>
                      <a:pt x="395" y="239"/>
                      <a:pt x="394" y="237"/>
                    </a:cubicBezTo>
                    <a:cubicBezTo>
                      <a:pt x="386" y="238"/>
                      <a:pt x="378" y="240"/>
                      <a:pt x="368" y="240"/>
                    </a:cubicBezTo>
                    <a:close/>
                    <a:moveTo>
                      <a:pt x="483" y="268"/>
                    </a:moveTo>
                    <a:cubicBezTo>
                      <a:pt x="480" y="268"/>
                      <a:pt x="484" y="272"/>
                      <a:pt x="483" y="268"/>
                    </a:cubicBezTo>
                    <a:moveTo>
                      <a:pt x="483" y="268"/>
                    </a:moveTo>
                    <a:cubicBezTo>
                      <a:pt x="489" y="260"/>
                      <a:pt x="494" y="251"/>
                      <a:pt x="499" y="241"/>
                    </a:cubicBezTo>
                    <a:cubicBezTo>
                      <a:pt x="496" y="241"/>
                      <a:pt x="494" y="240"/>
                      <a:pt x="490" y="240"/>
                    </a:cubicBezTo>
                    <a:cubicBezTo>
                      <a:pt x="488" y="250"/>
                      <a:pt x="484" y="258"/>
                      <a:pt x="483" y="268"/>
                    </a:cubicBezTo>
                    <a:moveTo>
                      <a:pt x="327" y="249"/>
                    </a:moveTo>
                    <a:cubicBezTo>
                      <a:pt x="315" y="252"/>
                      <a:pt x="301" y="252"/>
                      <a:pt x="294" y="256"/>
                    </a:cubicBezTo>
                    <a:cubicBezTo>
                      <a:pt x="288" y="259"/>
                      <a:pt x="279" y="270"/>
                      <a:pt x="273" y="277"/>
                    </a:cubicBezTo>
                    <a:cubicBezTo>
                      <a:pt x="242" y="313"/>
                      <a:pt x="211" y="348"/>
                      <a:pt x="198" y="402"/>
                    </a:cubicBezTo>
                    <a:cubicBezTo>
                      <a:pt x="222" y="411"/>
                      <a:pt x="245" y="420"/>
                      <a:pt x="271" y="426"/>
                    </a:cubicBezTo>
                    <a:cubicBezTo>
                      <a:pt x="285" y="399"/>
                      <a:pt x="300" y="372"/>
                      <a:pt x="316" y="347"/>
                    </a:cubicBezTo>
                    <a:cubicBezTo>
                      <a:pt x="321" y="339"/>
                      <a:pt x="328" y="330"/>
                      <a:pt x="332" y="322"/>
                    </a:cubicBezTo>
                    <a:cubicBezTo>
                      <a:pt x="344" y="296"/>
                      <a:pt x="348" y="268"/>
                      <a:pt x="365" y="243"/>
                    </a:cubicBezTo>
                    <a:cubicBezTo>
                      <a:pt x="364" y="243"/>
                      <a:pt x="365" y="241"/>
                      <a:pt x="364" y="241"/>
                    </a:cubicBezTo>
                    <a:cubicBezTo>
                      <a:pt x="353" y="243"/>
                      <a:pt x="340" y="246"/>
                      <a:pt x="327" y="249"/>
                    </a:cubicBezTo>
                    <a:close/>
                    <a:moveTo>
                      <a:pt x="504" y="242"/>
                    </a:moveTo>
                    <a:cubicBezTo>
                      <a:pt x="472" y="274"/>
                      <a:pt x="465" y="338"/>
                      <a:pt x="457" y="396"/>
                    </a:cubicBezTo>
                    <a:cubicBezTo>
                      <a:pt x="495" y="392"/>
                      <a:pt x="535" y="389"/>
                      <a:pt x="575" y="385"/>
                    </a:cubicBezTo>
                    <a:cubicBezTo>
                      <a:pt x="587" y="340"/>
                      <a:pt x="599" y="294"/>
                      <a:pt x="614" y="252"/>
                    </a:cubicBezTo>
                    <a:cubicBezTo>
                      <a:pt x="576" y="250"/>
                      <a:pt x="540" y="246"/>
                      <a:pt x="504" y="242"/>
                    </a:cubicBezTo>
                    <a:close/>
                    <a:moveTo>
                      <a:pt x="1194" y="244"/>
                    </a:moveTo>
                    <a:cubicBezTo>
                      <a:pt x="1194" y="245"/>
                      <a:pt x="1194" y="245"/>
                      <a:pt x="1195" y="245"/>
                    </a:cubicBezTo>
                    <a:moveTo>
                      <a:pt x="1195" y="245"/>
                    </a:moveTo>
                    <a:cubicBezTo>
                      <a:pt x="1196" y="247"/>
                      <a:pt x="1196" y="245"/>
                      <a:pt x="1195" y="245"/>
                    </a:cubicBezTo>
                    <a:moveTo>
                      <a:pt x="1195" y="245"/>
                    </a:moveTo>
                    <a:cubicBezTo>
                      <a:pt x="1195" y="244"/>
                      <a:pt x="1195" y="244"/>
                      <a:pt x="1194" y="244"/>
                    </a:cubicBezTo>
                    <a:moveTo>
                      <a:pt x="1194" y="244"/>
                    </a:moveTo>
                    <a:cubicBezTo>
                      <a:pt x="1193" y="243"/>
                      <a:pt x="1193" y="244"/>
                      <a:pt x="1194" y="244"/>
                    </a:cubicBezTo>
                    <a:moveTo>
                      <a:pt x="942" y="250"/>
                    </a:moveTo>
                    <a:cubicBezTo>
                      <a:pt x="949" y="294"/>
                      <a:pt x="955" y="339"/>
                      <a:pt x="960" y="386"/>
                    </a:cubicBezTo>
                    <a:cubicBezTo>
                      <a:pt x="991" y="389"/>
                      <a:pt x="1024" y="391"/>
                      <a:pt x="1054" y="395"/>
                    </a:cubicBezTo>
                    <a:cubicBezTo>
                      <a:pt x="1035" y="342"/>
                      <a:pt x="1013" y="293"/>
                      <a:pt x="988" y="246"/>
                    </a:cubicBezTo>
                    <a:cubicBezTo>
                      <a:pt x="972" y="247"/>
                      <a:pt x="957" y="249"/>
                      <a:pt x="942" y="250"/>
                    </a:cubicBezTo>
                    <a:close/>
                    <a:moveTo>
                      <a:pt x="1259" y="424"/>
                    </a:moveTo>
                    <a:cubicBezTo>
                      <a:pt x="1279" y="419"/>
                      <a:pt x="1296" y="412"/>
                      <a:pt x="1314" y="407"/>
                    </a:cubicBezTo>
                    <a:cubicBezTo>
                      <a:pt x="1282" y="347"/>
                      <a:pt x="1242" y="296"/>
                      <a:pt x="1198" y="249"/>
                    </a:cubicBezTo>
                    <a:cubicBezTo>
                      <a:pt x="1197" y="249"/>
                      <a:pt x="1196" y="249"/>
                      <a:pt x="1196" y="250"/>
                    </a:cubicBezTo>
                    <a:cubicBezTo>
                      <a:pt x="1224" y="301"/>
                      <a:pt x="1245" y="359"/>
                      <a:pt x="1259" y="424"/>
                    </a:cubicBezTo>
                    <a:close/>
                    <a:moveTo>
                      <a:pt x="871" y="255"/>
                    </a:moveTo>
                    <a:cubicBezTo>
                      <a:pt x="883" y="296"/>
                      <a:pt x="891" y="339"/>
                      <a:pt x="899" y="383"/>
                    </a:cubicBezTo>
                    <a:cubicBezTo>
                      <a:pt x="918" y="384"/>
                      <a:pt x="938" y="384"/>
                      <a:pt x="957" y="386"/>
                    </a:cubicBezTo>
                    <a:cubicBezTo>
                      <a:pt x="953" y="345"/>
                      <a:pt x="948" y="301"/>
                      <a:pt x="942" y="264"/>
                    </a:cubicBezTo>
                    <a:cubicBezTo>
                      <a:pt x="941" y="260"/>
                      <a:pt x="941" y="252"/>
                      <a:pt x="936" y="250"/>
                    </a:cubicBezTo>
                    <a:cubicBezTo>
                      <a:pt x="915" y="253"/>
                      <a:pt x="892" y="252"/>
                      <a:pt x="871" y="255"/>
                    </a:cubicBezTo>
                    <a:close/>
                    <a:moveTo>
                      <a:pt x="1317" y="405"/>
                    </a:moveTo>
                    <a:cubicBezTo>
                      <a:pt x="1328" y="400"/>
                      <a:pt x="1340" y="395"/>
                      <a:pt x="1350" y="388"/>
                    </a:cubicBezTo>
                    <a:cubicBezTo>
                      <a:pt x="1332" y="347"/>
                      <a:pt x="1314" y="307"/>
                      <a:pt x="1289" y="273"/>
                    </a:cubicBezTo>
                    <a:cubicBezTo>
                      <a:pt x="1263" y="264"/>
                      <a:pt x="1231" y="255"/>
                      <a:pt x="1204" y="251"/>
                    </a:cubicBezTo>
                    <a:cubicBezTo>
                      <a:pt x="1247" y="297"/>
                      <a:pt x="1284" y="348"/>
                      <a:pt x="1317" y="405"/>
                    </a:cubicBezTo>
                    <a:close/>
                    <a:moveTo>
                      <a:pt x="616" y="253"/>
                    </a:moveTo>
                    <a:cubicBezTo>
                      <a:pt x="602" y="296"/>
                      <a:pt x="589" y="340"/>
                      <a:pt x="578" y="385"/>
                    </a:cubicBezTo>
                    <a:cubicBezTo>
                      <a:pt x="591" y="385"/>
                      <a:pt x="603" y="384"/>
                      <a:pt x="617" y="383"/>
                    </a:cubicBezTo>
                    <a:cubicBezTo>
                      <a:pt x="619" y="338"/>
                      <a:pt x="624" y="295"/>
                      <a:pt x="630" y="253"/>
                    </a:cubicBezTo>
                    <a:cubicBezTo>
                      <a:pt x="625" y="254"/>
                      <a:pt x="618" y="252"/>
                      <a:pt x="616" y="253"/>
                    </a:cubicBezTo>
                    <a:close/>
                    <a:moveTo>
                      <a:pt x="632" y="256"/>
                    </a:moveTo>
                    <a:cubicBezTo>
                      <a:pt x="628" y="298"/>
                      <a:pt x="623" y="339"/>
                      <a:pt x="621" y="383"/>
                    </a:cubicBezTo>
                    <a:cubicBezTo>
                      <a:pt x="658" y="381"/>
                      <a:pt x="697" y="381"/>
                      <a:pt x="735" y="380"/>
                    </a:cubicBezTo>
                    <a:cubicBezTo>
                      <a:pt x="737" y="339"/>
                      <a:pt x="739" y="298"/>
                      <a:pt x="740" y="257"/>
                    </a:cubicBezTo>
                    <a:cubicBezTo>
                      <a:pt x="704" y="257"/>
                      <a:pt x="670" y="255"/>
                      <a:pt x="634" y="254"/>
                    </a:cubicBezTo>
                    <a:cubicBezTo>
                      <a:pt x="634" y="252"/>
                      <a:pt x="632" y="254"/>
                      <a:pt x="632" y="256"/>
                    </a:cubicBezTo>
                    <a:close/>
                    <a:moveTo>
                      <a:pt x="788" y="257"/>
                    </a:moveTo>
                    <a:cubicBezTo>
                      <a:pt x="789" y="297"/>
                      <a:pt x="790" y="338"/>
                      <a:pt x="790" y="380"/>
                    </a:cubicBezTo>
                    <a:cubicBezTo>
                      <a:pt x="825" y="380"/>
                      <a:pt x="860" y="381"/>
                      <a:pt x="894" y="383"/>
                    </a:cubicBezTo>
                    <a:cubicBezTo>
                      <a:pt x="888" y="338"/>
                      <a:pt x="878" y="296"/>
                      <a:pt x="868" y="255"/>
                    </a:cubicBezTo>
                    <a:cubicBezTo>
                      <a:pt x="841" y="255"/>
                      <a:pt x="815" y="257"/>
                      <a:pt x="788" y="257"/>
                    </a:cubicBezTo>
                    <a:close/>
                    <a:moveTo>
                      <a:pt x="744" y="257"/>
                    </a:moveTo>
                    <a:cubicBezTo>
                      <a:pt x="740" y="296"/>
                      <a:pt x="740" y="339"/>
                      <a:pt x="738" y="380"/>
                    </a:cubicBezTo>
                    <a:cubicBezTo>
                      <a:pt x="755" y="380"/>
                      <a:pt x="771" y="380"/>
                      <a:pt x="788" y="380"/>
                    </a:cubicBezTo>
                    <a:cubicBezTo>
                      <a:pt x="788" y="338"/>
                      <a:pt x="786" y="298"/>
                      <a:pt x="786" y="257"/>
                    </a:cubicBezTo>
                    <a:cubicBezTo>
                      <a:pt x="772" y="257"/>
                      <a:pt x="758" y="257"/>
                      <a:pt x="744" y="257"/>
                    </a:cubicBezTo>
                    <a:close/>
                    <a:moveTo>
                      <a:pt x="286" y="259"/>
                    </a:moveTo>
                    <a:cubicBezTo>
                      <a:pt x="277" y="260"/>
                      <a:pt x="270" y="263"/>
                      <a:pt x="262" y="264"/>
                    </a:cubicBezTo>
                    <a:cubicBezTo>
                      <a:pt x="249" y="285"/>
                      <a:pt x="237" y="306"/>
                      <a:pt x="227" y="329"/>
                    </a:cubicBezTo>
                    <a:moveTo>
                      <a:pt x="227" y="329"/>
                    </a:moveTo>
                    <a:cubicBezTo>
                      <a:pt x="226" y="329"/>
                      <a:pt x="227" y="330"/>
                      <a:pt x="226" y="331"/>
                    </a:cubicBezTo>
                    <a:moveTo>
                      <a:pt x="226" y="331"/>
                    </a:moveTo>
                    <a:cubicBezTo>
                      <a:pt x="225" y="331"/>
                      <a:pt x="226" y="332"/>
                      <a:pt x="226" y="331"/>
                    </a:cubicBezTo>
                    <a:moveTo>
                      <a:pt x="226" y="331"/>
                    </a:moveTo>
                    <a:cubicBezTo>
                      <a:pt x="227" y="331"/>
                      <a:pt x="227" y="330"/>
                      <a:pt x="227" y="329"/>
                    </a:cubicBezTo>
                    <a:moveTo>
                      <a:pt x="286" y="259"/>
                    </a:moveTo>
                    <a:cubicBezTo>
                      <a:pt x="266" y="281"/>
                      <a:pt x="246" y="305"/>
                      <a:pt x="227" y="329"/>
                    </a:cubicBezTo>
                    <a:moveTo>
                      <a:pt x="286" y="259"/>
                    </a:moveTo>
                    <a:cubicBezTo>
                      <a:pt x="287" y="258"/>
                      <a:pt x="286" y="258"/>
                      <a:pt x="286" y="259"/>
                    </a:cubicBezTo>
                    <a:moveTo>
                      <a:pt x="257" y="266"/>
                    </a:moveTo>
                    <a:cubicBezTo>
                      <a:pt x="237" y="271"/>
                      <a:pt x="219" y="278"/>
                      <a:pt x="201" y="286"/>
                    </a:cubicBezTo>
                    <a:cubicBezTo>
                      <a:pt x="180" y="309"/>
                      <a:pt x="160" y="334"/>
                      <a:pt x="143" y="361"/>
                    </a:cubicBezTo>
                    <a:cubicBezTo>
                      <a:pt x="152" y="377"/>
                      <a:pt x="168" y="386"/>
                      <a:pt x="184" y="394"/>
                    </a:cubicBezTo>
                    <a:cubicBezTo>
                      <a:pt x="194" y="377"/>
                      <a:pt x="205" y="359"/>
                      <a:pt x="218" y="344"/>
                    </a:cubicBezTo>
                    <a:cubicBezTo>
                      <a:pt x="228" y="316"/>
                      <a:pt x="243" y="291"/>
                      <a:pt x="257" y="266"/>
                    </a:cubicBezTo>
                    <a:moveTo>
                      <a:pt x="257" y="266"/>
                    </a:moveTo>
                    <a:cubicBezTo>
                      <a:pt x="258" y="266"/>
                      <a:pt x="257" y="265"/>
                      <a:pt x="257" y="266"/>
                    </a:cubicBezTo>
                    <a:moveTo>
                      <a:pt x="1292" y="270"/>
                    </a:moveTo>
                    <a:cubicBezTo>
                      <a:pt x="1293" y="272"/>
                      <a:pt x="1293" y="270"/>
                      <a:pt x="1292" y="270"/>
                    </a:cubicBezTo>
                    <a:moveTo>
                      <a:pt x="1292" y="270"/>
                    </a:moveTo>
                    <a:cubicBezTo>
                      <a:pt x="1291" y="269"/>
                      <a:pt x="1291" y="270"/>
                      <a:pt x="1292" y="270"/>
                    </a:cubicBezTo>
                    <a:moveTo>
                      <a:pt x="1295" y="275"/>
                    </a:moveTo>
                    <a:cubicBezTo>
                      <a:pt x="1316" y="310"/>
                      <a:pt x="1336" y="347"/>
                      <a:pt x="1351" y="387"/>
                    </a:cubicBezTo>
                    <a:cubicBezTo>
                      <a:pt x="1360" y="383"/>
                      <a:pt x="1368" y="378"/>
                      <a:pt x="1373" y="371"/>
                    </a:cubicBezTo>
                    <a:cubicBezTo>
                      <a:pt x="1349" y="337"/>
                      <a:pt x="1324" y="306"/>
                      <a:pt x="1298" y="275"/>
                    </a:cubicBezTo>
                    <a:cubicBezTo>
                      <a:pt x="1297" y="275"/>
                      <a:pt x="1296" y="275"/>
                      <a:pt x="1295" y="275"/>
                    </a:cubicBezTo>
                    <a:moveTo>
                      <a:pt x="1295" y="275"/>
                    </a:moveTo>
                    <a:cubicBezTo>
                      <a:pt x="1294" y="274"/>
                      <a:pt x="1294" y="275"/>
                      <a:pt x="1295" y="275"/>
                    </a:cubicBezTo>
                    <a:moveTo>
                      <a:pt x="1375" y="370"/>
                    </a:moveTo>
                    <a:cubicBezTo>
                      <a:pt x="1380" y="364"/>
                      <a:pt x="1385" y="359"/>
                      <a:pt x="1387" y="350"/>
                    </a:cubicBezTo>
                    <a:cubicBezTo>
                      <a:pt x="1378" y="334"/>
                      <a:pt x="1367" y="319"/>
                      <a:pt x="1357" y="303"/>
                    </a:cubicBezTo>
                    <a:cubicBezTo>
                      <a:pt x="1341" y="294"/>
                      <a:pt x="1322" y="283"/>
                      <a:pt x="1303" y="279"/>
                    </a:cubicBezTo>
                    <a:cubicBezTo>
                      <a:pt x="1330" y="307"/>
                      <a:pt x="1352" y="339"/>
                      <a:pt x="1375" y="370"/>
                    </a:cubicBezTo>
                    <a:close/>
                    <a:moveTo>
                      <a:pt x="194" y="289"/>
                    </a:moveTo>
                    <a:cubicBezTo>
                      <a:pt x="177" y="295"/>
                      <a:pt x="173" y="313"/>
                      <a:pt x="164" y="326"/>
                    </a:cubicBezTo>
                    <a:moveTo>
                      <a:pt x="164" y="326"/>
                    </a:moveTo>
                    <a:cubicBezTo>
                      <a:pt x="163" y="326"/>
                      <a:pt x="163" y="326"/>
                      <a:pt x="163" y="327"/>
                    </a:cubicBezTo>
                    <a:moveTo>
                      <a:pt x="163" y="327"/>
                    </a:moveTo>
                    <a:cubicBezTo>
                      <a:pt x="162" y="327"/>
                      <a:pt x="162" y="328"/>
                      <a:pt x="162" y="329"/>
                    </a:cubicBezTo>
                    <a:moveTo>
                      <a:pt x="162" y="329"/>
                    </a:moveTo>
                    <a:cubicBezTo>
                      <a:pt x="161" y="329"/>
                      <a:pt x="162" y="330"/>
                      <a:pt x="162" y="329"/>
                    </a:cubicBezTo>
                    <a:moveTo>
                      <a:pt x="162" y="329"/>
                    </a:moveTo>
                    <a:cubicBezTo>
                      <a:pt x="163" y="329"/>
                      <a:pt x="163" y="328"/>
                      <a:pt x="163" y="327"/>
                    </a:cubicBezTo>
                    <a:moveTo>
                      <a:pt x="163" y="327"/>
                    </a:moveTo>
                    <a:cubicBezTo>
                      <a:pt x="164" y="327"/>
                      <a:pt x="164" y="326"/>
                      <a:pt x="164" y="326"/>
                    </a:cubicBezTo>
                    <a:moveTo>
                      <a:pt x="164" y="326"/>
                    </a:moveTo>
                    <a:cubicBezTo>
                      <a:pt x="174" y="314"/>
                      <a:pt x="184" y="302"/>
                      <a:pt x="194" y="289"/>
                    </a:cubicBezTo>
                    <a:moveTo>
                      <a:pt x="194" y="289"/>
                    </a:moveTo>
                    <a:cubicBezTo>
                      <a:pt x="195" y="289"/>
                      <a:pt x="194" y="288"/>
                      <a:pt x="194" y="289"/>
                    </a:cubicBezTo>
                    <a:moveTo>
                      <a:pt x="472" y="295"/>
                    </a:moveTo>
                    <a:cubicBezTo>
                      <a:pt x="472" y="295"/>
                      <a:pt x="471" y="295"/>
                      <a:pt x="471" y="295"/>
                    </a:cubicBezTo>
                    <a:cubicBezTo>
                      <a:pt x="454" y="329"/>
                      <a:pt x="436" y="362"/>
                      <a:pt x="422" y="400"/>
                    </a:cubicBezTo>
                    <a:moveTo>
                      <a:pt x="422" y="400"/>
                    </a:moveTo>
                    <a:cubicBezTo>
                      <a:pt x="421" y="400"/>
                      <a:pt x="422" y="401"/>
                      <a:pt x="422" y="400"/>
                    </a:cubicBezTo>
                    <a:moveTo>
                      <a:pt x="422" y="400"/>
                    </a:moveTo>
                    <a:cubicBezTo>
                      <a:pt x="434" y="400"/>
                      <a:pt x="442" y="397"/>
                      <a:pt x="454" y="397"/>
                    </a:cubicBezTo>
                    <a:cubicBezTo>
                      <a:pt x="458" y="361"/>
                      <a:pt x="466" y="329"/>
                      <a:pt x="472" y="295"/>
                    </a:cubicBezTo>
                    <a:moveTo>
                      <a:pt x="472" y="295"/>
                    </a:moveTo>
                    <a:cubicBezTo>
                      <a:pt x="475" y="295"/>
                      <a:pt x="471" y="291"/>
                      <a:pt x="472" y="295"/>
                    </a:cubicBezTo>
                    <a:moveTo>
                      <a:pt x="178" y="297"/>
                    </a:moveTo>
                    <a:cubicBezTo>
                      <a:pt x="158" y="308"/>
                      <a:pt x="126" y="328"/>
                      <a:pt x="141" y="359"/>
                    </a:cubicBezTo>
                    <a:cubicBezTo>
                      <a:pt x="153" y="338"/>
                      <a:pt x="165" y="317"/>
                      <a:pt x="178" y="297"/>
                    </a:cubicBezTo>
                    <a:moveTo>
                      <a:pt x="178" y="297"/>
                    </a:moveTo>
                    <a:cubicBezTo>
                      <a:pt x="180" y="296"/>
                      <a:pt x="178" y="296"/>
                      <a:pt x="178" y="297"/>
                    </a:cubicBezTo>
                    <a:moveTo>
                      <a:pt x="1364" y="309"/>
                    </a:moveTo>
                    <a:cubicBezTo>
                      <a:pt x="1364" y="309"/>
                      <a:pt x="1364" y="310"/>
                      <a:pt x="1365" y="310"/>
                    </a:cubicBezTo>
                    <a:moveTo>
                      <a:pt x="1365" y="310"/>
                    </a:moveTo>
                    <a:cubicBezTo>
                      <a:pt x="1365" y="310"/>
                      <a:pt x="1365" y="310"/>
                      <a:pt x="1366" y="311"/>
                    </a:cubicBezTo>
                    <a:moveTo>
                      <a:pt x="1366" y="311"/>
                    </a:moveTo>
                    <a:cubicBezTo>
                      <a:pt x="1366" y="312"/>
                      <a:pt x="1366" y="312"/>
                      <a:pt x="1367" y="312"/>
                    </a:cubicBezTo>
                    <a:moveTo>
                      <a:pt x="1367" y="312"/>
                    </a:moveTo>
                    <a:cubicBezTo>
                      <a:pt x="1367" y="313"/>
                      <a:pt x="1367" y="313"/>
                      <a:pt x="1368" y="313"/>
                    </a:cubicBezTo>
                    <a:moveTo>
                      <a:pt x="1368" y="313"/>
                    </a:moveTo>
                    <a:cubicBezTo>
                      <a:pt x="1374" y="324"/>
                      <a:pt x="1380" y="335"/>
                      <a:pt x="1388" y="345"/>
                    </a:cubicBezTo>
                    <a:cubicBezTo>
                      <a:pt x="1386" y="330"/>
                      <a:pt x="1375" y="324"/>
                      <a:pt x="1368" y="313"/>
                    </a:cubicBezTo>
                    <a:moveTo>
                      <a:pt x="1368" y="313"/>
                    </a:moveTo>
                    <a:cubicBezTo>
                      <a:pt x="1368" y="313"/>
                      <a:pt x="1367" y="312"/>
                      <a:pt x="1367" y="312"/>
                    </a:cubicBezTo>
                    <a:moveTo>
                      <a:pt x="1367" y="312"/>
                    </a:moveTo>
                    <a:cubicBezTo>
                      <a:pt x="1367" y="311"/>
                      <a:pt x="1367" y="311"/>
                      <a:pt x="1366" y="311"/>
                    </a:cubicBezTo>
                    <a:moveTo>
                      <a:pt x="1366" y="311"/>
                    </a:moveTo>
                    <a:cubicBezTo>
                      <a:pt x="1366" y="310"/>
                      <a:pt x="1365" y="310"/>
                      <a:pt x="1365" y="310"/>
                    </a:cubicBezTo>
                    <a:moveTo>
                      <a:pt x="1365" y="310"/>
                    </a:moveTo>
                    <a:cubicBezTo>
                      <a:pt x="1365" y="309"/>
                      <a:pt x="1365" y="309"/>
                      <a:pt x="1364" y="309"/>
                    </a:cubicBezTo>
                    <a:moveTo>
                      <a:pt x="1364" y="309"/>
                    </a:moveTo>
                    <a:cubicBezTo>
                      <a:pt x="1363" y="307"/>
                      <a:pt x="1363" y="309"/>
                      <a:pt x="1364" y="309"/>
                    </a:cubicBezTo>
                    <a:moveTo>
                      <a:pt x="1379" y="323"/>
                    </a:moveTo>
                    <a:cubicBezTo>
                      <a:pt x="1380" y="324"/>
                      <a:pt x="1380" y="323"/>
                      <a:pt x="1379" y="323"/>
                    </a:cubicBezTo>
                    <a:moveTo>
                      <a:pt x="1379" y="323"/>
                    </a:moveTo>
                    <a:cubicBezTo>
                      <a:pt x="1379" y="322"/>
                      <a:pt x="1378" y="323"/>
                      <a:pt x="1379" y="323"/>
                    </a:cubicBezTo>
                    <a:moveTo>
                      <a:pt x="160" y="332"/>
                    </a:moveTo>
                    <a:cubicBezTo>
                      <a:pt x="159" y="332"/>
                      <a:pt x="160" y="333"/>
                      <a:pt x="160" y="332"/>
                    </a:cubicBezTo>
                    <a:moveTo>
                      <a:pt x="160" y="332"/>
                    </a:moveTo>
                    <a:cubicBezTo>
                      <a:pt x="161" y="331"/>
                      <a:pt x="160" y="330"/>
                      <a:pt x="160" y="332"/>
                    </a:cubicBezTo>
                    <a:moveTo>
                      <a:pt x="224" y="334"/>
                    </a:moveTo>
                    <a:cubicBezTo>
                      <a:pt x="224" y="333"/>
                      <a:pt x="225" y="334"/>
                      <a:pt x="224" y="334"/>
                    </a:cubicBezTo>
                    <a:close/>
                    <a:moveTo>
                      <a:pt x="326" y="336"/>
                    </a:moveTo>
                    <a:cubicBezTo>
                      <a:pt x="307" y="364"/>
                      <a:pt x="290" y="395"/>
                      <a:pt x="274" y="426"/>
                    </a:cubicBezTo>
                    <a:cubicBezTo>
                      <a:pt x="285" y="423"/>
                      <a:pt x="296" y="421"/>
                      <a:pt x="306" y="419"/>
                    </a:cubicBezTo>
                    <a:cubicBezTo>
                      <a:pt x="311" y="390"/>
                      <a:pt x="319" y="364"/>
                      <a:pt x="326" y="336"/>
                    </a:cubicBezTo>
                    <a:moveTo>
                      <a:pt x="326" y="336"/>
                    </a:moveTo>
                    <a:cubicBezTo>
                      <a:pt x="329" y="336"/>
                      <a:pt x="325" y="332"/>
                      <a:pt x="326" y="336"/>
                    </a:cubicBezTo>
                    <a:moveTo>
                      <a:pt x="44" y="524"/>
                    </a:moveTo>
                    <a:cubicBezTo>
                      <a:pt x="49" y="523"/>
                      <a:pt x="54" y="514"/>
                      <a:pt x="59" y="510"/>
                    </a:cubicBezTo>
                    <a:cubicBezTo>
                      <a:pt x="80" y="455"/>
                      <a:pt x="109" y="407"/>
                      <a:pt x="139" y="360"/>
                    </a:cubicBezTo>
                    <a:cubicBezTo>
                      <a:pt x="134" y="356"/>
                      <a:pt x="135" y="347"/>
                      <a:pt x="133" y="339"/>
                    </a:cubicBezTo>
                    <a:cubicBezTo>
                      <a:pt x="97" y="394"/>
                      <a:pt x="66" y="454"/>
                      <a:pt x="44" y="524"/>
                    </a:cubicBezTo>
                    <a:close/>
                    <a:moveTo>
                      <a:pt x="1483" y="528"/>
                    </a:moveTo>
                    <a:cubicBezTo>
                      <a:pt x="1482" y="532"/>
                      <a:pt x="1486" y="529"/>
                      <a:pt x="1483" y="528"/>
                    </a:cubicBezTo>
                    <a:moveTo>
                      <a:pt x="1483" y="528"/>
                    </a:moveTo>
                    <a:cubicBezTo>
                      <a:pt x="1460" y="465"/>
                      <a:pt x="1432" y="396"/>
                      <a:pt x="1393" y="347"/>
                    </a:cubicBezTo>
                    <a:cubicBezTo>
                      <a:pt x="1393" y="347"/>
                      <a:pt x="1391" y="343"/>
                      <a:pt x="1390" y="345"/>
                    </a:cubicBezTo>
                    <a:cubicBezTo>
                      <a:pt x="1401" y="371"/>
                      <a:pt x="1415" y="395"/>
                      <a:pt x="1425" y="421"/>
                    </a:cubicBezTo>
                    <a:cubicBezTo>
                      <a:pt x="1436" y="447"/>
                      <a:pt x="1448" y="473"/>
                      <a:pt x="1455" y="503"/>
                    </a:cubicBezTo>
                    <a:cubicBezTo>
                      <a:pt x="1466" y="510"/>
                      <a:pt x="1474" y="519"/>
                      <a:pt x="1483" y="528"/>
                    </a:cubicBezTo>
                    <a:moveTo>
                      <a:pt x="1376" y="374"/>
                    </a:moveTo>
                    <a:cubicBezTo>
                      <a:pt x="1396" y="402"/>
                      <a:pt x="1417" y="437"/>
                      <a:pt x="1432" y="470"/>
                    </a:cubicBezTo>
                    <a:cubicBezTo>
                      <a:pt x="1437" y="481"/>
                      <a:pt x="1440" y="496"/>
                      <a:pt x="1452" y="499"/>
                    </a:cubicBezTo>
                    <a:cubicBezTo>
                      <a:pt x="1435" y="446"/>
                      <a:pt x="1415" y="397"/>
                      <a:pt x="1389" y="354"/>
                    </a:cubicBezTo>
                    <a:cubicBezTo>
                      <a:pt x="1386" y="362"/>
                      <a:pt x="1380" y="367"/>
                      <a:pt x="1376" y="374"/>
                    </a:cubicBezTo>
                    <a:close/>
                    <a:moveTo>
                      <a:pt x="212" y="356"/>
                    </a:moveTo>
                    <a:cubicBezTo>
                      <a:pt x="212" y="355"/>
                      <a:pt x="213" y="356"/>
                      <a:pt x="212" y="356"/>
                    </a:cubicBezTo>
                    <a:close/>
                    <a:moveTo>
                      <a:pt x="211" y="358"/>
                    </a:moveTo>
                    <a:cubicBezTo>
                      <a:pt x="202" y="370"/>
                      <a:pt x="193" y="382"/>
                      <a:pt x="186" y="396"/>
                    </a:cubicBezTo>
                    <a:cubicBezTo>
                      <a:pt x="190" y="396"/>
                      <a:pt x="192" y="399"/>
                      <a:pt x="196" y="400"/>
                    </a:cubicBezTo>
                    <a:cubicBezTo>
                      <a:pt x="201" y="386"/>
                      <a:pt x="206" y="372"/>
                      <a:pt x="211" y="358"/>
                    </a:cubicBezTo>
                    <a:moveTo>
                      <a:pt x="211" y="358"/>
                    </a:moveTo>
                    <a:cubicBezTo>
                      <a:pt x="212" y="357"/>
                      <a:pt x="211" y="356"/>
                      <a:pt x="211" y="358"/>
                    </a:cubicBezTo>
                    <a:moveTo>
                      <a:pt x="94" y="487"/>
                    </a:moveTo>
                    <a:cubicBezTo>
                      <a:pt x="109" y="477"/>
                      <a:pt x="127" y="470"/>
                      <a:pt x="146" y="463"/>
                    </a:cubicBezTo>
                    <a:cubicBezTo>
                      <a:pt x="156" y="439"/>
                      <a:pt x="170" y="418"/>
                      <a:pt x="182" y="396"/>
                    </a:cubicBezTo>
                    <a:cubicBezTo>
                      <a:pt x="166" y="389"/>
                      <a:pt x="152" y="378"/>
                      <a:pt x="141" y="365"/>
                    </a:cubicBezTo>
                    <a:cubicBezTo>
                      <a:pt x="123" y="403"/>
                      <a:pt x="103" y="444"/>
                      <a:pt x="94" y="487"/>
                    </a:cubicBezTo>
                    <a:close/>
                    <a:moveTo>
                      <a:pt x="132" y="376"/>
                    </a:moveTo>
                    <a:cubicBezTo>
                      <a:pt x="132" y="375"/>
                      <a:pt x="133" y="376"/>
                      <a:pt x="132" y="376"/>
                    </a:cubicBezTo>
                    <a:close/>
                    <a:moveTo>
                      <a:pt x="1374" y="375"/>
                    </a:moveTo>
                    <a:cubicBezTo>
                      <a:pt x="1368" y="382"/>
                      <a:pt x="1359" y="386"/>
                      <a:pt x="1352" y="391"/>
                    </a:cubicBezTo>
                    <a:cubicBezTo>
                      <a:pt x="1362" y="413"/>
                      <a:pt x="1369" y="437"/>
                      <a:pt x="1375" y="462"/>
                    </a:cubicBezTo>
                    <a:cubicBezTo>
                      <a:pt x="1398" y="469"/>
                      <a:pt x="1420" y="482"/>
                      <a:pt x="1439" y="490"/>
                    </a:cubicBezTo>
                    <a:cubicBezTo>
                      <a:pt x="1419" y="450"/>
                      <a:pt x="1399" y="409"/>
                      <a:pt x="1374" y="375"/>
                    </a:cubicBezTo>
                    <a:close/>
                    <a:moveTo>
                      <a:pt x="131" y="378"/>
                    </a:moveTo>
                    <a:cubicBezTo>
                      <a:pt x="131" y="378"/>
                      <a:pt x="131" y="378"/>
                      <a:pt x="130" y="378"/>
                    </a:cubicBezTo>
                    <a:cubicBezTo>
                      <a:pt x="106" y="418"/>
                      <a:pt x="82" y="459"/>
                      <a:pt x="64" y="505"/>
                    </a:cubicBezTo>
                    <a:moveTo>
                      <a:pt x="64" y="505"/>
                    </a:moveTo>
                    <a:cubicBezTo>
                      <a:pt x="63" y="506"/>
                      <a:pt x="64" y="507"/>
                      <a:pt x="64" y="505"/>
                    </a:cubicBezTo>
                    <a:moveTo>
                      <a:pt x="64" y="505"/>
                    </a:moveTo>
                    <a:cubicBezTo>
                      <a:pt x="73" y="500"/>
                      <a:pt x="80" y="494"/>
                      <a:pt x="90" y="489"/>
                    </a:cubicBezTo>
                    <a:cubicBezTo>
                      <a:pt x="100" y="448"/>
                      <a:pt x="116" y="413"/>
                      <a:pt x="131" y="378"/>
                    </a:cubicBezTo>
                    <a:moveTo>
                      <a:pt x="131" y="378"/>
                    </a:moveTo>
                    <a:cubicBezTo>
                      <a:pt x="133" y="377"/>
                      <a:pt x="131" y="377"/>
                      <a:pt x="131" y="378"/>
                    </a:cubicBezTo>
                    <a:moveTo>
                      <a:pt x="620" y="385"/>
                    </a:moveTo>
                    <a:cubicBezTo>
                      <a:pt x="619" y="415"/>
                      <a:pt x="617" y="444"/>
                      <a:pt x="616" y="473"/>
                    </a:cubicBezTo>
                    <a:cubicBezTo>
                      <a:pt x="654" y="475"/>
                      <a:pt x="693" y="476"/>
                      <a:pt x="732" y="477"/>
                    </a:cubicBezTo>
                    <a:cubicBezTo>
                      <a:pt x="733" y="445"/>
                      <a:pt x="734" y="414"/>
                      <a:pt x="735" y="383"/>
                    </a:cubicBezTo>
                    <a:cubicBezTo>
                      <a:pt x="695" y="382"/>
                      <a:pt x="658" y="384"/>
                      <a:pt x="620" y="385"/>
                    </a:cubicBezTo>
                    <a:close/>
                    <a:moveTo>
                      <a:pt x="739" y="383"/>
                    </a:moveTo>
                    <a:cubicBezTo>
                      <a:pt x="736" y="412"/>
                      <a:pt x="736" y="445"/>
                      <a:pt x="735" y="477"/>
                    </a:cubicBezTo>
                    <a:cubicBezTo>
                      <a:pt x="753" y="477"/>
                      <a:pt x="771" y="477"/>
                      <a:pt x="789" y="477"/>
                    </a:cubicBezTo>
                    <a:cubicBezTo>
                      <a:pt x="789" y="445"/>
                      <a:pt x="787" y="415"/>
                      <a:pt x="788" y="383"/>
                    </a:cubicBezTo>
                    <a:cubicBezTo>
                      <a:pt x="772" y="383"/>
                      <a:pt x="755" y="383"/>
                      <a:pt x="739" y="383"/>
                    </a:cubicBezTo>
                    <a:close/>
                    <a:moveTo>
                      <a:pt x="792" y="383"/>
                    </a:moveTo>
                    <a:cubicBezTo>
                      <a:pt x="790" y="412"/>
                      <a:pt x="791" y="446"/>
                      <a:pt x="791" y="477"/>
                    </a:cubicBezTo>
                    <a:cubicBezTo>
                      <a:pt x="831" y="476"/>
                      <a:pt x="871" y="475"/>
                      <a:pt x="910" y="473"/>
                    </a:cubicBezTo>
                    <a:cubicBezTo>
                      <a:pt x="905" y="443"/>
                      <a:pt x="901" y="414"/>
                      <a:pt x="895" y="385"/>
                    </a:cubicBezTo>
                    <a:cubicBezTo>
                      <a:pt x="862" y="384"/>
                      <a:pt x="827" y="382"/>
                      <a:pt x="792" y="383"/>
                    </a:cubicBezTo>
                    <a:close/>
                    <a:moveTo>
                      <a:pt x="616" y="385"/>
                    </a:moveTo>
                    <a:cubicBezTo>
                      <a:pt x="616" y="385"/>
                      <a:pt x="615" y="385"/>
                      <a:pt x="615" y="385"/>
                    </a:cubicBezTo>
                    <a:cubicBezTo>
                      <a:pt x="603" y="387"/>
                      <a:pt x="589" y="387"/>
                      <a:pt x="577" y="388"/>
                    </a:cubicBezTo>
                    <a:cubicBezTo>
                      <a:pt x="571" y="416"/>
                      <a:pt x="564" y="441"/>
                      <a:pt x="559" y="470"/>
                    </a:cubicBezTo>
                    <a:cubicBezTo>
                      <a:pt x="578" y="470"/>
                      <a:pt x="595" y="472"/>
                      <a:pt x="613" y="473"/>
                    </a:cubicBezTo>
                    <a:cubicBezTo>
                      <a:pt x="612" y="443"/>
                      <a:pt x="617" y="409"/>
                      <a:pt x="616" y="385"/>
                    </a:cubicBezTo>
                    <a:close/>
                    <a:moveTo>
                      <a:pt x="914" y="473"/>
                    </a:moveTo>
                    <a:cubicBezTo>
                      <a:pt x="930" y="472"/>
                      <a:pt x="946" y="470"/>
                      <a:pt x="963" y="470"/>
                    </a:cubicBezTo>
                    <a:cubicBezTo>
                      <a:pt x="960" y="443"/>
                      <a:pt x="960" y="414"/>
                      <a:pt x="957" y="388"/>
                    </a:cubicBezTo>
                    <a:cubicBezTo>
                      <a:pt x="937" y="388"/>
                      <a:pt x="919" y="386"/>
                      <a:pt x="900" y="385"/>
                    </a:cubicBezTo>
                    <a:cubicBezTo>
                      <a:pt x="904" y="415"/>
                      <a:pt x="910" y="442"/>
                      <a:pt x="914" y="473"/>
                    </a:cubicBezTo>
                    <a:close/>
                    <a:moveTo>
                      <a:pt x="456" y="399"/>
                    </a:moveTo>
                    <a:cubicBezTo>
                      <a:pt x="454" y="419"/>
                      <a:pt x="451" y="438"/>
                      <a:pt x="450" y="459"/>
                    </a:cubicBezTo>
                    <a:cubicBezTo>
                      <a:pt x="486" y="462"/>
                      <a:pt x="520" y="467"/>
                      <a:pt x="557" y="469"/>
                    </a:cubicBezTo>
                    <a:cubicBezTo>
                      <a:pt x="561" y="441"/>
                      <a:pt x="569" y="416"/>
                      <a:pt x="574" y="388"/>
                    </a:cubicBezTo>
                    <a:cubicBezTo>
                      <a:pt x="534" y="391"/>
                      <a:pt x="494" y="394"/>
                      <a:pt x="456" y="399"/>
                    </a:cubicBezTo>
                    <a:close/>
                    <a:moveTo>
                      <a:pt x="960" y="389"/>
                    </a:moveTo>
                    <a:cubicBezTo>
                      <a:pt x="962" y="415"/>
                      <a:pt x="964" y="441"/>
                      <a:pt x="965" y="469"/>
                    </a:cubicBezTo>
                    <a:cubicBezTo>
                      <a:pt x="1003" y="467"/>
                      <a:pt x="1042" y="464"/>
                      <a:pt x="1076" y="457"/>
                    </a:cubicBezTo>
                    <a:cubicBezTo>
                      <a:pt x="1068" y="438"/>
                      <a:pt x="1062" y="417"/>
                      <a:pt x="1055" y="397"/>
                    </a:cubicBezTo>
                    <a:cubicBezTo>
                      <a:pt x="1023" y="395"/>
                      <a:pt x="993" y="391"/>
                      <a:pt x="960" y="389"/>
                    </a:cubicBezTo>
                    <a:close/>
                    <a:moveTo>
                      <a:pt x="1349" y="392"/>
                    </a:moveTo>
                    <a:cubicBezTo>
                      <a:pt x="1340" y="398"/>
                      <a:pt x="1329" y="402"/>
                      <a:pt x="1319" y="407"/>
                    </a:cubicBezTo>
                    <a:cubicBezTo>
                      <a:pt x="1327" y="421"/>
                      <a:pt x="1335" y="436"/>
                      <a:pt x="1343" y="451"/>
                    </a:cubicBezTo>
                    <a:cubicBezTo>
                      <a:pt x="1354" y="453"/>
                      <a:pt x="1362" y="458"/>
                      <a:pt x="1373" y="460"/>
                    </a:cubicBezTo>
                    <a:cubicBezTo>
                      <a:pt x="1366" y="439"/>
                      <a:pt x="1359" y="407"/>
                      <a:pt x="1349" y="392"/>
                    </a:cubicBezTo>
                    <a:close/>
                    <a:moveTo>
                      <a:pt x="184" y="398"/>
                    </a:moveTo>
                    <a:cubicBezTo>
                      <a:pt x="173" y="419"/>
                      <a:pt x="160" y="439"/>
                      <a:pt x="150" y="461"/>
                    </a:cubicBezTo>
                    <a:cubicBezTo>
                      <a:pt x="160" y="458"/>
                      <a:pt x="170" y="454"/>
                      <a:pt x="181" y="451"/>
                    </a:cubicBezTo>
                    <a:cubicBezTo>
                      <a:pt x="185" y="434"/>
                      <a:pt x="190" y="419"/>
                      <a:pt x="195" y="403"/>
                    </a:cubicBezTo>
                    <a:cubicBezTo>
                      <a:pt x="191" y="401"/>
                      <a:pt x="188" y="399"/>
                      <a:pt x="184" y="398"/>
                    </a:cubicBezTo>
                    <a:close/>
                    <a:moveTo>
                      <a:pt x="1079" y="458"/>
                    </a:moveTo>
                    <a:cubicBezTo>
                      <a:pt x="1094" y="457"/>
                      <a:pt x="1108" y="454"/>
                      <a:pt x="1123" y="453"/>
                    </a:cubicBezTo>
                    <a:cubicBezTo>
                      <a:pt x="1122" y="436"/>
                      <a:pt x="1119" y="421"/>
                      <a:pt x="1117" y="405"/>
                    </a:cubicBezTo>
                    <a:cubicBezTo>
                      <a:pt x="1097" y="404"/>
                      <a:pt x="1077" y="398"/>
                      <a:pt x="1058" y="399"/>
                    </a:cubicBezTo>
                    <a:cubicBezTo>
                      <a:pt x="1066" y="417"/>
                      <a:pt x="1071" y="439"/>
                      <a:pt x="1079" y="458"/>
                    </a:cubicBezTo>
                    <a:close/>
                    <a:moveTo>
                      <a:pt x="420" y="403"/>
                    </a:moveTo>
                    <a:cubicBezTo>
                      <a:pt x="414" y="419"/>
                      <a:pt x="407" y="435"/>
                      <a:pt x="401" y="453"/>
                    </a:cubicBezTo>
                    <a:cubicBezTo>
                      <a:pt x="417" y="454"/>
                      <a:pt x="431" y="457"/>
                      <a:pt x="447" y="458"/>
                    </a:cubicBezTo>
                    <a:cubicBezTo>
                      <a:pt x="449" y="438"/>
                      <a:pt x="451" y="418"/>
                      <a:pt x="454" y="399"/>
                    </a:cubicBezTo>
                    <a:cubicBezTo>
                      <a:pt x="453" y="399"/>
                      <a:pt x="453" y="399"/>
                      <a:pt x="452" y="399"/>
                    </a:cubicBezTo>
                    <a:cubicBezTo>
                      <a:pt x="442" y="401"/>
                      <a:pt x="431" y="402"/>
                      <a:pt x="420" y="403"/>
                    </a:cubicBezTo>
                    <a:close/>
                    <a:moveTo>
                      <a:pt x="185" y="450"/>
                    </a:moveTo>
                    <a:cubicBezTo>
                      <a:pt x="210" y="440"/>
                      <a:pt x="240" y="435"/>
                      <a:pt x="266" y="427"/>
                    </a:cubicBezTo>
                    <a:cubicBezTo>
                      <a:pt x="241" y="421"/>
                      <a:pt x="219" y="413"/>
                      <a:pt x="198" y="404"/>
                    </a:cubicBezTo>
                    <a:cubicBezTo>
                      <a:pt x="193" y="418"/>
                      <a:pt x="187" y="436"/>
                      <a:pt x="185" y="450"/>
                    </a:cubicBezTo>
                    <a:close/>
                    <a:moveTo>
                      <a:pt x="308" y="421"/>
                    </a:moveTo>
                    <a:cubicBezTo>
                      <a:pt x="307" y="425"/>
                      <a:pt x="307" y="430"/>
                      <a:pt x="305" y="434"/>
                    </a:cubicBezTo>
                    <a:cubicBezTo>
                      <a:pt x="335" y="441"/>
                      <a:pt x="366" y="447"/>
                      <a:pt x="398" y="452"/>
                    </a:cubicBezTo>
                    <a:cubicBezTo>
                      <a:pt x="401" y="444"/>
                      <a:pt x="405" y="436"/>
                      <a:pt x="408" y="428"/>
                    </a:cubicBezTo>
                    <a:cubicBezTo>
                      <a:pt x="411" y="419"/>
                      <a:pt x="416" y="410"/>
                      <a:pt x="414" y="404"/>
                    </a:cubicBezTo>
                    <a:cubicBezTo>
                      <a:pt x="378" y="409"/>
                      <a:pt x="343" y="415"/>
                      <a:pt x="308" y="421"/>
                    </a:cubicBezTo>
                    <a:close/>
                    <a:moveTo>
                      <a:pt x="1126" y="452"/>
                    </a:moveTo>
                    <a:cubicBezTo>
                      <a:pt x="1156" y="447"/>
                      <a:pt x="1185" y="442"/>
                      <a:pt x="1213" y="435"/>
                    </a:cubicBezTo>
                    <a:cubicBezTo>
                      <a:pt x="1212" y="429"/>
                      <a:pt x="1208" y="425"/>
                      <a:pt x="1206" y="419"/>
                    </a:cubicBezTo>
                    <a:cubicBezTo>
                      <a:pt x="1178" y="415"/>
                      <a:pt x="1148" y="407"/>
                      <a:pt x="1119" y="407"/>
                    </a:cubicBezTo>
                    <a:cubicBezTo>
                      <a:pt x="1123" y="420"/>
                      <a:pt x="1123" y="437"/>
                      <a:pt x="1126" y="452"/>
                    </a:cubicBezTo>
                    <a:close/>
                    <a:moveTo>
                      <a:pt x="1317" y="408"/>
                    </a:moveTo>
                    <a:cubicBezTo>
                      <a:pt x="1298" y="416"/>
                      <a:pt x="1277" y="420"/>
                      <a:pt x="1260" y="429"/>
                    </a:cubicBezTo>
                    <a:cubicBezTo>
                      <a:pt x="1288" y="434"/>
                      <a:pt x="1313" y="441"/>
                      <a:pt x="1338" y="449"/>
                    </a:cubicBezTo>
                    <a:cubicBezTo>
                      <a:pt x="1332" y="434"/>
                      <a:pt x="1323" y="423"/>
                      <a:pt x="1317" y="408"/>
                    </a:cubicBezTo>
                    <a:close/>
                    <a:moveTo>
                      <a:pt x="1216" y="434"/>
                    </a:moveTo>
                    <a:cubicBezTo>
                      <a:pt x="1226" y="433"/>
                      <a:pt x="1237" y="431"/>
                      <a:pt x="1245" y="427"/>
                    </a:cubicBezTo>
                    <a:cubicBezTo>
                      <a:pt x="1232" y="426"/>
                      <a:pt x="1220" y="420"/>
                      <a:pt x="1209" y="421"/>
                    </a:cubicBezTo>
                    <a:cubicBezTo>
                      <a:pt x="1213" y="424"/>
                      <a:pt x="1214" y="430"/>
                      <a:pt x="1216" y="434"/>
                    </a:cubicBezTo>
                    <a:close/>
                    <a:moveTo>
                      <a:pt x="279" y="427"/>
                    </a:moveTo>
                    <a:cubicBezTo>
                      <a:pt x="285" y="431"/>
                      <a:pt x="295" y="431"/>
                      <a:pt x="303" y="433"/>
                    </a:cubicBezTo>
                    <a:cubicBezTo>
                      <a:pt x="303" y="429"/>
                      <a:pt x="305" y="426"/>
                      <a:pt x="305" y="422"/>
                    </a:cubicBezTo>
                    <a:cubicBezTo>
                      <a:pt x="296" y="423"/>
                      <a:pt x="289" y="426"/>
                      <a:pt x="279" y="427"/>
                    </a:cubicBezTo>
                    <a:close/>
                    <a:moveTo>
                      <a:pt x="1218" y="437"/>
                    </a:moveTo>
                    <a:cubicBezTo>
                      <a:pt x="1240" y="486"/>
                      <a:pt x="1259" y="538"/>
                      <a:pt x="1277" y="593"/>
                    </a:cubicBezTo>
                    <a:cubicBezTo>
                      <a:pt x="1275" y="533"/>
                      <a:pt x="1270" y="478"/>
                      <a:pt x="1257" y="430"/>
                    </a:cubicBezTo>
                    <a:cubicBezTo>
                      <a:pt x="1244" y="429"/>
                      <a:pt x="1232" y="435"/>
                      <a:pt x="1218" y="437"/>
                    </a:cubicBezTo>
                    <a:close/>
                    <a:moveTo>
                      <a:pt x="183" y="453"/>
                    </a:moveTo>
                    <a:cubicBezTo>
                      <a:pt x="169" y="514"/>
                      <a:pt x="159" y="583"/>
                      <a:pt x="163" y="659"/>
                    </a:cubicBezTo>
                    <a:cubicBezTo>
                      <a:pt x="171" y="655"/>
                      <a:pt x="179" y="652"/>
                      <a:pt x="188" y="650"/>
                    </a:cubicBezTo>
                    <a:cubicBezTo>
                      <a:pt x="208" y="570"/>
                      <a:pt x="235" y="496"/>
                      <a:pt x="270" y="430"/>
                    </a:cubicBezTo>
                    <a:cubicBezTo>
                      <a:pt x="269" y="430"/>
                      <a:pt x="268" y="430"/>
                      <a:pt x="268" y="430"/>
                    </a:cubicBezTo>
                    <a:cubicBezTo>
                      <a:pt x="239" y="437"/>
                      <a:pt x="210" y="444"/>
                      <a:pt x="183" y="453"/>
                    </a:cubicBezTo>
                    <a:close/>
                    <a:moveTo>
                      <a:pt x="192" y="648"/>
                    </a:moveTo>
                    <a:cubicBezTo>
                      <a:pt x="190" y="649"/>
                      <a:pt x="192" y="650"/>
                      <a:pt x="192" y="648"/>
                    </a:cubicBezTo>
                    <a:moveTo>
                      <a:pt x="192" y="648"/>
                    </a:moveTo>
                    <a:cubicBezTo>
                      <a:pt x="223" y="640"/>
                      <a:pt x="254" y="630"/>
                      <a:pt x="289" y="623"/>
                    </a:cubicBezTo>
                    <a:cubicBezTo>
                      <a:pt x="287" y="555"/>
                      <a:pt x="293" y="494"/>
                      <a:pt x="302" y="436"/>
                    </a:cubicBezTo>
                    <a:cubicBezTo>
                      <a:pt x="292" y="434"/>
                      <a:pt x="283" y="431"/>
                      <a:pt x="272" y="430"/>
                    </a:cubicBezTo>
                    <a:cubicBezTo>
                      <a:pt x="239" y="496"/>
                      <a:pt x="211" y="568"/>
                      <a:pt x="192" y="648"/>
                    </a:cubicBezTo>
                    <a:moveTo>
                      <a:pt x="1275" y="515"/>
                    </a:moveTo>
                    <a:cubicBezTo>
                      <a:pt x="1279" y="557"/>
                      <a:pt x="1276" y="605"/>
                      <a:pt x="1288" y="636"/>
                    </a:cubicBezTo>
                    <a:cubicBezTo>
                      <a:pt x="1316" y="643"/>
                      <a:pt x="1341" y="652"/>
                      <a:pt x="1367" y="660"/>
                    </a:cubicBezTo>
                    <a:cubicBezTo>
                      <a:pt x="1377" y="657"/>
                      <a:pt x="1386" y="652"/>
                      <a:pt x="1397" y="648"/>
                    </a:cubicBezTo>
                    <a:cubicBezTo>
                      <a:pt x="1395" y="622"/>
                      <a:pt x="1398" y="600"/>
                      <a:pt x="1394" y="577"/>
                    </a:cubicBezTo>
                    <a:cubicBezTo>
                      <a:pt x="1392" y="567"/>
                      <a:pt x="1386" y="555"/>
                      <a:pt x="1382" y="545"/>
                    </a:cubicBezTo>
                    <a:cubicBezTo>
                      <a:pt x="1370" y="512"/>
                      <a:pt x="1354" y="481"/>
                      <a:pt x="1340" y="452"/>
                    </a:cubicBezTo>
                    <a:cubicBezTo>
                      <a:pt x="1314" y="444"/>
                      <a:pt x="1288" y="437"/>
                      <a:pt x="1261" y="431"/>
                    </a:cubicBezTo>
                    <a:cubicBezTo>
                      <a:pt x="1266" y="456"/>
                      <a:pt x="1272" y="485"/>
                      <a:pt x="1275" y="515"/>
                    </a:cubicBezTo>
                    <a:close/>
                    <a:moveTo>
                      <a:pt x="305" y="437"/>
                    </a:moveTo>
                    <a:cubicBezTo>
                      <a:pt x="295" y="493"/>
                      <a:pt x="288" y="559"/>
                      <a:pt x="293" y="623"/>
                    </a:cubicBezTo>
                    <a:cubicBezTo>
                      <a:pt x="311" y="617"/>
                      <a:pt x="332" y="615"/>
                      <a:pt x="351" y="610"/>
                    </a:cubicBezTo>
                    <a:cubicBezTo>
                      <a:pt x="364" y="556"/>
                      <a:pt x="379" y="504"/>
                      <a:pt x="397" y="455"/>
                    </a:cubicBezTo>
                    <a:cubicBezTo>
                      <a:pt x="366" y="449"/>
                      <a:pt x="335" y="444"/>
                      <a:pt x="305" y="437"/>
                    </a:cubicBezTo>
                    <a:close/>
                    <a:moveTo>
                      <a:pt x="1126" y="455"/>
                    </a:moveTo>
                    <a:cubicBezTo>
                      <a:pt x="1131" y="501"/>
                      <a:pt x="1133" y="551"/>
                      <a:pt x="1133" y="603"/>
                    </a:cubicBezTo>
                    <a:cubicBezTo>
                      <a:pt x="1182" y="612"/>
                      <a:pt x="1231" y="620"/>
                      <a:pt x="1277" y="633"/>
                    </a:cubicBezTo>
                    <a:cubicBezTo>
                      <a:pt x="1279" y="602"/>
                      <a:pt x="1270" y="583"/>
                      <a:pt x="1263" y="561"/>
                    </a:cubicBezTo>
                    <a:cubicBezTo>
                      <a:pt x="1248" y="517"/>
                      <a:pt x="1234" y="477"/>
                      <a:pt x="1215" y="438"/>
                    </a:cubicBezTo>
                    <a:cubicBezTo>
                      <a:pt x="1214" y="438"/>
                      <a:pt x="1214" y="438"/>
                      <a:pt x="1213" y="438"/>
                    </a:cubicBezTo>
                    <a:cubicBezTo>
                      <a:pt x="1185" y="445"/>
                      <a:pt x="1156" y="450"/>
                      <a:pt x="1126" y="455"/>
                    </a:cubicBezTo>
                    <a:close/>
                    <a:moveTo>
                      <a:pt x="179" y="454"/>
                    </a:moveTo>
                    <a:cubicBezTo>
                      <a:pt x="168" y="457"/>
                      <a:pt x="158" y="461"/>
                      <a:pt x="147" y="465"/>
                    </a:cubicBezTo>
                    <a:cubicBezTo>
                      <a:pt x="123" y="516"/>
                      <a:pt x="101" y="568"/>
                      <a:pt x="85" y="627"/>
                    </a:cubicBezTo>
                    <a:cubicBezTo>
                      <a:pt x="108" y="640"/>
                      <a:pt x="131" y="652"/>
                      <a:pt x="159" y="660"/>
                    </a:cubicBezTo>
                    <a:cubicBezTo>
                      <a:pt x="157" y="583"/>
                      <a:pt x="168" y="513"/>
                      <a:pt x="179" y="454"/>
                    </a:cubicBezTo>
                    <a:close/>
                    <a:moveTo>
                      <a:pt x="1392" y="564"/>
                    </a:moveTo>
                    <a:cubicBezTo>
                      <a:pt x="1388" y="528"/>
                      <a:pt x="1381" y="495"/>
                      <a:pt x="1374" y="463"/>
                    </a:cubicBezTo>
                    <a:cubicBezTo>
                      <a:pt x="1363" y="461"/>
                      <a:pt x="1354" y="457"/>
                      <a:pt x="1345" y="454"/>
                    </a:cubicBezTo>
                    <a:cubicBezTo>
                      <a:pt x="1362" y="489"/>
                      <a:pt x="1378" y="525"/>
                      <a:pt x="1392" y="564"/>
                    </a:cubicBezTo>
                    <a:close/>
                    <a:moveTo>
                      <a:pt x="401" y="455"/>
                    </a:moveTo>
                    <a:cubicBezTo>
                      <a:pt x="382" y="503"/>
                      <a:pt x="367" y="556"/>
                      <a:pt x="354" y="610"/>
                    </a:cubicBezTo>
                    <a:cubicBezTo>
                      <a:pt x="383" y="605"/>
                      <a:pt x="412" y="600"/>
                      <a:pt x="442" y="597"/>
                    </a:cubicBezTo>
                    <a:cubicBezTo>
                      <a:pt x="442" y="550"/>
                      <a:pt x="443" y="504"/>
                      <a:pt x="447" y="461"/>
                    </a:cubicBezTo>
                    <a:cubicBezTo>
                      <a:pt x="432" y="459"/>
                      <a:pt x="415" y="458"/>
                      <a:pt x="401" y="455"/>
                    </a:cubicBezTo>
                    <a:close/>
                    <a:moveTo>
                      <a:pt x="1080" y="461"/>
                    </a:moveTo>
                    <a:cubicBezTo>
                      <a:pt x="1093" y="507"/>
                      <a:pt x="1106" y="553"/>
                      <a:pt x="1116" y="601"/>
                    </a:cubicBezTo>
                    <a:cubicBezTo>
                      <a:pt x="1121" y="602"/>
                      <a:pt x="1125" y="602"/>
                      <a:pt x="1130" y="603"/>
                    </a:cubicBezTo>
                    <a:cubicBezTo>
                      <a:pt x="1130" y="551"/>
                      <a:pt x="1129" y="501"/>
                      <a:pt x="1123" y="455"/>
                    </a:cubicBezTo>
                    <a:cubicBezTo>
                      <a:pt x="1108" y="457"/>
                      <a:pt x="1094" y="459"/>
                      <a:pt x="1080" y="461"/>
                    </a:cubicBezTo>
                    <a:close/>
                    <a:moveTo>
                      <a:pt x="445" y="596"/>
                    </a:moveTo>
                    <a:cubicBezTo>
                      <a:pt x="475" y="592"/>
                      <a:pt x="505" y="589"/>
                      <a:pt x="535" y="586"/>
                    </a:cubicBezTo>
                    <a:cubicBezTo>
                      <a:pt x="542" y="548"/>
                      <a:pt x="548" y="509"/>
                      <a:pt x="556" y="472"/>
                    </a:cubicBezTo>
                    <a:cubicBezTo>
                      <a:pt x="519" y="469"/>
                      <a:pt x="483" y="466"/>
                      <a:pt x="449" y="461"/>
                    </a:cubicBezTo>
                    <a:cubicBezTo>
                      <a:pt x="446" y="504"/>
                      <a:pt x="444" y="549"/>
                      <a:pt x="445" y="596"/>
                    </a:cubicBezTo>
                    <a:close/>
                    <a:moveTo>
                      <a:pt x="965" y="472"/>
                    </a:moveTo>
                    <a:cubicBezTo>
                      <a:pt x="967" y="507"/>
                      <a:pt x="966" y="546"/>
                      <a:pt x="966" y="584"/>
                    </a:cubicBezTo>
                    <a:cubicBezTo>
                      <a:pt x="1016" y="589"/>
                      <a:pt x="1065" y="594"/>
                      <a:pt x="1113" y="600"/>
                    </a:cubicBezTo>
                    <a:cubicBezTo>
                      <a:pt x="1102" y="553"/>
                      <a:pt x="1092" y="503"/>
                      <a:pt x="1075" y="461"/>
                    </a:cubicBezTo>
                    <a:cubicBezTo>
                      <a:pt x="1039" y="466"/>
                      <a:pt x="1003" y="470"/>
                      <a:pt x="965" y="472"/>
                    </a:cubicBezTo>
                    <a:close/>
                    <a:moveTo>
                      <a:pt x="1388" y="521"/>
                    </a:moveTo>
                    <a:cubicBezTo>
                      <a:pt x="1391" y="540"/>
                      <a:pt x="1392" y="559"/>
                      <a:pt x="1396" y="577"/>
                    </a:cubicBezTo>
                    <a:cubicBezTo>
                      <a:pt x="1400" y="600"/>
                      <a:pt x="1412" y="620"/>
                      <a:pt x="1416" y="640"/>
                    </a:cubicBezTo>
                    <a:cubicBezTo>
                      <a:pt x="1437" y="628"/>
                      <a:pt x="1459" y="617"/>
                      <a:pt x="1473" y="599"/>
                    </a:cubicBezTo>
                    <a:cubicBezTo>
                      <a:pt x="1470" y="557"/>
                      <a:pt x="1454" y="529"/>
                      <a:pt x="1442" y="496"/>
                    </a:cubicBezTo>
                    <a:cubicBezTo>
                      <a:pt x="1421" y="484"/>
                      <a:pt x="1400" y="473"/>
                      <a:pt x="1376" y="465"/>
                    </a:cubicBezTo>
                    <a:cubicBezTo>
                      <a:pt x="1381" y="483"/>
                      <a:pt x="1385" y="502"/>
                      <a:pt x="1388" y="521"/>
                    </a:cubicBezTo>
                    <a:close/>
                    <a:moveTo>
                      <a:pt x="91" y="491"/>
                    </a:moveTo>
                    <a:cubicBezTo>
                      <a:pt x="82" y="531"/>
                      <a:pt x="72" y="570"/>
                      <a:pt x="69" y="616"/>
                    </a:cubicBezTo>
                    <a:cubicBezTo>
                      <a:pt x="73" y="619"/>
                      <a:pt x="78" y="623"/>
                      <a:pt x="83" y="625"/>
                    </a:cubicBezTo>
                    <a:cubicBezTo>
                      <a:pt x="98" y="568"/>
                      <a:pt x="121" y="515"/>
                      <a:pt x="142" y="467"/>
                    </a:cubicBezTo>
                    <a:cubicBezTo>
                      <a:pt x="124" y="474"/>
                      <a:pt x="107" y="482"/>
                      <a:pt x="91" y="491"/>
                    </a:cubicBezTo>
                    <a:close/>
                    <a:moveTo>
                      <a:pt x="558" y="472"/>
                    </a:moveTo>
                    <a:cubicBezTo>
                      <a:pt x="551" y="509"/>
                      <a:pt x="545" y="548"/>
                      <a:pt x="538" y="586"/>
                    </a:cubicBezTo>
                    <a:cubicBezTo>
                      <a:pt x="562" y="584"/>
                      <a:pt x="586" y="582"/>
                      <a:pt x="611" y="581"/>
                    </a:cubicBezTo>
                    <a:cubicBezTo>
                      <a:pt x="611" y="545"/>
                      <a:pt x="613" y="511"/>
                      <a:pt x="612" y="476"/>
                    </a:cubicBezTo>
                    <a:cubicBezTo>
                      <a:pt x="594" y="474"/>
                      <a:pt x="576" y="474"/>
                      <a:pt x="558" y="472"/>
                    </a:cubicBezTo>
                    <a:close/>
                    <a:moveTo>
                      <a:pt x="915" y="476"/>
                    </a:moveTo>
                    <a:cubicBezTo>
                      <a:pt x="919" y="511"/>
                      <a:pt x="925" y="546"/>
                      <a:pt x="928" y="582"/>
                    </a:cubicBezTo>
                    <a:cubicBezTo>
                      <a:pt x="941" y="582"/>
                      <a:pt x="952" y="584"/>
                      <a:pt x="965" y="584"/>
                    </a:cubicBezTo>
                    <a:cubicBezTo>
                      <a:pt x="965" y="546"/>
                      <a:pt x="963" y="510"/>
                      <a:pt x="963" y="473"/>
                    </a:cubicBezTo>
                    <a:cubicBezTo>
                      <a:pt x="946" y="473"/>
                      <a:pt x="930" y="474"/>
                      <a:pt x="915" y="476"/>
                    </a:cubicBezTo>
                    <a:close/>
                    <a:moveTo>
                      <a:pt x="617" y="476"/>
                    </a:moveTo>
                    <a:cubicBezTo>
                      <a:pt x="614" y="508"/>
                      <a:pt x="615" y="545"/>
                      <a:pt x="615" y="580"/>
                    </a:cubicBezTo>
                    <a:cubicBezTo>
                      <a:pt x="653" y="579"/>
                      <a:pt x="691" y="577"/>
                      <a:pt x="729" y="576"/>
                    </a:cubicBezTo>
                    <a:cubicBezTo>
                      <a:pt x="731" y="545"/>
                      <a:pt x="731" y="511"/>
                      <a:pt x="732" y="479"/>
                    </a:cubicBezTo>
                    <a:cubicBezTo>
                      <a:pt x="693" y="479"/>
                      <a:pt x="654" y="478"/>
                      <a:pt x="617" y="476"/>
                    </a:cubicBezTo>
                    <a:close/>
                    <a:moveTo>
                      <a:pt x="791" y="479"/>
                    </a:moveTo>
                    <a:cubicBezTo>
                      <a:pt x="791" y="513"/>
                      <a:pt x="791" y="544"/>
                      <a:pt x="791" y="576"/>
                    </a:cubicBezTo>
                    <a:cubicBezTo>
                      <a:pt x="836" y="577"/>
                      <a:pt x="881" y="579"/>
                      <a:pt x="924" y="581"/>
                    </a:cubicBezTo>
                    <a:cubicBezTo>
                      <a:pt x="920" y="546"/>
                      <a:pt x="915" y="511"/>
                      <a:pt x="911" y="476"/>
                    </a:cubicBezTo>
                    <a:cubicBezTo>
                      <a:pt x="872" y="478"/>
                      <a:pt x="831" y="479"/>
                      <a:pt x="791" y="479"/>
                    </a:cubicBezTo>
                    <a:close/>
                    <a:moveTo>
                      <a:pt x="736" y="479"/>
                    </a:moveTo>
                    <a:cubicBezTo>
                      <a:pt x="732" y="509"/>
                      <a:pt x="734" y="545"/>
                      <a:pt x="732" y="576"/>
                    </a:cubicBezTo>
                    <a:cubicBezTo>
                      <a:pt x="751" y="576"/>
                      <a:pt x="770" y="576"/>
                      <a:pt x="789" y="576"/>
                    </a:cubicBezTo>
                    <a:cubicBezTo>
                      <a:pt x="789" y="544"/>
                      <a:pt x="789" y="512"/>
                      <a:pt x="789" y="479"/>
                    </a:cubicBezTo>
                    <a:cubicBezTo>
                      <a:pt x="771" y="479"/>
                      <a:pt x="754" y="479"/>
                      <a:pt x="736" y="479"/>
                    </a:cubicBezTo>
                    <a:close/>
                    <a:moveTo>
                      <a:pt x="60" y="512"/>
                    </a:moveTo>
                    <a:cubicBezTo>
                      <a:pt x="53" y="535"/>
                      <a:pt x="44" y="556"/>
                      <a:pt x="37" y="580"/>
                    </a:cubicBezTo>
                    <a:cubicBezTo>
                      <a:pt x="45" y="593"/>
                      <a:pt x="53" y="606"/>
                      <a:pt x="67" y="613"/>
                    </a:cubicBezTo>
                    <a:cubicBezTo>
                      <a:pt x="69" y="569"/>
                      <a:pt x="81" y="529"/>
                      <a:pt x="87" y="493"/>
                    </a:cubicBezTo>
                    <a:cubicBezTo>
                      <a:pt x="78" y="499"/>
                      <a:pt x="69" y="505"/>
                      <a:pt x="60" y="512"/>
                    </a:cubicBezTo>
                    <a:close/>
                    <a:moveTo>
                      <a:pt x="1462" y="539"/>
                    </a:moveTo>
                    <a:cubicBezTo>
                      <a:pt x="1461" y="543"/>
                      <a:pt x="1465" y="539"/>
                      <a:pt x="1462" y="539"/>
                    </a:cubicBezTo>
                    <a:moveTo>
                      <a:pt x="1462" y="539"/>
                    </a:moveTo>
                    <a:cubicBezTo>
                      <a:pt x="1458" y="526"/>
                      <a:pt x="1458" y="502"/>
                      <a:pt x="1446" y="501"/>
                    </a:cubicBezTo>
                    <a:cubicBezTo>
                      <a:pt x="1452" y="512"/>
                      <a:pt x="1456" y="526"/>
                      <a:pt x="1462" y="539"/>
                    </a:cubicBezTo>
                    <a:moveTo>
                      <a:pt x="1480" y="592"/>
                    </a:moveTo>
                    <a:cubicBezTo>
                      <a:pt x="1504" y="563"/>
                      <a:pt x="1482" y="521"/>
                      <a:pt x="1457" y="507"/>
                    </a:cubicBezTo>
                    <a:cubicBezTo>
                      <a:pt x="1465" y="535"/>
                      <a:pt x="1469" y="567"/>
                      <a:pt x="1480" y="592"/>
                    </a:cubicBezTo>
                    <a:close/>
                    <a:moveTo>
                      <a:pt x="36" y="575"/>
                    </a:moveTo>
                    <a:cubicBezTo>
                      <a:pt x="40" y="555"/>
                      <a:pt x="51" y="536"/>
                      <a:pt x="54" y="517"/>
                    </a:cubicBezTo>
                    <a:cubicBezTo>
                      <a:pt x="42" y="529"/>
                      <a:pt x="28" y="553"/>
                      <a:pt x="36" y="575"/>
                    </a:cubicBezTo>
                    <a:close/>
                    <a:moveTo>
                      <a:pt x="1463" y="544"/>
                    </a:moveTo>
                    <a:cubicBezTo>
                      <a:pt x="1462" y="543"/>
                      <a:pt x="1463" y="544"/>
                      <a:pt x="1463" y="544"/>
                    </a:cubicBezTo>
                    <a:close/>
                    <a:moveTo>
                      <a:pt x="1480" y="597"/>
                    </a:moveTo>
                    <a:cubicBezTo>
                      <a:pt x="1494" y="642"/>
                      <a:pt x="1503" y="692"/>
                      <a:pt x="1508" y="747"/>
                    </a:cubicBezTo>
                    <a:cubicBezTo>
                      <a:pt x="1512" y="753"/>
                      <a:pt x="1516" y="760"/>
                      <a:pt x="1519" y="767"/>
                    </a:cubicBezTo>
                    <a:cubicBezTo>
                      <a:pt x="1521" y="690"/>
                      <a:pt x="1511" y="622"/>
                      <a:pt x="1494" y="563"/>
                    </a:cubicBezTo>
                    <a:cubicBezTo>
                      <a:pt x="1493" y="578"/>
                      <a:pt x="1486" y="587"/>
                      <a:pt x="1480" y="597"/>
                    </a:cubicBezTo>
                    <a:close/>
                    <a:moveTo>
                      <a:pt x="17" y="654"/>
                    </a:moveTo>
                    <a:cubicBezTo>
                      <a:pt x="21" y="628"/>
                      <a:pt x="28" y="604"/>
                      <a:pt x="34" y="580"/>
                    </a:cubicBezTo>
                    <a:cubicBezTo>
                      <a:pt x="33" y="577"/>
                      <a:pt x="32" y="573"/>
                      <a:pt x="30" y="570"/>
                    </a:cubicBezTo>
                    <a:cubicBezTo>
                      <a:pt x="26" y="597"/>
                      <a:pt x="18" y="626"/>
                      <a:pt x="17" y="654"/>
                    </a:cubicBezTo>
                    <a:close/>
                    <a:moveTo>
                      <a:pt x="615" y="583"/>
                    </a:moveTo>
                    <a:cubicBezTo>
                      <a:pt x="616" y="635"/>
                      <a:pt x="617" y="686"/>
                      <a:pt x="620" y="736"/>
                    </a:cubicBezTo>
                    <a:cubicBezTo>
                      <a:pt x="655" y="737"/>
                      <a:pt x="690" y="739"/>
                      <a:pt x="726" y="739"/>
                    </a:cubicBezTo>
                    <a:cubicBezTo>
                      <a:pt x="728" y="686"/>
                      <a:pt x="729" y="633"/>
                      <a:pt x="729" y="579"/>
                    </a:cubicBezTo>
                    <a:cubicBezTo>
                      <a:pt x="690" y="580"/>
                      <a:pt x="652" y="581"/>
                      <a:pt x="615" y="583"/>
                    </a:cubicBezTo>
                    <a:close/>
                    <a:moveTo>
                      <a:pt x="729" y="739"/>
                    </a:moveTo>
                    <a:cubicBezTo>
                      <a:pt x="750" y="738"/>
                      <a:pt x="769" y="740"/>
                      <a:pt x="788" y="739"/>
                    </a:cubicBezTo>
                    <a:cubicBezTo>
                      <a:pt x="788" y="685"/>
                      <a:pt x="790" y="633"/>
                      <a:pt x="789" y="579"/>
                    </a:cubicBezTo>
                    <a:cubicBezTo>
                      <a:pt x="770" y="579"/>
                      <a:pt x="752" y="579"/>
                      <a:pt x="733" y="579"/>
                    </a:cubicBezTo>
                    <a:cubicBezTo>
                      <a:pt x="730" y="630"/>
                      <a:pt x="731" y="686"/>
                      <a:pt x="729" y="739"/>
                    </a:cubicBezTo>
                    <a:close/>
                    <a:moveTo>
                      <a:pt x="791" y="582"/>
                    </a:moveTo>
                    <a:cubicBezTo>
                      <a:pt x="791" y="634"/>
                      <a:pt x="791" y="687"/>
                      <a:pt x="791" y="739"/>
                    </a:cubicBezTo>
                    <a:cubicBezTo>
                      <a:pt x="842" y="739"/>
                      <a:pt x="890" y="736"/>
                      <a:pt x="938" y="734"/>
                    </a:cubicBezTo>
                    <a:cubicBezTo>
                      <a:pt x="934" y="683"/>
                      <a:pt x="930" y="633"/>
                      <a:pt x="924" y="584"/>
                    </a:cubicBezTo>
                    <a:cubicBezTo>
                      <a:pt x="881" y="581"/>
                      <a:pt x="837" y="580"/>
                      <a:pt x="792" y="579"/>
                    </a:cubicBezTo>
                    <a:cubicBezTo>
                      <a:pt x="791" y="579"/>
                      <a:pt x="791" y="581"/>
                      <a:pt x="791" y="582"/>
                    </a:cubicBezTo>
                    <a:close/>
                    <a:moveTo>
                      <a:pt x="538" y="588"/>
                    </a:moveTo>
                    <a:cubicBezTo>
                      <a:pt x="531" y="634"/>
                      <a:pt x="526" y="681"/>
                      <a:pt x="521" y="729"/>
                    </a:cubicBezTo>
                    <a:cubicBezTo>
                      <a:pt x="552" y="732"/>
                      <a:pt x="584" y="734"/>
                      <a:pt x="616" y="736"/>
                    </a:cubicBezTo>
                    <a:cubicBezTo>
                      <a:pt x="612" y="686"/>
                      <a:pt x="615" y="630"/>
                      <a:pt x="609" y="583"/>
                    </a:cubicBezTo>
                    <a:cubicBezTo>
                      <a:pt x="586" y="585"/>
                      <a:pt x="562" y="587"/>
                      <a:pt x="538" y="588"/>
                    </a:cubicBezTo>
                    <a:close/>
                    <a:moveTo>
                      <a:pt x="929" y="584"/>
                    </a:moveTo>
                    <a:cubicBezTo>
                      <a:pt x="933" y="634"/>
                      <a:pt x="939" y="682"/>
                      <a:pt x="942" y="734"/>
                    </a:cubicBezTo>
                    <a:cubicBezTo>
                      <a:pt x="946" y="733"/>
                      <a:pt x="953" y="733"/>
                      <a:pt x="959" y="733"/>
                    </a:cubicBezTo>
                    <a:cubicBezTo>
                      <a:pt x="962" y="685"/>
                      <a:pt x="963" y="636"/>
                      <a:pt x="965" y="587"/>
                    </a:cubicBezTo>
                    <a:cubicBezTo>
                      <a:pt x="953" y="585"/>
                      <a:pt x="941" y="585"/>
                      <a:pt x="929" y="584"/>
                    </a:cubicBezTo>
                    <a:close/>
                    <a:moveTo>
                      <a:pt x="13" y="752"/>
                    </a:moveTo>
                    <a:cubicBezTo>
                      <a:pt x="25" y="732"/>
                      <a:pt x="46" y="719"/>
                      <a:pt x="63" y="704"/>
                    </a:cubicBezTo>
                    <a:cubicBezTo>
                      <a:pt x="63" y="674"/>
                      <a:pt x="63" y="645"/>
                      <a:pt x="66" y="618"/>
                    </a:cubicBezTo>
                    <a:cubicBezTo>
                      <a:pt x="54" y="609"/>
                      <a:pt x="45" y="597"/>
                      <a:pt x="35" y="585"/>
                    </a:cubicBezTo>
                    <a:cubicBezTo>
                      <a:pt x="23" y="635"/>
                      <a:pt x="7" y="690"/>
                      <a:pt x="13" y="752"/>
                    </a:cubicBezTo>
                    <a:close/>
                    <a:moveTo>
                      <a:pt x="967" y="587"/>
                    </a:moveTo>
                    <a:cubicBezTo>
                      <a:pt x="965" y="635"/>
                      <a:pt x="965" y="686"/>
                      <a:pt x="961" y="732"/>
                    </a:cubicBezTo>
                    <a:cubicBezTo>
                      <a:pt x="1017" y="729"/>
                      <a:pt x="1071" y="723"/>
                      <a:pt x="1123" y="716"/>
                    </a:cubicBezTo>
                    <a:cubicBezTo>
                      <a:pt x="1132" y="675"/>
                      <a:pt x="1121" y="639"/>
                      <a:pt x="1114" y="603"/>
                    </a:cubicBezTo>
                    <a:cubicBezTo>
                      <a:pt x="1067" y="597"/>
                      <a:pt x="1018" y="591"/>
                      <a:pt x="967" y="587"/>
                    </a:cubicBezTo>
                    <a:close/>
                    <a:moveTo>
                      <a:pt x="1476" y="597"/>
                    </a:moveTo>
                    <a:cubicBezTo>
                      <a:pt x="1478" y="594"/>
                      <a:pt x="1476" y="589"/>
                      <a:pt x="1474" y="587"/>
                    </a:cubicBezTo>
                    <a:cubicBezTo>
                      <a:pt x="1475" y="590"/>
                      <a:pt x="1475" y="594"/>
                      <a:pt x="1476" y="597"/>
                    </a:cubicBezTo>
                    <a:close/>
                    <a:moveTo>
                      <a:pt x="445" y="599"/>
                    </a:moveTo>
                    <a:cubicBezTo>
                      <a:pt x="446" y="641"/>
                      <a:pt x="448" y="683"/>
                      <a:pt x="452" y="722"/>
                    </a:cubicBezTo>
                    <a:cubicBezTo>
                      <a:pt x="474" y="725"/>
                      <a:pt x="496" y="727"/>
                      <a:pt x="518" y="729"/>
                    </a:cubicBezTo>
                    <a:cubicBezTo>
                      <a:pt x="523" y="682"/>
                      <a:pt x="528" y="634"/>
                      <a:pt x="535" y="589"/>
                    </a:cubicBezTo>
                    <a:cubicBezTo>
                      <a:pt x="504" y="591"/>
                      <a:pt x="475" y="595"/>
                      <a:pt x="445" y="599"/>
                    </a:cubicBezTo>
                    <a:close/>
                    <a:moveTo>
                      <a:pt x="1398" y="592"/>
                    </a:moveTo>
                    <a:cubicBezTo>
                      <a:pt x="1398" y="610"/>
                      <a:pt x="1399" y="628"/>
                      <a:pt x="1399" y="647"/>
                    </a:cubicBezTo>
                    <a:cubicBezTo>
                      <a:pt x="1404" y="644"/>
                      <a:pt x="1410" y="644"/>
                      <a:pt x="1412" y="640"/>
                    </a:cubicBezTo>
                    <a:cubicBezTo>
                      <a:pt x="1407" y="624"/>
                      <a:pt x="1403" y="607"/>
                      <a:pt x="1398" y="592"/>
                    </a:cubicBezTo>
                    <a:moveTo>
                      <a:pt x="1398" y="592"/>
                    </a:moveTo>
                    <a:cubicBezTo>
                      <a:pt x="1399" y="587"/>
                      <a:pt x="1395" y="591"/>
                      <a:pt x="1398" y="592"/>
                    </a:cubicBezTo>
                    <a:moveTo>
                      <a:pt x="354" y="612"/>
                    </a:moveTo>
                    <a:cubicBezTo>
                      <a:pt x="346" y="641"/>
                      <a:pt x="341" y="673"/>
                      <a:pt x="335" y="705"/>
                    </a:cubicBezTo>
                    <a:cubicBezTo>
                      <a:pt x="372" y="712"/>
                      <a:pt x="409" y="718"/>
                      <a:pt x="449" y="721"/>
                    </a:cubicBezTo>
                    <a:cubicBezTo>
                      <a:pt x="445" y="682"/>
                      <a:pt x="445" y="639"/>
                      <a:pt x="441" y="599"/>
                    </a:cubicBezTo>
                    <a:cubicBezTo>
                      <a:pt x="412" y="603"/>
                      <a:pt x="383" y="607"/>
                      <a:pt x="354" y="612"/>
                    </a:cubicBezTo>
                    <a:close/>
                    <a:moveTo>
                      <a:pt x="1483" y="721"/>
                    </a:moveTo>
                    <a:cubicBezTo>
                      <a:pt x="1487" y="724"/>
                      <a:pt x="1490" y="729"/>
                      <a:pt x="1494" y="733"/>
                    </a:cubicBezTo>
                    <a:cubicBezTo>
                      <a:pt x="1498" y="736"/>
                      <a:pt x="1504" y="743"/>
                      <a:pt x="1505" y="742"/>
                    </a:cubicBezTo>
                    <a:cubicBezTo>
                      <a:pt x="1499" y="690"/>
                      <a:pt x="1492" y="641"/>
                      <a:pt x="1477" y="599"/>
                    </a:cubicBezTo>
                    <a:cubicBezTo>
                      <a:pt x="1480" y="635"/>
                      <a:pt x="1484" y="678"/>
                      <a:pt x="1483" y="721"/>
                    </a:cubicBezTo>
                    <a:close/>
                    <a:moveTo>
                      <a:pt x="1416" y="642"/>
                    </a:moveTo>
                    <a:cubicBezTo>
                      <a:pt x="1419" y="657"/>
                      <a:pt x="1423" y="671"/>
                      <a:pt x="1425" y="686"/>
                    </a:cubicBezTo>
                    <a:cubicBezTo>
                      <a:pt x="1441" y="692"/>
                      <a:pt x="1456" y="703"/>
                      <a:pt x="1468" y="711"/>
                    </a:cubicBezTo>
                    <a:cubicBezTo>
                      <a:pt x="1472" y="714"/>
                      <a:pt x="1478" y="718"/>
                      <a:pt x="1480" y="718"/>
                    </a:cubicBezTo>
                    <a:cubicBezTo>
                      <a:pt x="1480" y="677"/>
                      <a:pt x="1480" y="637"/>
                      <a:pt x="1473" y="603"/>
                    </a:cubicBezTo>
                    <a:cubicBezTo>
                      <a:pt x="1457" y="619"/>
                      <a:pt x="1438" y="632"/>
                      <a:pt x="1416" y="642"/>
                    </a:cubicBezTo>
                    <a:close/>
                    <a:moveTo>
                      <a:pt x="1128" y="658"/>
                    </a:moveTo>
                    <a:cubicBezTo>
                      <a:pt x="1128" y="640"/>
                      <a:pt x="1129" y="623"/>
                      <a:pt x="1130" y="605"/>
                    </a:cubicBezTo>
                    <a:cubicBezTo>
                      <a:pt x="1124" y="606"/>
                      <a:pt x="1122" y="604"/>
                      <a:pt x="1117" y="604"/>
                    </a:cubicBezTo>
                    <a:cubicBezTo>
                      <a:pt x="1120" y="623"/>
                      <a:pt x="1124" y="640"/>
                      <a:pt x="1128" y="658"/>
                    </a:cubicBezTo>
                    <a:close/>
                    <a:moveTo>
                      <a:pt x="1134" y="606"/>
                    </a:moveTo>
                    <a:cubicBezTo>
                      <a:pt x="1132" y="607"/>
                      <a:pt x="1132" y="607"/>
                      <a:pt x="1132" y="609"/>
                    </a:cubicBezTo>
                    <a:cubicBezTo>
                      <a:pt x="1131" y="648"/>
                      <a:pt x="1128" y="682"/>
                      <a:pt x="1136" y="714"/>
                    </a:cubicBezTo>
                    <a:cubicBezTo>
                      <a:pt x="1184" y="707"/>
                      <a:pt x="1230" y="698"/>
                      <a:pt x="1274" y="688"/>
                    </a:cubicBezTo>
                    <a:cubicBezTo>
                      <a:pt x="1276" y="671"/>
                      <a:pt x="1276" y="653"/>
                      <a:pt x="1277" y="635"/>
                    </a:cubicBezTo>
                    <a:cubicBezTo>
                      <a:pt x="1230" y="624"/>
                      <a:pt x="1183" y="614"/>
                      <a:pt x="1134" y="606"/>
                    </a:cubicBezTo>
                    <a:close/>
                    <a:moveTo>
                      <a:pt x="349" y="613"/>
                    </a:moveTo>
                    <a:cubicBezTo>
                      <a:pt x="330" y="617"/>
                      <a:pt x="311" y="621"/>
                      <a:pt x="292" y="624"/>
                    </a:cubicBezTo>
                    <a:cubicBezTo>
                      <a:pt x="292" y="650"/>
                      <a:pt x="293" y="674"/>
                      <a:pt x="295" y="697"/>
                    </a:cubicBezTo>
                    <a:cubicBezTo>
                      <a:pt x="307" y="700"/>
                      <a:pt x="319" y="703"/>
                      <a:pt x="332" y="704"/>
                    </a:cubicBezTo>
                    <a:cubicBezTo>
                      <a:pt x="337" y="674"/>
                      <a:pt x="345" y="641"/>
                      <a:pt x="349" y="613"/>
                    </a:cubicBezTo>
                    <a:close/>
                    <a:moveTo>
                      <a:pt x="1279" y="634"/>
                    </a:moveTo>
                    <a:cubicBezTo>
                      <a:pt x="1282" y="634"/>
                      <a:pt x="1283" y="634"/>
                      <a:pt x="1284" y="635"/>
                    </a:cubicBezTo>
                    <a:cubicBezTo>
                      <a:pt x="1283" y="628"/>
                      <a:pt x="1282" y="622"/>
                      <a:pt x="1279" y="617"/>
                    </a:cubicBezTo>
                    <a:cubicBezTo>
                      <a:pt x="1279" y="623"/>
                      <a:pt x="1279" y="628"/>
                      <a:pt x="1279" y="634"/>
                    </a:cubicBezTo>
                    <a:close/>
                    <a:moveTo>
                      <a:pt x="67" y="699"/>
                    </a:moveTo>
                    <a:cubicBezTo>
                      <a:pt x="70" y="674"/>
                      <a:pt x="76" y="651"/>
                      <a:pt x="82" y="628"/>
                    </a:cubicBezTo>
                    <a:cubicBezTo>
                      <a:pt x="77" y="626"/>
                      <a:pt x="74" y="621"/>
                      <a:pt x="68" y="620"/>
                    </a:cubicBezTo>
                    <a:cubicBezTo>
                      <a:pt x="67" y="645"/>
                      <a:pt x="64" y="674"/>
                      <a:pt x="67" y="699"/>
                    </a:cubicBezTo>
                    <a:close/>
                    <a:moveTo>
                      <a:pt x="288" y="625"/>
                    </a:moveTo>
                    <a:cubicBezTo>
                      <a:pt x="255" y="634"/>
                      <a:pt x="221" y="642"/>
                      <a:pt x="190" y="652"/>
                    </a:cubicBezTo>
                    <a:cubicBezTo>
                      <a:pt x="189" y="659"/>
                      <a:pt x="188" y="664"/>
                      <a:pt x="186" y="670"/>
                    </a:cubicBezTo>
                    <a:cubicBezTo>
                      <a:pt x="220" y="680"/>
                      <a:pt x="255" y="690"/>
                      <a:pt x="293" y="696"/>
                    </a:cubicBezTo>
                    <a:cubicBezTo>
                      <a:pt x="290" y="673"/>
                      <a:pt x="291" y="648"/>
                      <a:pt x="288" y="625"/>
                    </a:cubicBezTo>
                    <a:close/>
                    <a:moveTo>
                      <a:pt x="69" y="701"/>
                    </a:moveTo>
                    <a:cubicBezTo>
                      <a:pt x="95" y="687"/>
                      <a:pt x="122" y="673"/>
                      <a:pt x="152" y="663"/>
                    </a:cubicBezTo>
                    <a:cubicBezTo>
                      <a:pt x="130" y="651"/>
                      <a:pt x="104" y="643"/>
                      <a:pt x="84" y="629"/>
                    </a:cubicBezTo>
                    <a:cubicBezTo>
                      <a:pt x="79" y="653"/>
                      <a:pt x="73" y="676"/>
                      <a:pt x="69" y="701"/>
                    </a:cubicBezTo>
                    <a:close/>
                    <a:moveTo>
                      <a:pt x="1277" y="687"/>
                    </a:moveTo>
                    <a:cubicBezTo>
                      <a:pt x="1283" y="685"/>
                      <a:pt x="1289" y="684"/>
                      <a:pt x="1296" y="682"/>
                    </a:cubicBezTo>
                    <a:cubicBezTo>
                      <a:pt x="1292" y="667"/>
                      <a:pt x="1290" y="652"/>
                      <a:pt x="1285" y="638"/>
                    </a:cubicBezTo>
                    <a:cubicBezTo>
                      <a:pt x="1284" y="637"/>
                      <a:pt x="1281" y="637"/>
                      <a:pt x="1279" y="636"/>
                    </a:cubicBezTo>
                    <a:cubicBezTo>
                      <a:pt x="1278" y="652"/>
                      <a:pt x="1278" y="670"/>
                      <a:pt x="1277" y="687"/>
                    </a:cubicBezTo>
                    <a:close/>
                    <a:moveTo>
                      <a:pt x="1298" y="681"/>
                    </a:moveTo>
                    <a:cubicBezTo>
                      <a:pt x="1320" y="675"/>
                      <a:pt x="1342" y="670"/>
                      <a:pt x="1362" y="661"/>
                    </a:cubicBezTo>
                    <a:cubicBezTo>
                      <a:pt x="1338" y="654"/>
                      <a:pt x="1315" y="645"/>
                      <a:pt x="1289" y="639"/>
                    </a:cubicBezTo>
                    <a:cubicBezTo>
                      <a:pt x="1291" y="653"/>
                      <a:pt x="1296" y="666"/>
                      <a:pt x="1298" y="681"/>
                    </a:cubicBezTo>
                    <a:close/>
                    <a:moveTo>
                      <a:pt x="1399" y="649"/>
                    </a:moveTo>
                    <a:cubicBezTo>
                      <a:pt x="1399" y="657"/>
                      <a:pt x="1399" y="665"/>
                      <a:pt x="1399" y="673"/>
                    </a:cubicBezTo>
                    <a:cubicBezTo>
                      <a:pt x="1407" y="677"/>
                      <a:pt x="1415" y="680"/>
                      <a:pt x="1422" y="684"/>
                    </a:cubicBezTo>
                    <a:cubicBezTo>
                      <a:pt x="1419" y="671"/>
                      <a:pt x="1418" y="655"/>
                      <a:pt x="1412" y="644"/>
                    </a:cubicBezTo>
                    <a:cubicBezTo>
                      <a:pt x="1409" y="646"/>
                      <a:pt x="1404" y="648"/>
                      <a:pt x="1399" y="649"/>
                    </a:cubicBezTo>
                    <a:close/>
                    <a:moveTo>
                      <a:pt x="1371" y="662"/>
                    </a:moveTo>
                    <a:cubicBezTo>
                      <a:pt x="1379" y="665"/>
                      <a:pt x="1388" y="668"/>
                      <a:pt x="1397" y="672"/>
                    </a:cubicBezTo>
                    <a:cubicBezTo>
                      <a:pt x="1396" y="666"/>
                      <a:pt x="1398" y="656"/>
                      <a:pt x="1396" y="651"/>
                    </a:cubicBezTo>
                    <a:cubicBezTo>
                      <a:pt x="1388" y="655"/>
                      <a:pt x="1379" y="658"/>
                      <a:pt x="1371" y="662"/>
                    </a:cubicBezTo>
                    <a:close/>
                    <a:moveTo>
                      <a:pt x="162" y="662"/>
                    </a:moveTo>
                    <a:cubicBezTo>
                      <a:pt x="169" y="664"/>
                      <a:pt x="175" y="668"/>
                      <a:pt x="184" y="669"/>
                    </a:cubicBezTo>
                    <a:cubicBezTo>
                      <a:pt x="184" y="663"/>
                      <a:pt x="187" y="659"/>
                      <a:pt x="187" y="653"/>
                    </a:cubicBezTo>
                    <a:cubicBezTo>
                      <a:pt x="178" y="656"/>
                      <a:pt x="170" y="658"/>
                      <a:pt x="162" y="662"/>
                    </a:cubicBezTo>
                    <a:close/>
                    <a:moveTo>
                      <a:pt x="109" y="683"/>
                    </a:moveTo>
                    <a:cubicBezTo>
                      <a:pt x="98" y="688"/>
                      <a:pt x="72" y="698"/>
                      <a:pt x="68" y="707"/>
                    </a:cubicBezTo>
                    <a:cubicBezTo>
                      <a:pt x="63" y="717"/>
                      <a:pt x="68" y="742"/>
                      <a:pt x="70" y="755"/>
                    </a:cubicBezTo>
                    <a:cubicBezTo>
                      <a:pt x="76" y="807"/>
                      <a:pt x="83" y="853"/>
                      <a:pt x="96" y="893"/>
                    </a:cubicBezTo>
                    <a:cubicBezTo>
                      <a:pt x="107" y="898"/>
                      <a:pt x="117" y="903"/>
                      <a:pt x="127" y="908"/>
                    </a:cubicBezTo>
                    <a:cubicBezTo>
                      <a:pt x="138" y="901"/>
                      <a:pt x="150" y="898"/>
                      <a:pt x="158" y="889"/>
                    </a:cubicBezTo>
                    <a:cubicBezTo>
                      <a:pt x="157" y="859"/>
                      <a:pt x="160" y="834"/>
                      <a:pt x="162" y="808"/>
                    </a:cubicBezTo>
                    <a:cubicBezTo>
                      <a:pt x="163" y="790"/>
                      <a:pt x="168" y="772"/>
                      <a:pt x="168" y="756"/>
                    </a:cubicBezTo>
                    <a:cubicBezTo>
                      <a:pt x="168" y="741"/>
                      <a:pt x="163" y="727"/>
                      <a:pt x="162" y="712"/>
                    </a:cubicBezTo>
                    <a:cubicBezTo>
                      <a:pt x="161" y="696"/>
                      <a:pt x="161" y="681"/>
                      <a:pt x="159" y="665"/>
                    </a:cubicBezTo>
                    <a:cubicBezTo>
                      <a:pt x="159" y="664"/>
                      <a:pt x="159" y="664"/>
                      <a:pt x="158" y="664"/>
                    </a:cubicBezTo>
                    <a:cubicBezTo>
                      <a:pt x="145" y="667"/>
                      <a:pt x="128" y="674"/>
                      <a:pt x="109" y="683"/>
                    </a:cubicBezTo>
                    <a:close/>
                    <a:moveTo>
                      <a:pt x="1367" y="664"/>
                    </a:moveTo>
                    <a:cubicBezTo>
                      <a:pt x="1347" y="670"/>
                      <a:pt x="1321" y="678"/>
                      <a:pt x="1299" y="685"/>
                    </a:cubicBezTo>
                    <a:cubicBezTo>
                      <a:pt x="1311" y="742"/>
                      <a:pt x="1319" y="805"/>
                      <a:pt x="1322" y="872"/>
                    </a:cubicBezTo>
                    <a:cubicBezTo>
                      <a:pt x="1336" y="877"/>
                      <a:pt x="1347" y="884"/>
                      <a:pt x="1362" y="888"/>
                    </a:cubicBezTo>
                    <a:cubicBezTo>
                      <a:pt x="1380" y="824"/>
                      <a:pt x="1394" y="754"/>
                      <a:pt x="1397" y="674"/>
                    </a:cubicBezTo>
                    <a:cubicBezTo>
                      <a:pt x="1386" y="672"/>
                      <a:pt x="1378" y="666"/>
                      <a:pt x="1367" y="664"/>
                    </a:cubicBezTo>
                    <a:close/>
                    <a:moveTo>
                      <a:pt x="170" y="745"/>
                    </a:moveTo>
                    <a:cubicBezTo>
                      <a:pt x="172" y="719"/>
                      <a:pt x="178" y="695"/>
                      <a:pt x="183" y="671"/>
                    </a:cubicBezTo>
                    <a:cubicBezTo>
                      <a:pt x="175" y="670"/>
                      <a:pt x="169" y="667"/>
                      <a:pt x="162" y="665"/>
                    </a:cubicBezTo>
                    <a:cubicBezTo>
                      <a:pt x="164" y="692"/>
                      <a:pt x="164" y="722"/>
                      <a:pt x="170" y="745"/>
                    </a:cubicBezTo>
                    <a:close/>
                    <a:moveTo>
                      <a:pt x="185" y="672"/>
                    </a:moveTo>
                    <a:cubicBezTo>
                      <a:pt x="185" y="673"/>
                      <a:pt x="185" y="674"/>
                      <a:pt x="185" y="675"/>
                    </a:cubicBezTo>
                    <a:cubicBezTo>
                      <a:pt x="182" y="704"/>
                      <a:pt x="169" y="731"/>
                      <a:pt x="171" y="761"/>
                    </a:cubicBezTo>
                    <a:cubicBezTo>
                      <a:pt x="172" y="801"/>
                      <a:pt x="188" y="839"/>
                      <a:pt x="195" y="875"/>
                    </a:cubicBezTo>
                    <a:cubicBezTo>
                      <a:pt x="232" y="860"/>
                      <a:pt x="272" y="848"/>
                      <a:pt x="314" y="837"/>
                    </a:cubicBezTo>
                    <a:cubicBezTo>
                      <a:pt x="306" y="792"/>
                      <a:pt x="297" y="749"/>
                      <a:pt x="294" y="700"/>
                    </a:cubicBezTo>
                    <a:cubicBezTo>
                      <a:pt x="256" y="692"/>
                      <a:pt x="219" y="683"/>
                      <a:pt x="185" y="672"/>
                    </a:cubicBezTo>
                    <a:close/>
                    <a:moveTo>
                      <a:pt x="1364" y="890"/>
                    </a:moveTo>
                    <a:cubicBezTo>
                      <a:pt x="1375" y="896"/>
                      <a:pt x="1385" y="902"/>
                      <a:pt x="1397" y="908"/>
                    </a:cubicBezTo>
                    <a:cubicBezTo>
                      <a:pt x="1411" y="900"/>
                      <a:pt x="1428" y="894"/>
                      <a:pt x="1441" y="885"/>
                    </a:cubicBezTo>
                    <a:cubicBezTo>
                      <a:pt x="1442" y="811"/>
                      <a:pt x="1435" y="747"/>
                      <a:pt x="1423" y="687"/>
                    </a:cubicBezTo>
                    <a:cubicBezTo>
                      <a:pt x="1415" y="684"/>
                      <a:pt x="1408" y="679"/>
                      <a:pt x="1398" y="676"/>
                    </a:cubicBezTo>
                    <a:cubicBezTo>
                      <a:pt x="1397" y="757"/>
                      <a:pt x="1382" y="826"/>
                      <a:pt x="1364" y="890"/>
                    </a:cubicBezTo>
                    <a:close/>
                    <a:moveTo>
                      <a:pt x="1127" y="716"/>
                    </a:moveTo>
                    <a:cubicBezTo>
                      <a:pt x="1127" y="713"/>
                      <a:pt x="1132" y="715"/>
                      <a:pt x="1134" y="715"/>
                    </a:cubicBezTo>
                    <a:cubicBezTo>
                      <a:pt x="1132" y="705"/>
                      <a:pt x="1131" y="694"/>
                      <a:pt x="1129" y="685"/>
                    </a:cubicBezTo>
                    <a:cubicBezTo>
                      <a:pt x="1128" y="694"/>
                      <a:pt x="1125" y="707"/>
                      <a:pt x="1127" y="716"/>
                    </a:cubicBezTo>
                    <a:close/>
                    <a:moveTo>
                      <a:pt x="1277" y="690"/>
                    </a:moveTo>
                    <a:cubicBezTo>
                      <a:pt x="1272" y="746"/>
                      <a:pt x="1263" y="798"/>
                      <a:pt x="1252" y="848"/>
                    </a:cubicBezTo>
                    <a:cubicBezTo>
                      <a:pt x="1275" y="855"/>
                      <a:pt x="1298" y="862"/>
                      <a:pt x="1319" y="871"/>
                    </a:cubicBezTo>
                    <a:cubicBezTo>
                      <a:pt x="1316" y="804"/>
                      <a:pt x="1310" y="740"/>
                      <a:pt x="1295" y="685"/>
                    </a:cubicBezTo>
                    <a:cubicBezTo>
                      <a:pt x="1289" y="687"/>
                      <a:pt x="1283" y="688"/>
                      <a:pt x="1277" y="690"/>
                    </a:cubicBezTo>
                    <a:close/>
                    <a:moveTo>
                      <a:pt x="1443" y="884"/>
                    </a:moveTo>
                    <a:cubicBezTo>
                      <a:pt x="1447" y="884"/>
                      <a:pt x="1454" y="877"/>
                      <a:pt x="1459" y="875"/>
                    </a:cubicBezTo>
                    <a:cubicBezTo>
                      <a:pt x="1470" y="828"/>
                      <a:pt x="1478" y="779"/>
                      <a:pt x="1480" y="723"/>
                    </a:cubicBezTo>
                    <a:cubicBezTo>
                      <a:pt x="1465" y="709"/>
                      <a:pt x="1446" y="699"/>
                      <a:pt x="1426" y="689"/>
                    </a:cubicBezTo>
                    <a:cubicBezTo>
                      <a:pt x="1437" y="748"/>
                      <a:pt x="1446" y="814"/>
                      <a:pt x="1443" y="884"/>
                    </a:cubicBezTo>
                    <a:close/>
                    <a:moveTo>
                      <a:pt x="1136" y="718"/>
                    </a:moveTo>
                    <a:cubicBezTo>
                      <a:pt x="1142" y="751"/>
                      <a:pt x="1146" y="785"/>
                      <a:pt x="1148" y="822"/>
                    </a:cubicBezTo>
                    <a:cubicBezTo>
                      <a:pt x="1182" y="830"/>
                      <a:pt x="1216" y="838"/>
                      <a:pt x="1249" y="847"/>
                    </a:cubicBezTo>
                    <a:cubicBezTo>
                      <a:pt x="1260" y="798"/>
                      <a:pt x="1269" y="747"/>
                      <a:pt x="1274" y="691"/>
                    </a:cubicBezTo>
                    <a:cubicBezTo>
                      <a:pt x="1273" y="691"/>
                      <a:pt x="1272" y="691"/>
                      <a:pt x="1272" y="691"/>
                    </a:cubicBezTo>
                    <a:cubicBezTo>
                      <a:pt x="1229" y="702"/>
                      <a:pt x="1181" y="708"/>
                      <a:pt x="1136" y="718"/>
                    </a:cubicBezTo>
                    <a:close/>
                    <a:moveTo>
                      <a:pt x="317" y="834"/>
                    </a:moveTo>
                    <a:cubicBezTo>
                      <a:pt x="320" y="790"/>
                      <a:pt x="325" y="747"/>
                      <a:pt x="332" y="707"/>
                    </a:cubicBezTo>
                    <a:cubicBezTo>
                      <a:pt x="319" y="706"/>
                      <a:pt x="307" y="703"/>
                      <a:pt x="295" y="700"/>
                    </a:cubicBezTo>
                    <a:cubicBezTo>
                      <a:pt x="301" y="747"/>
                      <a:pt x="306" y="792"/>
                      <a:pt x="317" y="834"/>
                    </a:cubicBezTo>
                    <a:close/>
                    <a:moveTo>
                      <a:pt x="334" y="708"/>
                    </a:moveTo>
                    <a:cubicBezTo>
                      <a:pt x="329" y="749"/>
                      <a:pt x="320" y="792"/>
                      <a:pt x="320" y="836"/>
                    </a:cubicBezTo>
                    <a:cubicBezTo>
                      <a:pt x="364" y="824"/>
                      <a:pt x="411" y="815"/>
                      <a:pt x="460" y="809"/>
                    </a:cubicBezTo>
                    <a:cubicBezTo>
                      <a:pt x="456" y="781"/>
                      <a:pt x="452" y="754"/>
                      <a:pt x="450" y="724"/>
                    </a:cubicBezTo>
                    <a:cubicBezTo>
                      <a:pt x="410" y="721"/>
                      <a:pt x="372" y="714"/>
                      <a:pt x="334" y="708"/>
                    </a:cubicBezTo>
                    <a:close/>
                    <a:moveTo>
                      <a:pt x="12" y="759"/>
                    </a:moveTo>
                    <a:cubicBezTo>
                      <a:pt x="10" y="769"/>
                      <a:pt x="13" y="784"/>
                      <a:pt x="14" y="796"/>
                    </a:cubicBezTo>
                    <a:cubicBezTo>
                      <a:pt x="15" y="809"/>
                      <a:pt x="15" y="823"/>
                      <a:pt x="18" y="833"/>
                    </a:cubicBezTo>
                    <a:cubicBezTo>
                      <a:pt x="21" y="843"/>
                      <a:pt x="38" y="854"/>
                      <a:pt x="45" y="860"/>
                    </a:cubicBezTo>
                    <a:cubicBezTo>
                      <a:pt x="48" y="862"/>
                      <a:pt x="50" y="867"/>
                      <a:pt x="54" y="865"/>
                    </a:cubicBezTo>
                    <a:cubicBezTo>
                      <a:pt x="52" y="809"/>
                      <a:pt x="59" y="757"/>
                      <a:pt x="63" y="710"/>
                    </a:cubicBezTo>
                    <a:cubicBezTo>
                      <a:pt x="63" y="709"/>
                      <a:pt x="63" y="709"/>
                      <a:pt x="62" y="709"/>
                    </a:cubicBezTo>
                    <a:cubicBezTo>
                      <a:pt x="50" y="719"/>
                      <a:pt x="16" y="741"/>
                      <a:pt x="12" y="759"/>
                    </a:cubicBezTo>
                    <a:close/>
                    <a:moveTo>
                      <a:pt x="1134" y="718"/>
                    </a:moveTo>
                    <a:cubicBezTo>
                      <a:pt x="1133" y="716"/>
                      <a:pt x="1129" y="719"/>
                      <a:pt x="1126" y="718"/>
                    </a:cubicBezTo>
                    <a:cubicBezTo>
                      <a:pt x="1122" y="751"/>
                      <a:pt x="1118" y="785"/>
                      <a:pt x="1112" y="816"/>
                    </a:cubicBezTo>
                    <a:cubicBezTo>
                      <a:pt x="1124" y="818"/>
                      <a:pt x="1134" y="821"/>
                      <a:pt x="1146" y="822"/>
                    </a:cubicBezTo>
                    <a:cubicBezTo>
                      <a:pt x="1143" y="787"/>
                      <a:pt x="1139" y="752"/>
                      <a:pt x="1134" y="718"/>
                    </a:cubicBezTo>
                    <a:close/>
                    <a:moveTo>
                      <a:pt x="961" y="735"/>
                    </a:moveTo>
                    <a:cubicBezTo>
                      <a:pt x="960" y="755"/>
                      <a:pt x="958" y="775"/>
                      <a:pt x="956" y="795"/>
                    </a:cubicBezTo>
                    <a:cubicBezTo>
                      <a:pt x="1009" y="801"/>
                      <a:pt x="1060" y="807"/>
                      <a:pt x="1110" y="815"/>
                    </a:cubicBezTo>
                    <a:cubicBezTo>
                      <a:pt x="1113" y="784"/>
                      <a:pt x="1123" y="748"/>
                      <a:pt x="1121" y="719"/>
                    </a:cubicBezTo>
                    <a:cubicBezTo>
                      <a:pt x="1070" y="726"/>
                      <a:pt x="1016" y="732"/>
                      <a:pt x="961" y="735"/>
                    </a:cubicBezTo>
                    <a:close/>
                    <a:moveTo>
                      <a:pt x="1462" y="872"/>
                    </a:moveTo>
                    <a:cubicBezTo>
                      <a:pt x="1480" y="862"/>
                      <a:pt x="1495" y="848"/>
                      <a:pt x="1507" y="832"/>
                    </a:cubicBezTo>
                    <a:cubicBezTo>
                      <a:pt x="1507" y="814"/>
                      <a:pt x="1508" y="802"/>
                      <a:pt x="1507" y="786"/>
                    </a:cubicBezTo>
                    <a:cubicBezTo>
                      <a:pt x="1506" y="773"/>
                      <a:pt x="1508" y="759"/>
                      <a:pt x="1506" y="750"/>
                    </a:cubicBezTo>
                    <a:cubicBezTo>
                      <a:pt x="1503" y="738"/>
                      <a:pt x="1488" y="733"/>
                      <a:pt x="1482" y="724"/>
                    </a:cubicBezTo>
                    <a:cubicBezTo>
                      <a:pt x="1481" y="779"/>
                      <a:pt x="1472" y="827"/>
                      <a:pt x="1462" y="872"/>
                    </a:cubicBezTo>
                    <a:close/>
                    <a:moveTo>
                      <a:pt x="462" y="808"/>
                    </a:moveTo>
                    <a:cubicBezTo>
                      <a:pt x="479" y="806"/>
                      <a:pt x="496" y="804"/>
                      <a:pt x="512" y="801"/>
                    </a:cubicBezTo>
                    <a:cubicBezTo>
                      <a:pt x="515" y="778"/>
                      <a:pt x="516" y="755"/>
                      <a:pt x="518" y="732"/>
                    </a:cubicBezTo>
                    <a:cubicBezTo>
                      <a:pt x="496" y="729"/>
                      <a:pt x="474" y="727"/>
                      <a:pt x="452" y="725"/>
                    </a:cubicBezTo>
                    <a:cubicBezTo>
                      <a:pt x="455" y="753"/>
                      <a:pt x="458" y="780"/>
                      <a:pt x="462" y="808"/>
                    </a:cubicBezTo>
                    <a:close/>
                    <a:moveTo>
                      <a:pt x="56" y="868"/>
                    </a:moveTo>
                    <a:cubicBezTo>
                      <a:pt x="66" y="877"/>
                      <a:pt x="79" y="884"/>
                      <a:pt x="92" y="890"/>
                    </a:cubicBezTo>
                    <a:cubicBezTo>
                      <a:pt x="79" y="840"/>
                      <a:pt x="69" y="787"/>
                      <a:pt x="64" y="728"/>
                    </a:cubicBezTo>
                    <a:cubicBezTo>
                      <a:pt x="58" y="772"/>
                      <a:pt x="55" y="818"/>
                      <a:pt x="56" y="868"/>
                    </a:cubicBezTo>
                    <a:close/>
                    <a:moveTo>
                      <a:pt x="522" y="732"/>
                    </a:moveTo>
                    <a:cubicBezTo>
                      <a:pt x="518" y="753"/>
                      <a:pt x="518" y="778"/>
                      <a:pt x="515" y="801"/>
                    </a:cubicBezTo>
                    <a:cubicBezTo>
                      <a:pt x="549" y="797"/>
                      <a:pt x="584" y="794"/>
                      <a:pt x="619" y="791"/>
                    </a:cubicBezTo>
                    <a:cubicBezTo>
                      <a:pt x="619" y="773"/>
                      <a:pt x="617" y="756"/>
                      <a:pt x="616" y="739"/>
                    </a:cubicBezTo>
                    <a:cubicBezTo>
                      <a:pt x="585" y="736"/>
                      <a:pt x="553" y="735"/>
                      <a:pt x="522" y="732"/>
                    </a:cubicBezTo>
                    <a:close/>
                    <a:moveTo>
                      <a:pt x="8" y="761"/>
                    </a:moveTo>
                    <a:cubicBezTo>
                      <a:pt x="10" y="754"/>
                      <a:pt x="10" y="740"/>
                      <a:pt x="8" y="733"/>
                    </a:cubicBezTo>
                    <a:cubicBezTo>
                      <a:pt x="10" y="743"/>
                      <a:pt x="6" y="753"/>
                      <a:pt x="8" y="761"/>
                    </a:cubicBezTo>
                    <a:close/>
                    <a:moveTo>
                      <a:pt x="942" y="737"/>
                    </a:moveTo>
                    <a:cubicBezTo>
                      <a:pt x="943" y="757"/>
                      <a:pt x="945" y="775"/>
                      <a:pt x="945" y="795"/>
                    </a:cubicBezTo>
                    <a:cubicBezTo>
                      <a:pt x="948" y="795"/>
                      <a:pt x="950" y="795"/>
                      <a:pt x="953" y="795"/>
                    </a:cubicBezTo>
                    <a:cubicBezTo>
                      <a:pt x="956" y="776"/>
                      <a:pt x="957" y="756"/>
                      <a:pt x="958" y="736"/>
                    </a:cubicBezTo>
                    <a:cubicBezTo>
                      <a:pt x="953" y="736"/>
                      <a:pt x="946" y="735"/>
                      <a:pt x="942" y="737"/>
                    </a:cubicBezTo>
                    <a:close/>
                    <a:moveTo>
                      <a:pt x="790" y="742"/>
                    </a:moveTo>
                    <a:cubicBezTo>
                      <a:pt x="790" y="757"/>
                      <a:pt x="790" y="772"/>
                      <a:pt x="790" y="788"/>
                    </a:cubicBezTo>
                    <a:cubicBezTo>
                      <a:pt x="843" y="788"/>
                      <a:pt x="892" y="791"/>
                      <a:pt x="942" y="794"/>
                    </a:cubicBezTo>
                    <a:cubicBezTo>
                      <a:pt x="940" y="776"/>
                      <a:pt x="940" y="755"/>
                      <a:pt x="938" y="737"/>
                    </a:cubicBezTo>
                    <a:cubicBezTo>
                      <a:pt x="889" y="739"/>
                      <a:pt x="841" y="742"/>
                      <a:pt x="790" y="742"/>
                    </a:cubicBezTo>
                    <a:close/>
                    <a:moveTo>
                      <a:pt x="621" y="739"/>
                    </a:moveTo>
                    <a:cubicBezTo>
                      <a:pt x="619" y="755"/>
                      <a:pt x="623" y="774"/>
                      <a:pt x="623" y="791"/>
                    </a:cubicBezTo>
                    <a:cubicBezTo>
                      <a:pt x="657" y="790"/>
                      <a:pt x="691" y="788"/>
                      <a:pt x="726" y="788"/>
                    </a:cubicBezTo>
                    <a:cubicBezTo>
                      <a:pt x="726" y="772"/>
                      <a:pt x="726" y="757"/>
                      <a:pt x="726" y="742"/>
                    </a:cubicBezTo>
                    <a:cubicBezTo>
                      <a:pt x="690" y="742"/>
                      <a:pt x="656" y="740"/>
                      <a:pt x="621" y="739"/>
                    </a:cubicBezTo>
                    <a:close/>
                    <a:moveTo>
                      <a:pt x="729" y="742"/>
                    </a:moveTo>
                    <a:cubicBezTo>
                      <a:pt x="729" y="757"/>
                      <a:pt x="729" y="772"/>
                      <a:pt x="729" y="788"/>
                    </a:cubicBezTo>
                    <a:cubicBezTo>
                      <a:pt x="749" y="788"/>
                      <a:pt x="768" y="788"/>
                      <a:pt x="787" y="788"/>
                    </a:cubicBezTo>
                    <a:cubicBezTo>
                      <a:pt x="788" y="773"/>
                      <a:pt x="788" y="757"/>
                      <a:pt x="788" y="742"/>
                    </a:cubicBezTo>
                    <a:cubicBezTo>
                      <a:pt x="768" y="742"/>
                      <a:pt x="749" y="742"/>
                      <a:pt x="729" y="742"/>
                    </a:cubicBezTo>
                    <a:close/>
                    <a:moveTo>
                      <a:pt x="1508" y="753"/>
                    </a:moveTo>
                    <a:cubicBezTo>
                      <a:pt x="1508" y="753"/>
                      <a:pt x="1509" y="754"/>
                      <a:pt x="1508" y="753"/>
                    </a:cubicBezTo>
                    <a:close/>
                    <a:moveTo>
                      <a:pt x="1511" y="827"/>
                    </a:moveTo>
                    <a:cubicBezTo>
                      <a:pt x="1520" y="808"/>
                      <a:pt x="1524" y="768"/>
                      <a:pt x="1509" y="754"/>
                    </a:cubicBezTo>
                    <a:cubicBezTo>
                      <a:pt x="1510" y="778"/>
                      <a:pt x="1509" y="804"/>
                      <a:pt x="1511" y="827"/>
                    </a:cubicBezTo>
                    <a:close/>
                    <a:moveTo>
                      <a:pt x="15" y="828"/>
                    </a:moveTo>
                    <a:cubicBezTo>
                      <a:pt x="12" y="808"/>
                      <a:pt x="12" y="784"/>
                      <a:pt x="8" y="765"/>
                    </a:cubicBezTo>
                    <a:cubicBezTo>
                      <a:pt x="6" y="784"/>
                      <a:pt x="4" y="816"/>
                      <a:pt x="15" y="828"/>
                    </a:cubicBezTo>
                    <a:close/>
                    <a:moveTo>
                      <a:pt x="162" y="890"/>
                    </a:moveTo>
                    <a:cubicBezTo>
                      <a:pt x="171" y="884"/>
                      <a:pt x="184" y="881"/>
                      <a:pt x="193" y="875"/>
                    </a:cubicBezTo>
                    <a:cubicBezTo>
                      <a:pt x="182" y="842"/>
                      <a:pt x="176" y="805"/>
                      <a:pt x="169" y="768"/>
                    </a:cubicBezTo>
                    <a:cubicBezTo>
                      <a:pt x="165" y="806"/>
                      <a:pt x="159" y="852"/>
                      <a:pt x="162" y="890"/>
                    </a:cubicBezTo>
                    <a:close/>
                    <a:moveTo>
                      <a:pt x="5" y="797"/>
                    </a:moveTo>
                    <a:cubicBezTo>
                      <a:pt x="5" y="793"/>
                      <a:pt x="5" y="784"/>
                      <a:pt x="4" y="780"/>
                    </a:cubicBezTo>
                    <a:cubicBezTo>
                      <a:pt x="2" y="787"/>
                      <a:pt x="4" y="811"/>
                      <a:pt x="5" y="797"/>
                    </a:cubicBezTo>
                    <a:close/>
                    <a:moveTo>
                      <a:pt x="624" y="794"/>
                    </a:moveTo>
                    <a:cubicBezTo>
                      <a:pt x="627" y="863"/>
                      <a:pt x="635" y="934"/>
                      <a:pt x="643" y="1001"/>
                    </a:cubicBezTo>
                    <a:cubicBezTo>
                      <a:pt x="670" y="999"/>
                      <a:pt x="698" y="998"/>
                      <a:pt x="726" y="997"/>
                    </a:cubicBezTo>
                    <a:cubicBezTo>
                      <a:pt x="726" y="928"/>
                      <a:pt x="725" y="858"/>
                      <a:pt x="726" y="791"/>
                    </a:cubicBezTo>
                    <a:cubicBezTo>
                      <a:pt x="694" y="790"/>
                      <a:pt x="656" y="792"/>
                      <a:pt x="624" y="794"/>
                    </a:cubicBezTo>
                    <a:close/>
                    <a:moveTo>
                      <a:pt x="729" y="792"/>
                    </a:moveTo>
                    <a:cubicBezTo>
                      <a:pt x="727" y="859"/>
                      <a:pt x="729" y="929"/>
                      <a:pt x="728" y="997"/>
                    </a:cubicBezTo>
                    <a:cubicBezTo>
                      <a:pt x="747" y="997"/>
                      <a:pt x="765" y="997"/>
                      <a:pt x="783" y="997"/>
                    </a:cubicBezTo>
                    <a:cubicBezTo>
                      <a:pt x="785" y="929"/>
                      <a:pt x="787" y="860"/>
                      <a:pt x="787" y="790"/>
                    </a:cubicBezTo>
                    <a:cubicBezTo>
                      <a:pt x="768" y="790"/>
                      <a:pt x="749" y="790"/>
                      <a:pt x="730" y="790"/>
                    </a:cubicBezTo>
                    <a:cubicBezTo>
                      <a:pt x="729" y="790"/>
                      <a:pt x="729" y="791"/>
                      <a:pt x="729" y="792"/>
                    </a:cubicBezTo>
                    <a:close/>
                    <a:moveTo>
                      <a:pt x="790" y="792"/>
                    </a:moveTo>
                    <a:cubicBezTo>
                      <a:pt x="789" y="861"/>
                      <a:pt x="788" y="929"/>
                      <a:pt x="786" y="997"/>
                    </a:cubicBezTo>
                    <a:cubicBezTo>
                      <a:pt x="834" y="997"/>
                      <a:pt x="881" y="1003"/>
                      <a:pt x="927" y="998"/>
                    </a:cubicBezTo>
                    <a:cubicBezTo>
                      <a:pt x="937" y="935"/>
                      <a:pt x="950" y="870"/>
                      <a:pt x="942" y="797"/>
                    </a:cubicBezTo>
                    <a:cubicBezTo>
                      <a:pt x="894" y="792"/>
                      <a:pt x="842" y="791"/>
                      <a:pt x="791" y="790"/>
                    </a:cubicBezTo>
                    <a:cubicBezTo>
                      <a:pt x="790" y="790"/>
                      <a:pt x="790" y="791"/>
                      <a:pt x="790" y="792"/>
                    </a:cubicBezTo>
                    <a:close/>
                    <a:moveTo>
                      <a:pt x="1521" y="796"/>
                    </a:moveTo>
                    <a:cubicBezTo>
                      <a:pt x="1521" y="795"/>
                      <a:pt x="1522" y="788"/>
                      <a:pt x="1520" y="791"/>
                    </a:cubicBezTo>
                    <a:cubicBezTo>
                      <a:pt x="1520" y="793"/>
                      <a:pt x="1520" y="799"/>
                      <a:pt x="1521" y="796"/>
                    </a:cubicBezTo>
                    <a:close/>
                    <a:moveTo>
                      <a:pt x="515" y="804"/>
                    </a:moveTo>
                    <a:cubicBezTo>
                      <a:pt x="511" y="864"/>
                      <a:pt x="510" y="926"/>
                      <a:pt x="510" y="991"/>
                    </a:cubicBezTo>
                    <a:cubicBezTo>
                      <a:pt x="552" y="995"/>
                      <a:pt x="598" y="999"/>
                      <a:pt x="640" y="1000"/>
                    </a:cubicBezTo>
                    <a:cubicBezTo>
                      <a:pt x="631" y="934"/>
                      <a:pt x="624" y="865"/>
                      <a:pt x="620" y="794"/>
                    </a:cubicBezTo>
                    <a:cubicBezTo>
                      <a:pt x="584" y="797"/>
                      <a:pt x="549" y="799"/>
                      <a:pt x="515" y="804"/>
                    </a:cubicBezTo>
                    <a:close/>
                    <a:moveTo>
                      <a:pt x="948" y="845"/>
                    </a:moveTo>
                    <a:cubicBezTo>
                      <a:pt x="950" y="830"/>
                      <a:pt x="952" y="814"/>
                      <a:pt x="953" y="798"/>
                    </a:cubicBezTo>
                    <a:cubicBezTo>
                      <a:pt x="950" y="798"/>
                      <a:pt x="949" y="797"/>
                      <a:pt x="945" y="797"/>
                    </a:cubicBezTo>
                    <a:cubicBezTo>
                      <a:pt x="947" y="812"/>
                      <a:pt x="946" y="830"/>
                      <a:pt x="948" y="845"/>
                    </a:cubicBezTo>
                    <a:close/>
                    <a:moveTo>
                      <a:pt x="950" y="997"/>
                    </a:moveTo>
                    <a:cubicBezTo>
                      <a:pt x="991" y="993"/>
                      <a:pt x="1030" y="989"/>
                      <a:pt x="1070" y="985"/>
                    </a:cubicBezTo>
                    <a:cubicBezTo>
                      <a:pt x="1087" y="933"/>
                      <a:pt x="1099" y="877"/>
                      <a:pt x="1110" y="818"/>
                    </a:cubicBezTo>
                    <a:cubicBezTo>
                      <a:pt x="1061" y="809"/>
                      <a:pt x="1009" y="803"/>
                      <a:pt x="957" y="798"/>
                    </a:cubicBezTo>
                    <a:cubicBezTo>
                      <a:pt x="944" y="857"/>
                      <a:pt x="952" y="927"/>
                      <a:pt x="950" y="997"/>
                    </a:cubicBezTo>
                    <a:close/>
                    <a:moveTo>
                      <a:pt x="462" y="811"/>
                    </a:moveTo>
                    <a:cubicBezTo>
                      <a:pt x="470" y="866"/>
                      <a:pt x="483" y="925"/>
                      <a:pt x="495" y="975"/>
                    </a:cubicBezTo>
                    <a:cubicBezTo>
                      <a:pt x="497" y="982"/>
                      <a:pt x="496" y="993"/>
                      <a:pt x="508" y="991"/>
                    </a:cubicBezTo>
                    <a:cubicBezTo>
                      <a:pt x="507" y="935"/>
                      <a:pt x="508" y="873"/>
                      <a:pt x="511" y="820"/>
                    </a:cubicBezTo>
                    <a:cubicBezTo>
                      <a:pt x="512" y="816"/>
                      <a:pt x="515" y="807"/>
                      <a:pt x="510" y="804"/>
                    </a:cubicBezTo>
                    <a:cubicBezTo>
                      <a:pt x="494" y="807"/>
                      <a:pt x="477" y="808"/>
                      <a:pt x="462" y="811"/>
                    </a:cubicBezTo>
                    <a:close/>
                    <a:moveTo>
                      <a:pt x="318" y="839"/>
                    </a:moveTo>
                    <a:cubicBezTo>
                      <a:pt x="326" y="887"/>
                      <a:pt x="341" y="928"/>
                      <a:pt x="354" y="970"/>
                    </a:cubicBezTo>
                    <a:cubicBezTo>
                      <a:pt x="400" y="977"/>
                      <a:pt x="448" y="987"/>
                      <a:pt x="496" y="988"/>
                    </a:cubicBezTo>
                    <a:cubicBezTo>
                      <a:pt x="480" y="933"/>
                      <a:pt x="470" y="871"/>
                      <a:pt x="459" y="811"/>
                    </a:cubicBezTo>
                    <a:cubicBezTo>
                      <a:pt x="411" y="819"/>
                      <a:pt x="363" y="827"/>
                      <a:pt x="318" y="839"/>
                    </a:cubicBezTo>
                    <a:close/>
                    <a:moveTo>
                      <a:pt x="1113" y="819"/>
                    </a:moveTo>
                    <a:cubicBezTo>
                      <a:pt x="1113" y="819"/>
                      <a:pt x="1113" y="818"/>
                      <a:pt x="1112" y="818"/>
                    </a:cubicBezTo>
                    <a:cubicBezTo>
                      <a:pt x="1102" y="876"/>
                      <a:pt x="1089" y="932"/>
                      <a:pt x="1074" y="984"/>
                    </a:cubicBezTo>
                    <a:cubicBezTo>
                      <a:pt x="1100" y="981"/>
                      <a:pt x="1126" y="978"/>
                      <a:pt x="1151" y="973"/>
                    </a:cubicBezTo>
                    <a:cubicBezTo>
                      <a:pt x="1151" y="922"/>
                      <a:pt x="1149" y="873"/>
                      <a:pt x="1146" y="825"/>
                    </a:cubicBezTo>
                    <a:cubicBezTo>
                      <a:pt x="1135" y="823"/>
                      <a:pt x="1125" y="820"/>
                      <a:pt x="1113" y="819"/>
                    </a:cubicBezTo>
                    <a:close/>
                    <a:moveTo>
                      <a:pt x="46" y="1018"/>
                    </a:moveTo>
                    <a:cubicBezTo>
                      <a:pt x="45" y="1002"/>
                      <a:pt x="48" y="990"/>
                      <a:pt x="54" y="980"/>
                    </a:cubicBezTo>
                    <a:cubicBezTo>
                      <a:pt x="37" y="936"/>
                      <a:pt x="24" y="889"/>
                      <a:pt x="17" y="837"/>
                    </a:cubicBezTo>
                    <a:cubicBezTo>
                      <a:pt x="13" y="832"/>
                      <a:pt x="11" y="826"/>
                      <a:pt x="7" y="821"/>
                    </a:cubicBezTo>
                    <a:cubicBezTo>
                      <a:pt x="12" y="895"/>
                      <a:pt x="24" y="961"/>
                      <a:pt x="46" y="1018"/>
                    </a:cubicBezTo>
                    <a:close/>
                    <a:moveTo>
                      <a:pt x="1507" y="887"/>
                    </a:moveTo>
                    <a:cubicBezTo>
                      <a:pt x="1509" y="865"/>
                      <a:pt x="1516" y="844"/>
                      <a:pt x="1515" y="823"/>
                    </a:cubicBezTo>
                    <a:cubicBezTo>
                      <a:pt x="1506" y="838"/>
                      <a:pt x="1508" y="868"/>
                      <a:pt x="1507" y="887"/>
                    </a:cubicBezTo>
                    <a:close/>
                    <a:moveTo>
                      <a:pt x="1149" y="826"/>
                    </a:moveTo>
                    <a:cubicBezTo>
                      <a:pt x="1152" y="873"/>
                      <a:pt x="1154" y="922"/>
                      <a:pt x="1154" y="973"/>
                    </a:cubicBezTo>
                    <a:cubicBezTo>
                      <a:pt x="1174" y="969"/>
                      <a:pt x="1195" y="965"/>
                      <a:pt x="1215" y="961"/>
                    </a:cubicBezTo>
                    <a:cubicBezTo>
                      <a:pt x="1227" y="925"/>
                      <a:pt x="1240" y="889"/>
                      <a:pt x="1248" y="849"/>
                    </a:cubicBezTo>
                    <a:cubicBezTo>
                      <a:pt x="1215" y="841"/>
                      <a:pt x="1184" y="832"/>
                      <a:pt x="1149" y="826"/>
                    </a:cubicBezTo>
                    <a:close/>
                    <a:moveTo>
                      <a:pt x="1461" y="878"/>
                    </a:moveTo>
                    <a:cubicBezTo>
                      <a:pt x="1455" y="899"/>
                      <a:pt x="1449" y="921"/>
                      <a:pt x="1442" y="941"/>
                    </a:cubicBezTo>
                    <a:cubicBezTo>
                      <a:pt x="1456" y="956"/>
                      <a:pt x="1469" y="972"/>
                      <a:pt x="1476" y="993"/>
                    </a:cubicBezTo>
                    <a:cubicBezTo>
                      <a:pt x="1493" y="949"/>
                      <a:pt x="1507" y="896"/>
                      <a:pt x="1506" y="837"/>
                    </a:cubicBezTo>
                    <a:cubicBezTo>
                      <a:pt x="1495" y="854"/>
                      <a:pt x="1476" y="865"/>
                      <a:pt x="1461" y="878"/>
                    </a:cubicBezTo>
                    <a:close/>
                    <a:moveTo>
                      <a:pt x="196" y="877"/>
                    </a:moveTo>
                    <a:cubicBezTo>
                      <a:pt x="201" y="898"/>
                      <a:pt x="208" y="918"/>
                      <a:pt x="215" y="938"/>
                    </a:cubicBezTo>
                    <a:cubicBezTo>
                      <a:pt x="247" y="946"/>
                      <a:pt x="278" y="956"/>
                      <a:pt x="313" y="961"/>
                    </a:cubicBezTo>
                    <a:cubicBezTo>
                      <a:pt x="311" y="919"/>
                      <a:pt x="316" y="878"/>
                      <a:pt x="315" y="839"/>
                    </a:cubicBezTo>
                    <a:cubicBezTo>
                      <a:pt x="314" y="839"/>
                      <a:pt x="313" y="839"/>
                      <a:pt x="313" y="839"/>
                    </a:cubicBezTo>
                    <a:cubicBezTo>
                      <a:pt x="272" y="850"/>
                      <a:pt x="233" y="863"/>
                      <a:pt x="196" y="877"/>
                    </a:cubicBezTo>
                    <a:close/>
                    <a:moveTo>
                      <a:pt x="55" y="977"/>
                    </a:moveTo>
                    <a:cubicBezTo>
                      <a:pt x="56" y="970"/>
                      <a:pt x="61" y="968"/>
                      <a:pt x="63" y="962"/>
                    </a:cubicBezTo>
                    <a:cubicBezTo>
                      <a:pt x="57" y="935"/>
                      <a:pt x="56" y="902"/>
                      <a:pt x="54" y="871"/>
                    </a:cubicBezTo>
                    <a:cubicBezTo>
                      <a:pt x="42" y="861"/>
                      <a:pt x="30" y="852"/>
                      <a:pt x="20" y="840"/>
                    </a:cubicBezTo>
                    <a:cubicBezTo>
                      <a:pt x="27" y="890"/>
                      <a:pt x="39" y="936"/>
                      <a:pt x="55" y="977"/>
                    </a:cubicBezTo>
                    <a:close/>
                    <a:moveTo>
                      <a:pt x="1251" y="851"/>
                    </a:moveTo>
                    <a:cubicBezTo>
                      <a:pt x="1241" y="889"/>
                      <a:pt x="1230" y="925"/>
                      <a:pt x="1218" y="960"/>
                    </a:cubicBezTo>
                    <a:cubicBezTo>
                      <a:pt x="1253" y="953"/>
                      <a:pt x="1288" y="945"/>
                      <a:pt x="1320" y="935"/>
                    </a:cubicBezTo>
                    <a:cubicBezTo>
                      <a:pt x="1320" y="914"/>
                      <a:pt x="1320" y="893"/>
                      <a:pt x="1319" y="873"/>
                    </a:cubicBezTo>
                    <a:cubicBezTo>
                      <a:pt x="1296" y="866"/>
                      <a:pt x="1275" y="857"/>
                      <a:pt x="1251" y="851"/>
                    </a:cubicBezTo>
                    <a:close/>
                    <a:moveTo>
                      <a:pt x="316" y="962"/>
                    </a:moveTo>
                    <a:cubicBezTo>
                      <a:pt x="327" y="965"/>
                      <a:pt x="339" y="967"/>
                      <a:pt x="351" y="969"/>
                    </a:cubicBezTo>
                    <a:cubicBezTo>
                      <a:pt x="338" y="932"/>
                      <a:pt x="328" y="893"/>
                      <a:pt x="318" y="853"/>
                    </a:cubicBezTo>
                    <a:cubicBezTo>
                      <a:pt x="316" y="889"/>
                      <a:pt x="315" y="925"/>
                      <a:pt x="316" y="962"/>
                    </a:cubicBezTo>
                    <a:close/>
                    <a:moveTo>
                      <a:pt x="65" y="959"/>
                    </a:moveTo>
                    <a:cubicBezTo>
                      <a:pt x="75" y="948"/>
                      <a:pt x="90" y="935"/>
                      <a:pt x="102" y="923"/>
                    </a:cubicBezTo>
                    <a:cubicBezTo>
                      <a:pt x="99" y="914"/>
                      <a:pt x="96" y="904"/>
                      <a:pt x="94" y="894"/>
                    </a:cubicBezTo>
                    <a:cubicBezTo>
                      <a:pt x="80" y="889"/>
                      <a:pt x="69" y="880"/>
                      <a:pt x="56" y="873"/>
                    </a:cubicBezTo>
                    <a:cubicBezTo>
                      <a:pt x="59" y="902"/>
                      <a:pt x="60" y="932"/>
                      <a:pt x="65" y="959"/>
                    </a:cubicBezTo>
                    <a:close/>
                    <a:moveTo>
                      <a:pt x="1322" y="934"/>
                    </a:moveTo>
                    <a:cubicBezTo>
                      <a:pt x="1332" y="932"/>
                      <a:pt x="1340" y="928"/>
                      <a:pt x="1350" y="925"/>
                    </a:cubicBezTo>
                    <a:cubicBezTo>
                      <a:pt x="1354" y="914"/>
                      <a:pt x="1357" y="903"/>
                      <a:pt x="1360" y="891"/>
                    </a:cubicBezTo>
                    <a:cubicBezTo>
                      <a:pt x="1347" y="886"/>
                      <a:pt x="1335" y="880"/>
                      <a:pt x="1322" y="875"/>
                    </a:cubicBezTo>
                    <a:cubicBezTo>
                      <a:pt x="1323" y="895"/>
                      <a:pt x="1323" y="913"/>
                      <a:pt x="1322" y="934"/>
                    </a:cubicBezTo>
                    <a:close/>
                    <a:moveTo>
                      <a:pt x="194" y="879"/>
                    </a:moveTo>
                    <a:cubicBezTo>
                      <a:pt x="181" y="882"/>
                      <a:pt x="173" y="889"/>
                      <a:pt x="161" y="892"/>
                    </a:cubicBezTo>
                    <a:cubicBezTo>
                      <a:pt x="161" y="902"/>
                      <a:pt x="161" y="911"/>
                      <a:pt x="161" y="921"/>
                    </a:cubicBezTo>
                    <a:cubicBezTo>
                      <a:pt x="179" y="925"/>
                      <a:pt x="195" y="935"/>
                      <a:pt x="212" y="935"/>
                    </a:cubicBezTo>
                    <a:cubicBezTo>
                      <a:pt x="205" y="917"/>
                      <a:pt x="199" y="899"/>
                      <a:pt x="194" y="879"/>
                    </a:cubicBezTo>
                    <a:close/>
                    <a:moveTo>
                      <a:pt x="1457" y="881"/>
                    </a:moveTo>
                    <a:cubicBezTo>
                      <a:pt x="1457" y="880"/>
                      <a:pt x="1456" y="880"/>
                      <a:pt x="1455" y="880"/>
                    </a:cubicBezTo>
                    <a:cubicBezTo>
                      <a:pt x="1452" y="883"/>
                      <a:pt x="1447" y="885"/>
                      <a:pt x="1443" y="887"/>
                    </a:cubicBezTo>
                    <a:cubicBezTo>
                      <a:pt x="1443" y="905"/>
                      <a:pt x="1440" y="923"/>
                      <a:pt x="1441" y="937"/>
                    </a:cubicBezTo>
                    <a:cubicBezTo>
                      <a:pt x="1443" y="919"/>
                      <a:pt x="1456" y="899"/>
                      <a:pt x="1457" y="881"/>
                    </a:cubicBezTo>
                    <a:close/>
                    <a:moveTo>
                      <a:pt x="1505" y="889"/>
                    </a:moveTo>
                    <a:cubicBezTo>
                      <a:pt x="1506" y="893"/>
                      <a:pt x="1506" y="886"/>
                      <a:pt x="1505" y="889"/>
                    </a:cubicBezTo>
                    <a:close/>
                    <a:moveTo>
                      <a:pt x="1399" y="909"/>
                    </a:moveTo>
                    <a:cubicBezTo>
                      <a:pt x="1411" y="918"/>
                      <a:pt x="1425" y="927"/>
                      <a:pt x="1437" y="936"/>
                    </a:cubicBezTo>
                    <a:cubicBezTo>
                      <a:pt x="1438" y="922"/>
                      <a:pt x="1441" y="904"/>
                      <a:pt x="1439" y="889"/>
                    </a:cubicBezTo>
                    <a:cubicBezTo>
                      <a:pt x="1427" y="897"/>
                      <a:pt x="1413" y="903"/>
                      <a:pt x="1399" y="909"/>
                    </a:cubicBezTo>
                    <a:close/>
                    <a:moveTo>
                      <a:pt x="1354" y="924"/>
                    </a:moveTo>
                    <a:cubicBezTo>
                      <a:pt x="1366" y="919"/>
                      <a:pt x="1379" y="914"/>
                      <a:pt x="1392" y="910"/>
                    </a:cubicBezTo>
                    <a:cubicBezTo>
                      <a:pt x="1384" y="902"/>
                      <a:pt x="1373" y="898"/>
                      <a:pt x="1363" y="893"/>
                    </a:cubicBezTo>
                    <a:cubicBezTo>
                      <a:pt x="1360" y="903"/>
                      <a:pt x="1354" y="915"/>
                      <a:pt x="1354" y="924"/>
                    </a:cubicBezTo>
                    <a:close/>
                    <a:moveTo>
                      <a:pt x="131" y="910"/>
                    </a:moveTo>
                    <a:cubicBezTo>
                      <a:pt x="141" y="912"/>
                      <a:pt x="148" y="917"/>
                      <a:pt x="158" y="919"/>
                    </a:cubicBezTo>
                    <a:cubicBezTo>
                      <a:pt x="158" y="911"/>
                      <a:pt x="159" y="901"/>
                      <a:pt x="157" y="894"/>
                    </a:cubicBezTo>
                    <a:cubicBezTo>
                      <a:pt x="149" y="900"/>
                      <a:pt x="139" y="903"/>
                      <a:pt x="131" y="910"/>
                    </a:cubicBezTo>
                    <a:close/>
                    <a:moveTo>
                      <a:pt x="929" y="998"/>
                    </a:moveTo>
                    <a:cubicBezTo>
                      <a:pt x="936" y="999"/>
                      <a:pt x="939" y="996"/>
                      <a:pt x="945" y="997"/>
                    </a:cubicBezTo>
                    <a:cubicBezTo>
                      <a:pt x="947" y="964"/>
                      <a:pt x="945" y="928"/>
                      <a:pt x="944" y="895"/>
                    </a:cubicBezTo>
                    <a:cubicBezTo>
                      <a:pt x="941" y="931"/>
                      <a:pt x="935" y="964"/>
                      <a:pt x="929" y="998"/>
                    </a:cubicBezTo>
                    <a:close/>
                    <a:moveTo>
                      <a:pt x="98" y="897"/>
                    </a:moveTo>
                    <a:cubicBezTo>
                      <a:pt x="99" y="906"/>
                      <a:pt x="103" y="913"/>
                      <a:pt x="104" y="922"/>
                    </a:cubicBezTo>
                    <a:cubicBezTo>
                      <a:pt x="112" y="918"/>
                      <a:pt x="119" y="915"/>
                      <a:pt x="125" y="909"/>
                    </a:cubicBezTo>
                    <a:cubicBezTo>
                      <a:pt x="115" y="906"/>
                      <a:pt x="107" y="900"/>
                      <a:pt x="98" y="897"/>
                    </a:cubicBezTo>
                    <a:moveTo>
                      <a:pt x="98" y="897"/>
                    </a:moveTo>
                    <a:cubicBezTo>
                      <a:pt x="97" y="896"/>
                      <a:pt x="97" y="897"/>
                      <a:pt x="98" y="897"/>
                    </a:cubicBezTo>
                    <a:moveTo>
                      <a:pt x="128" y="911"/>
                    </a:moveTo>
                    <a:cubicBezTo>
                      <a:pt x="121" y="916"/>
                      <a:pt x="111" y="919"/>
                      <a:pt x="106" y="927"/>
                    </a:cubicBezTo>
                    <a:cubicBezTo>
                      <a:pt x="126" y="981"/>
                      <a:pt x="148" y="1032"/>
                      <a:pt x="176" y="1078"/>
                    </a:cubicBezTo>
                    <a:cubicBezTo>
                      <a:pt x="166" y="1030"/>
                      <a:pt x="160" y="978"/>
                      <a:pt x="158" y="922"/>
                    </a:cubicBezTo>
                    <a:cubicBezTo>
                      <a:pt x="148" y="919"/>
                      <a:pt x="138" y="915"/>
                      <a:pt x="128" y="911"/>
                    </a:cubicBezTo>
                    <a:close/>
                    <a:moveTo>
                      <a:pt x="1396" y="911"/>
                    </a:moveTo>
                    <a:cubicBezTo>
                      <a:pt x="1381" y="916"/>
                      <a:pt x="1367" y="923"/>
                      <a:pt x="1351" y="927"/>
                    </a:cubicBezTo>
                    <a:cubicBezTo>
                      <a:pt x="1341" y="957"/>
                      <a:pt x="1330" y="985"/>
                      <a:pt x="1317" y="1011"/>
                    </a:cubicBezTo>
                    <a:cubicBezTo>
                      <a:pt x="1313" y="1047"/>
                      <a:pt x="1308" y="1080"/>
                      <a:pt x="1301" y="1111"/>
                    </a:cubicBezTo>
                    <a:cubicBezTo>
                      <a:pt x="1314" y="1119"/>
                      <a:pt x="1324" y="1130"/>
                      <a:pt x="1336" y="1139"/>
                    </a:cubicBezTo>
                    <a:cubicBezTo>
                      <a:pt x="1376" y="1079"/>
                      <a:pt x="1414" y="1018"/>
                      <a:pt x="1437" y="941"/>
                    </a:cubicBezTo>
                    <a:cubicBezTo>
                      <a:pt x="1425" y="929"/>
                      <a:pt x="1410" y="920"/>
                      <a:pt x="1396" y="911"/>
                    </a:cubicBezTo>
                    <a:close/>
                    <a:moveTo>
                      <a:pt x="161" y="927"/>
                    </a:moveTo>
                    <a:cubicBezTo>
                      <a:pt x="163" y="985"/>
                      <a:pt x="170" y="1038"/>
                      <a:pt x="181" y="1087"/>
                    </a:cubicBezTo>
                    <a:cubicBezTo>
                      <a:pt x="190" y="1099"/>
                      <a:pt x="197" y="1113"/>
                      <a:pt x="206" y="1125"/>
                    </a:cubicBezTo>
                    <a:cubicBezTo>
                      <a:pt x="227" y="1107"/>
                      <a:pt x="251" y="1093"/>
                      <a:pt x="277" y="1081"/>
                    </a:cubicBezTo>
                    <a:cubicBezTo>
                      <a:pt x="255" y="1036"/>
                      <a:pt x="231" y="992"/>
                      <a:pt x="214" y="940"/>
                    </a:cubicBezTo>
                    <a:cubicBezTo>
                      <a:pt x="195" y="936"/>
                      <a:pt x="179" y="929"/>
                      <a:pt x="161" y="924"/>
                    </a:cubicBezTo>
                    <a:cubicBezTo>
                      <a:pt x="161" y="925"/>
                      <a:pt x="161" y="926"/>
                      <a:pt x="161" y="927"/>
                    </a:cubicBezTo>
                    <a:close/>
                    <a:moveTo>
                      <a:pt x="66" y="965"/>
                    </a:moveTo>
                    <a:cubicBezTo>
                      <a:pt x="64" y="977"/>
                      <a:pt x="71" y="992"/>
                      <a:pt x="74" y="1005"/>
                    </a:cubicBezTo>
                    <a:cubicBezTo>
                      <a:pt x="77" y="1019"/>
                      <a:pt x="78" y="1032"/>
                      <a:pt x="82" y="1043"/>
                    </a:cubicBezTo>
                    <a:cubicBezTo>
                      <a:pt x="93" y="1070"/>
                      <a:pt x="112" y="1092"/>
                      <a:pt x="122" y="1112"/>
                    </a:cubicBezTo>
                    <a:cubicBezTo>
                      <a:pt x="142" y="1123"/>
                      <a:pt x="164" y="1137"/>
                      <a:pt x="186" y="1144"/>
                    </a:cubicBezTo>
                    <a:cubicBezTo>
                      <a:pt x="195" y="1137"/>
                      <a:pt x="189" y="1127"/>
                      <a:pt x="186" y="1118"/>
                    </a:cubicBezTo>
                    <a:cubicBezTo>
                      <a:pt x="183" y="1108"/>
                      <a:pt x="181" y="1097"/>
                      <a:pt x="179" y="1087"/>
                    </a:cubicBezTo>
                    <a:cubicBezTo>
                      <a:pt x="149" y="1039"/>
                      <a:pt x="124" y="986"/>
                      <a:pt x="104" y="928"/>
                    </a:cubicBezTo>
                    <a:cubicBezTo>
                      <a:pt x="104" y="927"/>
                      <a:pt x="104" y="927"/>
                      <a:pt x="103" y="927"/>
                    </a:cubicBezTo>
                    <a:cubicBezTo>
                      <a:pt x="95" y="937"/>
                      <a:pt x="68" y="952"/>
                      <a:pt x="66" y="965"/>
                    </a:cubicBezTo>
                    <a:close/>
                    <a:moveTo>
                      <a:pt x="1322" y="936"/>
                    </a:moveTo>
                    <a:cubicBezTo>
                      <a:pt x="1322" y="959"/>
                      <a:pt x="1319" y="983"/>
                      <a:pt x="1319" y="1003"/>
                    </a:cubicBezTo>
                    <a:cubicBezTo>
                      <a:pt x="1329" y="979"/>
                      <a:pt x="1339" y="954"/>
                      <a:pt x="1349" y="929"/>
                    </a:cubicBezTo>
                    <a:cubicBezTo>
                      <a:pt x="1339" y="930"/>
                      <a:pt x="1332" y="935"/>
                      <a:pt x="1322" y="936"/>
                    </a:cubicBezTo>
                    <a:close/>
                    <a:moveTo>
                      <a:pt x="1216" y="963"/>
                    </a:moveTo>
                    <a:cubicBezTo>
                      <a:pt x="1206" y="996"/>
                      <a:pt x="1192" y="1025"/>
                      <a:pt x="1179" y="1055"/>
                    </a:cubicBezTo>
                    <a:cubicBezTo>
                      <a:pt x="1212" y="1065"/>
                      <a:pt x="1242" y="1078"/>
                      <a:pt x="1271" y="1093"/>
                    </a:cubicBezTo>
                    <a:cubicBezTo>
                      <a:pt x="1278" y="1080"/>
                      <a:pt x="1286" y="1067"/>
                      <a:pt x="1294" y="1053"/>
                    </a:cubicBezTo>
                    <a:cubicBezTo>
                      <a:pt x="1300" y="1041"/>
                      <a:pt x="1312" y="1023"/>
                      <a:pt x="1315" y="1010"/>
                    </a:cubicBezTo>
                    <a:cubicBezTo>
                      <a:pt x="1320" y="988"/>
                      <a:pt x="1316" y="966"/>
                      <a:pt x="1319" y="938"/>
                    </a:cubicBezTo>
                    <a:cubicBezTo>
                      <a:pt x="1318" y="938"/>
                      <a:pt x="1318" y="938"/>
                      <a:pt x="1317" y="938"/>
                    </a:cubicBezTo>
                    <a:cubicBezTo>
                      <a:pt x="1285" y="948"/>
                      <a:pt x="1252" y="957"/>
                      <a:pt x="1216" y="963"/>
                    </a:cubicBezTo>
                    <a:close/>
                    <a:moveTo>
                      <a:pt x="280" y="1079"/>
                    </a:moveTo>
                    <a:cubicBezTo>
                      <a:pt x="293" y="1075"/>
                      <a:pt x="305" y="1068"/>
                      <a:pt x="319" y="1064"/>
                    </a:cubicBezTo>
                    <a:cubicBezTo>
                      <a:pt x="315" y="1033"/>
                      <a:pt x="314" y="998"/>
                      <a:pt x="313" y="964"/>
                    </a:cubicBezTo>
                    <a:cubicBezTo>
                      <a:pt x="279" y="958"/>
                      <a:pt x="248" y="950"/>
                      <a:pt x="217" y="941"/>
                    </a:cubicBezTo>
                    <a:cubicBezTo>
                      <a:pt x="234" y="991"/>
                      <a:pt x="256" y="1036"/>
                      <a:pt x="280" y="1079"/>
                    </a:cubicBezTo>
                    <a:close/>
                    <a:moveTo>
                      <a:pt x="1403" y="1111"/>
                    </a:moveTo>
                    <a:cubicBezTo>
                      <a:pt x="1431" y="1098"/>
                      <a:pt x="1442" y="1073"/>
                      <a:pt x="1454" y="1045"/>
                    </a:cubicBezTo>
                    <a:cubicBezTo>
                      <a:pt x="1461" y="1029"/>
                      <a:pt x="1470" y="1013"/>
                      <a:pt x="1474" y="997"/>
                    </a:cubicBezTo>
                    <a:cubicBezTo>
                      <a:pt x="1468" y="975"/>
                      <a:pt x="1455" y="958"/>
                      <a:pt x="1440" y="944"/>
                    </a:cubicBezTo>
                    <a:cubicBezTo>
                      <a:pt x="1433" y="1004"/>
                      <a:pt x="1418" y="1062"/>
                      <a:pt x="1403" y="1111"/>
                    </a:cubicBezTo>
                    <a:close/>
                    <a:moveTo>
                      <a:pt x="1491" y="959"/>
                    </a:moveTo>
                    <a:cubicBezTo>
                      <a:pt x="1492" y="962"/>
                      <a:pt x="1492" y="955"/>
                      <a:pt x="1491" y="959"/>
                    </a:cubicBezTo>
                    <a:close/>
                    <a:moveTo>
                      <a:pt x="1434" y="961"/>
                    </a:moveTo>
                    <a:cubicBezTo>
                      <a:pt x="1434" y="961"/>
                      <a:pt x="1435" y="962"/>
                      <a:pt x="1434" y="961"/>
                    </a:cubicBezTo>
                    <a:close/>
                    <a:moveTo>
                      <a:pt x="1490" y="963"/>
                    </a:moveTo>
                    <a:cubicBezTo>
                      <a:pt x="1489" y="963"/>
                      <a:pt x="1489" y="963"/>
                      <a:pt x="1489" y="963"/>
                    </a:cubicBezTo>
                    <a:cubicBezTo>
                      <a:pt x="1487" y="979"/>
                      <a:pt x="1474" y="992"/>
                      <a:pt x="1479" y="1008"/>
                    </a:cubicBezTo>
                    <a:cubicBezTo>
                      <a:pt x="1482" y="992"/>
                      <a:pt x="1488" y="980"/>
                      <a:pt x="1490" y="963"/>
                    </a:cubicBezTo>
                    <a:moveTo>
                      <a:pt x="1490" y="963"/>
                    </a:moveTo>
                    <a:cubicBezTo>
                      <a:pt x="1493" y="962"/>
                      <a:pt x="1489" y="958"/>
                      <a:pt x="1490" y="963"/>
                    </a:cubicBezTo>
                    <a:moveTo>
                      <a:pt x="1350" y="1123"/>
                    </a:moveTo>
                    <a:cubicBezTo>
                      <a:pt x="1346" y="1129"/>
                      <a:pt x="1339" y="1135"/>
                      <a:pt x="1338" y="1144"/>
                    </a:cubicBezTo>
                    <a:cubicBezTo>
                      <a:pt x="1361" y="1136"/>
                      <a:pt x="1379" y="1125"/>
                      <a:pt x="1398" y="1114"/>
                    </a:cubicBezTo>
                    <a:cubicBezTo>
                      <a:pt x="1414" y="1068"/>
                      <a:pt x="1429" y="1017"/>
                      <a:pt x="1433" y="963"/>
                    </a:cubicBezTo>
                    <a:cubicBezTo>
                      <a:pt x="1411" y="1021"/>
                      <a:pt x="1383" y="1076"/>
                      <a:pt x="1350" y="1123"/>
                    </a:cubicBezTo>
                    <a:close/>
                    <a:moveTo>
                      <a:pt x="1213" y="965"/>
                    </a:moveTo>
                    <a:cubicBezTo>
                      <a:pt x="1195" y="967"/>
                      <a:pt x="1173" y="973"/>
                      <a:pt x="1153" y="976"/>
                    </a:cubicBezTo>
                    <a:cubicBezTo>
                      <a:pt x="1153" y="1000"/>
                      <a:pt x="1152" y="1023"/>
                      <a:pt x="1150" y="1046"/>
                    </a:cubicBezTo>
                    <a:cubicBezTo>
                      <a:pt x="1160" y="1048"/>
                      <a:pt x="1167" y="1052"/>
                      <a:pt x="1177" y="1054"/>
                    </a:cubicBezTo>
                    <a:cubicBezTo>
                      <a:pt x="1190" y="1025"/>
                      <a:pt x="1202" y="996"/>
                      <a:pt x="1213" y="965"/>
                    </a:cubicBezTo>
                    <a:close/>
                    <a:moveTo>
                      <a:pt x="321" y="1062"/>
                    </a:moveTo>
                    <a:cubicBezTo>
                      <a:pt x="341" y="1057"/>
                      <a:pt x="360" y="1049"/>
                      <a:pt x="380" y="1044"/>
                    </a:cubicBezTo>
                    <a:cubicBezTo>
                      <a:pt x="370" y="1020"/>
                      <a:pt x="361" y="996"/>
                      <a:pt x="352" y="972"/>
                    </a:cubicBezTo>
                    <a:cubicBezTo>
                      <a:pt x="339" y="970"/>
                      <a:pt x="328" y="967"/>
                      <a:pt x="316" y="965"/>
                    </a:cubicBezTo>
                    <a:cubicBezTo>
                      <a:pt x="316" y="999"/>
                      <a:pt x="319" y="1030"/>
                      <a:pt x="321" y="1062"/>
                    </a:cubicBezTo>
                    <a:close/>
                    <a:moveTo>
                      <a:pt x="75" y="1024"/>
                    </a:moveTo>
                    <a:cubicBezTo>
                      <a:pt x="70" y="1006"/>
                      <a:pt x="68" y="985"/>
                      <a:pt x="62" y="968"/>
                    </a:cubicBezTo>
                    <a:cubicBezTo>
                      <a:pt x="50" y="986"/>
                      <a:pt x="69" y="1007"/>
                      <a:pt x="75" y="1024"/>
                    </a:cubicBezTo>
                    <a:close/>
                    <a:moveTo>
                      <a:pt x="382" y="1043"/>
                    </a:moveTo>
                    <a:cubicBezTo>
                      <a:pt x="421" y="1032"/>
                      <a:pt x="463" y="1025"/>
                      <a:pt x="504" y="1016"/>
                    </a:cubicBezTo>
                    <a:cubicBezTo>
                      <a:pt x="501" y="1009"/>
                      <a:pt x="499" y="1001"/>
                      <a:pt x="497" y="992"/>
                    </a:cubicBezTo>
                    <a:cubicBezTo>
                      <a:pt x="448" y="988"/>
                      <a:pt x="402" y="981"/>
                      <a:pt x="356" y="973"/>
                    </a:cubicBezTo>
                    <a:cubicBezTo>
                      <a:pt x="363" y="998"/>
                      <a:pt x="374" y="1019"/>
                      <a:pt x="382" y="1043"/>
                    </a:cubicBezTo>
                    <a:close/>
                    <a:moveTo>
                      <a:pt x="1150" y="976"/>
                    </a:moveTo>
                    <a:cubicBezTo>
                      <a:pt x="1125" y="981"/>
                      <a:pt x="1099" y="984"/>
                      <a:pt x="1073" y="987"/>
                    </a:cubicBezTo>
                    <a:cubicBezTo>
                      <a:pt x="1069" y="1000"/>
                      <a:pt x="1065" y="1012"/>
                      <a:pt x="1062" y="1025"/>
                    </a:cubicBezTo>
                    <a:cubicBezTo>
                      <a:pt x="1092" y="1029"/>
                      <a:pt x="1121" y="1039"/>
                      <a:pt x="1148" y="1044"/>
                    </a:cubicBezTo>
                    <a:cubicBezTo>
                      <a:pt x="1148" y="1021"/>
                      <a:pt x="1151" y="996"/>
                      <a:pt x="1150" y="976"/>
                    </a:cubicBezTo>
                    <a:close/>
                    <a:moveTo>
                      <a:pt x="95" y="1092"/>
                    </a:moveTo>
                    <a:cubicBezTo>
                      <a:pt x="95" y="1093"/>
                      <a:pt x="96" y="1092"/>
                      <a:pt x="95" y="1092"/>
                    </a:cubicBezTo>
                    <a:moveTo>
                      <a:pt x="95" y="1092"/>
                    </a:moveTo>
                    <a:cubicBezTo>
                      <a:pt x="84" y="1053"/>
                      <a:pt x="70" y="1017"/>
                      <a:pt x="54" y="984"/>
                    </a:cubicBezTo>
                    <a:cubicBezTo>
                      <a:pt x="36" y="1032"/>
                      <a:pt x="67" y="1071"/>
                      <a:pt x="95" y="1092"/>
                    </a:cubicBezTo>
                    <a:moveTo>
                      <a:pt x="950" y="1000"/>
                    </a:moveTo>
                    <a:cubicBezTo>
                      <a:pt x="950" y="1002"/>
                      <a:pt x="950" y="1004"/>
                      <a:pt x="950" y="1007"/>
                    </a:cubicBezTo>
                    <a:cubicBezTo>
                      <a:pt x="986" y="1013"/>
                      <a:pt x="1024" y="1017"/>
                      <a:pt x="1059" y="1024"/>
                    </a:cubicBezTo>
                    <a:cubicBezTo>
                      <a:pt x="1063" y="1013"/>
                      <a:pt x="1066" y="1000"/>
                      <a:pt x="1070" y="988"/>
                    </a:cubicBezTo>
                    <a:cubicBezTo>
                      <a:pt x="1030" y="992"/>
                      <a:pt x="990" y="996"/>
                      <a:pt x="950" y="1000"/>
                    </a:cubicBezTo>
                    <a:close/>
                    <a:moveTo>
                      <a:pt x="508" y="1016"/>
                    </a:moveTo>
                    <a:cubicBezTo>
                      <a:pt x="508" y="1009"/>
                      <a:pt x="508" y="1001"/>
                      <a:pt x="508" y="994"/>
                    </a:cubicBezTo>
                    <a:cubicBezTo>
                      <a:pt x="506" y="993"/>
                      <a:pt x="503" y="993"/>
                      <a:pt x="500" y="993"/>
                    </a:cubicBezTo>
                    <a:cubicBezTo>
                      <a:pt x="502" y="1001"/>
                      <a:pt x="502" y="1011"/>
                      <a:pt x="508" y="1016"/>
                    </a:cubicBezTo>
                    <a:close/>
                    <a:moveTo>
                      <a:pt x="510" y="994"/>
                    </a:moveTo>
                    <a:cubicBezTo>
                      <a:pt x="511" y="1001"/>
                      <a:pt x="509" y="1011"/>
                      <a:pt x="511" y="1016"/>
                    </a:cubicBezTo>
                    <a:cubicBezTo>
                      <a:pt x="545" y="1009"/>
                      <a:pt x="584" y="1008"/>
                      <a:pt x="619" y="1002"/>
                    </a:cubicBezTo>
                    <a:cubicBezTo>
                      <a:pt x="581" y="1001"/>
                      <a:pt x="546" y="997"/>
                      <a:pt x="510" y="994"/>
                    </a:cubicBezTo>
                    <a:close/>
                    <a:moveTo>
                      <a:pt x="684" y="1002"/>
                    </a:moveTo>
                    <a:cubicBezTo>
                      <a:pt x="696" y="1003"/>
                      <a:pt x="716" y="1005"/>
                      <a:pt x="726" y="1001"/>
                    </a:cubicBezTo>
                    <a:cubicBezTo>
                      <a:pt x="714" y="999"/>
                      <a:pt x="697" y="1001"/>
                      <a:pt x="684" y="1002"/>
                    </a:cubicBezTo>
                    <a:close/>
                    <a:moveTo>
                      <a:pt x="728" y="1002"/>
                    </a:moveTo>
                    <a:cubicBezTo>
                      <a:pt x="729" y="1002"/>
                      <a:pt x="729" y="1003"/>
                      <a:pt x="730" y="1003"/>
                    </a:cubicBezTo>
                    <a:cubicBezTo>
                      <a:pt x="740" y="1004"/>
                      <a:pt x="752" y="1004"/>
                      <a:pt x="763" y="1004"/>
                    </a:cubicBezTo>
                    <a:cubicBezTo>
                      <a:pt x="770" y="1004"/>
                      <a:pt x="780" y="1006"/>
                      <a:pt x="783" y="1001"/>
                    </a:cubicBezTo>
                    <a:cubicBezTo>
                      <a:pt x="767" y="1000"/>
                      <a:pt x="743" y="998"/>
                      <a:pt x="728" y="1002"/>
                    </a:cubicBezTo>
                    <a:close/>
                    <a:moveTo>
                      <a:pt x="786" y="1002"/>
                    </a:moveTo>
                    <a:cubicBezTo>
                      <a:pt x="802" y="1003"/>
                      <a:pt x="826" y="1004"/>
                      <a:pt x="840" y="1001"/>
                    </a:cubicBezTo>
                    <a:cubicBezTo>
                      <a:pt x="822" y="1003"/>
                      <a:pt x="801" y="997"/>
                      <a:pt x="786" y="1002"/>
                    </a:cubicBezTo>
                    <a:close/>
                    <a:moveTo>
                      <a:pt x="928" y="1005"/>
                    </a:moveTo>
                    <a:cubicBezTo>
                      <a:pt x="933" y="1006"/>
                      <a:pt x="939" y="1006"/>
                      <a:pt x="945" y="1007"/>
                    </a:cubicBezTo>
                    <a:cubicBezTo>
                      <a:pt x="945" y="1004"/>
                      <a:pt x="945" y="1002"/>
                      <a:pt x="945" y="1000"/>
                    </a:cubicBezTo>
                    <a:cubicBezTo>
                      <a:pt x="939" y="1001"/>
                      <a:pt x="929" y="998"/>
                      <a:pt x="928" y="1005"/>
                    </a:cubicBezTo>
                    <a:close/>
                    <a:moveTo>
                      <a:pt x="905" y="1003"/>
                    </a:moveTo>
                    <a:cubicBezTo>
                      <a:pt x="911" y="1002"/>
                      <a:pt x="924" y="1008"/>
                      <a:pt x="926" y="1002"/>
                    </a:cubicBezTo>
                    <a:cubicBezTo>
                      <a:pt x="921" y="1001"/>
                      <a:pt x="911" y="1002"/>
                      <a:pt x="905" y="1003"/>
                    </a:cubicBezTo>
                    <a:close/>
                    <a:moveTo>
                      <a:pt x="510" y="1018"/>
                    </a:moveTo>
                    <a:cubicBezTo>
                      <a:pt x="512" y="1043"/>
                      <a:pt x="518" y="1061"/>
                      <a:pt x="525" y="1080"/>
                    </a:cubicBezTo>
                    <a:cubicBezTo>
                      <a:pt x="539" y="1124"/>
                      <a:pt x="556" y="1165"/>
                      <a:pt x="573" y="1204"/>
                    </a:cubicBezTo>
                    <a:cubicBezTo>
                      <a:pt x="605" y="1200"/>
                      <a:pt x="636" y="1195"/>
                      <a:pt x="671" y="1193"/>
                    </a:cubicBezTo>
                    <a:cubicBezTo>
                      <a:pt x="658" y="1137"/>
                      <a:pt x="651" y="1072"/>
                      <a:pt x="641" y="1014"/>
                    </a:cubicBezTo>
                    <a:cubicBezTo>
                      <a:pt x="641" y="1011"/>
                      <a:pt x="643" y="1004"/>
                      <a:pt x="637" y="1004"/>
                    </a:cubicBezTo>
                    <a:cubicBezTo>
                      <a:pt x="594" y="1007"/>
                      <a:pt x="552" y="1012"/>
                      <a:pt x="510" y="1018"/>
                    </a:cubicBezTo>
                    <a:close/>
                    <a:moveTo>
                      <a:pt x="675" y="1192"/>
                    </a:moveTo>
                    <a:cubicBezTo>
                      <a:pt x="693" y="1192"/>
                      <a:pt x="708" y="1189"/>
                      <a:pt x="726" y="1190"/>
                    </a:cubicBezTo>
                    <a:cubicBezTo>
                      <a:pt x="727" y="1128"/>
                      <a:pt x="725" y="1068"/>
                      <a:pt x="726" y="1006"/>
                    </a:cubicBezTo>
                    <a:cubicBezTo>
                      <a:pt x="697" y="1006"/>
                      <a:pt x="672" y="1004"/>
                      <a:pt x="645" y="1004"/>
                    </a:cubicBezTo>
                    <a:cubicBezTo>
                      <a:pt x="650" y="1067"/>
                      <a:pt x="663" y="1131"/>
                      <a:pt x="675" y="1192"/>
                    </a:cubicBezTo>
                    <a:close/>
                    <a:moveTo>
                      <a:pt x="786" y="1006"/>
                    </a:moveTo>
                    <a:cubicBezTo>
                      <a:pt x="784" y="1067"/>
                      <a:pt x="782" y="1128"/>
                      <a:pt x="780" y="1189"/>
                    </a:cubicBezTo>
                    <a:cubicBezTo>
                      <a:pt x="815" y="1190"/>
                      <a:pt x="851" y="1191"/>
                      <a:pt x="883" y="1196"/>
                    </a:cubicBezTo>
                    <a:cubicBezTo>
                      <a:pt x="899" y="1135"/>
                      <a:pt x="913" y="1072"/>
                      <a:pt x="925" y="1007"/>
                    </a:cubicBezTo>
                    <a:cubicBezTo>
                      <a:pt x="882" y="1000"/>
                      <a:pt x="834" y="1007"/>
                      <a:pt x="786" y="1006"/>
                    </a:cubicBezTo>
                    <a:close/>
                    <a:moveTo>
                      <a:pt x="1439" y="1083"/>
                    </a:moveTo>
                    <a:cubicBezTo>
                      <a:pt x="1437" y="1084"/>
                      <a:pt x="1439" y="1084"/>
                      <a:pt x="1439" y="1083"/>
                    </a:cubicBezTo>
                    <a:moveTo>
                      <a:pt x="1439" y="1083"/>
                    </a:moveTo>
                    <a:cubicBezTo>
                      <a:pt x="1439" y="1083"/>
                      <a:pt x="1440" y="1083"/>
                      <a:pt x="1440" y="1083"/>
                    </a:cubicBezTo>
                    <a:cubicBezTo>
                      <a:pt x="1458" y="1065"/>
                      <a:pt x="1478" y="1037"/>
                      <a:pt x="1474" y="1004"/>
                    </a:cubicBezTo>
                    <a:cubicBezTo>
                      <a:pt x="1465" y="1033"/>
                      <a:pt x="1451" y="1057"/>
                      <a:pt x="1439" y="1083"/>
                    </a:cubicBezTo>
                    <a:moveTo>
                      <a:pt x="729" y="1190"/>
                    </a:moveTo>
                    <a:cubicBezTo>
                      <a:pt x="744" y="1188"/>
                      <a:pt x="762" y="1189"/>
                      <a:pt x="777" y="1189"/>
                    </a:cubicBezTo>
                    <a:cubicBezTo>
                      <a:pt x="780" y="1129"/>
                      <a:pt x="782" y="1067"/>
                      <a:pt x="783" y="1006"/>
                    </a:cubicBezTo>
                    <a:cubicBezTo>
                      <a:pt x="765" y="1006"/>
                      <a:pt x="747" y="1006"/>
                      <a:pt x="729" y="1006"/>
                    </a:cubicBezTo>
                    <a:cubicBezTo>
                      <a:pt x="727" y="1066"/>
                      <a:pt x="729" y="1129"/>
                      <a:pt x="729" y="1190"/>
                    </a:cubicBezTo>
                    <a:close/>
                    <a:moveTo>
                      <a:pt x="928" y="1007"/>
                    </a:moveTo>
                    <a:cubicBezTo>
                      <a:pt x="915" y="1072"/>
                      <a:pt x="903" y="1136"/>
                      <a:pt x="885" y="1196"/>
                    </a:cubicBezTo>
                    <a:cubicBezTo>
                      <a:pt x="903" y="1197"/>
                      <a:pt x="920" y="1200"/>
                      <a:pt x="937" y="1202"/>
                    </a:cubicBezTo>
                    <a:cubicBezTo>
                      <a:pt x="941" y="1140"/>
                      <a:pt x="945" y="1077"/>
                      <a:pt x="945" y="1009"/>
                    </a:cubicBezTo>
                    <a:cubicBezTo>
                      <a:pt x="940" y="1009"/>
                      <a:pt x="934" y="1008"/>
                      <a:pt x="928" y="1007"/>
                    </a:cubicBezTo>
                    <a:close/>
                    <a:moveTo>
                      <a:pt x="951" y="1010"/>
                    </a:moveTo>
                    <a:cubicBezTo>
                      <a:pt x="947" y="1074"/>
                      <a:pt x="947" y="1142"/>
                      <a:pt x="941" y="1203"/>
                    </a:cubicBezTo>
                    <a:cubicBezTo>
                      <a:pt x="955" y="1205"/>
                      <a:pt x="968" y="1208"/>
                      <a:pt x="981" y="1211"/>
                    </a:cubicBezTo>
                    <a:cubicBezTo>
                      <a:pt x="1010" y="1153"/>
                      <a:pt x="1037" y="1093"/>
                      <a:pt x="1058" y="1026"/>
                    </a:cubicBezTo>
                    <a:cubicBezTo>
                      <a:pt x="1022" y="1020"/>
                      <a:pt x="989" y="1013"/>
                      <a:pt x="951" y="1010"/>
                    </a:cubicBezTo>
                    <a:close/>
                    <a:moveTo>
                      <a:pt x="507" y="1020"/>
                    </a:moveTo>
                    <a:cubicBezTo>
                      <a:pt x="508" y="1024"/>
                      <a:pt x="508" y="1016"/>
                      <a:pt x="507" y="1020"/>
                    </a:cubicBezTo>
                    <a:close/>
                    <a:moveTo>
                      <a:pt x="384" y="1045"/>
                    </a:moveTo>
                    <a:cubicBezTo>
                      <a:pt x="411" y="1107"/>
                      <a:pt x="441" y="1167"/>
                      <a:pt x="479" y="1218"/>
                    </a:cubicBezTo>
                    <a:cubicBezTo>
                      <a:pt x="493" y="1223"/>
                      <a:pt x="508" y="1219"/>
                      <a:pt x="522" y="1216"/>
                    </a:cubicBezTo>
                    <a:cubicBezTo>
                      <a:pt x="517" y="1173"/>
                      <a:pt x="513" y="1126"/>
                      <a:pt x="510" y="1081"/>
                    </a:cubicBezTo>
                    <a:cubicBezTo>
                      <a:pt x="509" y="1066"/>
                      <a:pt x="511" y="1049"/>
                      <a:pt x="509" y="1034"/>
                    </a:cubicBezTo>
                    <a:cubicBezTo>
                      <a:pt x="508" y="1030"/>
                      <a:pt x="506" y="1023"/>
                      <a:pt x="502" y="1020"/>
                    </a:cubicBezTo>
                    <a:cubicBezTo>
                      <a:pt x="460" y="1026"/>
                      <a:pt x="422" y="1036"/>
                      <a:pt x="384" y="1045"/>
                    </a:cubicBezTo>
                    <a:close/>
                    <a:moveTo>
                      <a:pt x="1274" y="1095"/>
                    </a:moveTo>
                    <a:cubicBezTo>
                      <a:pt x="1283" y="1099"/>
                      <a:pt x="1290" y="1105"/>
                      <a:pt x="1299" y="1109"/>
                    </a:cubicBezTo>
                    <a:cubicBezTo>
                      <a:pt x="1304" y="1081"/>
                      <a:pt x="1312" y="1050"/>
                      <a:pt x="1312" y="1021"/>
                    </a:cubicBezTo>
                    <a:cubicBezTo>
                      <a:pt x="1301" y="1047"/>
                      <a:pt x="1286" y="1070"/>
                      <a:pt x="1274" y="1095"/>
                    </a:cubicBezTo>
                    <a:close/>
                    <a:moveTo>
                      <a:pt x="508" y="1025"/>
                    </a:moveTo>
                    <a:cubicBezTo>
                      <a:pt x="507" y="1024"/>
                      <a:pt x="508" y="1025"/>
                      <a:pt x="508" y="1025"/>
                    </a:cubicBezTo>
                    <a:close/>
                    <a:moveTo>
                      <a:pt x="75" y="1026"/>
                    </a:moveTo>
                    <a:cubicBezTo>
                      <a:pt x="75" y="1026"/>
                      <a:pt x="74" y="1025"/>
                      <a:pt x="75" y="1026"/>
                    </a:cubicBezTo>
                    <a:close/>
                    <a:moveTo>
                      <a:pt x="1062" y="1027"/>
                    </a:moveTo>
                    <a:cubicBezTo>
                      <a:pt x="1038" y="1091"/>
                      <a:pt x="1014" y="1154"/>
                      <a:pt x="984" y="1211"/>
                    </a:cubicBezTo>
                    <a:cubicBezTo>
                      <a:pt x="1013" y="1223"/>
                      <a:pt x="1049" y="1219"/>
                      <a:pt x="1083" y="1213"/>
                    </a:cubicBezTo>
                    <a:cubicBezTo>
                      <a:pt x="1092" y="1199"/>
                      <a:pt x="1103" y="1185"/>
                      <a:pt x="1112" y="1170"/>
                    </a:cubicBezTo>
                    <a:cubicBezTo>
                      <a:pt x="1121" y="1156"/>
                      <a:pt x="1134" y="1140"/>
                      <a:pt x="1139" y="1124"/>
                    </a:cubicBezTo>
                    <a:cubicBezTo>
                      <a:pt x="1146" y="1101"/>
                      <a:pt x="1143" y="1075"/>
                      <a:pt x="1147" y="1047"/>
                    </a:cubicBezTo>
                    <a:cubicBezTo>
                      <a:pt x="1119" y="1040"/>
                      <a:pt x="1091" y="1033"/>
                      <a:pt x="1062" y="1027"/>
                    </a:cubicBezTo>
                    <a:close/>
                    <a:moveTo>
                      <a:pt x="526" y="1215"/>
                    </a:moveTo>
                    <a:cubicBezTo>
                      <a:pt x="539" y="1211"/>
                      <a:pt x="555" y="1208"/>
                      <a:pt x="570" y="1205"/>
                    </a:cubicBezTo>
                    <a:cubicBezTo>
                      <a:pt x="548" y="1154"/>
                      <a:pt x="529" y="1101"/>
                      <a:pt x="511" y="1046"/>
                    </a:cubicBezTo>
                    <a:cubicBezTo>
                      <a:pt x="514" y="1104"/>
                      <a:pt x="518" y="1162"/>
                      <a:pt x="526" y="1215"/>
                    </a:cubicBezTo>
                    <a:close/>
                    <a:moveTo>
                      <a:pt x="322" y="1065"/>
                    </a:moveTo>
                    <a:cubicBezTo>
                      <a:pt x="325" y="1103"/>
                      <a:pt x="332" y="1137"/>
                      <a:pt x="339" y="1171"/>
                    </a:cubicBezTo>
                    <a:cubicBezTo>
                      <a:pt x="345" y="1180"/>
                      <a:pt x="353" y="1188"/>
                      <a:pt x="359" y="1198"/>
                    </a:cubicBezTo>
                    <a:cubicBezTo>
                      <a:pt x="396" y="1205"/>
                      <a:pt x="436" y="1213"/>
                      <a:pt x="474" y="1217"/>
                    </a:cubicBezTo>
                    <a:cubicBezTo>
                      <a:pt x="441" y="1168"/>
                      <a:pt x="410" y="1113"/>
                      <a:pt x="386" y="1057"/>
                    </a:cubicBezTo>
                    <a:cubicBezTo>
                      <a:pt x="384" y="1054"/>
                      <a:pt x="384" y="1048"/>
                      <a:pt x="379" y="1047"/>
                    </a:cubicBezTo>
                    <a:cubicBezTo>
                      <a:pt x="359" y="1052"/>
                      <a:pt x="341" y="1059"/>
                      <a:pt x="322" y="1065"/>
                    </a:cubicBezTo>
                    <a:close/>
                    <a:moveTo>
                      <a:pt x="1144" y="1118"/>
                    </a:moveTo>
                    <a:cubicBezTo>
                      <a:pt x="1154" y="1097"/>
                      <a:pt x="1166" y="1078"/>
                      <a:pt x="1175" y="1055"/>
                    </a:cubicBezTo>
                    <a:cubicBezTo>
                      <a:pt x="1166" y="1054"/>
                      <a:pt x="1159" y="1050"/>
                      <a:pt x="1150" y="1049"/>
                    </a:cubicBezTo>
                    <a:cubicBezTo>
                      <a:pt x="1149" y="1072"/>
                      <a:pt x="1144" y="1097"/>
                      <a:pt x="1144" y="1118"/>
                    </a:cubicBezTo>
                    <a:close/>
                    <a:moveTo>
                      <a:pt x="87" y="1057"/>
                    </a:moveTo>
                    <a:cubicBezTo>
                      <a:pt x="94" y="1077"/>
                      <a:pt x="96" y="1100"/>
                      <a:pt x="115" y="1107"/>
                    </a:cubicBezTo>
                    <a:cubicBezTo>
                      <a:pt x="106" y="1091"/>
                      <a:pt x="96" y="1074"/>
                      <a:pt x="87" y="1057"/>
                    </a:cubicBezTo>
                    <a:moveTo>
                      <a:pt x="87" y="1057"/>
                    </a:moveTo>
                    <a:cubicBezTo>
                      <a:pt x="88" y="1053"/>
                      <a:pt x="84" y="1057"/>
                      <a:pt x="87" y="1057"/>
                    </a:cubicBezTo>
                    <a:moveTo>
                      <a:pt x="1177" y="1057"/>
                    </a:moveTo>
                    <a:cubicBezTo>
                      <a:pt x="1172" y="1069"/>
                      <a:pt x="1167" y="1081"/>
                      <a:pt x="1160" y="1093"/>
                    </a:cubicBezTo>
                    <a:cubicBezTo>
                      <a:pt x="1155" y="1103"/>
                      <a:pt x="1146" y="1113"/>
                      <a:pt x="1142" y="1125"/>
                    </a:cubicBezTo>
                    <a:cubicBezTo>
                      <a:pt x="1138" y="1137"/>
                      <a:pt x="1139" y="1152"/>
                      <a:pt x="1136" y="1165"/>
                    </a:cubicBezTo>
                    <a:cubicBezTo>
                      <a:pt x="1134" y="1178"/>
                      <a:pt x="1131" y="1190"/>
                      <a:pt x="1129" y="1204"/>
                    </a:cubicBezTo>
                    <a:cubicBezTo>
                      <a:pt x="1155" y="1201"/>
                      <a:pt x="1179" y="1194"/>
                      <a:pt x="1204" y="1189"/>
                    </a:cubicBezTo>
                    <a:cubicBezTo>
                      <a:pt x="1227" y="1159"/>
                      <a:pt x="1250" y="1129"/>
                      <a:pt x="1269" y="1095"/>
                    </a:cubicBezTo>
                    <a:cubicBezTo>
                      <a:pt x="1240" y="1080"/>
                      <a:pt x="1211" y="1066"/>
                      <a:pt x="1177" y="1057"/>
                    </a:cubicBezTo>
                    <a:close/>
                    <a:moveTo>
                      <a:pt x="64" y="1065"/>
                    </a:moveTo>
                    <a:cubicBezTo>
                      <a:pt x="88" y="1121"/>
                      <a:pt x="118" y="1171"/>
                      <a:pt x="154" y="1215"/>
                    </a:cubicBezTo>
                    <a:moveTo>
                      <a:pt x="154" y="1215"/>
                    </a:moveTo>
                    <a:cubicBezTo>
                      <a:pt x="154" y="1216"/>
                      <a:pt x="155" y="1216"/>
                      <a:pt x="155" y="1216"/>
                    </a:cubicBezTo>
                    <a:moveTo>
                      <a:pt x="155" y="1216"/>
                    </a:moveTo>
                    <a:cubicBezTo>
                      <a:pt x="155" y="1217"/>
                      <a:pt x="155" y="1218"/>
                      <a:pt x="156" y="1218"/>
                    </a:cubicBezTo>
                    <a:moveTo>
                      <a:pt x="156" y="1218"/>
                    </a:moveTo>
                    <a:cubicBezTo>
                      <a:pt x="156" y="1219"/>
                      <a:pt x="157" y="1219"/>
                      <a:pt x="157" y="1219"/>
                    </a:cubicBezTo>
                    <a:moveTo>
                      <a:pt x="157" y="1219"/>
                    </a:moveTo>
                    <a:cubicBezTo>
                      <a:pt x="158" y="1220"/>
                      <a:pt x="158" y="1219"/>
                      <a:pt x="157" y="1219"/>
                    </a:cubicBezTo>
                    <a:moveTo>
                      <a:pt x="157" y="1219"/>
                    </a:moveTo>
                    <a:cubicBezTo>
                      <a:pt x="157" y="1218"/>
                      <a:pt x="157" y="1218"/>
                      <a:pt x="156" y="1218"/>
                    </a:cubicBezTo>
                    <a:moveTo>
                      <a:pt x="156" y="1218"/>
                    </a:moveTo>
                    <a:cubicBezTo>
                      <a:pt x="156" y="1217"/>
                      <a:pt x="156" y="1216"/>
                      <a:pt x="155" y="1216"/>
                    </a:cubicBezTo>
                    <a:moveTo>
                      <a:pt x="155" y="1216"/>
                    </a:moveTo>
                    <a:cubicBezTo>
                      <a:pt x="155" y="1215"/>
                      <a:pt x="155" y="1215"/>
                      <a:pt x="154" y="1215"/>
                    </a:cubicBezTo>
                    <a:moveTo>
                      <a:pt x="154" y="1215"/>
                    </a:moveTo>
                    <a:cubicBezTo>
                      <a:pt x="134" y="1178"/>
                      <a:pt x="113" y="1142"/>
                      <a:pt x="99" y="1099"/>
                    </a:cubicBezTo>
                    <a:cubicBezTo>
                      <a:pt x="85" y="1089"/>
                      <a:pt x="75" y="1077"/>
                      <a:pt x="64" y="1065"/>
                    </a:cubicBezTo>
                    <a:moveTo>
                      <a:pt x="64" y="1065"/>
                    </a:moveTo>
                    <a:cubicBezTo>
                      <a:pt x="63" y="1064"/>
                      <a:pt x="63" y="1065"/>
                      <a:pt x="64" y="1065"/>
                    </a:cubicBezTo>
                    <a:moveTo>
                      <a:pt x="282" y="1081"/>
                    </a:moveTo>
                    <a:cubicBezTo>
                      <a:pt x="297" y="1111"/>
                      <a:pt x="315" y="1138"/>
                      <a:pt x="335" y="1164"/>
                    </a:cubicBezTo>
                    <a:cubicBezTo>
                      <a:pt x="327" y="1133"/>
                      <a:pt x="324" y="1098"/>
                      <a:pt x="318" y="1066"/>
                    </a:cubicBezTo>
                    <a:cubicBezTo>
                      <a:pt x="307" y="1072"/>
                      <a:pt x="294" y="1076"/>
                      <a:pt x="282" y="1081"/>
                    </a:cubicBezTo>
                    <a:close/>
                    <a:moveTo>
                      <a:pt x="1457" y="1068"/>
                    </a:moveTo>
                    <a:cubicBezTo>
                      <a:pt x="1458" y="1069"/>
                      <a:pt x="1457" y="1068"/>
                      <a:pt x="1457" y="1068"/>
                    </a:cubicBezTo>
                    <a:close/>
                    <a:moveTo>
                      <a:pt x="1361" y="1232"/>
                    </a:moveTo>
                    <a:cubicBezTo>
                      <a:pt x="1360" y="1233"/>
                      <a:pt x="1361" y="1233"/>
                      <a:pt x="1361" y="1232"/>
                    </a:cubicBezTo>
                    <a:moveTo>
                      <a:pt x="1361" y="1232"/>
                    </a:moveTo>
                    <a:cubicBezTo>
                      <a:pt x="1399" y="1185"/>
                      <a:pt x="1434" y="1129"/>
                      <a:pt x="1456" y="1069"/>
                    </a:cubicBezTo>
                    <a:cubicBezTo>
                      <a:pt x="1450" y="1078"/>
                      <a:pt x="1442" y="1085"/>
                      <a:pt x="1433" y="1092"/>
                    </a:cubicBezTo>
                    <a:cubicBezTo>
                      <a:pt x="1414" y="1130"/>
                      <a:pt x="1388" y="1162"/>
                      <a:pt x="1365" y="1196"/>
                    </a:cubicBezTo>
                    <a:cubicBezTo>
                      <a:pt x="1367" y="1209"/>
                      <a:pt x="1364" y="1221"/>
                      <a:pt x="1361" y="1232"/>
                    </a:cubicBezTo>
                    <a:moveTo>
                      <a:pt x="341" y="1193"/>
                    </a:moveTo>
                    <a:cubicBezTo>
                      <a:pt x="341" y="1194"/>
                      <a:pt x="342" y="1193"/>
                      <a:pt x="341" y="1193"/>
                    </a:cubicBezTo>
                    <a:moveTo>
                      <a:pt x="341" y="1193"/>
                    </a:moveTo>
                    <a:cubicBezTo>
                      <a:pt x="340" y="1185"/>
                      <a:pt x="337" y="1179"/>
                      <a:pt x="337" y="1172"/>
                    </a:cubicBezTo>
                    <a:cubicBezTo>
                      <a:pt x="315" y="1144"/>
                      <a:pt x="298" y="1113"/>
                      <a:pt x="278" y="1083"/>
                    </a:cubicBezTo>
                    <a:cubicBezTo>
                      <a:pt x="261" y="1092"/>
                      <a:pt x="240" y="1102"/>
                      <a:pt x="222" y="1114"/>
                    </a:cubicBezTo>
                    <a:cubicBezTo>
                      <a:pt x="220" y="1116"/>
                      <a:pt x="207" y="1125"/>
                      <a:pt x="207" y="1127"/>
                    </a:cubicBezTo>
                    <a:cubicBezTo>
                      <a:pt x="207" y="1129"/>
                      <a:pt x="219" y="1144"/>
                      <a:pt x="221" y="1146"/>
                    </a:cubicBezTo>
                    <a:cubicBezTo>
                      <a:pt x="226" y="1153"/>
                      <a:pt x="230" y="1157"/>
                      <a:pt x="234" y="1164"/>
                    </a:cubicBezTo>
                    <a:cubicBezTo>
                      <a:pt x="269" y="1174"/>
                      <a:pt x="303" y="1186"/>
                      <a:pt x="341" y="1193"/>
                    </a:cubicBezTo>
                    <a:moveTo>
                      <a:pt x="183" y="1096"/>
                    </a:moveTo>
                    <a:cubicBezTo>
                      <a:pt x="183" y="1095"/>
                      <a:pt x="184" y="1096"/>
                      <a:pt x="183" y="1096"/>
                    </a:cubicBezTo>
                    <a:close/>
                    <a:moveTo>
                      <a:pt x="195" y="1134"/>
                    </a:moveTo>
                    <a:cubicBezTo>
                      <a:pt x="197" y="1130"/>
                      <a:pt x="202" y="1130"/>
                      <a:pt x="203" y="1125"/>
                    </a:cubicBezTo>
                    <a:cubicBezTo>
                      <a:pt x="196" y="1116"/>
                      <a:pt x="191" y="1106"/>
                      <a:pt x="184" y="1097"/>
                    </a:cubicBezTo>
                    <a:cubicBezTo>
                      <a:pt x="187" y="1110"/>
                      <a:pt x="190" y="1123"/>
                      <a:pt x="195" y="1134"/>
                    </a:cubicBezTo>
                    <a:close/>
                    <a:moveTo>
                      <a:pt x="1271" y="1097"/>
                    </a:moveTo>
                    <a:cubicBezTo>
                      <a:pt x="1271" y="1098"/>
                      <a:pt x="1270" y="1099"/>
                      <a:pt x="1270" y="1100"/>
                    </a:cubicBezTo>
                    <a:cubicBezTo>
                      <a:pt x="1254" y="1126"/>
                      <a:pt x="1234" y="1154"/>
                      <a:pt x="1216" y="1177"/>
                    </a:cubicBezTo>
                    <a:cubicBezTo>
                      <a:pt x="1214" y="1180"/>
                      <a:pt x="1210" y="1183"/>
                      <a:pt x="1210" y="1187"/>
                    </a:cubicBezTo>
                    <a:cubicBezTo>
                      <a:pt x="1235" y="1180"/>
                      <a:pt x="1261" y="1174"/>
                      <a:pt x="1284" y="1165"/>
                    </a:cubicBezTo>
                    <a:cubicBezTo>
                      <a:pt x="1289" y="1147"/>
                      <a:pt x="1294" y="1131"/>
                      <a:pt x="1298" y="1112"/>
                    </a:cubicBezTo>
                    <a:cubicBezTo>
                      <a:pt x="1289" y="1107"/>
                      <a:pt x="1281" y="1100"/>
                      <a:pt x="1271" y="1097"/>
                    </a:cubicBezTo>
                    <a:close/>
                    <a:moveTo>
                      <a:pt x="1426" y="1099"/>
                    </a:moveTo>
                    <a:cubicBezTo>
                      <a:pt x="1417" y="1104"/>
                      <a:pt x="1408" y="1111"/>
                      <a:pt x="1399" y="1117"/>
                    </a:cubicBezTo>
                    <a:cubicBezTo>
                      <a:pt x="1394" y="1137"/>
                      <a:pt x="1385" y="1154"/>
                      <a:pt x="1377" y="1173"/>
                    </a:cubicBezTo>
                    <a:moveTo>
                      <a:pt x="1377" y="1173"/>
                    </a:moveTo>
                    <a:cubicBezTo>
                      <a:pt x="1376" y="1173"/>
                      <a:pt x="1377" y="1174"/>
                      <a:pt x="1376" y="1175"/>
                    </a:cubicBezTo>
                    <a:moveTo>
                      <a:pt x="1376" y="1175"/>
                    </a:moveTo>
                    <a:cubicBezTo>
                      <a:pt x="1375" y="1175"/>
                      <a:pt x="1377" y="1176"/>
                      <a:pt x="1376" y="1175"/>
                    </a:cubicBezTo>
                    <a:moveTo>
                      <a:pt x="1376" y="1175"/>
                    </a:moveTo>
                    <a:cubicBezTo>
                      <a:pt x="1377" y="1174"/>
                      <a:pt x="1377" y="1173"/>
                      <a:pt x="1377" y="1173"/>
                    </a:cubicBezTo>
                    <a:moveTo>
                      <a:pt x="1377" y="1173"/>
                    </a:moveTo>
                    <a:cubicBezTo>
                      <a:pt x="1396" y="1150"/>
                      <a:pt x="1412" y="1125"/>
                      <a:pt x="1426" y="1099"/>
                    </a:cubicBezTo>
                    <a:moveTo>
                      <a:pt x="1426" y="1099"/>
                    </a:moveTo>
                    <a:cubicBezTo>
                      <a:pt x="1428" y="1098"/>
                      <a:pt x="1426" y="1098"/>
                      <a:pt x="1426" y="1099"/>
                    </a:cubicBezTo>
                    <a:moveTo>
                      <a:pt x="159" y="1216"/>
                    </a:moveTo>
                    <a:cubicBezTo>
                      <a:pt x="156" y="1201"/>
                      <a:pt x="160" y="1188"/>
                      <a:pt x="164" y="1176"/>
                    </a:cubicBezTo>
                    <a:cubicBezTo>
                      <a:pt x="148" y="1157"/>
                      <a:pt x="133" y="1136"/>
                      <a:pt x="120" y="1113"/>
                    </a:cubicBezTo>
                    <a:cubicBezTo>
                      <a:pt x="113" y="1111"/>
                      <a:pt x="109" y="1105"/>
                      <a:pt x="102" y="1103"/>
                    </a:cubicBezTo>
                    <a:cubicBezTo>
                      <a:pt x="118" y="1144"/>
                      <a:pt x="137" y="1181"/>
                      <a:pt x="159" y="1216"/>
                    </a:cubicBezTo>
                    <a:close/>
                    <a:moveTo>
                      <a:pt x="1287" y="1164"/>
                    </a:moveTo>
                    <a:cubicBezTo>
                      <a:pt x="1303" y="1157"/>
                      <a:pt x="1323" y="1155"/>
                      <a:pt x="1333" y="1143"/>
                    </a:cubicBezTo>
                    <a:cubicBezTo>
                      <a:pt x="1325" y="1131"/>
                      <a:pt x="1312" y="1123"/>
                      <a:pt x="1301" y="1114"/>
                    </a:cubicBezTo>
                    <a:cubicBezTo>
                      <a:pt x="1296" y="1131"/>
                      <a:pt x="1292" y="1148"/>
                      <a:pt x="1287" y="1164"/>
                    </a:cubicBezTo>
                    <a:close/>
                    <a:moveTo>
                      <a:pt x="126" y="1118"/>
                    </a:moveTo>
                    <a:cubicBezTo>
                      <a:pt x="138" y="1138"/>
                      <a:pt x="150" y="1157"/>
                      <a:pt x="166" y="1174"/>
                    </a:cubicBezTo>
                    <a:cubicBezTo>
                      <a:pt x="169" y="1162"/>
                      <a:pt x="177" y="1155"/>
                      <a:pt x="182" y="1146"/>
                    </a:cubicBezTo>
                    <a:cubicBezTo>
                      <a:pt x="161" y="1138"/>
                      <a:pt x="144" y="1127"/>
                      <a:pt x="126" y="1118"/>
                    </a:cubicBezTo>
                    <a:moveTo>
                      <a:pt x="126" y="1118"/>
                    </a:moveTo>
                    <a:cubicBezTo>
                      <a:pt x="125" y="1116"/>
                      <a:pt x="124" y="1118"/>
                      <a:pt x="126" y="1118"/>
                    </a:cubicBezTo>
                    <a:moveTo>
                      <a:pt x="1342" y="1146"/>
                    </a:moveTo>
                    <a:cubicBezTo>
                      <a:pt x="1351" y="1159"/>
                      <a:pt x="1360" y="1173"/>
                      <a:pt x="1365" y="1190"/>
                    </a:cubicBezTo>
                    <a:cubicBezTo>
                      <a:pt x="1377" y="1168"/>
                      <a:pt x="1387" y="1145"/>
                      <a:pt x="1396" y="1120"/>
                    </a:cubicBezTo>
                    <a:cubicBezTo>
                      <a:pt x="1397" y="1120"/>
                      <a:pt x="1396" y="1119"/>
                      <a:pt x="1395" y="1119"/>
                    </a:cubicBezTo>
                    <a:cubicBezTo>
                      <a:pt x="1379" y="1129"/>
                      <a:pt x="1361" y="1138"/>
                      <a:pt x="1342" y="1146"/>
                    </a:cubicBezTo>
                    <a:close/>
                    <a:moveTo>
                      <a:pt x="204" y="1128"/>
                    </a:moveTo>
                    <a:cubicBezTo>
                      <a:pt x="202" y="1133"/>
                      <a:pt x="196" y="1134"/>
                      <a:pt x="195" y="1139"/>
                    </a:cubicBezTo>
                    <a:cubicBezTo>
                      <a:pt x="197" y="1142"/>
                      <a:pt x="198" y="1146"/>
                      <a:pt x="198" y="1151"/>
                    </a:cubicBezTo>
                    <a:cubicBezTo>
                      <a:pt x="209" y="1153"/>
                      <a:pt x="219" y="1160"/>
                      <a:pt x="229" y="1160"/>
                    </a:cubicBezTo>
                    <a:cubicBezTo>
                      <a:pt x="220" y="1151"/>
                      <a:pt x="214" y="1138"/>
                      <a:pt x="204" y="1128"/>
                    </a:cubicBezTo>
                    <a:close/>
                    <a:moveTo>
                      <a:pt x="1100" y="1194"/>
                    </a:moveTo>
                    <a:cubicBezTo>
                      <a:pt x="1095" y="1200"/>
                      <a:pt x="1088" y="1206"/>
                      <a:pt x="1088" y="1212"/>
                    </a:cubicBezTo>
                    <a:cubicBezTo>
                      <a:pt x="1101" y="1209"/>
                      <a:pt x="1114" y="1208"/>
                      <a:pt x="1126" y="1205"/>
                    </a:cubicBezTo>
                    <a:cubicBezTo>
                      <a:pt x="1129" y="1181"/>
                      <a:pt x="1137" y="1156"/>
                      <a:pt x="1137" y="1132"/>
                    </a:cubicBezTo>
                    <a:cubicBezTo>
                      <a:pt x="1126" y="1153"/>
                      <a:pt x="1113" y="1175"/>
                      <a:pt x="1100" y="1194"/>
                    </a:cubicBezTo>
                    <a:close/>
                    <a:moveTo>
                      <a:pt x="187" y="1146"/>
                    </a:moveTo>
                    <a:cubicBezTo>
                      <a:pt x="190" y="1145"/>
                      <a:pt x="194" y="1150"/>
                      <a:pt x="196" y="1148"/>
                    </a:cubicBezTo>
                    <a:cubicBezTo>
                      <a:pt x="193" y="1146"/>
                      <a:pt x="194" y="1141"/>
                      <a:pt x="192" y="1140"/>
                    </a:cubicBezTo>
                    <a:cubicBezTo>
                      <a:pt x="191" y="1142"/>
                      <a:pt x="188" y="1143"/>
                      <a:pt x="187" y="1146"/>
                    </a:cubicBezTo>
                    <a:close/>
                    <a:moveTo>
                      <a:pt x="1333" y="1147"/>
                    </a:moveTo>
                    <a:cubicBezTo>
                      <a:pt x="1335" y="1147"/>
                      <a:pt x="1336" y="1146"/>
                      <a:pt x="1337" y="1145"/>
                    </a:cubicBezTo>
                    <a:cubicBezTo>
                      <a:pt x="1335" y="1143"/>
                      <a:pt x="1334" y="1145"/>
                      <a:pt x="1333" y="1147"/>
                    </a:cubicBezTo>
                    <a:close/>
                    <a:moveTo>
                      <a:pt x="241" y="1257"/>
                    </a:moveTo>
                    <a:cubicBezTo>
                      <a:pt x="241" y="1258"/>
                      <a:pt x="242" y="1257"/>
                      <a:pt x="241" y="1257"/>
                    </a:cubicBezTo>
                    <a:moveTo>
                      <a:pt x="241" y="1257"/>
                    </a:moveTo>
                    <a:cubicBezTo>
                      <a:pt x="224" y="1224"/>
                      <a:pt x="209" y="1190"/>
                      <a:pt x="197" y="1152"/>
                    </a:cubicBezTo>
                    <a:cubicBezTo>
                      <a:pt x="194" y="1150"/>
                      <a:pt x="189" y="1150"/>
                      <a:pt x="187" y="1148"/>
                    </a:cubicBezTo>
                    <a:cubicBezTo>
                      <a:pt x="177" y="1154"/>
                      <a:pt x="173" y="1166"/>
                      <a:pt x="167" y="1175"/>
                    </a:cubicBezTo>
                    <a:cubicBezTo>
                      <a:pt x="189" y="1205"/>
                      <a:pt x="214" y="1232"/>
                      <a:pt x="241" y="1257"/>
                    </a:cubicBezTo>
                    <a:moveTo>
                      <a:pt x="1207" y="1335"/>
                    </a:moveTo>
                    <a:cubicBezTo>
                      <a:pt x="1206" y="1335"/>
                      <a:pt x="1208" y="1336"/>
                      <a:pt x="1207" y="1335"/>
                    </a:cubicBezTo>
                    <a:moveTo>
                      <a:pt x="1207" y="1335"/>
                    </a:moveTo>
                    <a:cubicBezTo>
                      <a:pt x="1267" y="1295"/>
                      <a:pt x="1319" y="1248"/>
                      <a:pt x="1362" y="1192"/>
                    </a:cubicBezTo>
                    <a:cubicBezTo>
                      <a:pt x="1357" y="1174"/>
                      <a:pt x="1350" y="1158"/>
                      <a:pt x="1337" y="1148"/>
                    </a:cubicBezTo>
                    <a:cubicBezTo>
                      <a:pt x="1322" y="1158"/>
                      <a:pt x="1312" y="1174"/>
                      <a:pt x="1300" y="1189"/>
                    </a:cubicBezTo>
                    <a:cubicBezTo>
                      <a:pt x="1294" y="1196"/>
                      <a:pt x="1288" y="1203"/>
                      <a:pt x="1281" y="1210"/>
                    </a:cubicBezTo>
                    <a:cubicBezTo>
                      <a:pt x="1275" y="1217"/>
                      <a:pt x="1267" y="1223"/>
                      <a:pt x="1263" y="1230"/>
                    </a:cubicBezTo>
                    <a:cubicBezTo>
                      <a:pt x="1258" y="1239"/>
                      <a:pt x="1255" y="1249"/>
                      <a:pt x="1251" y="1258"/>
                    </a:cubicBezTo>
                    <a:cubicBezTo>
                      <a:pt x="1237" y="1285"/>
                      <a:pt x="1225" y="1311"/>
                      <a:pt x="1207" y="1335"/>
                    </a:cubicBezTo>
                    <a:moveTo>
                      <a:pt x="1324" y="1154"/>
                    </a:moveTo>
                    <a:cubicBezTo>
                      <a:pt x="1310" y="1158"/>
                      <a:pt x="1300" y="1164"/>
                      <a:pt x="1286" y="1167"/>
                    </a:cubicBezTo>
                    <a:cubicBezTo>
                      <a:pt x="1282" y="1186"/>
                      <a:pt x="1272" y="1204"/>
                      <a:pt x="1269" y="1221"/>
                    </a:cubicBezTo>
                    <a:cubicBezTo>
                      <a:pt x="1287" y="1199"/>
                      <a:pt x="1307" y="1178"/>
                      <a:pt x="1324" y="1154"/>
                    </a:cubicBezTo>
                    <a:moveTo>
                      <a:pt x="1324" y="1154"/>
                    </a:moveTo>
                    <a:cubicBezTo>
                      <a:pt x="1325" y="1154"/>
                      <a:pt x="1324" y="1153"/>
                      <a:pt x="1324" y="1154"/>
                    </a:cubicBezTo>
                    <a:moveTo>
                      <a:pt x="222" y="1212"/>
                    </a:moveTo>
                    <a:cubicBezTo>
                      <a:pt x="231" y="1230"/>
                      <a:pt x="237" y="1251"/>
                      <a:pt x="247" y="1264"/>
                    </a:cubicBezTo>
                    <a:cubicBezTo>
                      <a:pt x="252" y="1270"/>
                      <a:pt x="260" y="1275"/>
                      <a:pt x="267" y="1280"/>
                    </a:cubicBezTo>
                    <a:cubicBezTo>
                      <a:pt x="287" y="1297"/>
                      <a:pt x="306" y="1314"/>
                      <a:pt x="328" y="1328"/>
                    </a:cubicBezTo>
                    <a:cubicBezTo>
                      <a:pt x="334" y="1313"/>
                      <a:pt x="344" y="1302"/>
                      <a:pt x="354" y="1291"/>
                    </a:cubicBezTo>
                    <a:cubicBezTo>
                      <a:pt x="308" y="1254"/>
                      <a:pt x="269" y="1211"/>
                      <a:pt x="232" y="1165"/>
                    </a:cubicBezTo>
                    <a:cubicBezTo>
                      <a:pt x="220" y="1162"/>
                      <a:pt x="212" y="1157"/>
                      <a:pt x="200" y="1154"/>
                    </a:cubicBezTo>
                    <a:cubicBezTo>
                      <a:pt x="206" y="1174"/>
                      <a:pt x="214" y="1193"/>
                      <a:pt x="222" y="1212"/>
                    </a:cubicBezTo>
                    <a:close/>
                    <a:moveTo>
                      <a:pt x="356" y="1290"/>
                    </a:moveTo>
                    <a:cubicBezTo>
                      <a:pt x="359" y="1285"/>
                      <a:pt x="365" y="1284"/>
                      <a:pt x="367" y="1278"/>
                    </a:cubicBezTo>
                    <a:cubicBezTo>
                      <a:pt x="358" y="1252"/>
                      <a:pt x="349" y="1226"/>
                      <a:pt x="342" y="1197"/>
                    </a:cubicBezTo>
                    <a:cubicBezTo>
                      <a:pt x="306" y="1189"/>
                      <a:pt x="270" y="1177"/>
                      <a:pt x="238" y="1169"/>
                    </a:cubicBezTo>
                    <a:cubicBezTo>
                      <a:pt x="274" y="1212"/>
                      <a:pt x="312" y="1254"/>
                      <a:pt x="356" y="1290"/>
                    </a:cubicBezTo>
                    <a:close/>
                    <a:moveTo>
                      <a:pt x="1223" y="1265"/>
                    </a:moveTo>
                    <a:cubicBezTo>
                      <a:pt x="1235" y="1254"/>
                      <a:pt x="1255" y="1239"/>
                      <a:pt x="1263" y="1225"/>
                    </a:cubicBezTo>
                    <a:cubicBezTo>
                      <a:pt x="1273" y="1209"/>
                      <a:pt x="1274" y="1190"/>
                      <a:pt x="1282" y="1170"/>
                    </a:cubicBezTo>
                    <a:cubicBezTo>
                      <a:pt x="1282" y="1169"/>
                      <a:pt x="1282" y="1169"/>
                      <a:pt x="1281" y="1169"/>
                    </a:cubicBezTo>
                    <a:cubicBezTo>
                      <a:pt x="1257" y="1177"/>
                      <a:pt x="1232" y="1184"/>
                      <a:pt x="1206" y="1191"/>
                    </a:cubicBezTo>
                    <a:cubicBezTo>
                      <a:pt x="1184" y="1218"/>
                      <a:pt x="1160" y="1242"/>
                      <a:pt x="1137" y="1268"/>
                    </a:cubicBezTo>
                    <a:cubicBezTo>
                      <a:pt x="1155" y="1276"/>
                      <a:pt x="1167" y="1289"/>
                      <a:pt x="1181" y="1301"/>
                    </a:cubicBezTo>
                    <a:cubicBezTo>
                      <a:pt x="1195" y="1290"/>
                      <a:pt x="1208" y="1278"/>
                      <a:pt x="1223" y="1265"/>
                    </a:cubicBezTo>
                    <a:close/>
                    <a:moveTo>
                      <a:pt x="344" y="1195"/>
                    </a:moveTo>
                    <a:cubicBezTo>
                      <a:pt x="349" y="1194"/>
                      <a:pt x="353" y="1198"/>
                      <a:pt x="355" y="1196"/>
                    </a:cubicBezTo>
                    <a:cubicBezTo>
                      <a:pt x="350" y="1190"/>
                      <a:pt x="346" y="1183"/>
                      <a:pt x="341" y="1178"/>
                    </a:cubicBezTo>
                    <a:cubicBezTo>
                      <a:pt x="342" y="1184"/>
                      <a:pt x="343" y="1189"/>
                      <a:pt x="344" y="1195"/>
                    </a:cubicBezTo>
                    <a:close/>
                    <a:moveTo>
                      <a:pt x="289" y="1331"/>
                    </a:moveTo>
                    <a:cubicBezTo>
                      <a:pt x="289" y="1332"/>
                      <a:pt x="290" y="1331"/>
                      <a:pt x="289" y="1331"/>
                    </a:cubicBezTo>
                    <a:moveTo>
                      <a:pt x="289" y="1331"/>
                    </a:moveTo>
                    <a:cubicBezTo>
                      <a:pt x="274" y="1310"/>
                      <a:pt x="258" y="1290"/>
                      <a:pt x="246" y="1266"/>
                    </a:cubicBezTo>
                    <a:cubicBezTo>
                      <a:pt x="216" y="1240"/>
                      <a:pt x="192" y="1209"/>
                      <a:pt x="165" y="1180"/>
                    </a:cubicBezTo>
                    <a:cubicBezTo>
                      <a:pt x="163" y="1194"/>
                      <a:pt x="158" y="1209"/>
                      <a:pt x="163" y="1223"/>
                    </a:cubicBezTo>
                    <a:cubicBezTo>
                      <a:pt x="169" y="1238"/>
                      <a:pt x="189" y="1257"/>
                      <a:pt x="203" y="1271"/>
                    </a:cubicBezTo>
                    <a:cubicBezTo>
                      <a:pt x="217" y="1284"/>
                      <a:pt x="236" y="1304"/>
                      <a:pt x="249" y="1313"/>
                    </a:cubicBezTo>
                    <a:cubicBezTo>
                      <a:pt x="261" y="1321"/>
                      <a:pt x="278" y="1326"/>
                      <a:pt x="289" y="1331"/>
                    </a:cubicBezTo>
                    <a:moveTo>
                      <a:pt x="676" y="1195"/>
                    </a:moveTo>
                    <a:cubicBezTo>
                      <a:pt x="677" y="1209"/>
                      <a:pt x="682" y="1221"/>
                      <a:pt x="683" y="1235"/>
                    </a:cubicBezTo>
                    <a:cubicBezTo>
                      <a:pt x="697" y="1236"/>
                      <a:pt x="712" y="1236"/>
                      <a:pt x="727" y="1236"/>
                    </a:cubicBezTo>
                    <a:cubicBezTo>
                      <a:pt x="726" y="1222"/>
                      <a:pt x="730" y="1202"/>
                      <a:pt x="725" y="1192"/>
                    </a:cubicBezTo>
                    <a:cubicBezTo>
                      <a:pt x="709" y="1193"/>
                      <a:pt x="691" y="1193"/>
                      <a:pt x="676" y="1195"/>
                    </a:cubicBezTo>
                    <a:close/>
                    <a:moveTo>
                      <a:pt x="729" y="1192"/>
                    </a:moveTo>
                    <a:cubicBezTo>
                      <a:pt x="729" y="1207"/>
                      <a:pt x="731" y="1220"/>
                      <a:pt x="730" y="1236"/>
                    </a:cubicBezTo>
                    <a:cubicBezTo>
                      <a:pt x="744" y="1238"/>
                      <a:pt x="761" y="1236"/>
                      <a:pt x="775" y="1237"/>
                    </a:cubicBezTo>
                    <a:cubicBezTo>
                      <a:pt x="777" y="1222"/>
                      <a:pt x="777" y="1207"/>
                      <a:pt x="777" y="1192"/>
                    </a:cubicBezTo>
                    <a:cubicBezTo>
                      <a:pt x="761" y="1192"/>
                      <a:pt x="745" y="1192"/>
                      <a:pt x="729" y="1192"/>
                    </a:cubicBezTo>
                    <a:close/>
                    <a:moveTo>
                      <a:pt x="780" y="1192"/>
                    </a:moveTo>
                    <a:cubicBezTo>
                      <a:pt x="779" y="1206"/>
                      <a:pt x="779" y="1222"/>
                      <a:pt x="778" y="1237"/>
                    </a:cubicBezTo>
                    <a:cubicBezTo>
                      <a:pt x="809" y="1235"/>
                      <a:pt x="841" y="1236"/>
                      <a:pt x="871" y="1234"/>
                    </a:cubicBezTo>
                    <a:cubicBezTo>
                      <a:pt x="875" y="1222"/>
                      <a:pt x="879" y="1210"/>
                      <a:pt x="882" y="1198"/>
                    </a:cubicBezTo>
                    <a:cubicBezTo>
                      <a:pt x="849" y="1195"/>
                      <a:pt x="816" y="1192"/>
                      <a:pt x="780" y="1192"/>
                    </a:cubicBezTo>
                    <a:close/>
                    <a:moveTo>
                      <a:pt x="1200" y="1193"/>
                    </a:moveTo>
                    <a:cubicBezTo>
                      <a:pt x="1176" y="1197"/>
                      <a:pt x="1153" y="1204"/>
                      <a:pt x="1128" y="1207"/>
                    </a:cubicBezTo>
                    <a:cubicBezTo>
                      <a:pt x="1124" y="1224"/>
                      <a:pt x="1120" y="1239"/>
                      <a:pt x="1116" y="1255"/>
                    </a:cubicBezTo>
                    <a:cubicBezTo>
                      <a:pt x="1122" y="1258"/>
                      <a:pt x="1128" y="1262"/>
                      <a:pt x="1134" y="1265"/>
                    </a:cubicBezTo>
                    <a:cubicBezTo>
                      <a:pt x="1158" y="1242"/>
                      <a:pt x="1180" y="1219"/>
                      <a:pt x="1200" y="1193"/>
                    </a:cubicBezTo>
                    <a:moveTo>
                      <a:pt x="1200" y="1193"/>
                    </a:moveTo>
                    <a:cubicBezTo>
                      <a:pt x="1201" y="1192"/>
                      <a:pt x="1200" y="1192"/>
                      <a:pt x="1200" y="1193"/>
                    </a:cubicBezTo>
                    <a:moveTo>
                      <a:pt x="671" y="1195"/>
                    </a:moveTo>
                    <a:cubicBezTo>
                      <a:pt x="638" y="1198"/>
                      <a:pt x="605" y="1201"/>
                      <a:pt x="575" y="1207"/>
                    </a:cubicBezTo>
                    <a:cubicBezTo>
                      <a:pt x="578" y="1215"/>
                      <a:pt x="580" y="1224"/>
                      <a:pt x="586" y="1229"/>
                    </a:cubicBezTo>
                    <a:cubicBezTo>
                      <a:pt x="616" y="1232"/>
                      <a:pt x="650" y="1235"/>
                      <a:pt x="680" y="1234"/>
                    </a:cubicBezTo>
                    <a:cubicBezTo>
                      <a:pt x="676" y="1222"/>
                      <a:pt x="675" y="1207"/>
                      <a:pt x="671" y="1195"/>
                    </a:cubicBezTo>
                    <a:close/>
                    <a:moveTo>
                      <a:pt x="369" y="1277"/>
                    </a:moveTo>
                    <a:cubicBezTo>
                      <a:pt x="382" y="1271"/>
                      <a:pt x="394" y="1263"/>
                      <a:pt x="406" y="1255"/>
                    </a:cubicBezTo>
                    <a:cubicBezTo>
                      <a:pt x="389" y="1237"/>
                      <a:pt x="373" y="1219"/>
                      <a:pt x="358" y="1199"/>
                    </a:cubicBezTo>
                    <a:cubicBezTo>
                      <a:pt x="353" y="1200"/>
                      <a:pt x="350" y="1197"/>
                      <a:pt x="345" y="1198"/>
                    </a:cubicBezTo>
                    <a:cubicBezTo>
                      <a:pt x="352" y="1226"/>
                      <a:pt x="361" y="1251"/>
                      <a:pt x="369" y="1277"/>
                    </a:cubicBezTo>
                    <a:close/>
                    <a:moveTo>
                      <a:pt x="884" y="1199"/>
                    </a:moveTo>
                    <a:cubicBezTo>
                      <a:pt x="882" y="1211"/>
                      <a:pt x="877" y="1221"/>
                      <a:pt x="874" y="1234"/>
                    </a:cubicBezTo>
                    <a:cubicBezTo>
                      <a:pt x="894" y="1233"/>
                      <a:pt x="914" y="1231"/>
                      <a:pt x="934" y="1230"/>
                    </a:cubicBezTo>
                    <a:cubicBezTo>
                      <a:pt x="934" y="1221"/>
                      <a:pt x="936" y="1215"/>
                      <a:pt x="936" y="1205"/>
                    </a:cubicBezTo>
                    <a:cubicBezTo>
                      <a:pt x="919" y="1202"/>
                      <a:pt x="903" y="1199"/>
                      <a:pt x="884" y="1199"/>
                    </a:cubicBezTo>
                    <a:close/>
                    <a:moveTo>
                      <a:pt x="1360" y="1199"/>
                    </a:moveTo>
                    <a:cubicBezTo>
                      <a:pt x="1360" y="1199"/>
                      <a:pt x="1361" y="1200"/>
                      <a:pt x="1360" y="1199"/>
                    </a:cubicBezTo>
                    <a:close/>
                    <a:moveTo>
                      <a:pt x="363" y="1201"/>
                    </a:moveTo>
                    <a:cubicBezTo>
                      <a:pt x="378" y="1220"/>
                      <a:pt x="392" y="1239"/>
                      <a:pt x="410" y="1254"/>
                    </a:cubicBezTo>
                    <a:cubicBezTo>
                      <a:pt x="432" y="1244"/>
                      <a:pt x="454" y="1234"/>
                      <a:pt x="480" y="1227"/>
                    </a:cubicBezTo>
                    <a:cubicBezTo>
                      <a:pt x="477" y="1217"/>
                      <a:pt x="463" y="1219"/>
                      <a:pt x="454" y="1218"/>
                    </a:cubicBezTo>
                    <a:cubicBezTo>
                      <a:pt x="424" y="1213"/>
                      <a:pt x="391" y="1206"/>
                      <a:pt x="363" y="1201"/>
                    </a:cubicBezTo>
                    <a:moveTo>
                      <a:pt x="363" y="1201"/>
                    </a:moveTo>
                    <a:cubicBezTo>
                      <a:pt x="362" y="1200"/>
                      <a:pt x="361" y="1201"/>
                      <a:pt x="363" y="1201"/>
                    </a:cubicBezTo>
                    <a:moveTo>
                      <a:pt x="1359" y="1201"/>
                    </a:moveTo>
                    <a:cubicBezTo>
                      <a:pt x="1318" y="1253"/>
                      <a:pt x="1263" y="1298"/>
                      <a:pt x="1208" y="1338"/>
                    </a:cubicBezTo>
                    <a:cubicBezTo>
                      <a:pt x="1206" y="1339"/>
                      <a:pt x="1201" y="1341"/>
                      <a:pt x="1202" y="1345"/>
                    </a:cubicBezTo>
                    <a:cubicBezTo>
                      <a:pt x="1217" y="1339"/>
                      <a:pt x="1232" y="1333"/>
                      <a:pt x="1247" y="1326"/>
                    </a:cubicBezTo>
                    <a:cubicBezTo>
                      <a:pt x="1261" y="1320"/>
                      <a:pt x="1277" y="1313"/>
                      <a:pt x="1289" y="1304"/>
                    </a:cubicBezTo>
                    <a:cubicBezTo>
                      <a:pt x="1303" y="1293"/>
                      <a:pt x="1316" y="1270"/>
                      <a:pt x="1326" y="1255"/>
                    </a:cubicBezTo>
                    <a:cubicBezTo>
                      <a:pt x="1338" y="1238"/>
                      <a:pt x="1350" y="1220"/>
                      <a:pt x="1359" y="1201"/>
                    </a:cubicBezTo>
                    <a:moveTo>
                      <a:pt x="1359" y="1201"/>
                    </a:moveTo>
                    <a:cubicBezTo>
                      <a:pt x="1361" y="1201"/>
                      <a:pt x="1359" y="1200"/>
                      <a:pt x="1359" y="1201"/>
                    </a:cubicBezTo>
                    <a:moveTo>
                      <a:pt x="1301" y="1295"/>
                    </a:moveTo>
                    <a:cubicBezTo>
                      <a:pt x="1299" y="1296"/>
                      <a:pt x="1301" y="1297"/>
                      <a:pt x="1301" y="1295"/>
                    </a:cubicBezTo>
                    <a:moveTo>
                      <a:pt x="1301" y="1295"/>
                    </a:moveTo>
                    <a:cubicBezTo>
                      <a:pt x="1315" y="1282"/>
                      <a:pt x="1343" y="1260"/>
                      <a:pt x="1354" y="1241"/>
                    </a:cubicBezTo>
                    <a:cubicBezTo>
                      <a:pt x="1360" y="1231"/>
                      <a:pt x="1364" y="1215"/>
                      <a:pt x="1362" y="1201"/>
                    </a:cubicBezTo>
                    <a:cubicBezTo>
                      <a:pt x="1345" y="1236"/>
                      <a:pt x="1323" y="1266"/>
                      <a:pt x="1301" y="1295"/>
                    </a:cubicBezTo>
                    <a:moveTo>
                      <a:pt x="938" y="1229"/>
                    </a:moveTo>
                    <a:cubicBezTo>
                      <a:pt x="950" y="1230"/>
                      <a:pt x="958" y="1227"/>
                      <a:pt x="970" y="1227"/>
                    </a:cubicBezTo>
                    <a:cubicBezTo>
                      <a:pt x="975" y="1224"/>
                      <a:pt x="977" y="1218"/>
                      <a:pt x="979" y="1213"/>
                    </a:cubicBezTo>
                    <a:cubicBezTo>
                      <a:pt x="967" y="1210"/>
                      <a:pt x="953" y="1208"/>
                      <a:pt x="941" y="1205"/>
                    </a:cubicBezTo>
                    <a:cubicBezTo>
                      <a:pt x="939" y="1212"/>
                      <a:pt x="940" y="1222"/>
                      <a:pt x="938" y="1229"/>
                    </a:cubicBezTo>
                    <a:close/>
                    <a:moveTo>
                      <a:pt x="526" y="1219"/>
                    </a:moveTo>
                    <a:cubicBezTo>
                      <a:pt x="526" y="1221"/>
                      <a:pt x="526" y="1222"/>
                      <a:pt x="527" y="1223"/>
                    </a:cubicBezTo>
                    <a:cubicBezTo>
                      <a:pt x="544" y="1226"/>
                      <a:pt x="565" y="1229"/>
                      <a:pt x="582" y="1228"/>
                    </a:cubicBezTo>
                    <a:cubicBezTo>
                      <a:pt x="577" y="1222"/>
                      <a:pt x="575" y="1213"/>
                      <a:pt x="571" y="1207"/>
                    </a:cubicBezTo>
                    <a:cubicBezTo>
                      <a:pt x="557" y="1212"/>
                      <a:pt x="538" y="1212"/>
                      <a:pt x="526" y="1219"/>
                    </a:cubicBezTo>
                    <a:close/>
                    <a:moveTo>
                      <a:pt x="1084" y="1215"/>
                    </a:moveTo>
                    <a:cubicBezTo>
                      <a:pt x="1080" y="1223"/>
                      <a:pt x="1071" y="1229"/>
                      <a:pt x="1070" y="1236"/>
                    </a:cubicBezTo>
                    <a:cubicBezTo>
                      <a:pt x="1086" y="1240"/>
                      <a:pt x="1099" y="1248"/>
                      <a:pt x="1113" y="1253"/>
                    </a:cubicBezTo>
                    <a:cubicBezTo>
                      <a:pt x="1118" y="1240"/>
                      <a:pt x="1120" y="1224"/>
                      <a:pt x="1125" y="1210"/>
                    </a:cubicBezTo>
                    <a:cubicBezTo>
                      <a:pt x="1125" y="1209"/>
                      <a:pt x="1125" y="1208"/>
                      <a:pt x="1123" y="1208"/>
                    </a:cubicBezTo>
                    <a:cubicBezTo>
                      <a:pt x="1111" y="1211"/>
                      <a:pt x="1097" y="1213"/>
                      <a:pt x="1084" y="1215"/>
                    </a:cubicBezTo>
                    <a:close/>
                    <a:moveTo>
                      <a:pt x="982" y="1214"/>
                    </a:moveTo>
                    <a:cubicBezTo>
                      <a:pt x="980" y="1218"/>
                      <a:pt x="977" y="1222"/>
                      <a:pt x="975" y="1226"/>
                    </a:cubicBezTo>
                    <a:cubicBezTo>
                      <a:pt x="988" y="1225"/>
                      <a:pt x="1003" y="1224"/>
                      <a:pt x="1015" y="1222"/>
                    </a:cubicBezTo>
                    <a:cubicBezTo>
                      <a:pt x="1005" y="1219"/>
                      <a:pt x="994" y="1216"/>
                      <a:pt x="982" y="1214"/>
                    </a:cubicBezTo>
                    <a:close/>
                    <a:moveTo>
                      <a:pt x="1031" y="1223"/>
                    </a:moveTo>
                    <a:cubicBezTo>
                      <a:pt x="1044" y="1226"/>
                      <a:pt x="1054" y="1231"/>
                      <a:pt x="1066" y="1234"/>
                    </a:cubicBezTo>
                    <a:cubicBezTo>
                      <a:pt x="1070" y="1229"/>
                      <a:pt x="1080" y="1220"/>
                      <a:pt x="1078" y="1216"/>
                    </a:cubicBezTo>
                    <a:cubicBezTo>
                      <a:pt x="1063" y="1219"/>
                      <a:pt x="1045" y="1220"/>
                      <a:pt x="1031" y="1223"/>
                    </a:cubicBezTo>
                    <a:close/>
                    <a:moveTo>
                      <a:pt x="509" y="1223"/>
                    </a:moveTo>
                    <a:cubicBezTo>
                      <a:pt x="515" y="1222"/>
                      <a:pt x="518" y="1224"/>
                      <a:pt x="524" y="1223"/>
                    </a:cubicBezTo>
                    <a:cubicBezTo>
                      <a:pt x="523" y="1222"/>
                      <a:pt x="524" y="1217"/>
                      <a:pt x="521" y="1218"/>
                    </a:cubicBezTo>
                    <a:cubicBezTo>
                      <a:pt x="518" y="1220"/>
                      <a:pt x="511" y="1219"/>
                      <a:pt x="509" y="1223"/>
                    </a:cubicBezTo>
                    <a:close/>
                    <a:moveTo>
                      <a:pt x="482" y="1225"/>
                    </a:moveTo>
                    <a:cubicBezTo>
                      <a:pt x="487" y="1226"/>
                      <a:pt x="490" y="1224"/>
                      <a:pt x="493" y="1223"/>
                    </a:cubicBezTo>
                    <a:cubicBezTo>
                      <a:pt x="488" y="1223"/>
                      <a:pt x="483" y="1220"/>
                      <a:pt x="480" y="1223"/>
                    </a:cubicBezTo>
                    <a:cubicBezTo>
                      <a:pt x="481" y="1223"/>
                      <a:pt x="482" y="1224"/>
                      <a:pt x="482" y="1225"/>
                    </a:cubicBezTo>
                    <a:close/>
                    <a:moveTo>
                      <a:pt x="535" y="1295"/>
                    </a:moveTo>
                    <a:cubicBezTo>
                      <a:pt x="536" y="1296"/>
                      <a:pt x="537" y="1294"/>
                      <a:pt x="535" y="1295"/>
                    </a:cubicBezTo>
                    <a:moveTo>
                      <a:pt x="535" y="1295"/>
                    </a:moveTo>
                    <a:cubicBezTo>
                      <a:pt x="532" y="1272"/>
                      <a:pt x="527" y="1251"/>
                      <a:pt x="525" y="1227"/>
                    </a:cubicBezTo>
                    <a:cubicBezTo>
                      <a:pt x="512" y="1224"/>
                      <a:pt x="497" y="1223"/>
                      <a:pt x="486" y="1227"/>
                    </a:cubicBezTo>
                    <a:cubicBezTo>
                      <a:pt x="498" y="1250"/>
                      <a:pt x="518" y="1273"/>
                      <a:pt x="535" y="1295"/>
                    </a:cubicBezTo>
                    <a:moveTo>
                      <a:pt x="1022" y="1223"/>
                    </a:moveTo>
                    <a:cubicBezTo>
                      <a:pt x="1007" y="1223"/>
                      <a:pt x="991" y="1230"/>
                      <a:pt x="973" y="1229"/>
                    </a:cubicBezTo>
                    <a:cubicBezTo>
                      <a:pt x="960" y="1255"/>
                      <a:pt x="945" y="1280"/>
                      <a:pt x="928" y="1303"/>
                    </a:cubicBezTo>
                    <a:cubicBezTo>
                      <a:pt x="927" y="1316"/>
                      <a:pt x="925" y="1329"/>
                      <a:pt x="922" y="1342"/>
                    </a:cubicBezTo>
                    <a:cubicBezTo>
                      <a:pt x="920" y="1353"/>
                      <a:pt x="915" y="1367"/>
                      <a:pt x="917" y="1376"/>
                    </a:cubicBezTo>
                    <a:cubicBezTo>
                      <a:pt x="925" y="1381"/>
                      <a:pt x="933" y="1372"/>
                      <a:pt x="939" y="1367"/>
                    </a:cubicBezTo>
                    <a:cubicBezTo>
                      <a:pt x="986" y="1330"/>
                      <a:pt x="1029" y="1283"/>
                      <a:pt x="1064" y="1236"/>
                    </a:cubicBezTo>
                    <a:cubicBezTo>
                      <a:pt x="1050" y="1234"/>
                      <a:pt x="1038" y="1224"/>
                      <a:pt x="1022" y="1223"/>
                    </a:cubicBezTo>
                    <a:close/>
                    <a:moveTo>
                      <a:pt x="539" y="1299"/>
                    </a:moveTo>
                    <a:cubicBezTo>
                      <a:pt x="563" y="1325"/>
                      <a:pt x="587" y="1352"/>
                      <a:pt x="615" y="1374"/>
                    </a:cubicBezTo>
                    <a:cubicBezTo>
                      <a:pt x="628" y="1368"/>
                      <a:pt x="645" y="1367"/>
                      <a:pt x="658" y="1362"/>
                    </a:cubicBezTo>
                    <a:cubicBezTo>
                      <a:pt x="630" y="1322"/>
                      <a:pt x="605" y="1279"/>
                      <a:pt x="583" y="1232"/>
                    </a:cubicBezTo>
                    <a:cubicBezTo>
                      <a:pt x="564" y="1230"/>
                      <a:pt x="545" y="1229"/>
                      <a:pt x="527" y="1226"/>
                    </a:cubicBezTo>
                    <a:cubicBezTo>
                      <a:pt x="530" y="1251"/>
                      <a:pt x="535" y="1275"/>
                      <a:pt x="539" y="1299"/>
                    </a:cubicBezTo>
                    <a:close/>
                    <a:moveTo>
                      <a:pt x="537" y="1300"/>
                    </a:moveTo>
                    <a:cubicBezTo>
                      <a:pt x="517" y="1278"/>
                      <a:pt x="500" y="1252"/>
                      <a:pt x="481" y="1229"/>
                    </a:cubicBezTo>
                    <a:cubicBezTo>
                      <a:pt x="456" y="1237"/>
                      <a:pt x="433" y="1246"/>
                      <a:pt x="412" y="1256"/>
                    </a:cubicBezTo>
                    <a:cubicBezTo>
                      <a:pt x="452" y="1302"/>
                      <a:pt x="504" y="1344"/>
                      <a:pt x="558" y="1379"/>
                    </a:cubicBezTo>
                    <a:cubicBezTo>
                      <a:pt x="550" y="1354"/>
                      <a:pt x="543" y="1328"/>
                      <a:pt x="537" y="1300"/>
                    </a:cubicBezTo>
                    <a:close/>
                    <a:moveTo>
                      <a:pt x="938" y="1232"/>
                    </a:moveTo>
                    <a:cubicBezTo>
                      <a:pt x="936" y="1253"/>
                      <a:pt x="931" y="1276"/>
                      <a:pt x="931" y="1295"/>
                    </a:cubicBezTo>
                    <a:cubicBezTo>
                      <a:pt x="945" y="1275"/>
                      <a:pt x="957" y="1253"/>
                      <a:pt x="970" y="1231"/>
                    </a:cubicBezTo>
                    <a:cubicBezTo>
                      <a:pt x="970" y="1230"/>
                      <a:pt x="970" y="1229"/>
                      <a:pt x="968" y="1229"/>
                    </a:cubicBezTo>
                    <a:cubicBezTo>
                      <a:pt x="959" y="1231"/>
                      <a:pt x="948" y="1232"/>
                      <a:pt x="938" y="1232"/>
                    </a:cubicBezTo>
                    <a:close/>
                    <a:moveTo>
                      <a:pt x="663" y="1362"/>
                    </a:moveTo>
                    <a:cubicBezTo>
                      <a:pt x="679" y="1359"/>
                      <a:pt x="696" y="1357"/>
                      <a:pt x="712" y="1355"/>
                    </a:cubicBezTo>
                    <a:cubicBezTo>
                      <a:pt x="700" y="1317"/>
                      <a:pt x="690" y="1278"/>
                      <a:pt x="680" y="1238"/>
                    </a:cubicBezTo>
                    <a:cubicBezTo>
                      <a:pt x="649" y="1236"/>
                      <a:pt x="616" y="1235"/>
                      <a:pt x="586" y="1232"/>
                    </a:cubicBezTo>
                    <a:cubicBezTo>
                      <a:pt x="608" y="1279"/>
                      <a:pt x="632" y="1324"/>
                      <a:pt x="663" y="1362"/>
                    </a:cubicBezTo>
                    <a:close/>
                    <a:moveTo>
                      <a:pt x="872" y="1237"/>
                    </a:moveTo>
                    <a:cubicBezTo>
                      <a:pt x="861" y="1280"/>
                      <a:pt x="845" y="1318"/>
                      <a:pt x="829" y="1357"/>
                    </a:cubicBezTo>
                    <a:cubicBezTo>
                      <a:pt x="845" y="1360"/>
                      <a:pt x="862" y="1361"/>
                      <a:pt x="876" y="1366"/>
                    </a:cubicBezTo>
                    <a:cubicBezTo>
                      <a:pt x="895" y="1349"/>
                      <a:pt x="908" y="1326"/>
                      <a:pt x="924" y="1306"/>
                    </a:cubicBezTo>
                    <a:cubicBezTo>
                      <a:pt x="927" y="1282"/>
                      <a:pt x="932" y="1259"/>
                      <a:pt x="933" y="1233"/>
                    </a:cubicBezTo>
                    <a:cubicBezTo>
                      <a:pt x="912" y="1234"/>
                      <a:pt x="892" y="1235"/>
                      <a:pt x="872" y="1237"/>
                    </a:cubicBezTo>
                    <a:close/>
                    <a:moveTo>
                      <a:pt x="1182" y="1304"/>
                    </a:moveTo>
                    <a:cubicBezTo>
                      <a:pt x="1190" y="1314"/>
                      <a:pt x="1196" y="1326"/>
                      <a:pt x="1200" y="1341"/>
                    </a:cubicBezTo>
                    <a:cubicBezTo>
                      <a:pt x="1222" y="1309"/>
                      <a:pt x="1244" y="1273"/>
                      <a:pt x="1257" y="1235"/>
                    </a:cubicBezTo>
                    <a:cubicBezTo>
                      <a:pt x="1234" y="1260"/>
                      <a:pt x="1208" y="1282"/>
                      <a:pt x="1182" y="1304"/>
                    </a:cubicBezTo>
                    <a:close/>
                    <a:moveTo>
                      <a:pt x="778" y="1239"/>
                    </a:moveTo>
                    <a:cubicBezTo>
                      <a:pt x="776" y="1277"/>
                      <a:pt x="774" y="1315"/>
                      <a:pt x="773" y="1353"/>
                    </a:cubicBezTo>
                    <a:cubicBezTo>
                      <a:pt x="791" y="1354"/>
                      <a:pt x="810" y="1355"/>
                      <a:pt x="826" y="1357"/>
                    </a:cubicBezTo>
                    <a:cubicBezTo>
                      <a:pt x="843" y="1319"/>
                      <a:pt x="857" y="1279"/>
                      <a:pt x="870" y="1237"/>
                    </a:cubicBezTo>
                    <a:cubicBezTo>
                      <a:pt x="840" y="1238"/>
                      <a:pt x="810" y="1239"/>
                      <a:pt x="778" y="1239"/>
                    </a:cubicBezTo>
                    <a:close/>
                    <a:moveTo>
                      <a:pt x="170" y="1239"/>
                    </a:moveTo>
                    <a:cubicBezTo>
                      <a:pt x="177" y="1254"/>
                      <a:pt x="187" y="1266"/>
                      <a:pt x="198" y="1276"/>
                    </a:cubicBezTo>
                    <a:moveTo>
                      <a:pt x="198" y="1276"/>
                    </a:moveTo>
                    <a:cubicBezTo>
                      <a:pt x="199" y="1278"/>
                      <a:pt x="200" y="1276"/>
                      <a:pt x="198" y="1276"/>
                    </a:cubicBezTo>
                    <a:moveTo>
                      <a:pt x="198" y="1276"/>
                    </a:moveTo>
                    <a:cubicBezTo>
                      <a:pt x="189" y="1264"/>
                      <a:pt x="180" y="1250"/>
                      <a:pt x="170" y="1239"/>
                    </a:cubicBezTo>
                    <a:moveTo>
                      <a:pt x="170" y="1239"/>
                    </a:moveTo>
                    <a:cubicBezTo>
                      <a:pt x="169" y="1237"/>
                      <a:pt x="169" y="1239"/>
                      <a:pt x="170" y="1239"/>
                    </a:cubicBezTo>
                    <a:moveTo>
                      <a:pt x="716" y="1355"/>
                    </a:moveTo>
                    <a:cubicBezTo>
                      <a:pt x="722" y="1356"/>
                      <a:pt x="725" y="1353"/>
                      <a:pt x="731" y="1354"/>
                    </a:cubicBezTo>
                    <a:cubicBezTo>
                      <a:pt x="729" y="1317"/>
                      <a:pt x="729" y="1277"/>
                      <a:pt x="727" y="1239"/>
                    </a:cubicBezTo>
                    <a:cubicBezTo>
                      <a:pt x="713" y="1240"/>
                      <a:pt x="696" y="1237"/>
                      <a:pt x="684" y="1239"/>
                    </a:cubicBezTo>
                    <a:cubicBezTo>
                      <a:pt x="694" y="1278"/>
                      <a:pt x="704" y="1318"/>
                      <a:pt x="716" y="1355"/>
                    </a:cubicBezTo>
                    <a:close/>
                    <a:moveTo>
                      <a:pt x="1067" y="1238"/>
                    </a:moveTo>
                    <a:cubicBezTo>
                      <a:pt x="1026" y="1291"/>
                      <a:pt x="978" y="1338"/>
                      <a:pt x="927" y="1381"/>
                    </a:cubicBezTo>
                    <a:cubicBezTo>
                      <a:pt x="939" y="1385"/>
                      <a:pt x="948" y="1391"/>
                      <a:pt x="959" y="1396"/>
                    </a:cubicBezTo>
                    <a:cubicBezTo>
                      <a:pt x="1011" y="1367"/>
                      <a:pt x="1058" y="1334"/>
                      <a:pt x="1101" y="1296"/>
                    </a:cubicBezTo>
                    <a:cubicBezTo>
                      <a:pt x="1104" y="1282"/>
                      <a:pt x="1110" y="1271"/>
                      <a:pt x="1112" y="1256"/>
                    </a:cubicBezTo>
                    <a:cubicBezTo>
                      <a:pt x="1098" y="1249"/>
                      <a:pt x="1084" y="1242"/>
                      <a:pt x="1067" y="1238"/>
                    </a:cubicBezTo>
                    <a:close/>
                    <a:moveTo>
                      <a:pt x="731" y="1239"/>
                    </a:moveTo>
                    <a:cubicBezTo>
                      <a:pt x="730" y="1276"/>
                      <a:pt x="733" y="1316"/>
                      <a:pt x="733" y="1354"/>
                    </a:cubicBezTo>
                    <a:cubicBezTo>
                      <a:pt x="745" y="1354"/>
                      <a:pt x="757" y="1353"/>
                      <a:pt x="770" y="1353"/>
                    </a:cubicBezTo>
                    <a:cubicBezTo>
                      <a:pt x="772" y="1316"/>
                      <a:pt x="774" y="1278"/>
                      <a:pt x="775" y="1240"/>
                    </a:cubicBezTo>
                    <a:cubicBezTo>
                      <a:pt x="761" y="1239"/>
                      <a:pt x="747" y="1238"/>
                      <a:pt x="731" y="1239"/>
                    </a:cubicBezTo>
                    <a:close/>
                    <a:moveTo>
                      <a:pt x="559" y="1383"/>
                    </a:moveTo>
                    <a:cubicBezTo>
                      <a:pt x="502" y="1348"/>
                      <a:pt x="454" y="1304"/>
                      <a:pt x="408" y="1258"/>
                    </a:cubicBezTo>
                    <a:cubicBezTo>
                      <a:pt x="395" y="1265"/>
                      <a:pt x="383" y="1272"/>
                      <a:pt x="371" y="1280"/>
                    </a:cubicBezTo>
                    <a:cubicBezTo>
                      <a:pt x="377" y="1308"/>
                      <a:pt x="393" y="1320"/>
                      <a:pt x="414" y="1334"/>
                    </a:cubicBezTo>
                    <a:cubicBezTo>
                      <a:pt x="445" y="1356"/>
                      <a:pt x="480" y="1376"/>
                      <a:pt x="511" y="1392"/>
                    </a:cubicBezTo>
                    <a:cubicBezTo>
                      <a:pt x="529" y="1393"/>
                      <a:pt x="548" y="1399"/>
                      <a:pt x="564" y="1398"/>
                    </a:cubicBezTo>
                    <a:cubicBezTo>
                      <a:pt x="563" y="1393"/>
                      <a:pt x="560" y="1389"/>
                      <a:pt x="559" y="1383"/>
                    </a:cubicBezTo>
                    <a:close/>
                    <a:moveTo>
                      <a:pt x="1106" y="1293"/>
                    </a:moveTo>
                    <a:cubicBezTo>
                      <a:pt x="1114" y="1284"/>
                      <a:pt x="1124" y="1276"/>
                      <a:pt x="1133" y="1267"/>
                    </a:cubicBezTo>
                    <a:cubicBezTo>
                      <a:pt x="1126" y="1264"/>
                      <a:pt x="1122" y="1260"/>
                      <a:pt x="1115" y="1258"/>
                    </a:cubicBezTo>
                    <a:cubicBezTo>
                      <a:pt x="1112" y="1269"/>
                      <a:pt x="1106" y="1282"/>
                      <a:pt x="1106" y="1293"/>
                    </a:cubicBezTo>
                    <a:close/>
                    <a:moveTo>
                      <a:pt x="193" y="1264"/>
                    </a:moveTo>
                    <a:cubicBezTo>
                      <a:pt x="193" y="1265"/>
                      <a:pt x="193" y="1265"/>
                      <a:pt x="194" y="1265"/>
                    </a:cubicBezTo>
                    <a:moveTo>
                      <a:pt x="194" y="1265"/>
                    </a:moveTo>
                    <a:cubicBezTo>
                      <a:pt x="194" y="1266"/>
                      <a:pt x="194" y="1266"/>
                      <a:pt x="195" y="1266"/>
                    </a:cubicBezTo>
                    <a:moveTo>
                      <a:pt x="195" y="1266"/>
                    </a:moveTo>
                    <a:cubicBezTo>
                      <a:pt x="205" y="1280"/>
                      <a:pt x="216" y="1293"/>
                      <a:pt x="232" y="1301"/>
                    </a:cubicBezTo>
                    <a:moveTo>
                      <a:pt x="232" y="1301"/>
                    </a:moveTo>
                    <a:cubicBezTo>
                      <a:pt x="232" y="1302"/>
                      <a:pt x="232" y="1302"/>
                      <a:pt x="233" y="1302"/>
                    </a:cubicBezTo>
                    <a:moveTo>
                      <a:pt x="233" y="1302"/>
                    </a:moveTo>
                    <a:cubicBezTo>
                      <a:pt x="234" y="1304"/>
                      <a:pt x="234" y="1302"/>
                      <a:pt x="233" y="1302"/>
                    </a:cubicBezTo>
                    <a:moveTo>
                      <a:pt x="233" y="1302"/>
                    </a:moveTo>
                    <a:cubicBezTo>
                      <a:pt x="233" y="1301"/>
                      <a:pt x="233" y="1301"/>
                      <a:pt x="232" y="1301"/>
                    </a:cubicBezTo>
                    <a:moveTo>
                      <a:pt x="195" y="1266"/>
                    </a:moveTo>
                    <a:cubicBezTo>
                      <a:pt x="207" y="1278"/>
                      <a:pt x="219" y="1290"/>
                      <a:pt x="232" y="1301"/>
                    </a:cubicBezTo>
                    <a:moveTo>
                      <a:pt x="195" y="1266"/>
                    </a:moveTo>
                    <a:cubicBezTo>
                      <a:pt x="195" y="1265"/>
                      <a:pt x="194" y="1265"/>
                      <a:pt x="194" y="1265"/>
                    </a:cubicBezTo>
                    <a:moveTo>
                      <a:pt x="194" y="1265"/>
                    </a:moveTo>
                    <a:cubicBezTo>
                      <a:pt x="194" y="1264"/>
                      <a:pt x="193" y="1264"/>
                      <a:pt x="193" y="1264"/>
                    </a:cubicBezTo>
                    <a:moveTo>
                      <a:pt x="193" y="1264"/>
                    </a:moveTo>
                    <a:cubicBezTo>
                      <a:pt x="192" y="1262"/>
                      <a:pt x="192" y="1264"/>
                      <a:pt x="193" y="1264"/>
                    </a:cubicBezTo>
                    <a:moveTo>
                      <a:pt x="1071" y="1373"/>
                    </a:moveTo>
                    <a:cubicBezTo>
                      <a:pt x="1070" y="1374"/>
                      <a:pt x="1071" y="1374"/>
                      <a:pt x="1071" y="1373"/>
                    </a:cubicBezTo>
                    <a:moveTo>
                      <a:pt x="1071" y="1373"/>
                    </a:moveTo>
                    <a:cubicBezTo>
                      <a:pt x="1096" y="1361"/>
                      <a:pt x="1127" y="1341"/>
                      <a:pt x="1154" y="1321"/>
                    </a:cubicBezTo>
                    <a:cubicBezTo>
                      <a:pt x="1159" y="1318"/>
                      <a:pt x="1178" y="1306"/>
                      <a:pt x="1178" y="1302"/>
                    </a:cubicBezTo>
                    <a:cubicBezTo>
                      <a:pt x="1178" y="1299"/>
                      <a:pt x="1160" y="1286"/>
                      <a:pt x="1158" y="1284"/>
                    </a:cubicBezTo>
                    <a:cubicBezTo>
                      <a:pt x="1149" y="1277"/>
                      <a:pt x="1143" y="1273"/>
                      <a:pt x="1134" y="1269"/>
                    </a:cubicBezTo>
                    <a:cubicBezTo>
                      <a:pt x="1124" y="1279"/>
                      <a:pt x="1114" y="1289"/>
                      <a:pt x="1102" y="1298"/>
                    </a:cubicBezTo>
                    <a:cubicBezTo>
                      <a:pt x="1094" y="1326"/>
                      <a:pt x="1082" y="1349"/>
                      <a:pt x="1071" y="1373"/>
                    </a:cubicBezTo>
                    <a:moveTo>
                      <a:pt x="253" y="1272"/>
                    </a:moveTo>
                    <a:cubicBezTo>
                      <a:pt x="253" y="1273"/>
                      <a:pt x="254" y="1273"/>
                      <a:pt x="254" y="1273"/>
                    </a:cubicBezTo>
                    <a:moveTo>
                      <a:pt x="254" y="1273"/>
                    </a:moveTo>
                    <a:cubicBezTo>
                      <a:pt x="266" y="1296"/>
                      <a:pt x="280" y="1316"/>
                      <a:pt x="295" y="1335"/>
                    </a:cubicBezTo>
                    <a:cubicBezTo>
                      <a:pt x="305" y="1338"/>
                      <a:pt x="314" y="1343"/>
                      <a:pt x="324" y="1345"/>
                    </a:cubicBezTo>
                    <a:cubicBezTo>
                      <a:pt x="324" y="1340"/>
                      <a:pt x="326" y="1335"/>
                      <a:pt x="327" y="1331"/>
                    </a:cubicBezTo>
                    <a:cubicBezTo>
                      <a:pt x="302" y="1313"/>
                      <a:pt x="277" y="1294"/>
                      <a:pt x="254" y="1273"/>
                    </a:cubicBezTo>
                    <a:moveTo>
                      <a:pt x="254" y="1273"/>
                    </a:moveTo>
                    <a:cubicBezTo>
                      <a:pt x="254" y="1273"/>
                      <a:pt x="254" y="1272"/>
                      <a:pt x="253" y="1272"/>
                    </a:cubicBezTo>
                    <a:moveTo>
                      <a:pt x="253" y="1272"/>
                    </a:moveTo>
                    <a:cubicBezTo>
                      <a:pt x="253" y="1271"/>
                      <a:pt x="252" y="1273"/>
                      <a:pt x="253" y="1272"/>
                    </a:cubicBezTo>
                    <a:moveTo>
                      <a:pt x="379" y="1308"/>
                    </a:moveTo>
                    <a:cubicBezTo>
                      <a:pt x="380" y="1309"/>
                      <a:pt x="380" y="1308"/>
                      <a:pt x="379" y="1308"/>
                    </a:cubicBezTo>
                    <a:moveTo>
                      <a:pt x="379" y="1308"/>
                    </a:moveTo>
                    <a:cubicBezTo>
                      <a:pt x="376" y="1299"/>
                      <a:pt x="372" y="1290"/>
                      <a:pt x="368" y="1282"/>
                    </a:cubicBezTo>
                    <a:cubicBezTo>
                      <a:pt x="365" y="1285"/>
                      <a:pt x="361" y="1288"/>
                      <a:pt x="358" y="1292"/>
                    </a:cubicBezTo>
                    <a:cubicBezTo>
                      <a:pt x="365" y="1297"/>
                      <a:pt x="371" y="1303"/>
                      <a:pt x="379" y="1308"/>
                    </a:cubicBezTo>
                    <a:moveTo>
                      <a:pt x="383" y="1315"/>
                    </a:moveTo>
                    <a:cubicBezTo>
                      <a:pt x="373" y="1308"/>
                      <a:pt x="366" y="1299"/>
                      <a:pt x="355" y="1294"/>
                    </a:cubicBezTo>
                    <a:cubicBezTo>
                      <a:pt x="345" y="1304"/>
                      <a:pt x="335" y="1315"/>
                      <a:pt x="330" y="1330"/>
                    </a:cubicBezTo>
                    <a:cubicBezTo>
                      <a:pt x="356" y="1345"/>
                      <a:pt x="378" y="1368"/>
                      <a:pt x="413" y="1371"/>
                    </a:cubicBezTo>
                    <a:cubicBezTo>
                      <a:pt x="401" y="1354"/>
                      <a:pt x="391" y="1335"/>
                      <a:pt x="383" y="1315"/>
                    </a:cubicBezTo>
                    <a:close/>
                    <a:moveTo>
                      <a:pt x="929" y="1297"/>
                    </a:moveTo>
                    <a:cubicBezTo>
                      <a:pt x="929" y="1297"/>
                      <a:pt x="930" y="1298"/>
                      <a:pt x="929" y="1297"/>
                    </a:cubicBezTo>
                    <a:close/>
                    <a:moveTo>
                      <a:pt x="224" y="1300"/>
                    </a:moveTo>
                    <a:cubicBezTo>
                      <a:pt x="224" y="1301"/>
                      <a:pt x="225" y="1301"/>
                      <a:pt x="225" y="1301"/>
                    </a:cubicBezTo>
                    <a:moveTo>
                      <a:pt x="225" y="1301"/>
                    </a:moveTo>
                    <a:cubicBezTo>
                      <a:pt x="259" y="1340"/>
                      <a:pt x="299" y="1371"/>
                      <a:pt x="343" y="1399"/>
                    </a:cubicBezTo>
                    <a:cubicBezTo>
                      <a:pt x="340" y="1392"/>
                      <a:pt x="333" y="1387"/>
                      <a:pt x="331" y="1378"/>
                    </a:cubicBezTo>
                    <a:cubicBezTo>
                      <a:pt x="326" y="1374"/>
                      <a:pt x="321" y="1369"/>
                      <a:pt x="317" y="1364"/>
                    </a:cubicBezTo>
                    <a:cubicBezTo>
                      <a:pt x="283" y="1346"/>
                      <a:pt x="259" y="1319"/>
                      <a:pt x="225" y="1301"/>
                    </a:cubicBezTo>
                    <a:moveTo>
                      <a:pt x="225" y="1301"/>
                    </a:moveTo>
                    <a:cubicBezTo>
                      <a:pt x="226" y="1300"/>
                      <a:pt x="225" y="1300"/>
                      <a:pt x="224" y="1300"/>
                    </a:cubicBezTo>
                    <a:moveTo>
                      <a:pt x="224" y="1300"/>
                    </a:moveTo>
                    <a:cubicBezTo>
                      <a:pt x="224" y="1299"/>
                      <a:pt x="223" y="1300"/>
                      <a:pt x="224" y="1300"/>
                    </a:cubicBezTo>
                    <a:moveTo>
                      <a:pt x="961" y="1398"/>
                    </a:moveTo>
                    <a:cubicBezTo>
                      <a:pt x="996" y="1395"/>
                      <a:pt x="1039" y="1392"/>
                      <a:pt x="1066" y="1377"/>
                    </a:cubicBezTo>
                    <a:cubicBezTo>
                      <a:pt x="1077" y="1353"/>
                      <a:pt x="1091" y="1328"/>
                      <a:pt x="1097" y="1302"/>
                    </a:cubicBezTo>
                    <a:cubicBezTo>
                      <a:pt x="1057" y="1339"/>
                      <a:pt x="1010" y="1370"/>
                      <a:pt x="961" y="1398"/>
                    </a:cubicBezTo>
                    <a:close/>
                    <a:moveTo>
                      <a:pt x="1294" y="1304"/>
                    </a:moveTo>
                    <a:cubicBezTo>
                      <a:pt x="1293" y="1304"/>
                      <a:pt x="1294" y="1305"/>
                      <a:pt x="1294" y="1304"/>
                    </a:cubicBezTo>
                    <a:close/>
                    <a:moveTo>
                      <a:pt x="1292" y="1305"/>
                    </a:moveTo>
                    <a:cubicBezTo>
                      <a:pt x="1292" y="1305"/>
                      <a:pt x="1293" y="1306"/>
                      <a:pt x="1292" y="1305"/>
                    </a:cubicBezTo>
                    <a:close/>
                    <a:moveTo>
                      <a:pt x="561" y="1382"/>
                    </a:moveTo>
                    <a:cubicBezTo>
                      <a:pt x="567" y="1384"/>
                      <a:pt x="571" y="1388"/>
                      <a:pt x="577" y="1391"/>
                    </a:cubicBezTo>
                    <a:cubicBezTo>
                      <a:pt x="587" y="1385"/>
                      <a:pt x="597" y="1379"/>
                      <a:pt x="610" y="1376"/>
                    </a:cubicBezTo>
                    <a:cubicBezTo>
                      <a:pt x="587" y="1352"/>
                      <a:pt x="562" y="1331"/>
                      <a:pt x="541" y="1305"/>
                    </a:cubicBezTo>
                    <a:cubicBezTo>
                      <a:pt x="546" y="1332"/>
                      <a:pt x="554" y="1357"/>
                      <a:pt x="561" y="1382"/>
                    </a:cubicBezTo>
                    <a:close/>
                    <a:moveTo>
                      <a:pt x="1179" y="1305"/>
                    </a:moveTo>
                    <a:cubicBezTo>
                      <a:pt x="1162" y="1320"/>
                      <a:pt x="1142" y="1333"/>
                      <a:pt x="1122" y="1345"/>
                    </a:cubicBezTo>
                    <a:cubicBezTo>
                      <a:pt x="1103" y="1357"/>
                      <a:pt x="1083" y="1369"/>
                      <a:pt x="1066" y="1382"/>
                    </a:cubicBezTo>
                    <a:cubicBezTo>
                      <a:pt x="1112" y="1371"/>
                      <a:pt x="1168" y="1364"/>
                      <a:pt x="1197" y="1341"/>
                    </a:cubicBezTo>
                    <a:cubicBezTo>
                      <a:pt x="1194" y="1326"/>
                      <a:pt x="1188" y="1314"/>
                      <a:pt x="1179" y="1305"/>
                    </a:cubicBezTo>
                    <a:close/>
                    <a:moveTo>
                      <a:pt x="1283" y="1311"/>
                    </a:moveTo>
                    <a:cubicBezTo>
                      <a:pt x="1257" y="1325"/>
                      <a:pt x="1230" y="1338"/>
                      <a:pt x="1200" y="1348"/>
                    </a:cubicBezTo>
                    <a:cubicBezTo>
                      <a:pt x="1201" y="1361"/>
                      <a:pt x="1197" y="1369"/>
                      <a:pt x="1194" y="1378"/>
                    </a:cubicBezTo>
                    <a:moveTo>
                      <a:pt x="1194" y="1378"/>
                    </a:moveTo>
                    <a:cubicBezTo>
                      <a:pt x="1193" y="1379"/>
                      <a:pt x="1194" y="1379"/>
                      <a:pt x="1194" y="1378"/>
                    </a:cubicBezTo>
                    <a:moveTo>
                      <a:pt x="1194" y="1378"/>
                    </a:moveTo>
                    <a:cubicBezTo>
                      <a:pt x="1227" y="1358"/>
                      <a:pt x="1258" y="1338"/>
                      <a:pt x="1283" y="1311"/>
                    </a:cubicBezTo>
                    <a:moveTo>
                      <a:pt x="1283" y="1311"/>
                    </a:moveTo>
                    <a:cubicBezTo>
                      <a:pt x="1285" y="1310"/>
                      <a:pt x="1283" y="1310"/>
                      <a:pt x="1283" y="1311"/>
                    </a:cubicBezTo>
                    <a:moveTo>
                      <a:pt x="881" y="1367"/>
                    </a:moveTo>
                    <a:cubicBezTo>
                      <a:pt x="892" y="1368"/>
                      <a:pt x="901" y="1372"/>
                      <a:pt x="911" y="1374"/>
                    </a:cubicBezTo>
                    <a:cubicBezTo>
                      <a:pt x="916" y="1355"/>
                      <a:pt x="921" y="1331"/>
                      <a:pt x="922" y="1312"/>
                    </a:cubicBezTo>
                    <a:cubicBezTo>
                      <a:pt x="910" y="1331"/>
                      <a:pt x="895" y="1349"/>
                      <a:pt x="881" y="1367"/>
                    </a:cubicBezTo>
                    <a:close/>
                    <a:moveTo>
                      <a:pt x="388" y="1319"/>
                    </a:moveTo>
                    <a:cubicBezTo>
                      <a:pt x="395" y="1338"/>
                      <a:pt x="406" y="1356"/>
                      <a:pt x="416" y="1373"/>
                    </a:cubicBezTo>
                    <a:cubicBezTo>
                      <a:pt x="444" y="1379"/>
                      <a:pt x="470" y="1386"/>
                      <a:pt x="500" y="1390"/>
                    </a:cubicBezTo>
                    <a:moveTo>
                      <a:pt x="500" y="1390"/>
                    </a:moveTo>
                    <a:cubicBezTo>
                      <a:pt x="500" y="1392"/>
                      <a:pt x="504" y="1389"/>
                      <a:pt x="500" y="1390"/>
                    </a:cubicBezTo>
                    <a:moveTo>
                      <a:pt x="388" y="1319"/>
                    </a:moveTo>
                    <a:cubicBezTo>
                      <a:pt x="423" y="1344"/>
                      <a:pt x="460" y="1368"/>
                      <a:pt x="500" y="1390"/>
                    </a:cubicBezTo>
                    <a:moveTo>
                      <a:pt x="388" y="1319"/>
                    </a:moveTo>
                    <a:cubicBezTo>
                      <a:pt x="387" y="1317"/>
                      <a:pt x="386" y="1319"/>
                      <a:pt x="388" y="1319"/>
                    </a:cubicBezTo>
                    <a:moveTo>
                      <a:pt x="261" y="1322"/>
                    </a:moveTo>
                    <a:cubicBezTo>
                      <a:pt x="260" y="1322"/>
                      <a:pt x="262" y="1323"/>
                      <a:pt x="261" y="1322"/>
                    </a:cubicBezTo>
                    <a:close/>
                    <a:moveTo>
                      <a:pt x="264" y="1323"/>
                    </a:moveTo>
                    <a:cubicBezTo>
                      <a:pt x="264" y="1324"/>
                      <a:pt x="264" y="1324"/>
                      <a:pt x="264" y="1324"/>
                    </a:cubicBezTo>
                    <a:cubicBezTo>
                      <a:pt x="279" y="1334"/>
                      <a:pt x="292" y="1346"/>
                      <a:pt x="308" y="1355"/>
                    </a:cubicBezTo>
                    <a:moveTo>
                      <a:pt x="308" y="1355"/>
                    </a:moveTo>
                    <a:cubicBezTo>
                      <a:pt x="308" y="1356"/>
                      <a:pt x="308" y="1356"/>
                      <a:pt x="309" y="1356"/>
                    </a:cubicBezTo>
                    <a:moveTo>
                      <a:pt x="309" y="1356"/>
                    </a:moveTo>
                    <a:cubicBezTo>
                      <a:pt x="309" y="1357"/>
                      <a:pt x="310" y="1356"/>
                      <a:pt x="309" y="1356"/>
                    </a:cubicBezTo>
                    <a:moveTo>
                      <a:pt x="309" y="1356"/>
                    </a:moveTo>
                    <a:cubicBezTo>
                      <a:pt x="309" y="1355"/>
                      <a:pt x="309" y="1355"/>
                      <a:pt x="308" y="1355"/>
                    </a:cubicBezTo>
                    <a:moveTo>
                      <a:pt x="308" y="1355"/>
                    </a:moveTo>
                    <a:cubicBezTo>
                      <a:pt x="299" y="1338"/>
                      <a:pt x="282" y="1330"/>
                      <a:pt x="264" y="1323"/>
                    </a:cubicBezTo>
                    <a:moveTo>
                      <a:pt x="264" y="1323"/>
                    </a:moveTo>
                    <a:cubicBezTo>
                      <a:pt x="263" y="1322"/>
                      <a:pt x="263" y="1323"/>
                      <a:pt x="264" y="1323"/>
                    </a:cubicBezTo>
                    <a:moveTo>
                      <a:pt x="327" y="1347"/>
                    </a:moveTo>
                    <a:cubicBezTo>
                      <a:pt x="343" y="1351"/>
                      <a:pt x="359" y="1360"/>
                      <a:pt x="374" y="1361"/>
                    </a:cubicBezTo>
                    <a:cubicBezTo>
                      <a:pt x="358" y="1353"/>
                      <a:pt x="345" y="1342"/>
                      <a:pt x="329" y="1333"/>
                    </a:cubicBezTo>
                    <a:cubicBezTo>
                      <a:pt x="328" y="1337"/>
                      <a:pt x="327" y="1341"/>
                      <a:pt x="327" y="1347"/>
                    </a:cubicBezTo>
                    <a:close/>
                    <a:moveTo>
                      <a:pt x="299" y="1340"/>
                    </a:moveTo>
                    <a:cubicBezTo>
                      <a:pt x="308" y="1349"/>
                      <a:pt x="314" y="1361"/>
                      <a:pt x="326" y="1367"/>
                    </a:cubicBezTo>
                    <a:cubicBezTo>
                      <a:pt x="325" y="1362"/>
                      <a:pt x="324" y="1356"/>
                      <a:pt x="324" y="1348"/>
                    </a:cubicBezTo>
                    <a:cubicBezTo>
                      <a:pt x="315" y="1346"/>
                      <a:pt x="309" y="1342"/>
                      <a:pt x="299" y="1340"/>
                    </a:cubicBezTo>
                    <a:moveTo>
                      <a:pt x="299" y="1340"/>
                    </a:moveTo>
                    <a:cubicBezTo>
                      <a:pt x="299" y="1338"/>
                      <a:pt x="298" y="1340"/>
                      <a:pt x="299" y="1340"/>
                    </a:cubicBezTo>
                    <a:moveTo>
                      <a:pt x="1254" y="1341"/>
                    </a:moveTo>
                    <a:cubicBezTo>
                      <a:pt x="1254" y="1340"/>
                      <a:pt x="1254" y="1341"/>
                      <a:pt x="1254" y="1342"/>
                    </a:cubicBezTo>
                    <a:moveTo>
                      <a:pt x="1254" y="1342"/>
                    </a:moveTo>
                    <a:cubicBezTo>
                      <a:pt x="1253" y="1341"/>
                      <a:pt x="1253" y="1342"/>
                      <a:pt x="1253" y="1343"/>
                    </a:cubicBezTo>
                    <a:moveTo>
                      <a:pt x="1253" y="1343"/>
                    </a:moveTo>
                    <a:cubicBezTo>
                      <a:pt x="1252" y="1342"/>
                      <a:pt x="1252" y="1343"/>
                      <a:pt x="1252" y="1343"/>
                    </a:cubicBezTo>
                    <a:moveTo>
                      <a:pt x="1252" y="1343"/>
                    </a:moveTo>
                    <a:cubicBezTo>
                      <a:pt x="1231" y="1356"/>
                      <a:pt x="1213" y="1372"/>
                      <a:pt x="1191" y="1383"/>
                    </a:cubicBezTo>
                    <a:cubicBezTo>
                      <a:pt x="1188" y="1390"/>
                      <a:pt x="1182" y="1395"/>
                      <a:pt x="1178" y="1402"/>
                    </a:cubicBezTo>
                    <a:moveTo>
                      <a:pt x="1178" y="1402"/>
                    </a:moveTo>
                    <a:cubicBezTo>
                      <a:pt x="1177" y="1402"/>
                      <a:pt x="1177" y="1402"/>
                      <a:pt x="1177" y="1403"/>
                    </a:cubicBezTo>
                    <a:moveTo>
                      <a:pt x="1177" y="1403"/>
                    </a:moveTo>
                    <a:cubicBezTo>
                      <a:pt x="1175" y="1404"/>
                      <a:pt x="1177" y="1404"/>
                      <a:pt x="1177" y="1403"/>
                    </a:cubicBezTo>
                    <a:moveTo>
                      <a:pt x="1177" y="1403"/>
                    </a:moveTo>
                    <a:cubicBezTo>
                      <a:pt x="1178" y="1403"/>
                      <a:pt x="1178" y="1403"/>
                      <a:pt x="1178" y="1402"/>
                    </a:cubicBezTo>
                    <a:moveTo>
                      <a:pt x="1178" y="1402"/>
                    </a:moveTo>
                    <a:cubicBezTo>
                      <a:pt x="1205" y="1385"/>
                      <a:pt x="1229" y="1365"/>
                      <a:pt x="1252" y="1343"/>
                    </a:cubicBezTo>
                    <a:moveTo>
                      <a:pt x="1252" y="1343"/>
                    </a:moveTo>
                    <a:cubicBezTo>
                      <a:pt x="1252" y="1344"/>
                      <a:pt x="1253" y="1343"/>
                      <a:pt x="1253" y="1343"/>
                    </a:cubicBezTo>
                    <a:moveTo>
                      <a:pt x="1253" y="1343"/>
                    </a:moveTo>
                    <a:cubicBezTo>
                      <a:pt x="1253" y="1343"/>
                      <a:pt x="1253" y="1342"/>
                      <a:pt x="1254" y="1342"/>
                    </a:cubicBezTo>
                    <a:moveTo>
                      <a:pt x="1254" y="1342"/>
                    </a:moveTo>
                    <a:cubicBezTo>
                      <a:pt x="1254" y="1342"/>
                      <a:pt x="1254" y="1341"/>
                      <a:pt x="1254" y="1341"/>
                    </a:cubicBezTo>
                    <a:moveTo>
                      <a:pt x="1254" y="1341"/>
                    </a:moveTo>
                    <a:cubicBezTo>
                      <a:pt x="1256" y="1340"/>
                      <a:pt x="1254" y="1339"/>
                      <a:pt x="1254" y="1341"/>
                    </a:cubicBezTo>
                    <a:moveTo>
                      <a:pt x="1193" y="1348"/>
                    </a:moveTo>
                    <a:cubicBezTo>
                      <a:pt x="1193" y="1348"/>
                      <a:pt x="1194" y="1349"/>
                      <a:pt x="1193" y="1348"/>
                    </a:cubicBezTo>
                    <a:close/>
                    <a:moveTo>
                      <a:pt x="330" y="1369"/>
                    </a:moveTo>
                    <a:cubicBezTo>
                      <a:pt x="368" y="1393"/>
                      <a:pt x="409" y="1413"/>
                      <a:pt x="454" y="1429"/>
                    </a:cubicBezTo>
                    <a:cubicBezTo>
                      <a:pt x="444" y="1415"/>
                      <a:pt x="432" y="1403"/>
                      <a:pt x="423" y="1388"/>
                    </a:cubicBezTo>
                    <a:cubicBezTo>
                      <a:pt x="395" y="1370"/>
                      <a:pt x="360" y="1360"/>
                      <a:pt x="326" y="1349"/>
                    </a:cubicBezTo>
                    <a:cubicBezTo>
                      <a:pt x="327" y="1357"/>
                      <a:pt x="327" y="1364"/>
                      <a:pt x="330" y="1369"/>
                    </a:cubicBezTo>
                    <a:close/>
                    <a:moveTo>
                      <a:pt x="1151" y="1402"/>
                    </a:moveTo>
                    <a:cubicBezTo>
                      <a:pt x="1149" y="1403"/>
                      <a:pt x="1151" y="1403"/>
                      <a:pt x="1151" y="1402"/>
                    </a:cubicBezTo>
                    <a:moveTo>
                      <a:pt x="1151" y="1402"/>
                    </a:moveTo>
                    <a:cubicBezTo>
                      <a:pt x="1165" y="1397"/>
                      <a:pt x="1176" y="1388"/>
                      <a:pt x="1189" y="1382"/>
                    </a:cubicBezTo>
                    <a:cubicBezTo>
                      <a:pt x="1193" y="1373"/>
                      <a:pt x="1197" y="1363"/>
                      <a:pt x="1198" y="1350"/>
                    </a:cubicBezTo>
                    <a:cubicBezTo>
                      <a:pt x="1183" y="1365"/>
                      <a:pt x="1168" y="1386"/>
                      <a:pt x="1151" y="1402"/>
                    </a:cubicBezTo>
                    <a:moveTo>
                      <a:pt x="1191" y="1352"/>
                    </a:moveTo>
                    <a:cubicBezTo>
                      <a:pt x="1142" y="1377"/>
                      <a:pt x="1096" y="1406"/>
                      <a:pt x="1039" y="1424"/>
                    </a:cubicBezTo>
                    <a:cubicBezTo>
                      <a:pt x="1033" y="1434"/>
                      <a:pt x="1025" y="1443"/>
                      <a:pt x="1017" y="1452"/>
                    </a:cubicBezTo>
                    <a:moveTo>
                      <a:pt x="1017" y="1452"/>
                    </a:moveTo>
                    <a:cubicBezTo>
                      <a:pt x="1016" y="1453"/>
                      <a:pt x="1017" y="1453"/>
                      <a:pt x="1017" y="1452"/>
                    </a:cubicBezTo>
                    <a:moveTo>
                      <a:pt x="1017" y="1452"/>
                    </a:moveTo>
                    <a:cubicBezTo>
                      <a:pt x="1063" y="1442"/>
                      <a:pt x="1102" y="1425"/>
                      <a:pt x="1141" y="1408"/>
                    </a:cubicBezTo>
                    <a:cubicBezTo>
                      <a:pt x="1159" y="1390"/>
                      <a:pt x="1176" y="1372"/>
                      <a:pt x="1191" y="1352"/>
                    </a:cubicBezTo>
                    <a:moveTo>
                      <a:pt x="1191" y="1352"/>
                    </a:moveTo>
                    <a:cubicBezTo>
                      <a:pt x="1193" y="1352"/>
                      <a:pt x="1191" y="1351"/>
                      <a:pt x="1191" y="1352"/>
                    </a:cubicBezTo>
                    <a:moveTo>
                      <a:pt x="735" y="1356"/>
                    </a:moveTo>
                    <a:cubicBezTo>
                      <a:pt x="733" y="1373"/>
                      <a:pt x="736" y="1393"/>
                      <a:pt x="736" y="1411"/>
                    </a:cubicBezTo>
                    <a:cubicBezTo>
                      <a:pt x="746" y="1411"/>
                      <a:pt x="756" y="1411"/>
                      <a:pt x="766" y="1411"/>
                    </a:cubicBezTo>
                    <a:cubicBezTo>
                      <a:pt x="768" y="1393"/>
                      <a:pt x="768" y="1374"/>
                      <a:pt x="770" y="1356"/>
                    </a:cubicBezTo>
                    <a:cubicBezTo>
                      <a:pt x="758" y="1356"/>
                      <a:pt x="747" y="1356"/>
                      <a:pt x="735" y="1356"/>
                    </a:cubicBezTo>
                    <a:close/>
                    <a:moveTo>
                      <a:pt x="773" y="1356"/>
                    </a:moveTo>
                    <a:cubicBezTo>
                      <a:pt x="771" y="1374"/>
                      <a:pt x="770" y="1392"/>
                      <a:pt x="769" y="1411"/>
                    </a:cubicBezTo>
                    <a:cubicBezTo>
                      <a:pt x="779" y="1411"/>
                      <a:pt x="789" y="1411"/>
                      <a:pt x="799" y="1411"/>
                    </a:cubicBezTo>
                    <a:cubicBezTo>
                      <a:pt x="809" y="1394"/>
                      <a:pt x="817" y="1376"/>
                      <a:pt x="825" y="1359"/>
                    </a:cubicBezTo>
                    <a:cubicBezTo>
                      <a:pt x="807" y="1358"/>
                      <a:pt x="791" y="1356"/>
                      <a:pt x="773" y="1356"/>
                    </a:cubicBezTo>
                    <a:close/>
                    <a:moveTo>
                      <a:pt x="718" y="1358"/>
                    </a:moveTo>
                    <a:cubicBezTo>
                      <a:pt x="721" y="1371"/>
                      <a:pt x="728" y="1389"/>
                      <a:pt x="733" y="1403"/>
                    </a:cubicBezTo>
                    <a:cubicBezTo>
                      <a:pt x="732" y="1388"/>
                      <a:pt x="731" y="1373"/>
                      <a:pt x="731" y="1357"/>
                    </a:cubicBezTo>
                    <a:cubicBezTo>
                      <a:pt x="727" y="1357"/>
                      <a:pt x="721" y="1356"/>
                      <a:pt x="718" y="1358"/>
                    </a:cubicBezTo>
                    <a:close/>
                    <a:moveTo>
                      <a:pt x="664" y="1365"/>
                    </a:moveTo>
                    <a:cubicBezTo>
                      <a:pt x="673" y="1379"/>
                      <a:pt x="687" y="1397"/>
                      <a:pt x="701" y="1410"/>
                    </a:cubicBezTo>
                    <a:cubicBezTo>
                      <a:pt x="712" y="1408"/>
                      <a:pt x="723" y="1413"/>
                      <a:pt x="732" y="1410"/>
                    </a:cubicBezTo>
                    <a:cubicBezTo>
                      <a:pt x="724" y="1394"/>
                      <a:pt x="719" y="1376"/>
                      <a:pt x="713" y="1358"/>
                    </a:cubicBezTo>
                    <a:cubicBezTo>
                      <a:pt x="696" y="1359"/>
                      <a:pt x="679" y="1361"/>
                      <a:pt x="664" y="1365"/>
                    </a:cubicBezTo>
                    <a:close/>
                    <a:moveTo>
                      <a:pt x="1171" y="1359"/>
                    </a:moveTo>
                    <a:cubicBezTo>
                      <a:pt x="1137" y="1369"/>
                      <a:pt x="1101" y="1378"/>
                      <a:pt x="1064" y="1386"/>
                    </a:cubicBezTo>
                    <a:cubicBezTo>
                      <a:pt x="1058" y="1397"/>
                      <a:pt x="1050" y="1409"/>
                      <a:pt x="1043" y="1420"/>
                    </a:cubicBezTo>
                    <a:cubicBezTo>
                      <a:pt x="1090" y="1404"/>
                      <a:pt x="1132" y="1383"/>
                      <a:pt x="1171" y="1359"/>
                    </a:cubicBezTo>
                    <a:moveTo>
                      <a:pt x="1171" y="1359"/>
                    </a:moveTo>
                    <a:cubicBezTo>
                      <a:pt x="1172" y="1358"/>
                      <a:pt x="1171" y="1358"/>
                      <a:pt x="1171" y="1359"/>
                    </a:cubicBezTo>
                    <a:moveTo>
                      <a:pt x="827" y="1360"/>
                    </a:moveTo>
                    <a:cubicBezTo>
                      <a:pt x="820" y="1378"/>
                      <a:pt x="811" y="1394"/>
                      <a:pt x="802" y="1411"/>
                    </a:cubicBezTo>
                    <a:cubicBezTo>
                      <a:pt x="813" y="1409"/>
                      <a:pt x="828" y="1411"/>
                      <a:pt x="838" y="1409"/>
                    </a:cubicBezTo>
                    <a:cubicBezTo>
                      <a:pt x="847" y="1399"/>
                      <a:pt x="859" y="1388"/>
                      <a:pt x="868" y="1378"/>
                    </a:cubicBezTo>
                    <a:cubicBezTo>
                      <a:pt x="871" y="1375"/>
                      <a:pt x="876" y="1371"/>
                      <a:pt x="874" y="1367"/>
                    </a:cubicBezTo>
                    <a:cubicBezTo>
                      <a:pt x="860" y="1364"/>
                      <a:pt x="844" y="1361"/>
                      <a:pt x="827" y="1360"/>
                    </a:cubicBezTo>
                    <a:close/>
                    <a:moveTo>
                      <a:pt x="375" y="1363"/>
                    </a:moveTo>
                    <a:cubicBezTo>
                      <a:pt x="375" y="1362"/>
                      <a:pt x="376" y="1363"/>
                      <a:pt x="375" y="1363"/>
                    </a:cubicBezTo>
                    <a:close/>
                    <a:moveTo>
                      <a:pt x="618" y="1375"/>
                    </a:moveTo>
                    <a:cubicBezTo>
                      <a:pt x="621" y="1381"/>
                      <a:pt x="628" y="1387"/>
                      <a:pt x="635" y="1392"/>
                    </a:cubicBezTo>
                    <a:cubicBezTo>
                      <a:pt x="641" y="1397"/>
                      <a:pt x="650" y="1406"/>
                      <a:pt x="657" y="1408"/>
                    </a:cubicBezTo>
                    <a:cubicBezTo>
                      <a:pt x="669" y="1411"/>
                      <a:pt x="681" y="1407"/>
                      <a:pt x="695" y="1410"/>
                    </a:cubicBezTo>
                    <a:cubicBezTo>
                      <a:pt x="685" y="1397"/>
                      <a:pt x="672" y="1379"/>
                      <a:pt x="659" y="1366"/>
                    </a:cubicBezTo>
                    <a:cubicBezTo>
                      <a:pt x="644" y="1368"/>
                      <a:pt x="632" y="1372"/>
                      <a:pt x="618" y="1375"/>
                    </a:cubicBezTo>
                    <a:close/>
                    <a:moveTo>
                      <a:pt x="879" y="1368"/>
                    </a:moveTo>
                    <a:cubicBezTo>
                      <a:pt x="870" y="1379"/>
                      <a:pt x="860" y="1391"/>
                      <a:pt x="850" y="1400"/>
                    </a:cubicBezTo>
                    <a:cubicBezTo>
                      <a:pt x="848" y="1403"/>
                      <a:pt x="842" y="1405"/>
                      <a:pt x="844" y="1409"/>
                    </a:cubicBezTo>
                    <a:cubicBezTo>
                      <a:pt x="857" y="1409"/>
                      <a:pt x="870" y="1407"/>
                      <a:pt x="884" y="1407"/>
                    </a:cubicBezTo>
                    <a:cubicBezTo>
                      <a:pt x="892" y="1402"/>
                      <a:pt x="900" y="1396"/>
                      <a:pt x="908" y="1391"/>
                    </a:cubicBezTo>
                    <a:cubicBezTo>
                      <a:pt x="908" y="1385"/>
                      <a:pt x="910" y="1381"/>
                      <a:pt x="911" y="1377"/>
                    </a:cubicBezTo>
                    <a:cubicBezTo>
                      <a:pt x="900" y="1374"/>
                      <a:pt x="890" y="1371"/>
                      <a:pt x="879" y="1368"/>
                    </a:cubicBezTo>
                    <a:close/>
                    <a:moveTo>
                      <a:pt x="419" y="1382"/>
                    </a:moveTo>
                    <a:cubicBezTo>
                      <a:pt x="416" y="1375"/>
                      <a:pt x="405" y="1372"/>
                      <a:pt x="398" y="1372"/>
                    </a:cubicBezTo>
                    <a:cubicBezTo>
                      <a:pt x="405" y="1375"/>
                      <a:pt x="413" y="1382"/>
                      <a:pt x="419" y="1382"/>
                    </a:cubicBezTo>
                    <a:close/>
                    <a:moveTo>
                      <a:pt x="332" y="1374"/>
                    </a:moveTo>
                    <a:cubicBezTo>
                      <a:pt x="368" y="1419"/>
                      <a:pt x="423" y="1445"/>
                      <a:pt x="487" y="1461"/>
                    </a:cubicBezTo>
                    <a:moveTo>
                      <a:pt x="487" y="1461"/>
                    </a:moveTo>
                    <a:cubicBezTo>
                      <a:pt x="488" y="1462"/>
                      <a:pt x="489" y="1461"/>
                      <a:pt x="487" y="1461"/>
                    </a:cubicBezTo>
                    <a:moveTo>
                      <a:pt x="487" y="1461"/>
                    </a:moveTo>
                    <a:cubicBezTo>
                      <a:pt x="476" y="1454"/>
                      <a:pt x="470" y="1441"/>
                      <a:pt x="458" y="1434"/>
                    </a:cubicBezTo>
                    <a:cubicBezTo>
                      <a:pt x="438" y="1423"/>
                      <a:pt x="414" y="1417"/>
                      <a:pt x="392" y="1407"/>
                    </a:cubicBezTo>
                    <a:cubicBezTo>
                      <a:pt x="371" y="1397"/>
                      <a:pt x="351" y="1384"/>
                      <a:pt x="332" y="1374"/>
                    </a:cubicBezTo>
                    <a:moveTo>
                      <a:pt x="332" y="1374"/>
                    </a:moveTo>
                    <a:cubicBezTo>
                      <a:pt x="331" y="1373"/>
                      <a:pt x="331" y="1374"/>
                      <a:pt x="332" y="1374"/>
                    </a:cubicBezTo>
                    <a:moveTo>
                      <a:pt x="419" y="1377"/>
                    </a:moveTo>
                    <a:cubicBezTo>
                      <a:pt x="420" y="1381"/>
                      <a:pt x="424" y="1383"/>
                      <a:pt x="425" y="1387"/>
                    </a:cubicBezTo>
                    <a:cubicBezTo>
                      <a:pt x="461" y="1403"/>
                      <a:pt x="496" y="1420"/>
                      <a:pt x="536" y="1431"/>
                    </a:cubicBezTo>
                    <a:cubicBezTo>
                      <a:pt x="537" y="1422"/>
                      <a:pt x="546" y="1417"/>
                      <a:pt x="546" y="1411"/>
                    </a:cubicBezTo>
                    <a:cubicBezTo>
                      <a:pt x="533" y="1406"/>
                      <a:pt x="522" y="1401"/>
                      <a:pt x="511" y="1394"/>
                    </a:cubicBezTo>
                    <a:cubicBezTo>
                      <a:pt x="479" y="1390"/>
                      <a:pt x="450" y="1383"/>
                      <a:pt x="419" y="1377"/>
                    </a:cubicBezTo>
                    <a:moveTo>
                      <a:pt x="419" y="1377"/>
                    </a:moveTo>
                    <a:cubicBezTo>
                      <a:pt x="419" y="1376"/>
                      <a:pt x="418" y="1377"/>
                      <a:pt x="419" y="1377"/>
                    </a:cubicBezTo>
                    <a:moveTo>
                      <a:pt x="612" y="1377"/>
                    </a:moveTo>
                    <a:cubicBezTo>
                      <a:pt x="601" y="1382"/>
                      <a:pt x="588" y="1386"/>
                      <a:pt x="579" y="1392"/>
                    </a:cubicBezTo>
                    <a:cubicBezTo>
                      <a:pt x="593" y="1405"/>
                      <a:pt x="625" y="1407"/>
                      <a:pt x="650" y="1406"/>
                    </a:cubicBezTo>
                    <a:cubicBezTo>
                      <a:pt x="636" y="1397"/>
                      <a:pt x="626" y="1386"/>
                      <a:pt x="612" y="1377"/>
                    </a:cubicBezTo>
                    <a:close/>
                    <a:moveTo>
                      <a:pt x="914" y="1387"/>
                    </a:moveTo>
                    <a:cubicBezTo>
                      <a:pt x="915" y="1384"/>
                      <a:pt x="920" y="1384"/>
                      <a:pt x="920" y="1380"/>
                    </a:cubicBezTo>
                    <a:cubicBezTo>
                      <a:pt x="917" y="1380"/>
                      <a:pt x="917" y="1378"/>
                      <a:pt x="914" y="1379"/>
                    </a:cubicBezTo>
                    <a:cubicBezTo>
                      <a:pt x="915" y="1382"/>
                      <a:pt x="911" y="1385"/>
                      <a:pt x="914" y="1387"/>
                    </a:cubicBezTo>
                    <a:close/>
                    <a:moveTo>
                      <a:pt x="1062" y="1382"/>
                    </a:moveTo>
                    <a:cubicBezTo>
                      <a:pt x="1061" y="1382"/>
                      <a:pt x="1059" y="1383"/>
                      <a:pt x="1059" y="1384"/>
                    </a:cubicBezTo>
                    <a:cubicBezTo>
                      <a:pt x="1061" y="1384"/>
                      <a:pt x="1062" y="1384"/>
                      <a:pt x="1062" y="1382"/>
                    </a:cubicBezTo>
                    <a:moveTo>
                      <a:pt x="1062" y="1382"/>
                    </a:moveTo>
                    <a:cubicBezTo>
                      <a:pt x="1064" y="1381"/>
                      <a:pt x="1062" y="1381"/>
                      <a:pt x="1062" y="1382"/>
                    </a:cubicBezTo>
                    <a:moveTo>
                      <a:pt x="911" y="1391"/>
                    </a:moveTo>
                    <a:cubicBezTo>
                      <a:pt x="911" y="1397"/>
                      <a:pt x="908" y="1400"/>
                      <a:pt x="908" y="1405"/>
                    </a:cubicBezTo>
                    <a:cubicBezTo>
                      <a:pt x="923" y="1401"/>
                      <a:pt x="944" y="1404"/>
                      <a:pt x="956" y="1397"/>
                    </a:cubicBezTo>
                    <a:cubicBezTo>
                      <a:pt x="941" y="1391"/>
                      <a:pt x="923" y="1374"/>
                      <a:pt x="911" y="1391"/>
                    </a:cubicBezTo>
                    <a:close/>
                    <a:moveTo>
                      <a:pt x="339" y="1387"/>
                    </a:moveTo>
                    <a:cubicBezTo>
                      <a:pt x="338" y="1387"/>
                      <a:pt x="339" y="1388"/>
                      <a:pt x="340" y="1388"/>
                    </a:cubicBezTo>
                    <a:moveTo>
                      <a:pt x="340" y="1388"/>
                    </a:moveTo>
                    <a:cubicBezTo>
                      <a:pt x="346" y="1400"/>
                      <a:pt x="356" y="1408"/>
                      <a:pt x="369" y="1414"/>
                    </a:cubicBezTo>
                    <a:moveTo>
                      <a:pt x="369" y="1414"/>
                    </a:moveTo>
                    <a:cubicBezTo>
                      <a:pt x="369" y="1414"/>
                      <a:pt x="371" y="1414"/>
                      <a:pt x="371" y="1415"/>
                    </a:cubicBezTo>
                    <a:moveTo>
                      <a:pt x="371" y="1415"/>
                    </a:moveTo>
                    <a:cubicBezTo>
                      <a:pt x="372" y="1416"/>
                      <a:pt x="372" y="1414"/>
                      <a:pt x="371" y="1415"/>
                    </a:cubicBezTo>
                    <a:moveTo>
                      <a:pt x="371" y="1415"/>
                    </a:moveTo>
                    <a:cubicBezTo>
                      <a:pt x="371" y="1414"/>
                      <a:pt x="370" y="1414"/>
                      <a:pt x="369" y="1414"/>
                    </a:cubicBezTo>
                    <a:moveTo>
                      <a:pt x="369" y="1414"/>
                    </a:moveTo>
                    <a:cubicBezTo>
                      <a:pt x="360" y="1405"/>
                      <a:pt x="349" y="1396"/>
                      <a:pt x="340" y="1388"/>
                    </a:cubicBezTo>
                    <a:moveTo>
                      <a:pt x="340" y="1388"/>
                    </a:moveTo>
                    <a:cubicBezTo>
                      <a:pt x="340" y="1387"/>
                      <a:pt x="339" y="1387"/>
                      <a:pt x="339" y="1387"/>
                    </a:cubicBezTo>
                    <a:moveTo>
                      <a:pt x="339" y="1387"/>
                    </a:moveTo>
                    <a:cubicBezTo>
                      <a:pt x="338" y="1385"/>
                      <a:pt x="337" y="1387"/>
                      <a:pt x="339" y="1387"/>
                    </a:cubicBezTo>
                    <a:moveTo>
                      <a:pt x="567" y="1396"/>
                    </a:moveTo>
                    <a:cubicBezTo>
                      <a:pt x="568" y="1393"/>
                      <a:pt x="572" y="1394"/>
                      <a:pt x="573" y="1391"/>
                    </a:cubicBezTo>
                    <a:cubicBezTo>
                      <a:pt x="570" y="1390"/>
                      <a:pt x="566" y="1388"/>
                      <a:pt x="563" y="1386"/>
                    </a:cubicBezTo>
                    <a:cubicBezTo>
                      <a:pt x="564" y="1390"/>
                      <a:pt x="565" y="1394"/>
                      <a:pt x="567" y="1396"/>
                    </a:cubicBezTo>
                    <a:close/>
                    <a:moveTo>
                      <a:pt x="982" y="1419"/>
                    </a:moveTo>
                    <a:cubicBezTo>
                      <a:pt x="986" y="1424"/>
                      <a:pt x="989" y="1430"/>
                      <a:pt x="989" y="1439"/>
                    </a:cubicBezTo>
                    <a:cubicBezTo>
                      <a:pt x="1006" y="1434"/>
                      <a:pt x="1021" y="1428"/>
                      <a:pt x="1038" y="1423"/>
                    </a:cubicBezTo>
                    <a:cubicBezTo>
                      <a:pt x="1040" y="1417"/>
                      <a:pt x="1046" y="1411"/>
                      <a:pt x="1050" y="1405"/>
                    </a:cubicBezTo>
                    <a:cubicBezTo>
                      <a:pt x="1054" y="1399"/>
                      <a:pt x="1059" y="1390"/>
                      <a:pt x="1059" y="1387"/>
                    </a:cubicBezTo>
                    <a:cubicBezTo>
                      <a:pt x="1030" y="1395"/>
                      <a:pt x="1008" y="1409"/>
                      <a:pt x="982" y="1419"/>
                    </a:cubicBezTo>
                    <a:close/>
                    <a:moveTo>
                      <a:pt x="1184" y="1388"/>
                    </a:moveTo>
                    <a:cubicBezTo>
                      <a:pt x="1153" y="1402"/>
                      <a:pt x="1127" y="1421"/>
                      <a:pt x="1103" y="1442"/>
                    </a:cubicBezTo>
                    <a:moveTo>
                      <a:pt x="1103" y="1442"/>
                    </a:moveTo>
                    <a:cubicBezTo>
                      <a:pt x="1102" y="1442"/>
                      <a:pt x="1101" y="1443"/>
                      <a:pt x="1101" y="1443"/>
                    </a:cubicBezTo>
                    <a:moveTo>
                      <a:pt x="1101" y="1443"/>
                    </a:moveTo>
                    <a:cubicBezTo>
                      <a:pt x="1099" y="1444"/>
                      <a:pt x="1101" y="1444"/>
                      <a:pt x="1101" y="1443"/>
                    </a:cubicBezTo>
                    <a:moveTo>
                      <a:pt x="1101" y="1443"/>
                    </a:moveTo>
                    <a:cubicBezTo>
                      <a:pt x="1102" y="1443"/>
                      <a:pt x="1103" y="1443"/>
                      <a:pt x="1103" y="1442"/>
                    </a:cubicBezTo>
                    <a:moveTo>
                      <a:pt x="1103" y="1442"/>
                    </a:moveTo>
                    <a:cubicBezTo>
                      <a:pt x="1134" y="1428"/>
                      <a:pt x="1167" y="1416"/>
                      <a:pt x="1184" y="1388"/>
                    </a:cubicBezTo>
                    <a:moveTo>
                      <a:pt x="1184" y="1388"/>
                    </a:moveTo>
                    <a:cubicBezTo>
                      <a:pt x="1186" y="1387"/>
                      <a:pt x="1184" y="1386"/>
                      <a:pt x="1184" y="1388"/>
                    </a:cubicBezTo>
                    <a:moveTo>
                      <a:pt x="429" y="1391"/>
                    </a:moveTo>
                    <a:cubicBezTo>
                      <a:pt x="438" y="1406"/>
                      <a:pt x="450" y="1419"/>
                      <a:pt x="461" y="1432"/>
                    </a:cubicBezTo>
                    <a:cubicBezTo>
                      <a:pt x="485" y="1439"/>
                      <a:pt x="511" y="1450"/>
                      <a:pt x="537" y="1452"/>
                    </a:cubicBezTo>
                    <a:cubicBezTo>
                      <a:pt x="534" y="1448"/>
                      <a:pt x="536" y="1440"/>
                      <a:pt x="535" y="1434"/>
                    </a:cubicBezTo>
                    <a:cubicBezTo>
                      <a:pt x="497" y="1422"/>
                      <a:pt x="463" y="1407"/>
                      <a:pt x="429" y="1391"/>
                    </a:cubicBezTo>
                    <a:moveTo>
                      <a:pt x="429" y="1391"/>
                    </a:moveTo>
                    <a:cubicBezTo>
                      <a:pt x="428" y="1390"/>
                      <a:pt x="428" y="1392"/>
                      <a:pt x="429" y="1391"/>
                    </a:cubicBezTo>
                    <a:moveTo>
                      <a:pt x="966" y="1402"/>
                    </a:moveTo>
                    <a:cubicBezTo>
                      <a:pt x="971" y="1406"/>
                      <a:pt x="976" y="1410"/>
                      <a:pt x="980" y="1416"/>
                    </a:cubicBezTo>
                    <a:cubicBezTo>
                      <a:pt x="1001" y="1409"/>
                      <a:pt x="1020" y="1400"/>
                      <a:pt x="1038" y="1391"/>
                    </a:cubicBezTo>
                    <a:cubicBezTo>
                      <a:pt x="1015" y="1395"/>
                      <a:pt x="989" y="1397"/>
                      <a:pt x="966" y="1402"/>
                    </a:cubicBezTo>
                    <a:close/>
                    <a:moveTo>
                      <a:pt x="567" y="1399"/>
                    </a:moveTo>
                    <a:cubicBezTo>
                      <a:pt x="573" y="1400"/>
                      <a:pt x="584" y="1403"/>
                      <a:pt x="589" y="1401"/>
                    </a:cubicBezTo>
                    <a:cubicBezTo>
                      <a:pt x="581" y="1397"/>
                      <a:pt x="574" y="1390"/>
                      <a:pt x="567" y="1399"/>
                    </a:cubicBezTo>
                    <a:close/>
                    <a:moveTo>
                      <a:pt x="891" y="1406"/>
                    </a:moveTo>
                    <a:cubicBezTo>
                      <a:pt x="896" y="1407"/>
                      <a:pt x="899" y="1404"/>
                      <a:pt x="904" y="1405"/>
                    </a:cubicBezTo>
                    <a:cubicBezTo>
                      <a:pt x="903" y="1401"/>
                      <a:pt x="907" y="1397"/>
                      <a:pt x="905" y="1395"/>
                    </a:cubicBezTo>
                    <a:cubicBezTo>
                      <a:pt x="901" y="1399"/>
                      <a:pt x="895" y="1402"/>
                      <a:pt x="891" y="1406"/>
                    </a:cubicBezTo>
                    <a:close/>
                    <a:moveTo>
                      <a:pt x="548" y="1410"/>
                    </a:moveTo>
                    <a:cubicBezTo>
                      <a:pt x="552" y="1408"/>
                      <a:pt x="555" y="1404"/>
                      <a:pt x="558" y="1401"/>
                    </a:cubicBezTo>
                    <a:cubicBezTo>
                      <a:pt x="546" y="1401"/>
                      <a:pt x="532" y="1396"/>
                      <a:pt x="521" y="1397"/>
                    </a:cubicBezTo>
                    <a:cubicBezTo>
                      <a:pt x="530" y="1401"/>
                      <a:pt x="539" y="1405"/>
                      <a:pt x="548" y="1410"/>
                    </a:cubicBezTo>
                    <a:close/>
                    <a:moveTo>
                      <a:pt x="552" y="1412"/>
                    </a:moveTo>
                    <a:cubicBezTo>
                      <a:pt x="559" y="1414"/>
                      <a:pt x="565" y="1417"/>
                      <a:pt x="572" y="1419"/>
                    </a:cubicBezTo>
                    <a:cubicBezTo>
                      <a:pt x="571" y="1413"/>
                      <a:pt x="567" y="1409"/>
                      <a:pt x="566" y="1402"/>
                    </a:cubicBezTo>
                    <a:cubicBezTo>
                      <a:pt x="558" y="1402"/>
                      <a:pt x="556" y="1408"/>
                      <a:pt x="552" y="1412"/>
                    </a:cubicBezTo>
                    <a:close/>
                    <a:moveTo>
                      <a:pt x="950" y="1403"/>
                    </a:moveTo>
                    <a:cubicBezTo>
                      <a:pt x="936" y="1407"/>
                      <a:pt x="915" y="1424"/>
                      <a:pt x="901" y="1427"/>
                    </a:cubicBezTo>
                    <a:cubicBezTo>
                      <a:pt x="899" y="1433"/>
                      <a:pt x="898" y="1439"/>
                      <a:pt x="895" y="1444"/>
                    </a:cubicBezTo>
                    <a:cubicBezTo>
                      <a:pt x="925" y="1438"/>
                      <a:pt x="950" y="1427"/>
                      <a:pt x="977" y="1418"/>
                    </a:cubicBezTo>
                    <a:cubicBezTo>
                      <a:pt x="971" y="1409"/>
                      <a:pt x="964" y="1399"/>
                      <a:pt x="950" y="1403"/>
                    </a:cubicBezTo>
                    <a:close/>
                    <a:moveTo>
                      <a:pt x="576" y="1421"/>
                    </a:moveTo>
                    <a:cubicBezTo>
                      <a:pt x="625" y="1439"/>
                      <a:pt x="678" y="1457"/>
                      <a:pt x="736" y="1463"/>
                    </a:cubicBezTo>
                    <a:cubicBezTo>
                      <a:pt x="684" y="1449"/>
                      <a:pt x="638" y="1429"/>
                      <a:pt x="596" y="1405"/>
                    </a:cubicBezTo>
                    <a:cubicBezTo>
                      <a:pt x="586" y="1405"/>
                      <a:pt x="579" y="1403"/>
                      <a:pt x="569" y="1403"/>
                    </a:cubicBezTo>
                    <a:cubicBezTo>
                      <a:pt x="571" y="1409"/>
                      <a:pt x="574" y="1415"/>
                      <a:pt x="576" y="1421"/>
                    </a:cubicBezTo>
                    <a:close/>
                    <a:moveTo>
                      <a:pt x="908" y="1407"/>
                    </a:moveTo>
                    <a:cubicBezTo>
                      <a:pt x="905" y="1412"/>
                      <a:pt x="905" y="1418"/>
                      <a:pt x="902" y="1423"/>
                    </a:cubicBezTo>
                    <a:cubicBezTo>
                      <a:pt x="917" y="1418"/>
                      <a:pt x="930" y="1411"/>
                      <a:pt x="942" y="1404"/>
                    </a:cubicBezTo>
                    <a:cubicBezTo>
                      <a:pt x="931" y="1405"/>
                      <a:pt x="920" y="1407"/>
                      <a:pt x="908" y="1407"/>
                    </a:cubicBezTo>
                    <a:close/>
                    <a:moveTo>
                      <a:pt x="606" y="1407"/>
                    </a:moveTo>
                    <a:cubicBezTo>
                      <a:pt x="645" y="1429"/>
                      <a:pt x="691" y="1449"/>
                      <a:pt x="737" y="1461"/>
                    </a:cubicBezTo>
                    <a:cubicBezTo>
                      <a:pt x="716" y="1449"/>
                      <a:pt x="695" y="1437"/>
                      <a:pt x="674" y="1423"/>
                    </a:cubicBezTo>
                    <a:cubicBezTo>
                      <a:pt x="667" y="1419"/>
                      <a:pt x="660" y="1411"/>
                      <a:pt x="654" y="1410"/>
                    </a:cubicBezTo>
                    <a:cubicBezTo>
                      <a:pt x="638" y="1406"/>
                      <a:pt x="624" y="1410"/>
                      <a:pt x="606" y="1407"/>
                    </a:cubicBezTo>
                    <a:moveTo>
                      <a:pt x="606" y="1407"/>
                    </a:moveTo>
                    <a:cubicBezTo>
                      <a:pt x="605" y="1404"/>
                      <a:pt x="602" y="1408"/>
                      <a:pt x="606" y="1407"/>
                    </a:cubicBezTo>
                    <a:moveTo>
                      <a:pt x="886" y="1409"/>
                    </a:moveTo>
                    <a:cubicBezTo>
                      <a:pt x="854" y="1430"/>
                      <a:pt x="820" y="1448"/>
                      <a:pt x="783" y="1463"/>
                    </a:cubicBezTo>
                    <a:cubicBezTo>
                      <a:pt x="824" y="1454"/>
                      <a:pt x="862" y="1441"/>
                      <a:pt x="897" y="1426"/>
                    </a:cubicBezTo>
                    <a:cubicBezTo>
                      <a:pt x="899" y="1420"/>
                      <a:pt x="901" y="1413"/>
                      <a:pt x="903" y="1408"/>
                    </a:cubicBezTo>
                    <a:cubicBezTo>
                      <a:pt x="897" y="1407"/>
                      <a:pt x="893" y="1410"/>
                      <a:pt x="886" y="1409"/>
                    </a:cubicBezTo>
                    <a:close/>
                    <a:moveTo>
                      <a:pt x="839" y="1412"/>
                    </a:moveTo>
                    <a:cubicBezTo>
                      <a:pt x="819" y="1430"/>
                      <a:pt x="798" y="1447"/>
                      <a:pt x="776" y="1463"/>
                    </a:cubicBezTo>
                    <a:cubicBezTo>
                      <a:pt x="814" y="1448"/>
                      <a:pt x="848" y="1430"/>
                      <a:pt x="879" y="1410"/>
                    </a:cubicBezTo>
                    <a:cubicBezTo>
                      <a:pt x="865" y="1410"/>
                      <a:pt x="853" y="1412"/>
                      <a:pt x="839" y="1412"/>
                    </a:cubicBezTo>
                    <a:close/>
                    <a:moveTo>
                      <a:pt x="736" y="1456"/>
                    </a:moveTo>
                    <a:cubicBezTo>
                      <a:pt x="735" y="1447"/>
                      <a:pt x="725" y="1440"/>
                      <a:pt x="718" y="1433"/>
                    </a:cubicBezTo>
                    <a:cubicBezTo>
                      <a:pt x="712" y="1427"/>
                      <a:pt x="704" y="1415"/>
                      <a:pt x="697" y="1413"/>
                    </a:cubicBezTo>
                    <a:cubicBezTo>
                      <a:pt x="687" y="1409"/>
                      <a:pt x="674" y="1412"/>
                      <a:pt x="661" y="1412"/>
                    </a:cubicBezTo>
                    <a:cubicBezTo>
                      <a:pt x="685" y="1428"/>
                      <a:pt x="708" y="1444"/>
                      <a:pt x="736" y="1456"/>
                    </a:cubicBezTo>
                    <a:close/>
                    <a:moveTo>
                      <a:pt x="770" y="1463"/>
                    </a:moveTo>
                    <a:cubicBezTo>
                      <a:pt x="769" y="1462"/>
                      <a:pt x="769" y="1463"/>
                      <a:pt x="769" y="1463"/>
                    </a:cubicBezTo>
                    <a:moveTo>
                      <a:pt x="769" y="1463"/>
                    </a:moveTo>
                    <a:cubicBezTo>
                      <a:pt x="767" y="1464"/>
                      <a:pt x="769" y="1465"/>
                      <a:pt x="769" y="1463"/>
                    </a:cubicBezTo>
                    <a:moveTo>
                      <a:pt x="769" y="1463"/>
                    </a:moveTo>
                    <a:cubicBezTo>
                      <a:pt x="770" y="1464"/>
                      <a:pt x="770" y="1463"/>
                      <a:pt x="770" y="1463"/>
                    </a:cubicBezTo>
                    <a:moveTo>
                      <a:pt x="770" y="1463"/>
                    </a:moveTo>
                    <a:cubicBezTo>
                      <a:pt x="789" y="1450"/>
                      <a:pt x="811" y="1435"/>
                      <a:pt x="828" y="1418"/>
                    </a:cubicBezTo>
                    <a:cubicBezTo>
                      <a:pt x="830" y="1417"/>
                      <a:pt x="834" y="1414"/>
                      <a:pt x="832" y="1412"/>
                    </a:cubicBezTo>
                    <a:cubicBezTo>
                      <a:pt x="824" y="1414"/>
                      <a:pt x="811" y="1412"/>
                      <a:pt x="801" y="1413"/>
                    </a:cubicBezTo>
                    <a:cubicBezTo>
                      <a:pt x="792" y="1430"/>
                      <a:pt x="781" y="1446"/>
                      <a:pt x="770" y="1463"/>
                    </a:cubicBezTo>
                    <a:moveTo>
                      <a:pt x="735" y="1445"/>
                    </a:moveTo>
                    <a:cubicBezTo>
                      <a:pt x="735" y="1434"/>
                      <a:pt x="734" y="1424"/>
                      <a:pt x="733" y="1414"/>
                    </a:cubicBezTo>
                    <a:cubicBezTo>
                      <a:pt x="724" y="1414"/>
                      <a:pt x="712" y="1411"/>
                      <a:pt x="702" y="1414"/>
                    </a:cubicBezTo>
                    <a:cubicBezTo>
                      <a:pt x="713" y="1424"/>
                      <a:pt x="723" y="1436"/>
                      <a:pt x="735" y="1445"/>
                    </a:cubicBezTo>
                    <a:close/>
                    <a:moveTo>
                      <a:pt x="574" y="1423"/>
                    </a:moveTo>
                    <a:cubicBezTo>
                      <a:pt x="566" y="1420"/>
                      <a:pt x="558" y="1416"/>
                      <a:pt x="549" y="1414"/>
                    </a:cubicBezTo>
                    <a:cubicBezTo>
                      <a:pt x="545" y="1420"/>
                      <a:pt x="540" y="1423"/>
                      <a:pt x="539" y="1433"/>
                    </a:cubicBezTo>
                    <a:cubicBezTo>
                      <a:pt x="554" y="1436"/>
                      <a:pt x="571" y="1443"/>
                      <a:pt x="584" y="1444"/>
                    </a:cubicBezTo>
                    <a:cubicBezTo>
                      <a:pt x="580" y="1438"/>
                      <a:pt x="578" y="1430"/>
                      <a:pt x="574" y="1423"/>
                    </a:cubicBezTo>
                    <a:close/>
                    <a:moveTo>
                      <a:pt x="761" y="1463"/>
                    </a:moveTo>
                    <a:cubicBezTo>
                      <a:pt x="763" y="1448"/>
                      <a:pt x="764" y="1430"/>
                      <a:pt x="766" y="1414"/>
                    </a:cubicBezTo>
                    <a:cubicBezTo>
                      <a:pt x="757" y="1414"/>
                      <a:pt x="745" y="1412"/>
                      <a:pt x="737" y="1415"/>
                    </a:cubicBezTo>
                    <a:cubicBezTo>
                      <a:pt x="745" y="1431"/>
                      <a:pt x="752" y="1449"/>
                      <a:pt x="761" y="1463"/>
                    </a:cubicBezTo>
                    <a:close/>
                    <a:moveTo>
                      <a:pt x="765" y="1464"/>
                    </a:moveTo>
                    <a:cubicBezTo>
                      <a:pt x="776" y="1448"/>
                      <a:pt x="788" y="1432"/>
                      <a:pt x="798" y="1414"/>
                    </a:cubicBezTo>
                    <a:cubicBezTo>
                      <a:pt x="788" y="1414"/>
                      <a:pt x="778" y="1414"/>
                      <a:pt x="768" y="1414"/>
                    </a:cubicBezTo>
                    <a:cubicBezTo>
                      <a:pt x="768" y="1431"/>
                      <a:pt x="764" y="1449"/>
                      <a:pt x="765" y="1464"/>
                    </a:cubicBezTo>
                    <a:close/>
                    <a:moveTo>
                      <a:pt x="366" y="1415"/>
                    </a:moveTo>
                    <a:cubicBezTo>
                      <a:pt x="366" y="1416"/>
                      <a:pt x="367" y="1416"/>
                      <a:pt x="367" y="1416"/>
                    </a:cubicBezTo>
                    <a:moveTo>
                      <a:pt x="367" y="1416"/>
                    </a:moveTo>
                    <a:cubicBezTo>
                      <a:pt x="382" y="1430"/>
                      <a:pt x="403" y="1442"/>
                      <a:pt x="422" y="1448"/>
                    </a:cubicBezTo>
                    <a:cubicBezTo>
                      <a:pt x="403" y="1438"/>
                      <a:pt x="388" y="1425"/>
                      <a:pt x="367" y="1416"/>
                    </a:cubicBezTo>
                    <a:moveTo>
                      <a:pt x="367" y="1416"/>
                    </a:moveTo>
                    <a:cubicBezTo>
                      <a:pt x="367" y="1416"/>
                      <a:pt x="366" y="1416"/>
                      <a:pt x="366" y="1415"/>
                    </a:cubicBezTo>
                    <a:moveTo>
                      <a:pt x="366" y="1415"/>
                    </a:moveTo>
                    <a:cubicBezTo>
                      <a:pt x="365" y="1414"/>
                      <a:pt x="364" y="1416"/>
                      <a:pt x="366" y="1415"/>
                    </a:cubicBezTo>
                    <a:moveTo>
                      <a:pt x="1132" y="1415"/>
                    </a:moveTo>
                    <a:cubicBezTo>
                      <a:pt x="1094" y="1431"/>
                      <a:pt x="1057" y="1446"/>
                      <a:pt x="1014" y="1456"/>
                    </a:cubicBezTo>
                    <a:cubicBezTo>
                      <a:pt x="1007" y="1463"/>
                      <a:pt x="999" y="1470"/>
                      <a:pt x="991" y="1477"/>
                    </a:cubicBezTo>
                    <a:cubicBezTo>
                      <a:pt x="1048" y="1467"/>
                      <a:pt x="1099" y="1450"/>
                      <a:pt x="1132" y="1415"/>
                    </a:cubicBezTo>
                    <a:moveTo>
                      <a:pt x="1132" y="1415"/>
                    </a:moveTo>
                    <a:cubicBezTo>
                      <a:pt x="1133" y="1415"/>
                      <a:pt x="1132" y="1414"/>
                      <a:pt x="1132" y="1415"/>
                    </a:cubicBezTo>
                    <a:moveTo>
                      <a:pt x="979" y="1419"/>
                    </a:moveTo>
                    <a:cubicBezTo>
                      <a:pt x="953" y="1430"/>
                      <a:pt x="925" y="1440"/>
                      <a:pt x="894" y="1447"/>
                    </a:cubicBezTo>
                    <a:cubicBezTo>
                      <a:pt x="893" y="1451"/>
                      <a:pt x="891" y="1455"/>
                      <a:pt x="890" y="1460"/>
                    </a:cubicBezTo>
                    <a:cubicBezTo>
                      <a:pt x="924" y="1455"/>
                      <a:pt x="955" y="1447"/>
                      <a:pt x="987" y="1439"/>
                    </a:cubicBezTo>
                    <a:cubicBezTo>
                      <a:pt x="986" y="1431"/>
                      <a:pt x="983" y="1424"/>
                      <a:pt x="979" y="1419"/>
                    </a:cubicBezTo>
                    <a:close/>
                    <a:moveTo>
                      <a:pt x="755" y="1463"/>
                    </a:moveTo>
                    <a:cubicBezTo>
                      <a:pt x="756" y="1464"/>
                      <a:pt x="756" y="1462"/>
                      <a:pt x="755" y="1463"/>
                    </a:cubicBezTo>
                    <a:moveTo>
                      <a:pt x="755" y="1463"/>
                    </a:moveTo>
                    <a:cubicBezTo>
                      <a:pt x="749" y="1449"/>
                      <a:pt x="743" y="1437"/>
                      <a:pt x="737" y="1424"/>
                    </a:cubicBezTo>
                    <a:cubicBezTo>
                      <a:pt x="736" y="1433"/>
                      <a:pt x="739" y="1439"/>
                      <a:pt x="738" y="1448"/>
                    </a:cubicBezTo>
                    <a:cubicBezTo>
                      <a:pt x="743" y="1453"/>
                      <a:pt x="749" y="1458"/>
                      <a:pt x="755" y="1463"/>
                    </a:cubicBezTo>
                    <a:moveTo>
                      <a:pt x="587" y="1446"/>
                    </a:moveTo>
                    <a:cubicBezTo>
                      <a:pt x="632" y="1456"/>
                      <a:pt x="682" y="1466"/>
                      <a:pt x="733" y="1466"/>
                    </a:cubicBezTo>
                    <a:cubicBezTo>
                      <a:pt x="676" y="1459"/>
                      <a:pt x="625" y="1440"/>
                      <a:pt x="578" y="1426"/>
                    </a:cubicBezTo>
                    <a:cubicBezTo>
                      <a:pt x="582" y="1432"/>
                      <a:pt x="584" y="1439"/>
                      <a:pt x="587" y="1446"/>
                    </a:cubicBezTo>
                    <a:close/>
                    <a:moveTo>
                      <a:pt x="1034" y="1427"/>
                    </a:moveTo>
                    <a:cubicBezTo>
                      <a:pt x="1019" y="1432"/>
                      <a:pt x="1004" y="1437"/>
                      <a:pt x="989" y="1441"/>
                    </a:cubicBezTo>
                    <a:cubicBezTo>
                      <a:pt x="989" y="1450"/>
                      <a:pt x="986" y="1454"/>
                      <a:pt x="984" y="1460"/>
                    </a:cubicBezTo>
                    <a:moveTo>
                      <a:pt x="984" y="1460"/>
                    </a:moveTo>
                    <a:cubicBezTo>
                      <a:pt x="982" y="1460"/>
                      <a:pt x="984" y="1461"/>
                      <a:pt x="984" y="1460"/>
                    </a:cubicBezTo>
                    <a:moveTo>
                      <a:pt x="984" y="1460"/>
                    </a:moveTo>
                    <a:cubicBezTo>
                      <a:pt x="994" y="1459"/>
                      <a:pt x="1001" y="1456"/>
                      <a:pt x="1011" y="1455"/>
                    </a:cubicBezTo>
                    <a:cubicBezTo>
                      <a:pt x="1019" y="1446"/>
                      <a:pt x="1027" y="1437"/>
                      <a:pt x="1034" y="1427"/>
                    </a:cubicBezTo>
                    <a:moveTo>
                      <a:pt x="1034" y="1427"/>
                    </a:moveTo>
                    <a:cubicBezTo>
                      <a:pt x="1035" y="1426"/>
                      <a:pt x="1034" y="1426"/>
                      <a:pt x="1034" y="1427"/>
                    </a:cubicBezTo>
                    <a:moveTo>
                      <a:pt x="1141" y="1428"/>
                    </a:moveTo>
                    <a:cubicBezTo>
                      <a:pt x="1141" y="1428"/>
                      <a:pt x="1142" y="1429"/>
                      <a:pt x="1141" y="1428"/>
                    </a:cubicBezTo>
                    <a:close/>
                    <a:moveTo>
                      <a:pt x="1139" y="1429"/>
                    </a:moveTo>
                    <a:cubicBezTo>
                      <a:pt x="1138" y="1429"/>
                      <a:pt x="1138" y="1429"/>
                      <a:pt x="1137" y="1430"/>
                    </a:cubicBezTo>
                    <a:moveTo>
                      <a:pt x="1137" y="1430"/>
                    </a:moveTo>
                    <a:cubicBezTo>
                      <a:pt x="1136" y="1430"/>
                      <a:pt x="1136" y="1430"/>
                      <a:pt x="1135" y="1431"/>
                    </a:cubicBezTo>
                    <a:moveTo>
                      <a:pt x="1135" y="1431"/>
                    </a:moveTo>
                    <a:cubicBezTo>
                      <a:pt x="1116" y="1441"/>
                      <a:pt x="1092" y="1448"/>
                      <a:pt x="1074" y="1461"/>
                    </a:cubicBezTo>
                    <a:cubicBezTo>
                      <a:pt x="1096" y="1452"/>
                      <a:pt x="1118" y="1443"/>
                      <a:pt x="1135" y="1431"/>
                    </a:cubicBezTo>
                    <a:moveTo>
                      <a:pt x="1135" y="1431"/>
                    </a:moveTo>
                    <a:cubicBezTo>
                      <a:pt x="1137" y="1431"/>
                      <a:pt x="1137" y="1431"/>
                      <a:pt x="1137" y="1430"/>
                    </a:cubicBezTo>
                    <a:moveTo>
                      <a:pt x="1137" y="1430"/>
                    </a:moveTo>
                    <a:cubicBezTo>
                      <a:pt x="1138" y="1430"/>
                      <a:pt x="1139" y="1430"/>
                      <a:pt x="1139" y="1429"/>
                    </a:cubicBezTo>
                    <a:moveTo>
                      <a:pt x="1139" y="1429"/>
                    </a:moveTo>
                    <a:cubicBezTo>
                      <a:pt x="1141" y="1428"/>
                      <a:pt x="1139" y="1428"/>
                      <a:pt x="1139" y="1429"/>
                    </a:cubicBezTo>
                    <a:moveTo>
                      <a:pt x="789" y="1465"/>
                    </a:moveTo>
                    <a:cubicBezTo>
                      <a:pt x="825" y="1461"/>
                      <a:pt x="858" y="1454"/>
                      <a:pt x="891" y="1446"/>
                    </a:cubicBezTo>
                    <a:cubicBezTo>
                      <a:pt x="892" y="1440"/>
                      <a:pt x="897" y="1434"/>
                      <a:pt x="895" y="1429"/>
                    </a:cubicBezTo>
                    <a:cubicBezTo>
                      <a:pt x="863" y="1444"/>
                      <a:pt x="826" y="1455"/>
                      <a:pt x="789" y="1465"/>
                    </a:cubicBezTo>
                    <a:close/>
                    <a:moveTo>
                      <a:pt x="404" y="1435"/>
                    </a:moveTo>
                    <a:cubicBezTo>
                      <a:pt x="404" y="1434"/>
                      <a:pt x="405" y="1435"/>
                      <a:pt x="404" y="1435"/>
                    </a:cubicBezTo>
                    <a:close/>
                    <a:moveTo>
                      <a:pt x="407" y="1436"/>
                    </a:moveTo>
                    <a:cubicBezTo>
                      <a:pt x="407" y="1437"/>
                      <a:pt x="408" y="1436"/>
                      <a:pt x="409" y="1437"/>
                    </a:cubicBezTo>
                    <a:moveTo>
                      <a:pt x="409" y="1437"/>
                    </a:moveTo>
                    <a:cubicBezTo>
                      <a:pt x="409" y="1437"/>
                      <a:pt x="409" y="1437"/>
                      <a:pt x="409" y="1438"/>
                    </a:cubicBezTo>
                    <a:cubicBezTo>
                      <a:pt x="439" y="1456"/>
                      <a:pt x="472" y="1472"/>
                      <a:pt x="513" y="1480"/>
                    </a:cubicBezTo>
                    <a:moveTo>
                      <a:pt x="513" y="1480"/>
                    </a:moveTo>
                    <a:cubicBezTo>
                      <a:pt x="514" y="1483"/>
                      <a:pt x="517" y="1479"/>
                      <a:pt x="513" y="1480"/>
                    </a:cubicBezTo>
                    <a:moveTo>
                      <a:pt x="513" y="1480"/>
                    </a:moveTo>
                    <a:cubicBezTo>
                      <a:pt x="487" y="1457"/>
                      <a:pt x="441" y="1454"/>
                      <a:pt x="409" y="1437"/>
                    </a:cubicBezTo>
                    <a:moveTo>
                      <a:pt x="409" y="1437"/>
                    </a:moveTo>
                    <a:cubicBezTo>
                      <a:pt x="409" y="1436"/>
                      <a:pt x="408" y="1436"/>
                      <a:pt x="407" y="1436"/>
                    </a:cubicBezTo>
                    <a:moveTo>
                      <a:pt x="407" y="1436"/>
                    </a:moveTo>
                    <a:cubicBezTo>
                      <a:pt x="406" y="1434"/>
                      <a:pt x="406" y="1436"/>
                      <a:pt x="407" y="1436"/>
                    </a:cubicBezTo>
                    <a:moveTo>
                      <a:pt x="541" y="1455"/>
                    </a:moveTo>
                    <a:cubicBezTo>
                      <a:pt x="559" y="1457"/>
                      <a:pt x="575" y="1462"/>
                      <a:pt x="594" y="1463"/>
                    </a:cubicBezTo>
                    <a:cubicBezTo>
                      <a:pt x="592" y="1458"/>
                      <a:pt x="588" y="1454"/>
                      <a:pt x="586" y="1448"/>
                    </a:cubicBezTo>
                    <a:cubicBezTo>
                      <a:pt x="570" y="1444"/>
                      <a:pt x="554" y="1440"/>
                      <a:pt x="538" y="1435"/>
                    </a:cubicBezTo>
                    <a:cubicBezTo>
                      <a:pt x="536" y="1441"/>
                      <a:pt x="539" y="1450"/>
                      <a:pt x="541" y="1455"/>
                    </a:cubicBezTo>
                    <a:close/>
                    <a:moveTo>
                      <a:pt x="466" y="1437"/>
                    </a:moveTo>
                    <a:cubicBezTo>
                      <a:pt x="466" y="1437"/>
                      <a:pt x="466" y="1437"/>
                      <a:pt x="466" y="1438"/>
                    </a:cubicBezTo>
                    <a:cubicBezTo>
                      <a:pt x="476" y="1446"/>
                      <a:pt x="485" y="1455"/>
                      <a:pt x="495" y="1463"/>
                    </a:cubicBezTo>
                    <a:cubicBezTo>
                      <a:pt x="514" y="1467"/>
                      <a:pt x="531" y="1473"/>
                      <a:pt x="552" y="1474"/>
                    </a:cubicBezTo>
                    <a:moveTo>
                      <a:pt x="552" y="1474"/>
                    </a:moveTo>
                    <a:cubicBezTo>
                      <a:pt x="552" y="1475"/>
                      <a:pt x="553" y="1474"/>
                      <a:pt x="552" y="1474"/>
                    </a:cubicBezTo>
                    <a:moveTo>
                      <a:pt x="552" y="1474"/>
                    </a:moveTo>
                    <a:cubicBezTo>
                      <a:pt x="547" y="1468"/>
                      <a:pt x="542" y="1463"/>
                      <a:pt x="538" y="1456"/>
                    </a:cubicBezTo>
                    <a:cubicBezTo>
                      <a:pt x="512" y="1451"/>
                      <a:pt x="490" y="1443"/>
                      <a:pt x="466" y="1437"/>
                    </a:cubicBezTo>
                    <a:moveTo>
                      <a:pt x="466" y="1437"/>
                    </a:moveTo>
                    <a:cubicBezTo>
                      <a:pt x="466" y="1435"/>
                      <a:pt x="465" y="1437"/>
                      <a:pt x="466" y="1437"/>
                    </a:cubicBezTo>
                    <a:moveTo>
                      <a:pt x="888" y="1463"/>
                    </a:moveTo>
                    <a:cubicBezTo>
                      <a:pt x="888" y="1467"/>
                      <a:pt x="885" y="1469"/>
                      <a:pt x="884" y="1472"/>
                    </a:cubicBezTo>
                    <a:cubicBezTo>
                      <a:pt x="919" y="1472"/>
                      <a:pt x="949" y="1466"/>
                      <a:pt x="980" y="1462"/>
                    </a:cubicBezTo>
                    <a:cubicBezTo>
                      <a:pt x="982" y="1456"/>
                      <a:pt x="988" y="1448"/>
                      <a:pt x="986" y="1441"/>
                    </a:cubicBezTo>
                    <a:cubicBezTo>
                      <a:pt x="956" y="1451"/>
                      <a:pt x="922" y="1458"/>
                      <a:pt x="888" y="1463"/>
                    </a:cubicBezTo>
                    <a:close/>
                    <a:moveTo>
                      <a:pt x="1098" y="1445"/>
                    </a:moveTo>
                    <a:cubicBezTo>
                      <a:pt x="1098" y="1445"/>
                      <a:pt x="1099" y="1446"/>
                      <a:pt x="1098" y="1445"/>
                    </a:cubicBezTo>
                    <a:close/>
                    <a:moveTo>
                      <a:pt x="423" y="1450"/>
                    </a:moveTo>
                    <a:cubicBezTo>
                      <a:pt x="423" y="1450"/>
                      <a:pt x="424" y="1451"/>
                      <a:pt x="423" y="1450"/>
                    </a:cubicBezTo>
                    <a:close/>
                    <a:moveTo>
                      <a:pt x="600" y="1464"/>
                    </a:moveTo>
                    <a:cubicBezTo>
                      <a:pt x="639" y="1469"/>
                      <a:pt x="688" y="1474"/>
                      <a:pt x="730" y="1469"/>
                    </a:cubicBezTo>
                    <a:cubicBezTo>
                      <a:pt x="679" y="1467"/>
                      <a:pt x="633" y="1459"/>
                      <a:pt x="590" y="1449"/>
                    </a:cubicBezTo>
                    <a:cubicBezTo>
                      <a:pt x="593" y="1455"/>
                      <a:pt x="595" y="1461"/>
                      <a:pt x="600" y="1464"/>
                    </a:cubicBezTo>
                    <a:close/>
                    <a:moveTo>
                      <a:pt x="888" y="1449"/>
                    </a:moveTo>
                    <a:cubicBezTo>
                      <a:pt x="859" y="1457"/>
                      <a:pt x="828" y="1462"/>
                      <a:pt x="797" y="1467"/>
                    </a:cubicBezTo>
                    <a:cubicBezTo>
                      <a:pt x="795" y="1467"/>
                      <a:pt x="793" y="1467"/>
                      <a:pt x="792" y="1467"/>
                    </a:cubicBezTo>
                    <a:cubicBezTo>
                      <a:pt x="790" y="1468"/>
                      <a:pt x="792" y="1469"/>
                      <a:pt x="794" y="1468"/>
                    </a:cubicBezTo>
                    <a:cubicBezTo>
                      <a:pt x="826" y="1467"/>
                      <a:pt x="856" y="1465"/>
                      <a:pt x="885" y="1461"/>
                    </a:cubicBezTo>
                    <a:cubicBezTo>
                      <a:pt x="887" y="1457"/>
                      <a:pt x="888" y="1453"/>
                      <a:pt x="890" y="1449"/>
                    </a:cubicBezTo>
                    <a:cubicBezTo>
                      <a:pt x="889" y="1449"/>
                      <a:pt x="888" y="1449"/>
                      <a:pt x="888" y="1449"/>
                    </a:cubicBezTo>
                    <a:close/>
                    <a:moveTo>
                      <a:pt x="425" y="1451"/>
                    </a:moveTo>
                    <a:cubicBezTo>
                      <a:pt x="425" y="1451"/>
                      <a:pt x="426" y="1452"/>
                      <a:pt x="425" y="1451"/>
                    </a:cubicBezTo>
                    <a:close/>
                    <a:moveTo>
                      <a:pt x="427" y="1452"/>
                    </a:moveTo>
                    <a:cubicBezTo>
                      <a:pt x="427" y="1452"/>
                      <a:pt x="428" y="1453"/>
                      <a:pt x="427" y="1452"/>
                    </a:cubicBezTo>
                    <a:close/>
                    <a:moveTo>
                      <a:pt x="429" y="1453"/>
                    </a:moveTo>
                    <a:cubicBezTo>
                      <a:pt x="428" y="1453"/>
                      <a:pt x="430" y="1454"/>
                      <a:pt x="429" y="1453"/>
                    </a:cubicBezTo>
                    <a:close/>
                    <a:moveTo>
                      <a:pt x="749" y="1462"/>
                    </a:moveTo>
                    <a:cubicBezTo>
                      <a:pt x="749" y="1462"/>
                      <a:pt x="750" y="1462"/>
                      <a:pt x="750" y="1463"/>
                    </a:cubicBezTo>
                    <a:moveTo>
                      <a:pt x="750" y="1463"/>
                    </a:moveTo>
                    <a:cubicBezTo>
                      <a:pt x="751" y="1464"/>
                      <a:pt x="752" y="1462"/>
                      <a:pt x="750" y="1463"/>
                    </a:cubicBezTo>
                    <a:moveTo>
                      <a:pt x="750" y="1463"/>
                    </a:moveTo>
                    <a:cubicBezTo>
                      <a:pt x="750" y="1462"/>
                      <a:pt x="749" y="1462"/>
                      <a:pt x="749" y="1462"/>
                    </a:cubicBezTo>
                    <a:moveTo>
                      <a:pt x="749" y="1462"/>
                    </a:moveTo>
                    <a:cubicBezTo>
                      <a:pt x="746" y="1458"/>
                      <a:pt x="742" y="1456"/>
                      <a:pt x="739" y="1453"/>
                    </a:cubicBezTo>
                    <a:cubicBezTo>
                      <a:pt x="738" y="1460"/>
                      <a:pt x="744" y="1460"/>
                      <a:pt x="749" y="1462"/>
                    </a:cubicBezTo>
                    <a:moveTo>
                      <a:pt x="559" y="1476"/>
                    </a:moveTo>
                    <a:cubicBezTo>
                      <a:pt x="572" y="1480"/>
                      <a:pt x="590" y="1477"/>
                      <a:pt x="605" y="1480"/>
                    </a:cubicBezTo>
                    <a:cubicBezTo>
                      <a:pt x="605" y="1476"/>
                      <a:pt x="598" y="1472"/>
                      <a:pt x="597" y="1466"/>
                    </a:cubicBezTo>
                    <a:cubicBezTo>
                      <a:pt x="577" y="1465"/>
                      <a:pt x="561" y="1460"/>
                      <a:pt x="543" y="1458"/>
                    </a:cubicBezTo>
                    <a:cubicBezTo>
                      <a:pt x="547" y="1464"/>
                      <a:pt x="551" y="1473"/>
                      <a:pt x="559" y="1476"/>
                    </a:cubicBezTo>
                    <a:close/>
                    <a:moveTo>
                      <a:pt x="981" y="1463"/>
                    </a:moveTo>
                    <a:cubicBezTo>
                      <a:pt x="976" y="1471"/>
                      <a:pt x="970" y="1476"/>
                      <a:pt x="964" y="1481"/>
                    </a:cubicBezTo>
                    <a:cubicBezTo>
                      <a:pt x="972" y="1480"/>
                      <a:pt x="978" y="1479"/>
                      <a:pt x="986" y="1478"/>
                    </a:cubicBezTo>
                    <a:cubicBezTo>
                      <a:pt x="993" y="1472"/>
                      <a:pt x="1000" y="1466"/>
                      <a:pt x="1007" y="1460"/>
                    </a:cubicBezTo>
                    <a:cubicBezTo>
                      <a:pt x="1007" y="1458"/>
                      <a:pt x="1008" y="1458"/>
                      <a:pt x="1006" y="1458"/>
                    </a:cubicBezTo>
                    <a:cubicBezTo>
                      <a:pt x="998" y="1460"/>
                      <a:pt x="989" y="1461"/>
                      <a:pt x="981" y="1463"/>
                    </a:cubicBezTo>
                    <a:close/>
                    <a:moveTo>
                      <a:pt x="1069" y="1460"/>
                    </a:moveTo>
                    <a:cubicBezTo>
                      <a:pt x="1069" y="1459"/>
                      <a:pt x="1070" y="1460"/>
                      <a:pt x="1069" y="1460"/>
                    </a:cubicBezTo>
                    <a:close/>
                    <a:moveTo>
                      <a:pt x="1066" y="1461"/>
                    </a:moveTo>
                    <a:cubicBezTo>
                      <a:pt x="1041" y="1468"/>
                      <a:pt x="1016" y="1476"/>
                      <a:pt x="987" y="1480"/>
                    </a:cubicBezTo>
                    <a:cubicBezTo>
                      <a:pt x="984" y="1484"/>
                      <a:pt x="979" y="1485"/>
                      <a:pt x="976" y="1488"/>
                    </a:cubicBezTo>
                    <a:cubicBezTo>
                      <a:pt x="1008" y="1481"/>
                      <a:pt x="1042" y="1475"/>
                      <a:pt x="1066" y="1461"/>
                    </a:cubicBezTo>
                    <a:moveTo>
                      <a:pt x="1066" y="1461"/>
                    </a:moveTo>
                    <a:cubicBezTo>
                      <a:pt x="1070" y="1462"/>
                      <a:pt x="1067" y="1458"/>
                      <a:pt x="1066" y="1461"/>
                    </a:cubicBezTo>
                    <a:moveTo>
                      <a:pt x="742" y="1463"/>
                    </a:moveTo>
                    <a:cubicBezTo>
                      <a:pt x="742" y="1465"/>
                      <a:pt x="746" y="1462"/>
                      <a:pt x="742" y="1463"/>
                    </a:cubicBezTo>
                    <a:moveTo>
                      <a:pt x="742" y="1463"/>
                    </a:moveTo>
                    <a:cubicBezTo>
                      <a:pt x="741" y="1462"/>
                      <a:pt x="740" y="1461"/>
                      <a:pt x="739" y="1461"/>
                    </a:cubicBezTo>
                    <a:cubicBezTo>
                      <a:pt x="739" y="1463"/>
                      <a:pt x="740" y="1462"/>
                      <a:pt x="742" y="1463"/>
                    </a:cubicBezTo>
                    <a:moveTo>
                      <a:pt x="1072" y="1462"/>
                    </a:moveTo>
                    <a:cubicBezTo>
                      <a:pt x="1072" y="1461"/>
                      <a:pt x="1073" y="1462"/>
                      <a:pt x="1072" y="1462"/>
                    </a:cubicBezTo>
                    <a:close/>
                    <a:moveTo>
                      <a:pt x="774" y="1463"/>
                    </a:moveTo>
                    <a:cubicBezTo>
                      <a:pt x="774" y="1463"/>
                      <a:pt x="775" y="1464"/>
                      <a:pt x="774" y="1463"/>
                    </a:cubicBezTo>
                    <a:close/>
                    <a:moveTo>
                      <a:pt x="746" y="1464"/>
                    </a:moveTo>
                    <a:cubicBezTo>
                      <a:pt x="745" y="1464"/>
                      <a:pt x="746" y="1465"/>
                      <a:pt x="746" y="1464"/>
                    </a:cubicBezTo>
                    <a:close/>
                    <a:moveTo>
                      <a:pt x="780" y="1464"/>
                    </a:moveTo>
                    <a:cubicBezTo>
                      <a:pt x="780" y="1464"/>
                      <a:pt x="781" y="1465"/>
                      <a:pt x="780" y="1464"/>
                    </a:cubicBezTo>
                    <a:close/>
                    <a:moveTo>
                      <a:pt x="796" y="1472"/>
                    </a:moveTo>
                    <a:cubicBezTo>
                      <a:pt x="823" y="1473"/>
                      <a:pt x="851" y="1473"/>
                      <a:pt x="879" y="1473"/>
                    </a:cubicBezTo>
                    <a:cubicBezTo>
                      <a:pt x="879" y="1470"/>
                      <a:pt x="886" y="1464"/>
                      <a:pt x="882" y="1463"/>
                    </a:cubicBezTo>
                    <a:cubicBezTo>
                      <a:pt x="855" y="1469"/>
                      <a:pt x="823" y="1468"/>
                      <a:pt x="796" y="1472"/>
                    </a:cubicBezTo>
                    <a:close/>
                    <a:moveTo>
                      <a:pt x="882" y="1475"/>
                    </a:moveTo>
                    <a:cubicBezTo>
                      <a:pt x="882" y="1479"/>
                      <a:pt x="879" y="1481"/>
                      <a:pt x="878" y="1485"/>
                    </a:cubicBezTo>
                    <a:cubicBezTo>
                      <a:pt x="901" y="1482"/>
                      <a:pt x="937" y="1489"/>
                      <a:pt x="958" y="1482"/>
                    </a:cubicBezTo>
                    <a:cubicBezTo>
                      <a:pt x="961" y="1480"/>
                      <a:pt x="965" y="1476"/>
                      <a:pt x="968" y="1473"/>
                    </a:cubicBezTo>
                    <a:cubicBezTo>
                      <a:pt x="971" y="1470"/>
                      <a:pt x="977" y="1467"/>
                      <a:pt x="975" y="1464"/>
                    </a:cubicBezTo>
                    <a:cubicBezTo>
                      <a:pt x="946" y="1470"/>
                      <a:pt x="916" y="1474"/>
                      <a:pt x="882" y="1475"/>
                    </a:cubicBezTo>
                    <a:close/>
                    <a:moveTo>
                      <a:pt x="784" y="1466"/>
                    </a:moveTo>
                    <a:cubicBezTo>
                      <a:pt x="784" y="1466"/>
                      <a:pt x="785" y="1467"/>
                      <a:pt x="784" y="1466"/>
                    </a:cubicBezTo>
                    <a:close/>
                    <a:moveTo>
                      <a:pt x="503" y="1468"/>
                    </a:moveTo>
                    <a:cubicBezTo>
                      <a:pt x="520" y="1486"/>
                      <a:pt x="554" y="1491"/>
                      <a:pt x="582" y="1493"/>
                    </a:cubicBezTo>
                    <a:cubicBezTo>
                      <a:pt x="572" y="1490"/>
                      <a:pt x="565" y="1483"/>
                      <a:pt x="556" y="1478"/>
                    </a:cubicBezTo>
                    <a:cubicBezTo>
                      <a:pt x="537" y="1475"/>
                      <a:pt x="521" y="1471"/>
                      <a:pt x="503" y="1468"/>
                    </a:cubicBezTo>
                    <a:moveTo>
                      <a:pt x="503" y="1468"/>
                    </a:moveTo>
                    <a:cubicBezTo>
                      <a:pt x="502" y="1467"/>
                      <a:pt x="502" y="1468"/>
                      <a:pt x="503" y="1468"/>
                    </a:cubicBezTo>
                    <a:moveTo>
                      <a:pt x="611" y="1480"/>
                    </a:moveTo>
                    <a:cubicBezTo>
                      <a:pt x="653" y="1483"/>
                      <a:pt x="697" y="1480"/>
                      <a:pt x="732" y="1473"/>
                    </a:cubicBezTo>
                    <a:cubicBezTo>
                      <a:pt x="687" y="1475"/>
                      <a:pt x="642" y="1473"/>
                      <a:pt x="601" y="1467"/>
                    </a:cubicBezTo>
                    <a:cubicBezTo>
                      <a:pt x="604" y="1472"/>
                      <a:pt x="605" y="1478"/>
                      <a:pt x="611" y="1480"/>
                    </a:cubicBezTo>
                    <a:close/>
                    <a:moveTo>
                      <a:pt x="738" y="1472"/>
                    </a:moveTo>
                    <a:cubicBezTo>
                      <a:pt x="737" y="1472"/>
                      <a:pt x="736" y="1472"/>
                      <a:pt x="736" y="1473"/>
                    </a:cubicBezTo>
                    <a:cubicBezTo>
                      <a:pt x="737" y="1473"/>
                      <a:pt x="738" y="1473"/>
                      <a:pt x="738" y="1472"/>
                    </a:cubicBezTo>
                    <a:close/>
                    <a:moveTo>
                      <a:pt x="789" y="1473"/>
                    </a:moveTo>
                    <a:cubicBezTo>
                      <a:pt x="788" y="1473"/>
                      <a:pt x="786" y="1473"/>
                      <a:pt x="786" y="1474"/>
                    </a:cubicBezTo>
                    <a:cubicBezTo>
                      <a:pt x="787" y="1474"/>
                      <a:pt x="789" y="1474"/>
                      <a:pt x="789" y="1473"/>
                    </a:cubicBezTo>
                    <a:close/>
                    <a:moveTo>
                      <a:pt x="742" y="1475"/>
                    </a:moveTo>
                    <a:cubicBezTo>
                      <a:pt x="741" y="1475"/>
                      <a:pt x="742" y="1476"/>
                      <a:pt x="742" y="1475"/>
                    </a:cubicBezTo>
                    <a:close/>
                    <a:moveTo>
                      <a:pt x="745" y="1509"/>
                    </a:moveTo>
                    <a:cubicBezTo>
                      <a:pt x="748" y="1509"/>
                      <a:pt x="752" y="1509"/>
                      <a:pt x="755" y="1509"/>
                    </a:cubicBezTo>
                    <a:cubicBezTo>
                      <a:pt x="757" y="1498"/>
                      <a:pt x="761" y="1484"/>
                      <a:pt x="759" y="1474"/>
                    </a:cubicBezTo>
                    <a:cubicBezTo>
                      <a:pt x="754" y="1485"/>
                      <a:pt x="737" y="1490"/>
                      <a:pt x="745" y="1509"/>
                    </a:cubicBezTo>
                    <a:close/>
                    <a:moveTo>
                      <a:pt x="877" y="1476"/>
                    </a:moveTo>
                    <a:cubicBezTo>
                      <a:pt x="879" y="1475"/>
                      <a:pt x="877" y="1475"/>
                      <a:pt x="877" y="1476"/>
                    </a:cubicBezTo>
                    <a:moveTo>
                      <a:pt x="877" y="1476"/>
                    </a:moveTo>
                    <a:cubicBezTo>
                      <a:pt x="848" y="1477"/>
                      <a:pt x="817" y="1475"/>
                      <a:pt x="791" y="1475"/>
                    </a:cubicBezTo>
                    <a:cubicBezTo>
                      <a:pt x="817" y="1479"/>
                      <a:pt x="844" y="1483"/>
                      <a:pt x="873" y="1485"/>
                    </a:cubicBezTo>
                    <a:cubicBezTo>
                      <a:pt x="875" y="1482"/>
                      <a:pt x="877" y="1480"/>
                      <a:pt x="877" y="1476"/>
                    </a:cubicBezTo>
                    <a:moveTo>
                      <a:pt x="655" y="1493"/>
                    </a:moveTo>
                    <a:cubicBezTo>
                      <a:pt x="685" y="1490"/>
                      <a:pt x="715" y="1482"/>
                      <a:pt x="737" y="1477"/>
                    </a:cubicBezTo>
                    <a:cubicBezTo>
                      <a:pt x="737" y="1476"/>
                      <a:pt x="739" y="1475"/>
                      <a:pt x="736" y="1475"/>
                    </a:cubicBezTo>
                    <a:cubicBezTo>
                      <a:pt x="700" y="1482"/>
                      <a:pt x="655" y="1485"/>
                      <a:pt x="612" y="1483"/>
                    </a:cubicBezTo>
                    <a:cubicBezTo>
                      <a:pt x="615" y="1498"/>
                      <a:pt x="635" y="1496"/>
                      <a:pt x="655" y="1493"/>
                    </a:cubicBezTo>
                    <a:close/>
                    <a:moveTo>
                      <a:pt x="749" y="1476"/>
                    </a:moveTo>
                    <a:cubicBezTo>
                      <a:pt x="748" y="1476"/>
                      <a:pt x="749" y="1477"/>
                      <a:pt x="749" y="1476"/>
                    </a:cubicBezTo>
                    <a:close/>
                    <a:moveTo>
                      <a:pt x="754" y="1476"/>
                    </a:moveTo>
                    <a:cubicBezTo>
                      <a:pt x="749" y="1477"/>
                      <a:pt x="746" y="1481"/>
                      <a:pt x="741" y="1483"/>
                    </a:cubicBezTo>
                    <a:cubicBezTo>
                      <a:pt x="742" y="1484"/>
                      <a:pt x="741" y="1488"/>
                      <a:pt x="743" y="1489"/>
                    </a:cubicBezTo>
                    <a:cubicBezTo>
                      <a:pt x="746" y="1485"/>
                      <a:pt x="752" y="1481"/>
                      <a:pt x="754" y="1476"/>
                    </a:cubicBezTo>
                    <a:moveTo>
                      <a:pt x="754" y="1476"/>
                    </a:moveTo>
                    <a:cubicBezTo>
                      <a:pt x="756" y="1475"/>
                      <a:pt x="754" y="1475"/>
                      <a:pt x="754" y="1476"/>
                    </a:cubicBezTo>
                    <a:moveTo>
                      <a:pt x="773" y="1476"/>
                    </a:moveTo>
                    <a:cubicBezTo>
                      <a:pt x="772" y="1476"/>
                      <a:pt x="773" y="1477"/>
                      <a:pt x="773" y="1476"/>
                    </a:cubicBezTo>
                    <a:close/>
                    <a:moveTo>
                      <a:pt x="782" y="1475"/>
                    </a:moveTo>
                    <a:cubicBezTo>
                      <a:pt x="781" y="1475"/>
                      <a:pt x="780" y="1475"/>
                      <a:pt x="780" y="1476"/>
                    </a:cubicBezTo>
                    <a:cubicBezTo>
                      <a:pt x="781" y="1476"/>
                      <a:pt x="782" y="1476"/>
                      <a:pt x="782" y="1475"/>
                    </a:cubicBezTo>
                    <a:close/>
                    <a:moveTo>
                      <a:pt x="746" y="1477"/>
                    </a:moveTo>
                    <a:cubicBezTo>
                      <a:pt x="743" y="1476"/>
                      <a:pt x="739" y="1478"/>
                      <a:pt x="742" y="1480"/>
                    </a:cubicBezTo>
                    <a:cubicBezTo>
                      <a:pt x="742" y="1478"/>
                      <a:pt x="745" y="1479"/>
                      <a:pt x="746" y="1477"/>
                    </a:cubicBezTo>
                    <a:moveTo>
                      <a:pt x="746" y="1477"/>
                    </a:moveTo>
                    <a:cubicBezTo>
                      <a:pt x="750" y="1478"/>
                      <a:pt x="746" y="1474"/>
                      <a:pt x="746" y="1477"/>
                    </a:cubicBezTo>
                    <a:moveTo>
                      <a:pt x="758" y="1509"/>
                    </a:moveTo>
                    <a:cubicBezTo>
                      <a:pt x="768" y="1509"/>
                      <a:pt x="777" y="1509"/>
                      <a:pt x="787" y="1509"/>
                    </a:cubicBezTo>
                    <a:cubicBezTo>
                      <a:pt x="781" y="1500"/>
                      <a:pt x="770" y="1487"/>
                      <a:pt x="763" y="1476"/>
                    </a:cubicBezTo>
                    <a:cubicBezTo>
                      <a:pt x="761" y="1486"/>
                      <a:pt x="760" y="1498"/>
                      <a:pt x="758" y="1509"/>
                    </a:cubicBezTo>
                    <a:close/>
                    <a:moveTo>
                      <a:pt x="796" y="1509"/>
                    </a:moveTo>
                    <a:cubicBezTo>
                      <a:pt x="804" y="1511"/>
                      <a:pt x="813" y="1505"/>
                      <a:pt x="826" y="1508"/>
                    </a:cubicBezTo>
                    <a:cubicBezTo>
                      <a:pt x="807" y="1497"/>
                      <a:pt x="786" y="1489"/>
                      <a:pt x="769" y="1476"/>
                    </a:cubicBezTo>
                    <a:cubicBezTo>
                      <a:pt x="777" y="1485"/>
                      <a:pt x="782" y="1505"/>
                      <a:pt x="796" y="1509"/>
                    </a:cubicBezTo>
                    <a:close/>
                    <a:moveTo>
                      <a:pt x="837" y="1507"/>
                    </a:moveTo>
                    <a:cubicBezTo>
                      <a:pt x="844" y="1507"/>
                      <a:pt x="860" y="1507"/>
                      <a:pt x="864" y="1499"/>
                    </a:cubicBezTo>
                    <a:cubicBezTo>
                      <a:pt x="831" y="1496"/>
                      <a:pt x="800" y="1484"/>
                      <a:pt x="774" y="1477"/>
                    </a:cubicBezTo>
                    <a:cubicBezTo>
                      <a:pt x="791" y="1485"/>
                      <a:pt x="814" y="1505"/>
                      <a:pt x="837" y="1507"/>
                    </a:cubicBezTo>
                    <a:close/>
                    <a:moveTo>
                      <a:pt x="865" y="1497"/>
                    </a:moveTo>
                    <a:cubicBezTo>
                      <a:pt x="867" y="1494"/>
                      <a:pt x="870" y="1491"/>
                      <a:pt x="871" y="1487"/>
                    </a:cubicBezTo>
                    <a:cubicBezTo>
                      <a:pt x="839" y="1487"/>
                      <a:pt x="810" y="1479"/>
                      <a:pt x="783" y="1477"/>
                    </a:cubicBezTo>
                    <a:cubicBezTo>
                      <a:pt x="809" y="1485"/>
                      <a:pt x="835" y="1493"/>
                      <a:pt x="865" y="1497"/>
                    </a:cubicBezTo>
                    <a:close/>
                    <a:moveTo>
                      <a:pt x="617" y="1495"/>
                    </a:moveTo>
                    <a:cubicBezTo>
                      <a:pt x="616" y="1492"/>
                      <a:pt x="610" y="1486"/>
                      <a:pt x="606" y="1483"/>
                    </a:cubicBezTo>
                    <a:cubicBezTo>
                      <a:pt x="592" y="1483"/>
                      <a:pt x="576" y="1479"/>
                      <a:pt x="563" y="1480"/>
                    </a:cubicBezTo>
                    <a:cubicBezTo>
                      <a:pt x="577" y="1489"/>
                      <a:pt x="591" y="1498"/>
                      <a:pt x="617" y="1495"/>
                    </a:cubicBezTo>
                    <a:close/>
                    <a:moveTo>
                      <a:pt x="626" y="1499"/>
                    </a:moveTo>
                    <a:cubicBezTo>
                      <a:pt x="667" y="1513"/>
                      <a:pt x="710" y="1498"/>
                      <a:pt x="738" y="1480"/>
                    </a:cubicBezTo>
                    <a:cubicBezTo>
                      <a:pt x="706" y="1488"/>
                      <a:pt x="665" y="1495"/>
                      <a:pt x="626" y="1499"/>
                    </a:cubicBezTo>
                    <a:close/>
                    <a:moveTo>
                      <a:pt x="1025" y="1480"/>
                    </a:moveTo>
                    <a:cubicBezTo>
                      <a:pt x="1025" y="1479"/>
                      <a:pt x="1026" y="1480"/>
                      <a:pt x="1025" y="1480"/>
                    </a:cubicBezTo>
                    <a:close/>
                    <a:moveTo>
                      <a:pt x="1022" y="1481"/>
                    </a:moveTo>
                    <a:cubicBezTo>
                      <a:pt x="1023" y="1481"/>
                      <a:pt x="1022" y="1480"/>
                      <a:pt x="1022" y="1481"/>
                    </a:cubicBezTo>
                    <a:close/>
                    <a:moveTo>
                      <a:pt x="516" y="1482"/>
                    </a:moveTo>
                    <a:cubicBezTo>
                      <a:pt x="516" y="1481"/>
                      <a:pt x="517" y="1482"/>
                      <a:pt x="516" y="1482"/>
                    </a:cubicBezTo>
                    <a:close/>
                    <a:moveTo>
                      <a:pt x="1018" y="1482"/>
                    </a:moveTo>
                    <a:cubicBezTo>
                      <a:pt x="1001" y="1486"/>
                      <a:pt x="981" y="1488"/>
                      <a:pt x="966" y="1495"/>
                    </a:cubicBezTo>
                    <a:moveTo>
                      <a:pt x="966" y="1495"/>
                    </a:moveTo>
                    <a:cubicBezTo>
                      <a:pt x="962" y="1494"/>
                      <a:pt x="965" y="1498"/>
                      <a:pt x="966" y="1495"/>
                    </a:cubicBezTo>
                    <a:moveTo>
                      <a:pt x="966" y="1495"/>
                    </a:moveTo>
                    <a:cubicBezTo>
                      <a:pt x="985" y="1493"/>
                      <a:pt x="1002" y="1488"/>
                      <a:pt x="1018" y="1482"/>
                    </a:cubicBezTo>
                    <a:moveTo>
                      <a:pt x="1018" y="1482"/>
                    </a:moveTo>
                    <a:cubicBezTo>
                      <a:pt x="1022" y="1483"/>
                      <a:pt x="1019" y="1479"/>
                      <a:pt x="1018" y="1482"/>
                    </a:cubicBezTo>
                    <a:moveTo>
                      <a:pt x="940" y="1495"/>
                    </a:moveTo>
                    <a:cubicBezTo>
                      <a:pt x="955" y="1492"/>
                      <a:pt x="972" y="1491"/>
                      <a:pt x="980" y="1482"/>
                    </a:cubicBezTo>
                    <a:cubicBezTo>
                      <a:pt x="962" y="1482"/>
                      <a:pt x="950" y="1488"/>
                      <a:pt x="940" y="1495"/>
                    </a:cubicBezTo>
                    <a:close/>
                    <a:moveTo>
                      <a:pt x="681" y="1507"/>
                    </a:moveTo>
                    <a:cubicBezTo>
                      <a:pt x="694" y="1507"/>
                      <a:pt x="707" y="1507"/>
                      <a:pt x="719" y="1509"/>
                    </a:cubicBezTo>
                    <a:cubicBezTo>
                      <a:pt x="726" y="1503"/>
                      <a:pt x="734" y="1498"/>
                      <a:pt x="740" y="1491"/>
                    </a:cubicBezTo>
                    <a:cubicBezTo>
                      <a:pt x="737" y="1491"/>
                      <a:pt x="741" y="1484"/>
                      <a:pt x="738" y="1484"/>
                    </a:cubicBezTo>
                    <a:cubicBezTo>
                      <a:pt x="722" y="1494"/>
                      <a:pt x="700" y="1499"/>
                      <a:pt x="681" y="1507"/>
                    </a:cubicBezTo>
                    <a:close/>
                    <a:moveTo>
                      <a:pt x="876" y="1487"/>
                    </a:moveTo>
                    <a:cubicBezTo>
                      <a:pt x="874" y="1491"/>
                      <a:pt x="871" y="1493"/>
                      <a:pt x="870" y="1498"/>
                    </a:cubicBezTo>
                    <a:cubicBezTo>
                      <a:pt x="900" y="1502"/>
                      <a:pt x="934" y="1501"/>
                      <a:pt x="950" y="1486"/>
                    </a:cubicBezTo>
                    <a:cubicBezTo>
                      <a:pt x="927" y="1487"/>
                      <a:pt x="902" y="1488"/>
                      <a:pt x="876" y="1487"/>
                    </a:cubicBezTo>
                    <a:close/>
                    <a:moveTo>
                      <a:pt x="542" y="1492"/>
                    </a:moveTo>
                    <a:cubicBezTo>
                      <a:pt x="542" y="1492"/>
                      <a:pt x="543" y="1493"/>
                      <a:pt x="542" y="1492"/>
                    </a:cubicBezTo>
                    <a:close/>
                    <a:moveTo>
                      <a:pt x="570" y="1495"/>
                    </a:moveTo>
                    <a:cubicBezTo>
                      <a:pt x="565" y="1495"/>
                      <a:pt x="538" y="1491"/>
                      <a:pt x="548" y="1494"/>
                    </a:cubicBezTo>
                    <a:cubicBezTo>
                      <a:pt x="571" y="1502"/>
                      <a:pt x="600" y="1512"/>
                      <a:pt x="625" y="1510"/>
                    </a:cubicBezTo>
                    <a:cubicBezTo>
                      <a:pt x="606" y="1504"/>
                      <a:pt x="592" y="1498"/>
                      <a:pt x="570" y="1495"/>
                    </a:cubicBezTo>
                    <a:close/>
                    <a:moveTo>
                      <a:pt x="958" y="1495"/>
                    </a:moveTo>
                    <a:cubicBezTo>
                      <a:pt x="949" y="1496"/>
                      <a:pt x="942" y="1497"/>
                      <a:pt x="935" y="1499"/>
                    </a:cubicBezTo>
                    <a:cubicBezTo>
                      <a:pt x="943" y="1498"/>
                      <a:pt x="953" y="1499"/>
                      <a:pt x="958" y="1495"/>
                    </a:cubicBezTo>
                    <a:moveTo>
                      <a:pt x="958" y="1495"/>
                    </a:moveTo>
                    <a:cubicBezTo>
                      <a:pt x="962" y="1496"/>
                      <a:pt x="958" y="1492"/>
                      <a:pt x="958" y="1495"/>
                    </a:cubicBezTo>
                    <a:moveTo>
                      <a:pt x="724" y="1509"/>
                    </a:moveTo>
                    <a:cubicBezTo>
                      <a:pt x="730" y="1509"/>
                      <a:pt x="736" y="1509"/>
                      <a:pt x="742" y="1509"/>
                    </a:cubicBezTo>
                    <a:cubicBezTo>
                      <a:pt x="740" y="1505"/>
                      <a:pt x="741" y="1498"/>
                      <a:pt x="739" y="1495"/>
                    </a:cubicBezTo>
                    <a:cubicBezTo>
                      <a:pt x="735" y="1501"/>
                      <a:pt x="728" y="1504"/>
                      <a:pt x="724" y="1509"/>
                    </a:cubicBezTo>
                    <a:close/>
                    <a:moveTo>
                      <a:pt x="613" y="1499"/>
                    </a:moveTo>
                    <a:cubicBezTo>
                      <a:pt x="615" y="1500"/>
                      <a:pt x="623" y="1501"/>
                      <a:pt x="624" y="1500"/>
                    </a:cubicBezTo>
                    <a:cubicBezTo>
                      <a:pt x="622" y="1496"/>
                      <a:pt x="599" y="1499"/>
                      <a:pt x="613" y="1499"/>
                    </a:cubicBezTo>
                    <a:close/>
                    <a:moveTo>
                      <a:pt x="929" y="1500"/>
                    </a:moveTo>
                    <a:cubicBezTo>
                      <a:pt x="929" y="1500"/>
                      <a:pt x="930" y="1501"/>
                      <a:pt x="929" y="1500"/>
                    </a:cubicBezTo>
                    <a:close/>
                    <a:moveTo>
                      <a:pt x="865" y="1505"/>
                    </a:moveTo>
                    <a:cubicBezTo>
                      <a:pt x="871" y="1503"/>
                      <a:pt x="880" y="1504"/>
                      <a:pt x="886" y="1502"/>
                    </a:cubicBezTo>
                    <a:cubicBezTo>
                      <a:pt x="879" y="1502"/>
                      <a:pt x="867" y="1497"/>
                      <a:pt x="865" y="1505"/>
                    </a:cubicBezTo>
                    <a:close/>
                    <a:moveTo>
                      <a:pt x="608" y="1501"/>
                    </a:moveTo>
                    <a:cubicBezTo>
                      <a:pt x="608" y="1501"/>
                      <a:pt x="607" y="1501"/>
                      <a:pt x="606" y="1502"/>
                    </a:cubicBezTo>
                    <a:cubicBezTo>
                      <a:pt x="607" y="1502"/>
                      <a:pt x="608" y="1502"/>
                      <a:pt x="608" y="1501"/>
                    </a:cubicBezTo>
                    <a:close/>
                    <a:moveTo>
                      <a:pt x="885" y="1514"/>
                    </a:moveTo>
                    <a:cubicBezTo>
                      <a:pt x="909" y="1514"/>
                      <a:pt x="929" y="1509"/>
                      <a:pt x="946" y="1501"/>
                    </a:cubicBezTo>
                    <a:cubicBezTo>
                      <a:pt x="921" y="1500"/>
                      <a:pt x="904" y="1509"/>
                      <a:pt x="885" y="1514"/>
                    </a:cubicBezTo>
                    <a:close/>
                    <a:moveTo>
                      <a:pt x="633" y="1509"/>
                    </a:moveTo>
                    <a:cubicBezTo>
                      <a:pt x="629" y="1504"/>
                      <a:pt x="618" y="1501"/>
                      <a:pt x="609" y="1503"/>
                    </a:cubicBezTo>
                    <a:cubicBezTo>
                      <a:pt x="618" y="1504"/>
                      <a:pt x="626" y="1509"/>
                      <a:pt x="633" y="1509"/>
                    </a:cubicBezTo>
                    <a:close/>
                    <a:moveTo>
                      <a:pt x="858" y="1512"/>
                    </a:moveTo>
                    <a:cubicBezTo>
                      <a:pt x="879" y="1516"/>
                      <a:pt x="896" y="1508"/>
                      <a:pt x="912" y="1503"/>
                    </a:cubicBezTo>
                    <a:cubicBezTo>
                      <a:pt x="893" y="1506"/>
                      <a:pt x="869" y="1502"/>
                      <a:pt x="858" y="1512"/>
                    </a:cubicBezTo>
                    <a:close/>
                    <a:moveTo>
                      <a:pt x="659" y="1507"/>
                    </a:moveTo>
                    <a:cubicBezTo>
                      <a:pt x="650" y="1508"/>
                      <a:pt x="641" y="1503"/>
                      <a:pt x="633" y="1506"/>
                    </a:cubicBezTo>
                    <a:cubicBezTo>
                      <a:pt x="638" y="1512"/>
                      <a:pt x="652" y="1509"/>
                      <a:pt x="659" y="1507"/>
                    </a:cubicBezTo>
                    <a:close/>
                    <a:moveTo>
                      <a:pt x="645" y="1512"/>
                    </a:moveTo>
                    <a:cubicBezTo>
                      <a:pt x="667" y="1518"/>
                      <a:pt x="698" y="1526"/>
                      <a:pt x="714" y="1511"/>
                    </a:cubicBezTo>
                    <a:cubicBezTo>
                      <a:pt x="688" y="1510"/>
                      <a:pt x="666" y="1506"/>
                      <a:pt x="645" y="1512"/>
                    </a:cubicBezTo>
                    <a:close/>
                    <a:moveTo>
                      <a:pt x="845" y="1510"/>
                    </a:moveTo>
                    <a:cubicBezTo>
                      <a:pt x="849" y="1510"/>
                      <a:pt x="855" y="1512"/>
                      <a:pt x="856" y="1508"/>
                    </a:cubicBezTo>
                    <a:cubicBezTo>
                      <a:pt x="852" y="1509"/>
                      <a:pt x="847" y="1508"/>
                      <a:pt x="845" y="1510"/>
                    </a:cubicBezTo>
                    <a:close/>
                    <a:moveTo>
                      <a:pt x="798" y="1512"/>
                    </a:moveTo>
                    <a:cubicBezTo>
                      <a:pt x="808" y="1524"/>
                      <a:pt x="839" y="1525"/>
                      <a:pt x="850" y="1513"/>
                    </a:cubicBezTo>
                    <a:cubicBezTo>
                      <a:pt x="837" y="1508"/>
                      <a:pt x="813" y="1509"/>
                      <a:pt x="798" y="1512"/>
                    </a:cubicBezTo>
                    <a:close/>
                    <a:moveTo>
                      <a:pt x="699" y="1522"/>
                    </a:moveTo>
                    <a:cubicBezTo>
                      <a:pt x="714" y="1522"/>
                      <a:pt x="731" y="1526"/>
                      <a:pt x="746" y="1524"/>
                    </a:cubicBezTo>
                    <a:cubicBezTo>
                      <a:pt x="743" y="1521"/>
                      <a:pt x="744" y="1515"/>
                      <a:pt x="742" y="1511"/>
                    </a:cubicBezTo>
                    <a:cubicBezTo>
                      <a:pt x="721" y="1509"/>
                      <a:pt x="710" y="1514"/>
                      <a:pt x="699" y="1522"/>
                    </a:cubicBezTo>
                    <a:close/>
                    <a:moveTo>
                      <a:pt x="750" y="1525"/>
                    </a:moveTo>
                    <a:cubicBezTo>
                      <a:pt x="753" y="1522"/>
                      <a:pt x="754" y="1517"/>
                      <a:pt x="754" y="1511"/>
                    </a:cubicBezTo>
                    <a:cubicBezTo>
                      <a:pt x="751" y="1511"/>
                      <a:pt x="748" y="1511"/>
                      <a:pt x="745" y="1511"/>
                    </a:cubicBezTo>
                    <a:cubicBezTo>
                      <a:pt x="747" y="1516"/>
                      <a:pt x="745" y="1524"/>
                      <a:pt x="750" y="1525"/>
                    </a:cubicBezTo>
                    <a:close/>
                    <a:moveTo>
                      <a:pt x="790" y="1511"/>
                    </a:moveTo>
                    <a:cubicBezTo>
                      <a:pt x="779" y="1511"/>
                      <a:pt x="768" y="1511"/>
                      <a:pt x="757" y="1511"/>
                    </a:cubicBezTo>
                    <a:cubicBezTo>
                      <a:pt x="757" y="1517"/>
                      <a:pt x="755" y="1520"/>
                      <a:pt x="754" y="1525"/>
                    </a:cubicBezTo>
                    <a:cubicBezTo>
                      <a:pt x="773" y="1525"/>
                      <a:pt x="792" y="1526"/>
                      <a:pt x="807" y="1522"/>
                    </a:cubicBezTo>
                    <a:cubicBezTo>
                      <a:pt x="800" y="1520"/>
                      <a:pt x="797" y="1514"/>
                      <a:pt x="790" y="1511"/>
                    </a:cubicBezTo>
                    <a:close/>
                    <a:moveTo>
                      <a:pt x="852" y="1517"/>
                    </a:moveTo>
                    <a:cubicBezTo>
                      <a:pt x="851" y="1518"/>
                      <a:pt x="852" y="1518"/>
                      <a:pt x="852" y="1517"/>
                    </a:cubicBezTo>
                    <a:moveTo>
                      <a:pt x="852" y="1517"/>
                    </a:moveTo>
                    <a:cubicBezTo>
                      <a:pt x="857" y="1517"/>
                      <a:pt x="861" y="1517"/>
                      <a:pt x="864" y="1515"/>
                    </a:cubicBezTo>
                    <a:cubicBezTo>
                      <a:pt x="859" y="1515"/>
                      <a:pt x="854" y="1513"/>
                      <a:pt x="852" y="1517"/>
                    </a:cubicBezTo>
                    <a:moveTo>
                      <a:pt x="655" y="1518"/>
                    </a:moveTo>
                    <a:cubicBezTo>
                      <a:pt x="655" y="1518"/>
                      <a:pt x="656" y="1519"/>
                      <a:pt x="655" y="1518"/>
                    </a:cubicBezTo>
                    <a:close/>
                    <a:moveTo>
                      <a:pt x="674" y="1522"/>
                    </a:moveTo>
                    <a:cubicBezTo>
                      <a:pt x="679" y="1522"/>
                      <a:pt x="678" y="1522"/>
                      <a:pt x="674" y="1521"/>
                    </a:cubicBezTo>
                    <a:cubicBezTo>
                      <a:pt x="672" y="1521"/>
                      <a:pt x="662" y="1518"/>
                      <a:pt x="658" y="1519"/>
                    </a:cubicBezTo>
                    <a:cubicBezTo>
                      <a:pt x="665" y="1520"/>
                      <a:pt x="671" y="1522"/>
                      <a:pt x="674" y="1522"/>
                    </a:cubicBezTo>
                    <a:close/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 dirty="0">
                  <a:latin typeface="+mj-lt"/>
                </a:endParaRPr>
              </a:p>
            </p:txBody>
          </p:sp>
          <p:sp>
            <p:nvSpPr>
              <p:cNvPr id="69" name="Freeform 14">
                <a:extLst>
                  <a:ext uri="{FF2B5EF4-FFF2-40B4-BE49-F238E27FC236}">
                    <a16:creationId xmlns:a16="http://schemas.microsoft.com/office/drawing/2014/main" id="{CE2D9C90-081B-45E6-B7C1-ACF8F75A5E36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7130066" y="4179967"/>
                <a:ext cx="1648922" cy="1573866"/>
              </a:xfrm>
              <a:custGeom>
                <a:avLst/>
                <a:gdLst/>
                <a:ahLst/>
                <a:cxnLst>
                  <a:cxn ang="0">
                    <a:pos x="384" y="189"/>
                  </a:cxn>
                  <a:cxn ang="0">
                    <a:pos x="1025" y="205"/>
                  </a:cxn>
                  <a:cxn ang="0">
                    <a:pos x="1008" y="222"/>
                  </a:cxn>
                  <a:cxn ang="0">
                    <a:pos x="303" y="287"/>
                  </a:cxn>
                  <a:cxn ang="0">
                    <a:pos x="1438" y="336"/>
                  </a:cxn>
                  <a:cxn ang="0">
                    <a:pos x="1510" y="454"/>
                  </a:cxn>
                  <a:cxn ang="0">
                    <a:pos x="1570" y="581"/>
                  </a:cxn>
                  <a:cxn ang="0">
                    <a:pos x="179" y="535"/>
                  </a:cxn>
                  <a:cxn ang="0">
                    <a:pos x="1553" y="610"/>
                  </a:cxn>
                  <a:cxn ang="0">
                    <a:pos x="235" y="694"/>
                  </a:cxn>
                  <a:cxn ang="0">
                    <a:pos x="240" y="723"/>
                  </a:cxn>
                  <a:cxn ang="0">
                    <a:pos x="1574" y="823"/>
                  </a:cxn>
                  <a:cxn ang="0">
                    <a:pos x="1656" y="952"/>
                  </a:cxn>
                  <a:cxn ang="0">
                    <a:pos x="1670" y="983"/>
                  </a:cxn>
                  <a:cxn ang="0">
                    <a:pos x="1680" y="1016"/>
                  </a:cxn>
                  <a:cxn ang="0">
                    <a:pos x="1653" y="1092"/>
                  </a:cxn>
                  <a:cxn ang="0">
                    <a:pos x="1625" y="1070"/>
                  </a:cxn>
                  <a:cxn ang="0">
                    <a:pos x="1304" y="1217"/>
                  </a:cxn>
                  <a:cxn ang="0">
                    <a:pos x="1548" y="1278"/>
                  </a:cxn>
                  <a:cxn ang="0">
                    <a:pos x="1390" y="1253"/>
                  </a:cxn>
                  <a:cxn ang="0">
                    <a:pos x="1572" y="1253"/>
                  </a:cxn>
                  <a:cxn ang="0">
                    <a:pos x="1373" y="1296"/>
                  </a:cxn>
                  <a:cxn ang="0">
                    <a:pos x="524" y="1564"/>
                  </a:cxn>
                  <a:cxn ang="0">
                    <a:pos x="640" y="19"/>
                  </a:cxn>
                  <a:cxn ang="0">
                    <a:pos x="514" y="60"/>
                  </a:cxn>
                  <a:cxn ang="0">
                    <a:pos x="595" y="39"/>
                  </a:cxn>
                  <a:cxn ang="0">
                    <a:pos x="476" y="143"/>
                  </a:cxn>
                  <a:cxn ang="0">
                    <a:pos x="568" y="66"/>
                  </a:cxn>
                  <a:cxn ang="0">
                    <a:pos x="1392" y="1158"/>
                  </a:cxn>
                  <a:cxn ang="0">
                    <a:pos x="1405" y="1142"/>
                  </a:cxn>
                  <a:cxn ang="0">
                    <a:pos x="1493" y="942"/>
                  </a:cxn>
                  <a:cxn ang="0">
                    <a:pos x="1463" y="654"/>
                  </a:cxn>
                  <a:cxn ang="0">
                    <a:pos x="1531" y="606"/>
                  </a:cxn>
                  <a:cxn ang="0">
                    <a:pos x="1448" y="417"/>
                  </a:cxn>
                  <a:cxn ang="0">
                    <a:pos x="1274" y="301"/>
                  </a:cxn>
                  <a:cxn ang="0">
                    <a:pos x="1381" y="278"/>
                  </a:cxn>
                  <a:cxn ang="0">
                    <a:pos x="1223" y="161"/>
                  </a:cxn>
                  <a:cxn ang="0">
                    <a:pos x="986" y="252"/>
                  </a:cxn>
                  <a:cxn ang="0">
                    <a:pos x="835" y="224"/>
                  </a:cxn>
                  <a:cxn ang="0">
                    <a:pos x="733" y="313"/>
                  </a:cxn>
                  <a:cxn ang="0">
                    <a:pos x="607" y="304"/>
                  </a:cxn>
                  <a:cxn ang="0">
                    <a:pos x="540" y="276"/>
                  </a:cxn>
                  <a:cxn ang="0">
                    <a:pos x="336" y="313"/>
                  </a:cxn>
                  <a:cxn ang="0">
                    <a:pos x="420" y="378"/>
                  </a:cxn>
                  <a:cxn ang="0">
                    <a:pos x="233" y="393"/>
                  </a:cxn>
                  <a:cxn ang="0">
                    <a:pos x="211" y="407"/>
                  </a:cxn>
                  <a:cxn ang="0">
                    <a:pos x="182" y="554"/>
                  </a:cxn>
                  <a:cxn ang="0">
                    <a:pos x="211" y="635"/>
                  </a:cxn>
                  <a:cxn ang="0">
                    <a:pos x="252" y="678"/>
                  </a:cxn>
                  <a:cxn ang="0">
                    <a:pos x="192" y="770"/>
                  </a:cxn>
                  <a:cxn ang="0">
                    <a:pos x="70" y="552"/>
                  </a:cxn>
                  <a:cxn ang="0">
                    <a:pos x="383" y="1408"/>
                  </a:cxn>
                  <a:cxn ang="0">
                    <a:pos x="340" y="1140"/>
                  </a:cxn>
                  <a:cxn ang="0">
                    <a:pos x="437" y="1211"/>
                  </a:cxn>
                  <a:cxn ang="0">
                    <a:pos x="528" y="1017"/>
                  </a:cxn>
                  <a:cxn ang="0">
                    <a:pos x="710" y="1053"/>
                  </a:cxn>
                  <a:cxn ang="0">
                    <a:pos x="972" y="1230"/>
                  </a:cxn>
                  <a:cxn ang="0">
                    <a:pos x="1167" y="1076"/>
                  </a:cxn>
                  <a:cxn ang="0">
                    <a:pos x="263" y="663"/>
                  </a:cxn>
                  <a:cxn ang="0">
                    <a:pos x="358" y="598"/>
                  </a:cxn>
                  <a:cxn ang="0">
                    <a:pos x="748" y="322"/>
                  </a:cxn>
                  <a:cxn ang="0">
                    <a:pos x="1627" y="1195"/>
                  </a:cxn>
                </a:cxnLst>
                <a:rect l="0" t="0" r="r" b="b"/>
                <a:pathLst>
                  <a:path w="1695" h="1619">
                    <a:moveTo>
                      <a:pt x="644" y="14"/>
                    </a:moveTo>
                    <a:cubicBezTo>
                      <a:pt x="639" y="14"/>
                      <a:pt x="635" y="15"/>
                      <a:pt x="632" y="17"/>
                    </a:cubicBezTo>
                    <a:cubicBezTo>
                      <a:pt x="637" y="18"/>
                      <a:pt x="640" y="16"/>
                      <a:pt x="644" y="14"/>
                    </a:cubicBezTo>
                    <a:close/>
                    <a:moveTo>
                      <a:pt x="650" y="19"/>
                    </a:moveTo>
                    <a:cubicBezTo>
                      <a:pt x="653" y="22"/>
                      <a:pt x="656" y="17"/>
                      <a:pt x="659" y="16"/>
                    </a:cubicBezTo>
                    <a:cubicBezTo>
                      <a:pt x="655" y="16"/>
                      <a:pt x="651" y="16"/>
                      <a:pt x="650" y="19"/>
                    </a:cubicBezTo>
                    <a:close/>
                    <a:moveTo>
                      <a:pt x="624" y="30"/>
                    </a:moveTo>
                    <a:cubicBezTo>
                      <a:pt x="630" y="28"/>
                      <a:pt x="637" y="28"/>
                      <a:pt x="640" y="25"/>
                    </a:cubicBezTo>
                    <a:cubicBezTo>
                      <a:pt x="635" y="26"/>
                      <a:pt x="627" y="26"/>
                      <a:pt x="624" y="30"/>
                    </a:cubicBezTo>
                    <a:close/>
                    <a:moveTo>
                      <a:pt x="623" y="30"/>
                    </a:moveTo>
                    <a:cubicBezTo>
                      <a:pt x="619" y="31"/>
                      <a:pt x="614" y="31"/>
                      <a:pt x="612" y="33"/>
                    </a:cubicBezTo>
                    <a:cubicBezTo>
                      <a:pt x="616" y="33"/>
                      <a:pt x="621" y="33"/>
                      <a:pt x="623" y="30"/>
                    </a:cubicBezTo>
                    <a:close/>
                    <a:moveTo>
                      <a:pt x="1163" y="173"/>
                    </a:moveTo>
                    <a:cubicBezTo>
                      <a:pt x="1161" y="169"/>
                      <a:pt x="1163" y="169"/>
                      <a:pt x="1164" y="166"/>
                    </a:cubicBezTo>
                    <a:cubicBezTo>
                      <a:pt x="1161" y="162"/>
                      <a:pt x="1154" y="163"/>
                      <a:pt x="1150" y="165"/>
                    </a:cubicBezTo>
                    <a:cubicBezTo>
                      <a:pt x="1152" y="170"/>
                      <a:pt x="1156" y="173"/>
                      <a:pt x="1163" y="173"/>
                    </a:cubicBezTo>
                    <a:close/>
                    <a:moveTo>
                      <a:pt x="368" y="214"/>
                    </a:moveTo>
                    <a:cubicBezTo>
                      <a:pt x="382" y="213"/>
                      <a:pt x="388" y="203"/>
                      <a:pt x="395" y="195"/>
                    </a:cubicBezTo>
                    <a:cubicBezTo>
                      <a:pt x="390" y="197"/>
                      <a:pt x="389" y="193"/>
                      <a:pt x="391" y="190"/>
                    </a:cubicBezTo>
                    <a:cubicBezTo>
                      <a:pt x="386" y="190"/>
                      <a:pt x="387" y="191"/>
                      <a:pt x="389" y="188"/>
                    </a:cubicBezTo>
                    <a:cubicBezTo>
                      <a:pt x="387" y="187"/>
                      <a:pt x="385" y="191"/>
                      <a:pt x="384" y="189"/>
                    </a:cubicBezTo>
                    <a:cubicBezTo>
                      <a:pt x="387" y="186"/>
                      <a:pt x="392" y="184"/>
                      <a:pt x="395" y="179"/>
                    </a:cubicBezTo>
                    <a:cubicBezTo>
                      <a:pt x="391" y="180"/>
                      <a:pt x="386" y="179"/>
                      <a:pt x="382" y="182"/>
                    </a:cubicBezTo>
                    <a:cubicBezTo>
                      <a:pt x="381" y="185"/>
                      <a:pt x="385" y="183"/>
                      <a:pt x="384" y="186"/>
                    </a:cubicBezTo>
                    <a:cubicBezTo>
                      <a:pt x="381" y="186"/>
                      <a:pt x="381" y="188"/>
                      <a:pt x="378" y="188"/>
                    </a:cubicBezTo>
                    <a:cubicBezTo>
                      <a:pt x="378" y="186"/>
                      <a:pt x="378" y="185"/>
                      <a:pt x="376" y="185"/>
                    </a:cubicBezTo>
                    <a:cubicBezTo>
                      <a:pt x="374" y="189"/>
                      <a:pt x="370" y="198"/>
                      <a:pt x="366" y="194"/>
                    </a:cubicBezTo>
                    <a:cubicBezTo>
                      <a:pt x="361" y="198"/>
                      <a:pt x="361" y="204"/>
                      <a:pt x="356" y="209"/>
                    </a:cubicBezTo>
                    <a:cubicBezTo>
                      <a:pt x="359" y="211"/>
                      <a:pt x="365" y="211"/>
                      <a:pt x="368" y="214"/>
                    </a:cubicBezTo>
                    <a:close/>
                    <a:moveTo>
                      <a:pt x="775" y="204"/>
                    </a:moveTo>
                    <a:cubicBezTo>
                      <a:pt x="776" y="205"/>
                      <a:pt x="777" y="205"/>
                      <a:pt x="778" y="206"/>
                    </a:cubicBezTo>
                    <a:cubicBezTo>
                      <a:pt x="781" y="206"/>
                      <a:pt x="780" y="202"/>
                      <a:pt x="784" y="203"/>
                    </a:cubicBezTo>
                    <a:cubicBezTo>
                      <a:pt x="784" y="205"/>
                      <a:pt x="783" y="205"/>
                      <a:pt x="783" y="207"/>
                    </a:cubicBezTo>
                    <a:cubicBezTo>
                      <a:pt x="791" y="209"/>
                      <a:pt x="795" y="209"/>
                      <a:pt x="803" y="211"/>
                    </a:cubicBezTo>
                    <a:cubicBezTo>
                      <a:pt x="803" y="206"/>
                      <a:pt x="801" y="203"/>
                      <a:pt x="800" y="200"/>
                    </a:cubicBezTo>
                    <a:cubicBezTo>
                      <a:pt x="796" y="199"/>
                      <a:pt x="797" y="203"/>
                      <a:pt x="794" y="202"/>
                    </a:cubicBezTo>
                    <a:cubicBezTo>
                      <a:pt x="795" y="198"/>
                      <a:pt x="790" y="203"/>
                      <a:pt x="790" y="200"/>
                    </a:cubicBezTo>
                    <a:cubicBezTo>
                      <a:pt x="790" y="193"/>
                      <a:pt x="783" y="188"/>
                      <a:pt x="776" y="191"/>
                    </a:cubicBezTo>
                    <a:cubicBezTo>
                      <a:pt x="774" y="196"/>
                      <a:pt x="779" y="202"/>
                      <a:pt x="775" y="204"/>
                    </a:cubicBezTo>
                    <a:close/>
                    <a:moveTo>
                      <a:pt x="1025" y="205"/>
                    </a:moveTo>
                    <a:cubicBezTo>
                      <a:pt x="1021" y="202"/>
                      <a:pt x="1009" y="202"/>
                      <a:pt x="1003" y="205"/>
                    </a:cubicBezTo>
                    <a:cubicBezTo>
                      <a:pt x="1007" y="208"/>
                      <a:pt x="1022" y="211"/>
                      <a:pt x="1025" y="205"/>
                    </a:cubicBezTo>
                    <a:close/>
                    <a:moveTo>
                      <a:pt x="827" y="214"/>
                    </a:moveTo>
                    <a:cubicBezTo>
                      <a:pt x="824" y="211"/>
                      <a:pt x="819" y="204"/>
                      <a:pt x="815" y="208"/>
                    </a:cubicBezTo>
                    <a:cubicBezTo>
                      <a:pt x="813" y="206"/>
                      <a:pt x="814" y="202"/>
                      <a:pt x="810" y="203"/>
                    </a:cubicBezTo>
                    <a:cubicBezTo>
                      <a:pt x="810" y="209"/>
                      <a:pt x="806" y="215"/>
                      <a:pt x="808" y="220"/>
                    </a:cubicBezTo>
                    <a:cubicBezTo>
                      <a:pt x="815" y="218"/>
                      <a:pt x="819" y="214"/>
                      <a:pt x="827" y="214"/>
                    </a:cubicBezTo>
                    <a:close/>
                    <a:moveTo>
                      <a:pt x="990" y="219"/>
                    </a:moveTo>
                    <a:cubicBezTo>
                      <a:pt x="988" y="218"/>
                      <a:pt x="989" y="216"/>
                      <a:pt x="989" y="215"/>
                    </a:cubicBezTo>
                    <a:cubicBezTo>
                      <a:pt x="993" y="214"/>
                      <a:pt x="994" y="213"/>
                      <a:pt x="995" y="210"/>
                    </a:cubicBezTo>
                    <a:cubicBezTo>
                      <a:pt x="996" y="211"/>
                      <a:pt x="1001" y="212"/>
                      <a:pt x="1001" y="209"/>
                    </a:cubicBezTo>
                    <a:cubicBezTo>
                      <a:pt x="1000" y="205"/>
                      <a:pt x="993" y="205"/>
                      <a:pt x="988" y="206"/>
                    </a:cubicBezTo>
                    <a:cubicBezTo>
                      <a:pt x="986" y="209"/>
                      <a:pt x="993" y="209"/>
                      <a:pt x="990" y="210"/>
                    </a:cubicBezTo>
                    <a:cubicBezTo>
                      <a:pt x="986" y="208"/>
                      <a:pt x="985" y="205"/>
                      <a:pt x="978" y="206"/>
                    </a:cubicBezTo>
                    <a:cubicBezTo>
                      <a:pt x="978" y="208"/>
                      <a:pt x="980" y="209"/>
                      <a:pt x="978" y="209"/>
                    </a:cubicBezTo>
                    <a:cubicBezTo>
                      <a:pt x="975" y="208"/>
                      <a:pt x="969" y="207"/>
                      <a:pt x="966" y="208"/>
                    </a:cubicBezTo>
                    <a:cubicBezTo>
                      <a:pt x="968" y="217"/>
                      <a:pt x="981" y="220"/>
                      <a:pt x="990" y="219"/>
                    </a:cubicBezTo>
                    <a:close/>
                    <a:moveTo>
                      <a:pt x="998" y="219"/>
                    </a:moveTo>
                    <a:cubicBezTo>
                      <a:pt x="999" y="222"/>
                      <a:pt x="1003" y="225"/>
                      <a:pt x="1006" y="222"/>
                    </a:cubicBezTo>
                    <a:cubicBezTo>
                      <a:pt x="1006" y="219"/>
                      <a:pt x="1001" y="217"/>
                      <a:pt x="998" y="219"/>
                    </a:cubicBezTo>
                    <a:close/>
                    <a:moveTo>
                      <a:pt x="1008" y="222"/>
                    </a:moveTo>
                    <a:cubicBezTo>
                      <a:pt x="1010" y="229"/>
                      <a:pt x="1021" y="222"/>
                      <a:pt x="1024" y="222"/>
                    </a:cubicBezTo>
                    <a:cubicBezTo>
                      <a:pt x="1020" y="219"/>
                      <a:pt x="1010" y="215"/>
                      <a:pt x="1008" y="222"/>
                    </a:cubicBezTo>
                    <a:close/>
                    <a:moveTo>
                      <a:pt x="700" y="223"/>
                    </a:moveTo>
                    <a:cubicBezTo>
                      <a:pt x="692" y="221"/>
                      <a:pt x="686" y="227"/>
                      <a:pt x="680" y="228"/>
                    </a:cubicBezTo>
                    <a:cubicBezTo>
                      <a:pt x="677" y="229"/>
                      <a:pt x="675" y="226"/>
                      <a:pt x="673" y="226"/>
                    </a:cubicBezTo>
                    <a:cubicBezTo>
                      <a:pt x="664" y="226"/>
                      <a:pt x="657" y="232"/>
                      <a:pt x="650" y="236"/>
                    </a:cubicBezTo>
                    <a:cubicBezTo>
                      <a:pt x="651" y="236"/>
                      <a:pt x="652" y="236"/>
                      <a:pt x="652" y="238"/>
                    </a:cubicBezTo>
                    <a:cubicBezTo>
                      <a:pt x="639" y="246"/>
                      <a:pt x="627" y="254"/>
                      <a:pt x="618" y="266"/>
                    </a:cubicBezTo>
                    <a:cubicBezTo>
                      <a:pt x="619" y="269"/>
                      <a:pt x="625" y="268"/>
                      <a:pt x="626" y="272"/>
                    </a:cubicBezTo>
                    <a:cubicBezTo>
                      <a:pt x="626" y="275"/>
                      <a:pt x="624" y="275"/>
                      <a:pt x="624" y="278"/>
                    </a:cubicBezTo>
                    <a:cubicBezTo>
                      <a:pt x="627" y="282"/>
                      <a:pt x="632" y="283"/>
                      <a:pt x="638" y="283"/>
                    </a:cubicBezTo>
                    <a:cubicBezTo>
                      <a:pt x="624" y="263"/>
                      <a:pt x="661" y="241"/>
                      <a:pt x="673" y="237"/>
                    </a:cubicBezTo>
                    <a:cubicBezTo>
                      <a:pt x="683" y="234"/>
                      <a:pt x="700" y="237"/>
                      <a:pt x="700" y="223"/>
                    </a:cubicBezTo>
                    <a:close/>
                    <a:moveTo>
                      <a:pt x="1326" y="255"/>
                    </a:moveTo>
                    <a:cubicBezTo>
                      <a:pt x="1325" y="250"/>
                      <a:pt x="1322" y="249"/>
                      <a:pt x="1318" y="247"/>
                    </a:cubicBezTo>
                    <a:cubicBezTo>
                      <a:pt x="1319" y="252"/>
                      <a:pt x="1322" y="254"/>
                      <a:pt x="1326" y="255"/>
                    </a:cubicBezTo>
                    <a:close/>
                    <a:moveTo>
                      <a:pt x="702" y="263"/>
                    </a:moveTo>
                    <a:cubicBezTo>
                      <a:pt x="704" y="264"/>
                      <a:pt x="709" y="263"/>
                      <a:pt x="708" y="258"/>
                    </a:cubicBezTo>
                    <a:cubicBezTo>
                      <a:pt x="703" y="257"/>
                      <a:pt x="701" y="258"/>
                      <a:pt x="702" y="263"/>
                    </a:cubicBezTo>
                    <a:close/>
                    <a:moveTo>
                      <a:pt x="335" y="283"/>
                    </a:moveTo>
                    <a:cubicBezTo>
                      <a:pt x="331" y="283"/>
                      <a:pt x="330" y="286"/>
                      <a:pt x="328" y="289"/>
                    </a:cubicBezTo>
                    <a:cubicBezTo>
                      <a:pt x="332" y="288"/>
                      <a:pt x="333" y="285"/>
                      <a:pt x="335" y="283"/>
                    </a:cubicBezTo>
                    <a:close/>
                    <a:moveTo>
                      <a:pt x="303" y="287"/>
                    </a:moveTo>
                    <a:cubicBezTo>
                      <a:pt x="299" y="287"/>
                      <a:pt x="296" y="288"/>
                      <a:pt x="296" y="292"/>
                    </a:cubicBezTo>
                    <a:cubicBezTo>
                      <a:pt x="300" y="292"/>
                      <a:pt x="302" y="289"/>
                      <a:pt x="303" y="287"/>
                    </a:cubicBezTo>
                    <a:close/>
                    <a:moveTo>
                      <a:pt x="650" y="298"/>
                    </a:moveTo>
                    <a:cubicBezTo>
                      <a:pt x="654" y="295"/>
                      <a:pt x="651" y="287"/>
                      <a:pt x="645" y="288"/>
                    </a:cubicBezTo>
                    <a:cubicBezTo>
                      <a:pt x="643" y="292"/>
                      <a:pt x="646" y="298"/>
                      <a:pt x="650" y="298"/>
                    </a:cubicBezTo>
                    <a:close/>
                    <a:moveTo>
                      <a:pt x="294" y="294"/>
                    </a:moveTo>
                    <a:cubicBezTo>
                      <a:pt x="290" y="295"/>
                      <a:pt x="289" y="298"/>
                      <a:pt x="288" y="300"/>
                    </a:cubicBezTo>
                    <a:cubicBezTo>
                      <a:pt x="291" y="300"/>
                      <a:pt x="293" y="298"/>
                      <a:pt x="294" y="294"/>
                    </a:cubicBezTo>
                    <a:close/>
                    <a:moveTo>
                      <a:pt x="252" y="331"/>
                    </a:moveTo>
                    <a:cubicBezTo>
                      <a:pt x="262" y="330"/>
                      <a:pt x="267" y="320"/>
                      <a:pt x="266" y="311"/>
                    </a:cubicBezTo>
                    <a:cubicBezTo>
                      <a:pt x="259" y="311"/>
                      <a:pt x="258" y="316"/>
                      <a:pt x="253" y="318"/>
                    </a:cubicBezTo>
                    <a:cubicBezTo>
                      <a:pt x="253" y="315"/>
                      <a:pt x="255" y="315"/>
                      <a:pt x="254" y="313"/>
                    </a:cubicBezTo>
                    <a:cubicBezTo>
                      <a:pt x="249" y="316"/>
                      <a:pt x="243" y="320"/>
                      <a:pt x="241" y="327"/>
                    </a:cubicBezTo>
                    <a:cubicBezTo>
                      <a:pt x="232" y="331"/>
                      <a:pt x="225" y="333"/>
                      <a:pt x="222" y="343"/>
                    </a:cubicBezTo>
                    <a:cubicBezTo>
                      <a:pt x="225" y="345"/>
                      <a:pt x="230" y="345"/>
                      <a:pt x="235" y="347"/>
                    </a:cubicBezTo>
                    <a:cubicBezTo>
                      <a:pt x="242" y="343"/>
                      <a:pt x="247" y="337"/>
                      <a:pt x="252" y="331"/>
                    </a:cubicBezTo>
                    <a:close/>
                    <a:moveTo>
                      <a:pt x="1434" y="332"/>
                    </a:moveTo>
                    <a:cubicBezTo>
                      <a:pt x="1433" y="327"/>
                      <a:pt x="1427" y="321"/>
                      <a:pt x="1424" y="321"/>
                    </a:cubicBezTo>
                    <a:cubicBezTo>
                      <a:pt x="1428" y="324"/>
                      <a:pt x="1429" y="330"/>
                      <a:pt x="1434" y="332"/>
                    </a:cubicBezTo>
                    <a:close/>
                    <a:moveTo>
                      <a:pt x="1443" y="338"/>
                    </a:moveTo>
                    <a:cubicBezTo>
                      <a:pt x="1442" y="337"/>
                      <a:pt x="1440" y="333"/>
                      <a:pt x="1438" y="336"/>
                    </a:cubicBezTo>
                    <a:cubicBezTo>
                      <a:pt x="1440" y="336"/>
                      <a:pt x="1441" y="341"/>
                      <a:pt x="1443" y="338"/>
                    </a:cubicBezTo>
                    <a:close/>
                    <a:moveTo>
                      <a:pt x="1291" y="369"/>
                    </a:moveTo>
                    <a:cubicBezTo>
                      <a:pt x="1295" y="372"/>
                      <a:pt x="1297" y="376"/>
                      <a:pt x="1304" y="376"/>
                    </a:cubicBezTo>
                    <a:cubicBezTo>
                      <a:pt x="1302" y="372"/>
                      <a:pt x="1296" y="367"/>
                      <a:pt x="1291" y="369"/>
                    </a:cubicBezTo>
                    <a:close/>
                    <a:moveTo>
                      <a:pt x="1480" y="388"/>
                    </a:moveTo>
                    <a:cubicBezTo>
                      <a:pt x="1480" y="384"/>
                      <a:pt x="1479" y="381"/>
                      <a:pt x="1476" y="381"/>
                    </a:cubicBezTo>
                    <a:cubicBezTo>
                      <a:pt x="1476" y="384"/>
                      <a:pt x="1478" y="386"/>
                      <a:pt x="1480" y="388"/>
                    </a:cubicBezTo>
                    <a:close/>
                    <a:moveTo>
                      <a:pt x="1489" y="410"/>
                    </a:moveTo>
                    <a:cubicBezTo>
                      <a:pt x="1484" y="407"/>
                      <a:pt x="1486" y="397"/>
                      <a:pt x="1480" y="394"/>
                    </a:cubicBezTo>
                    <a:cubicBezTo>
                      <a:pt x="1478" y="401"/>
                      <a:pt x="1485" y="410"/>
                      <a:pt x="1489" y="410"/>
                    </a:cubicBezTo>
                    <a:close/>
                    <a:moveTo>
                      <a:pt x="1494" y="424"/>
                    </a:moveTo>
                    <a:cubicBezTo>
                      <a:pt x="1493" y="419"/>
                      <a:pt x="1491" y="416"/>
                      <a:pt x="1487" y="414"/>
                    </a:cubicBezTo>
                    <a:cubicBezTo>
                      <a:pt x="1488" y="418"/>
                      <a:pt x="1491" y="421"/>
                      <a:pt x="1494" y="424"/>
                    </a:cubicBezTo>
                    <a:close/>
                    <a:moveTo>
                      <a:pt x="1487" y="454"/>
                    </a:moveTo>
                    <a:cubicBezTo>
                      <a:pt x="1487" y="455"/>
                      <a:pt x="1485" y="455"/>
                      <a:pt x="1483" y="455"/>
                    </a:cubicBezTo>
                    <a:cubicBezTo>
                      <a:pt x="1488" y="465"/>
                      <a:pt x="1498" y="471"/>
                      <a:pt x="1507" y="477"/>
                    </a:cubicBezTo>
                    <a:cubicBezTo>
                      <a:pt x="1506" y="472"/>
                      <a:pt x="1506" y="469"/>
                      <a:pt x="1505" y="464"/>
                    </a:cubicBezTo>
                    <a:cubicBezTo>
                      <a:pt x="1501" y="464"/>
                      <a:pt x="1495" y="468"/>
                      <a:pt x="1495" y="462"/>
                    </a:cubicBezTo>
                    <a:cubicBezTo>
                      <a:pt x="1496" y="462"/>
                      <a:pt x="1498" y="463"/>
                      <a:pt x="1499" y="463"/>
                    </a:cubicBezTo>
                    <a:cubicBezTo>
                      <a:pt x="1499" y="461"/>
                      <a:pt x="1498" y="457"/>
                      <a:pt x="1500" y="456"/>
                    </a:cubicBezTo>
                    <a:cubicBezTo>
                      <a:pt x="1503" y="455"/>
                      <a:pt x="1507" y="455"/>
                      <a:pt x="1510" y="454"/>
                    </a:cubicBezTo>
                    <a:cubicBezTo>
                      <a:pt x="1510" y="447"/>
                      <a:pt x="1502" y="447"/>
                      <a:pt x="1501" y="440"/>
                    </a:cubicBezTo>
                    <a:cubicBezTo>
                      <a:pt x="1504" y="437"/>
                      <a:pt x="1503" y="432"/>
                      <a:pt x="1500" y="428"/>
                    </a:cubicBezTo>
                    <a:cubicBezTo>
                      <a:pt x="1494" y="429"/>
                      <a:pt x="1493" y="423"/>
                      <a:pt x="1488" y="422"/>
                    </a:cubicBezTo>
                    <a:cubicBezTo>
                      <a:pt x="1488" y="425"/>
                      <a:pt x="1490" y="426"/>
                      <a:pt x="1489" y="429"/>
                    </a:cubicBezTo>
                    <a:cubicBezTo>
                      <a:pt x="1481" y="435"/>
                      <a:pt x="1471" y="429"/>
                      <a:pt x="1460" y="429"/>
                    </a:cubicBezTo>
                    <a:cubicBezTo>
                      <a:pt x="1465" y="441"/>
                      <a:pt x="1483" y="441"/>
                      <a:pt x="1487" y="454"/>
                    </a:cubicBezTo>
                    <a:close/>
                    <a:moveTo>
                      <a:pt x="1515" y="474"/>
                    </a:moveTo>
                    <a:cubicBezTo>
                      <a:pt x="1514" y="477"/>
                      <a:pt x="1512" y="473"/>
                      <a:pt x="1510" y="474"/>
                    </a:cubicBezTo>
                    <a:cubicBezTo>
                      <a:pt x="1514" y="481"/>
                      <a:pt x="1519" y="486"/>
                      <a:pt x="1525" y="491"/>
                    </a:cubicBezTo>
                    <a:cubicBezTo>
                      <a:pt x="1526" y="492"/>
                      <a:pt x="1528" y="491"/>
                      <a:pt x="1529" y="491"/>
                    </a:cubicBezTo>
                    <a:cubicBezTo>
                      <a:pt x="1536" y="495"/>
                      <a:pt x="1535" y="507"/>
                      <a:pt x="1544" y="511"/>
                    </a:cubicBezTo>
                    <a:cubicBezTo>
                      <a:pt x="1545" y="521"/>
                      <a:pt x="1552" y="526"/>
                      <a:pt x="1548" y="536"/>
                    </a:cubicBezTo>
                    <a:cubicBezTo>
                      <a:pt x="1545" y="535"/>
                      <a:pt x="1545" y="531"/>
                      <a:pt x="1542" y="530"/>
                    </a:cubicBezTo>
                    <a:cubicBezTo>
                      <a:pt x="1545" y="541"/>
                      <a:pt x="1552" y="547"/>
                      <a:pt x="1557" y="557"/>
                    </a:cubicBezTo>
                    <a:cubicBezTo>
                      <a:pt x="1550" y="560"/>
                      <a:pt x="1553" y="574"/>
                      <a:pt x="1546" y="577"/>
                    </a:cubicBezTo>
                    <a:cubicBezTo>
                      <a:pt x="1550" y="587"/>
                      <a:pt x="1546" y="603"/>
                      <a:pt x="1553" y="607"/>
                    </a:cubicBezTo>
                    <a:cubicBezTo>
                      <a:pt x="1562" y="602"/>
                      <a:pt x="1556" y="592"/>
                      <a:pt x="1561" y="583"/>
                    </a:cubicBezTo>
                    <a:cubicBezTo>
                      <a:pt x="1562" y="593"/>
                      <a:pt x="1563" y="613"/>
                      <a:pt x="1575" y="607"/>
                    </a:cubicBezTo>
                    <a:cubicBezTo>
                      <a:pt x="1573" y="604"/>
                      <a:pt x="1572" y="599"/>
                      <a:pt x="1571" y="595"/>
                    </a:cubicBezTo>
                    <a:cubicBezTo>
                      <a:pt x="1573" y="593"/>
                      <a:pt x="1573" y="595"/>
                      <a:pt x="1576" y="595"/>
                    </a:cubicBezTo>
                    <a:cubicBezTo>
                      <a:pt x="1574" y="590"/>
                      <a:pt x="1573" y="585"/>
                      <a:pt x="1570" y="581"/>
                    </a:cubicBezTo>
                    <a:cubicBezTo>
                      <a:pt x="1566" y="580"/>
                      <a:pt x="1567" y="583"/>
                      <a:pt x="1564" y="582"/>
                    </a:cubicBezTo>
                    <a:cubicBezTo>
                      <a:pt x="1564" y="579"/>
                      <a:pt x="1561" y="579"/>
                      <a:pt x="1562" y="575"/>
                    </a:cubicBezTo>
                    <a:cubicBezTo>
                      <a:pt x="1566" y="577"/>
                      <a:pt x="1564" y="571"/>
                      <a:pt x="1566" y="571"/>
                    </a:cubicBezTo>
                    <a:cubicBezTo>
                      <a:pt x="1569" y="576"/>
                      <a:pt x="1570" y="583"/>
                      <a:pt x="1578" y="582"/>
                    </a:cubicBezTo>
                    <a:cubicBezTo>
                      <a:pt x="1581" y="576"/>
                      <a:pt x="1574" y="573"/>
                      <a:pt x="1575" y="564"/>
                    </a:cubicBezTo>
                    <a:cubicBezTo>
                      <a:pt x="1573" y="562"/>
                      <a:pt x="1567" y="563"/>
                      <a:pt x="1568" y="558"/>
                    </a:cubicBezTo>
                    <a:cubicBezTo>
                      <a:pt x="1569" y="559"/>
                      <a:pt x="1571" y="559"/>
                      <a:pt x="1573" y="558"/>
                    </a:cubicBezTo>
                    <a:cubicBezTo>
                      <a:pt x="1576" y="554"/>
                      <a:pt x="1575" y="549"/>
                      <a:pt x="1573" y="544"/>
                    </a:cubicBezTo>
                    <a:cubicBezTo>
                      <a:pt x="1575" y="544"/>
                      <a:pt x="1577" y="549"/>
                      <a:pt x="1578" y="546"/>
                    </a:cubicBezTo>
                    <a:cubicBezTo>
                      <a:pt x="1575" y="542"/>
                      <a:pt x="1572" y="536"/>
                      <a:pt x="1571" y="530"/>
                    </a:cubicBezTo>
                    <a:cubicBezTo>
                      <a:pt x="1574" y="531"/>
                      <a:pt x="1574" y="535"/>
                      <a:pt x="1577" y="536"/>
                    </a:cubicBezTo>
                    <a:cubicBezTo>
                      <a:pt x="1578" y="529"/>
                      <a:pt x="1573" y="528"/>
                      <a:pt x="1572" y="522"/>
                    </a:cubicBezTo>
                    <a:cubicBezTo>
                      <a:pt x="1571" y="521"/>
                      <a:pt x="1569" y="520"/>
                      <a:pt x="1567" y="520"/>
                    </a:cubicBezTo>
                    <a:cubicBezTo>
                      <a:pt x="1564" y="507"/>
                      <a:pt x="1548" y="508"/>
                      <a:pt x="1547" y="493"/>
                    </a:cubicBezTo>
                    <a:cubicBezTo>
                      <a:pt x="1539" y="479"/>
                      <a:pt x="1524" y="473"/>
                      <a:pt x="1509" y="467"/>
                    </a:cubicBezTo>
                    <a:cubicBezTo>
                      <a:pt x="1509" y="474"/>
                      <a:pt x="1514" y="471"/>
                      <a:pt x="1515" y="474"/>
                    </a:cubicBezTo>
                    <a:close/>
                    <a:moveTo>
                      <a:pt x="1538" y="514"/>
                    </a:moveTo>
                    <a:cubicBezTo>
                      <a:pt x="1539" y="517"/>
                      <a:pt x="1541" y="519"/>
                      <a:pt x="1544" y="520"/>
                    </a:cubicBezTo>
                    <a:cubicBezTo>
                      <a:pt x="1543" y="517"/>
                      <a:pt x="1542" y="514"/>
                      <a:pt x="1538" y="514"/>
                    </a:cubicBezTo>
                    <a:close/>
                    <a:moveTo>
                      <a:pt x="165" y="558"/>
                    </a:moveTo>
                    <a:cubicBezTo>
                      <a:pt x="172" y="553"/>
                      <a:pt x="179" y="544"/>
                      <a:pt x="179" y="535"/>
                    </a:cubicBezTo>
                    <a:cubicBezTo>
                      <a:pt x="170" y="538"/>
                      <a:pt x="165" y="549"/>
                      <a:pt x="165" y="558"/>
                    </a:cubicBezTo>
                    <a:close/>
                    <a:moveTo>
                      <a:pt x="131" y="540"/>
                    </a:moveTo>
                    <a:cubicBezTo>
                      <a:pt x="127" y="541"/>
                      <a:pt x="126" y="548"/>
                      <a:pt x="128" y="551"/>
                    </a:cubicBezTo>
                    <a:cubicBezTo>
                      <a:pt x="132" y="551"/>
                      <a:pt x="135" y="542"/>
                      <a:pt x="131" y="540"/>
                    </a:cubicBezTo>
                    <a:close/>
                    <a:moveTo>
                      <a:pt x="134" y="552"/>
                    </a:moveTo>
                    <a:cubicBezTo>
                      <a:pt x="135" y="550"/>
                      <a:pt x="139" y="545"/>
                      <a:pt x="134" y="545"/>
                    </a:cubicBezTo>
                    <a:cubicBezTo>
                      <a:pt x="135" y="548"/>
                      <a:pt x="132" y="550"/>
                      <a:pt x="134" y="552"/>
                    </a:cubicBezTo>
                    <a:close/>
                    <a:moveTo>
                      <a:pt x="157" y="557"/>
                    </a:moveTo>
                    <a:cubicBezTo>
                      <a:pt x="155" y="569"/>
                      <a:pt x="146" y="575"/>
                      <a:pt x="143" y="588"/>
                    </a:cubicBezTo>
                    <a:cubicBezTo>
                      <a:pt x="145" y="589"/>
                      <a:pt x="147" y="588"/>
                      <a:pt x="150" y="590"/>
                    </a:cubicBezTo>
                    <a:cubicBezTo>
                      <a:pt x="155" y="580"/>
                      <a:pt x="164" y="574"/>
                      <a:pt x="165" y="559"/>
                    </a:cubicBezTo>
                    <a:cubicBezTo>
                      <a:pt x="160" y="562"/>
                      <a:pt x="160" y="559"/>
                      <a:pt x="157" y="557"/>
                    </a:cubicBezTo>
                    <a:close/>
                    <a:moveTo>
                      <a:pt x="1553" y="610"/>
                    </a:moveTo>
                    <a:cubicBezTo>
                      <a:pt x="1553" y="615"/>
                      <a:pt x="1554" y="620"/>
                      <a:pt x="1552" y="624"/>
                    </a:cubicBezTo>
                    <a:cubicBezTo>
                      <a:pt x="1554" y="627"/>
                      <a:pt x="1557" y="628"/>
                      <a:pt x="1560" y="630"/>
                    </a:cubicBezTo>
                    <a:cubicBezTo>
                      <a:pt x="1563" y="629"/>
                      <a:pt x="1558" y="626"/>
                      <a:pt x="1561" y="625"/>
                    </a:cubicBezTo>
                    <a:cubicBezTo>
                      <a:pt x="1569" y="629"/>
                      <a:pt x="1566" y="644"/>
                      <a:pt x="1576" y="646"/>
                    </a:cubicBezTo>
                    <a:cubicBezTo>
                      <a:pt x="1578" y="642"/>
                      <a:pt x="1572" y="639"/>
                      <a:pt x="1575" y="636"/>
                    </a:cubicBezTo>
                    <a:cubicBezTo>
                      <a:pt x="1578" y="636"/>
                      <a:pt x="1577" y="641"/>
                      <a:pt x="1580" y="641"/>
                    </a:cubicBezTo>
                    <a:cubicBezTo>
                      <a:pt x="1580" y="628"/>
                      <a:pt x="1569" y="627"/>
                      <a:pt x="1570" y="613"/>
                    </a:cubicBezTo>
                    <a:cubicBezTo>
                      <a:pt x="1564" y="609"/>
                      <a:pt x="1559" y="608"/>
                      <a:pt x="1553" y="610"/>
                    </a:cubicBezTo>
                    <a:close/>
                    <a:moveTo>
                      <a:pt x="1533" y="650"/>
                    </a:moveTo>
                    <a:cubicBezTo>
                      <a:pt x="1538" y="651"/>
                      <a:pt x="1537" y="646"/>
                      <a:pt x="1537" y="642"/>
                    </a:cubicBezTo>
                    <a:cubicBezTo>
                      <a:pt x="1534" y="642"/>
                      <a:pt x="1534" y="642"/>
                      <a:pt x="1534" y="642"/>
                    </a:cubicBezTo>
                    <a:cubicBezTo>
                      <a:pt x="1533" y="644"/>
                      <a:pt x="1531" y="647"/>
                      <a:pt x="1533" y="650"/>
                    </a:cubicBezTo>
                    <a:close/>
                    <a:moveTo>
                      <a:pt x="151" y="669"/>
                    </a:moveTo>
                    <a:cubicBezTo>
                      <a:pt x="152" y="668"/>
                      <a:pt x="154" y="661"/>
                      <a:pt x="151" y="660"/>
                    </a:cubicBezTo>
                    <a:cubicBezTo>
                      <a:pt x="150" y="662"/>
                      <a:pt x="146" y="668"/>
                      <a:pt x="151" y="669"/>
                    </a:cubicBezTo>
                    <a:close/>
                    <a:moveTo>
                      <a:pt x="252" y="666"/>
                    </a:moveTo>
                    <a:cubicBezTo>
                      <a:pt x="253" y="665"/>
                      <a:pt x="254" y="664"/>
                      <a:pt x="253" y="662"/>
                    </a:cubicBezTo>
                    <a:cubicBezTo>
                      <a:pt x="252" y="662"/>
                      <a:pt x="252" y="661"/>
                      <a:pt x="250" y="661"/>
                    </a:cubicBezTo>
                    <a:cubicBezTo>
                      <a:pt x="249" y="664"/>
                      <a:pt x="249" y="666"/>
                      <a:pt x="252" y="666"/>
                    </a:cubicBezTo>
                    <a:close/>
                    <a:moveTo>
                      <a:pt x="205" y="662"/>
                    </a:moveTo>
                    <a:cubicBezTo>
                      <a:pt x="203" y="664"/>
                      <a:pt x="202" y="669"/>
                      <a:pt x="206" y="669"/>
                    </a:cubicBezTo>
                    <a:cubicBezTo>
                      <a:pt x="208" y="668"/>
                      <a:pt x="208" y="662"/>
                      <a:pt x="205" y="662"/>
                    </a:cubicBezTo>
                    <a:close/>
                    <a:moveTo>
                      <a:pt x="202" y="678"/>
                    </a:moveTo>
                    <a:cubicBezTo>
                      <a:pt x="205" y="678"/>
                      <a:pt x="205" y="674"/>
                      <a:pt x="205" y="672"/>
                    </a:cubicBezTo>
                    <a:cubicBezTo>
                      <a:pt x="203" y="672"/>
                      <a:pt x="203" y="672"/>
                      <a:pt x="203" y="672"/>
                    </a:cubicBezTo>
                    <a:cubicBezTo>
                      <a:pt x="203" y="674"/>
                      <a:pt x="201" y="675"/>
                      <a:pt x="202" y="678"/>
                    </a:cubicBezTo>
                    <a:close/>
                    <a:moveTo>
                      <a:pt x="235" y="694"/>
                    </a:moveTo>
                    <a:cubicBezTo>
                      <a:pt x="235" y="701"/>
                      <a:pt x="235" y="701"/>
                      <a:pt x="235" y="701"/>
                    </a:cubicBezTo>
                    <a:cubicBezTo>
                      <a:pt x="239" y="701"/>
                      <a:pt x="239" y="694"/>
                      <a:pt x="235" y="694"/>
                    </a:cubicBezTo>
                    <a:close/>
                    <a:moveTo>
                      <a:pt x="228" y="697"/>
                    </a:moveTo>
                    <a:cubicBezTo>
                      <a:pt x="228" y="701"/>
                      <a:pt x="228" y="701"/>
                      <a:pt x="228" y="701"/>
                    </a:cubicBezTo>
                    <a:cubicBezTo>
                      <a:pt x="232" y="701"/>
                      <a:pt x="232" y="696"/>
                      <a:pt x="228" y="697"/>
                    </a:cubicBezTo>
                    <a:close/>
                    <a:moveTo>
                      <a:pt x="246" y="705"/>
                    </a:moveTo>
                    <a:cubicBezTo>
                      <a:pt x="243" y="705"/>
                      <a:pt x="243" y="707"/>
                      <a:pt x="243" y="709"/>
                    </a:cubicBezTo>
                    <a:cubicBezTo>
                      <a:pt x="245" y="709"/>
                      <a:pt x="246" y="708"/>
                      <a:pt x="246" y="705"/>
                    </a:cubicBezTo>
                    <a:close/>
                    <a:moveTo>
                      <a:pt x="250" y="710"/>
                    </a:moveTo>
                    <a:cubicBezTo>
                      <a:pt x="253" y="710"/>
                      <a:pt x="253" y="710"/>
                      <a:pt x="253" y="710"/>
                    </a:cubicBezTo>
                    <a:cubicBezTo>
                      <a:pt x="253" y="708"/>
                      <a:pt x="253" y="705"/>
                      <a:pt x="251" y="705"/>
                    </a:cubicBezTo>
                    <a:cubicBezTo>
                      <a:pt x="251" y="708"/>
                      <a:pt x="249" y="707"/>
                      <a:pt x="250" y="710"/>
                    </a:cubicBezTo>
                    <a:close/>
                    <a:moveTo>
                      <a:pt x="234" y="715"/>
                    </a:moveTo>
                    <a:cubicBezTo>
                      <a:pt x="239" y="717"/>
                      <a:pt x="240" y="707"/>
                      <a:pt x="235" y="708"/>
                    </a:cubicBezTo>
                    <a:cubicBezTo>
                      <a:pt x="234" y="709"/>
                      <a:pt x="234" y="712"/>
                      <a:pt x="234" y="715"/>
                    </a:cubicBezTo>
                    <a:close/>
                    <a:moveTo>
                      <a:pt x="209" y="710"/>
                    </a:moveTo>
                    <a:cubicBezTo>
                      <a:pt x="209" y="711"/>
                      <a:pt x="209" y="711"/>
                      <a:pt x="208" y="711"/>
                    </a:cubicBezTo>
                    <a:cubicBezTo>
                      <a:pt x="208" y="714"/>
                      <a:pt x="210" y="714"/>
                      <a:pt x="212" y="714"/>
                    </a:cubicBezTo>
                    <a:cubicBezTo>
                      <a:pt x="212" y="711"/>
                      <a:pt x="212" y="710"/>
                      <a:pt x="209" y="710"/>
                    </a:cubicBezTo>
                    <a:close/>
                    <a:moveTo>
                      <a:pt x="248" y="727"/>
                    </a:moveTo>
                    <a:cubicBezTo>
                      <a:pt x="250" y="726"/>
                      <a:pt x="254" y="726"/>
                      <a:pt x="254" y="723"/>
                    </a:cubicBezTo>
                    <a:cubicBezTo>
                      <a:pt x="251" y="720"/>
                      <a:pt x="246" y="722"/>
                      <a:pt x="248" y="727"/>
                    </a:cubicBezTo>
                    <a:close/>
                    <a:moveTo>
                      <a:pt x="240" y="723"/>
                    </a:moveTo>
                    <a:cubicBezTo>
                      <a:pt x="238" y="725"/>
                      <a:pt x="240" y="727"/>
                      <a:pt x="242" y="727"/>
                    </a:cubicBezTo>
                    <a:cubicBezTo>
                      <a:pt x="243" y="726"/>
                      <a:pt x="243" y="722"/>
                      <a:pt x="240" y="723"/>
                    </a:cubicBezTo>
                    <a:close/>
                    <a:moveTo>
                      <a:pt x="212" y="726"/>
                    </a:moveTo>
                    <a:cubicBezTo>
                      <a:pt x="212" y="728"/>
                      <a:pt x="211" y="729"/>
                      <a:pt x="211" y="732"/>
                    </a:cubicBezTo>
                    <a:cubicBezTo>
                      <a:pt x="214" y="736"/>
                      <a:pt x="219" y="739"/>
                      <a:pt x="219" y="746"/>
                    </a:cubicBezTo>
                    <a:cubicBezTo>
                      <a:pt x="224" y="746"/>
                      <a:pt x="227" y="749"/>
                      <a:pt x="231" y="750"/>
                    </a:cubicBezTo>
                    <a:cubicBezTo>
                      <a:pt x="232" y="749"/>
                      <a:pt x="234" y="748"/>
                      <a:pt x="233" y="745"/>
                    </a:cubicBezTo>
                    <a:cubicBezTo>
                      <a:pt x="224" y="741"/>
                      <a:pt x="221" y="730"/>
                      <a:pt x="212" y="726"/>
                    </a:cubicBezTo>
                    <a:close/>
                    <a:moveTo>
                      <a:pt x="250" y="744"/>
                    </a:moveTo>
                    <a:cubicBezTo>
                      <a:pt x="253" y="743"/>
                      <a:pt x="255" y="740"/>
                      <a:pt x="256" y="736"/>
                    </a:cubicBezTo>
                    <a:cubicBezTo>
                      <a:pt x="256" y="735"/>
                      <a:pt x="255" y="735"/>
                      <a:pt x="254" y="734"/>
                    </a:cubicBezTo>
                    <a:cubicBezTo>
                      <a:pt x="253" y="737"/>
                      <a:pt x="248" y="738"/>
                      <a:pt x="250" y="744"/>
                    </a:cubicBezTo>
                    <a:close/>
                    <a:moveTo>
                      <a:pt x="241" y="750"/>
                    </a:moveTo>
                    <a:cubicBezTo>
                      <a:pt x="245" y="751"/>
                      <a:pt x="245" y="742"/>
                      <a:pt x="243" y="741"/>
                    </a:cubicBezTo>
                    <a:cubicBezTo>
                      <a:pt x="242" y="744"/>
                      <a:pt x="239" y="747"/>
                      <a:pt x="241" y="750"/>
                    </a:cubicBezTo>
                    <a:close/>
                    <a:moveTo>
                      <a:pt x="308" y="792"/>
                    </a:moveTo>
                    <a:cubicBezTo>
                      <a:pt x="308" y="787"/>
                      <a:pt x="313" y="786"/>
                      <a:pt x="314" y="781"/>
                    </a:cubicBezTo>
                    <a:cubicBezTo>
                      <a:pt x="304" y="783"/>
                      <a:pt x="299" y="779"/>
                      <a:pt x="290" y="778"/>
                    </a:cubicBezTo>
                    <a:cubicBezTo>
                      <a:pt x="286" y="792"/>
                      <a:pt x="297" y="793"/>
                      <a:pt x="308" y="792"/>
                    </a:cubicBezTo>
                    <a:close/>
                    <a:moveTo>
                      <a:pt x="1572" y="782"/>
                    </a:moveTo>
                    <a:cubicBezTo>
                      <a:pt x="1571" y="794"/>
                      <a:pt x="1568" y="813"/>
                      <a:pt x="1574" y="823"/>
                    </a:cubicBezTo>
                    <a:cubicBezTo>
                      <a:pt x="1578" y="829"/>
                      <a:pt x="1585" y="830"/>
                      <a:pt x="1589" y="834"/>
                    </a:cubicBezTo>
                    <a:cubicBezTo>
                      <a:pt x="1587" y="815"/>
                      <a:pt x="1583" y="798"/>
                      <a:pt x="1577" y="782"/>
                    </a:cubicBezTo>
                    <a:lnTo>
                      <a:pt x="1572" y="782"/>
                    </a:lnTo>
                    <a:close/>
                    <a:moveTo>
                      <a:pt x="1610" y="920"/>
                    </a:moveTo>
                    <a:cubicBezTo>
                      <a:pt x="1612" y="931"/>
                      <a:pt x="1623" y="933"/>
                      <a:pt x="1629" y="940"/>
                    </a:cubicBezTo>
                    <a:cubicBezTo>
                      <a:pt x="1628" y="942"/>
                      <a:pt x="1627" y="943"/>
                      <a:pt x="1627" y="946"/>
                    </a:cubicBezTo>
                    <a:cubicBezTo>
                      <a:pt x="1632" y="948"/>
                      <a:pt x="1632" y="954"/>
                      <a:pt x="1635" y="957"/>
                    </a:cubicBezTo>
                    <a:cubicBezTo>
                      <a:pt x="1642" y="945"/>
                      <a:pt x="1626" y="938"/>
                      <a:pt x="1634" y="928"/>
                    </a:cubicBezTo>
                    <a:cubicBezTo>
                      <a:pt x="1638" y="928"/>
                      <a:pt x="1637" y="929"/>
                      <a:pt x="1640" y="927"/>
                    </a:cubicBezTo>
                    <a:cubicBezTo>
                      <a:pt x="1640" y="923"/>
                      <a:pt x="1638" y="923"/>
                      <a:pt x="1640" y="919"/>
                    </a:cubicBezTo>
                    <a:cubicBezTo>
                      <a:pt x="1643" y="920"/>
                      <a:pt x="1642" y="925"/>
                      <a:pt x="1646" y="925"/>
                    </a:cubicBezTo>
                    <a:cubicBezTo>
                      <a:pt x="1651" y="922"/>
                      <a:pt x="1651" y="908"/>
                      <a:pt x="1643" y="909"/>
                    </a:cubicBezTo>
                    <a:cubicBezTo>
                      <a:pt x="1639" y="914"/>
                      <a:pt x="1636" y="920"/>
                      <a:pt x="1631" y="924"/>
                    </a:cubicBezTo>
                    <a:cubicBezTo>
                      <a:pt x="1625" y="904"/>
                      <a:pt x="1630" y="877"/>
                      <a:pt x="1616" y="864"/>
                    </a:cubicBezTo>
                    <a:cubicBezTo>
                      <a:pt x="1615" y="869"/>
                      <a:pt x="1613" y="874"/>
                      <a:pt x="1608" y="876"/>
                    </a:cubicBezTo>
                    <a:cubicBezTo>
                      <a:pt x="1605" y="894"/>
                      <a:pt x="1612" y="902"/>
                      <a:pt x="1614" y="917"/>
                    </a:cubicBezTo>
                    <a:cubicBezTo>
                      <a:pt x="1613" y="919"/>
                      <a:pt x="1609" y="917"/>
                      <a:pt x="1610" y="920"/>
                    </a:cubicBezTo>
                    <a:close/>
                    <a:moveTo>
                      <a:pt x="1646" y="969"/>
                    </a:moveTo>
                    <a:cubicBezTo>
                      <a:pt x="1647" y="967"/>
                      <a:pt x="1648" y="964"/>
                      <a:pt x="1649" y="963"/>
                    </a:cubicBezTo>
                    <a:cubicBezTo>
                      <a:pt x="1653" y="969"/>
                      <a:pt x="1647" y="978"/>
                      <a:pt x="1650" y="986"/>
                    </a:cubicBezTo>
                    <a:cubicBezTo>
                      <a:pt x="1660" y="978"/>
                      <a:pt x="1651" y="964"/>
                      <a:pt x="1656" y="952"/>
                    </a:cubicBezTo>
                    <a:cubicBezTo>
                      <a:pt x="1656" y="955"/>
                      <a:pt x="1656" y="957"/>
                      <a:pt x="1657" y="960"/>
                    </a:cubicBezTo>
                    <a:cubicBezTo>
                      <a:pt x="1658" y="966"/>
                      <a:pt x="1659" y="949"/>
                      <a:pt x="1658" y="947"/>
                    </a:cubicBezTo>
                    <a:cubicBezTo>
                      <a:pt x="1660" y="944"/>
                      <a:pt x="1662" y="947"/>
                      <a:pt x="1665" y="945"/>
                    </a:cubicBezTo>
                    <a:cubicBezTo>
                      <a:pt x="1665" y="937"/>
                      <a:pt x="1665" y="937"/>
                      <a:pt x="1665" y="937"/>
                    </a:cubicBezTo>
                    <a:cubicBezTo>
                      <a:pt x="1662" y="937"/>
                      <a:pt x="1661" y="936"/>
                      <a:pt x="1661" y="934"/>
                    </a:cubicBezTo>
                    <a:cubicBezTo>
                      <a:pt x="1676" y="925"/>
                      <a:pt x="1649" y="905"/>
                      <a:pt x="1653" y="929"/>
                    </a:cubicBezTo>
                    <a:cubicBezTo>
                      <a:pt x="1657" y="930"/>
                      <a:pt x="1659" y="926"/>
                      <a:pt x="1660" y="928"/>
                    </a:cubicBezTo>
                    <a:cubicBezTo>
                      <a:pt x="1660" y="935"/>
                      <a:pt x="1657" y="937"/>
                      <a:pt x="1657" y="945"/>
                    </a:cubicBezTo>
                    <a:cubicBezTo>
                      <a:pt x="1654" y="945"/>
                      <a:pt x="1655" y="944"/>
                      <a:pt x="1653" y="945"/>
                    </a:cubicBezTo>
                    <a:cubicBezTo>
                      <a:pt x="1654" y="951"/>
                      <a:pt x="1654" y="953"/>
                      <a:pt x="1650" y="956"/>
                    </a:cubicBezTo>
                    <a:cubicBezTo>
                      <a:pt x="1650" y="952"/>
                      <a:pt x="1652" y="951"/>
                      <a:pt x="1651" y="946"/>
                    </a:cubicBezTo>
                    <a:cubicBezTo>
                      <a:pt x="1640" y="944"/>
                      <a:pt x="1640" y="962"/>
                      <a:pt x="1646" y="969"/>
                    </a:cubicBezTo>
                    <a:close/>
                    <a:moveTo>
                      <a:pt x="1498" y="979"/>
                    </a:moveTo>
                    <a:cubicBezTo>
                      <a:pt x="1515" y="981"/>
                      <a:pt x="1516" y="955"/>
                      <a:pt x="1512" y="941"/>
                    </a:cubicBezTo>
                    <a:cubicBezTo>
                      <a:pt x="1497" y="941"/>
                      <a:pt x="1480" y="977"/>
                      <a:pt x="1498" y="979"/>
                    </a:cubicBezTo>
                    <a:close/>
                    <a:moveTo>
                      <a:pt x="1672" y="946"/>
                    </a:moveTo>
                    <a:cubicBezTo>
                      <a:pt x="1670" y="946"/>
                      <a:pt x="1670" y="945"/>
                      <a:pt x="1667" y="945"/>
                    </a:cubicBezTo>
                    <a:cubicBezTo>
                      <a:pt x="1670" y="969"/>
                      <a:pt x="1652" y="986"/>
                      <a:pt x="1650" y="1012"/>
                    </a:cubicBezTo>
                    <a:cubicBezTo>
                      <a:pt x="1657" y="1009"/>
                      <a:pt x="1656" y="998"/>
                      <a:pt x="1662" y="994"/>
                    </a:cubicBezTo>
                    <a:cubicBezTo>
                      <a:pt x="1662" y="999"/>
                      <a:pt x="1662" y="1003"/>
                      <a:pt x="1664" y="1006"/>
                    </a:cubicBezTo>
                    <a:cubicBezTo>
                      <a:pt x="1671" y="1002"/>
                      <a:pt x="1674" y="993"/>
                      <a:pt x="1670" y="983"/>
                    </a:cubicBezTo>
                    <a:cubicBezTo>
                      <a:pt x="1680" y="977"/>
                      <a:pt x="1673" y="960"/>
                      <a:pt x="1672" y="946"/>
                    </a:cubicBezTo>
                    <a:close/>
                    <a:moveTo>
                      <a:pt x="1661" y="959"/>
                    </a:moveTo>
                    <a:cubicBezTo>
                      <a:pt x="1661" y="957"/>
                      <a:pt x="1663" y="952"/>
                      <a:pt x="1661" y="951"/>
                    </a:cubicBezTo>
                    <a:cubicBezTo>
                      <a:pt x="1660" y="953"/>
                      <a:pt x="1657" y="958"/>
                      <a:pt x="1661" y="959"/>
                    </a:cubicBezTo>
                    <a:close/>
                    <a:moveTo>
                      <a:pt x="1613" y="1046"/>
                    </a:moveTo>
                    <a:cubicBezTo>
                      <a:pt x="1616" y="1037"/>
                      <a:pt x="1618" y="1029"/>
                      <a:pt x="1620" y="1017"/>
                    </a:cubicBezTo>
                    <a:cubicBezTo>
                      <a:pt x="1622" y="1009"/>
                      <a:pt x="1629" y="1002"/>
                      <a:pt x="1629" y="996"/>
                    </a:cubicBezTo>
                    <a:cubicBezTo>
                      <a:pt x="1629" y="991"/>
                      <a:pt x="1627" y="985"/>
                      <a:pt x="1624" y="980"/>
                    </a:cubicBezTo>
                    <a:cubicBezTo>
                      <a:pt x="1623" y="986"/>
                      <a:pt x="1621" y="995"/>
                      <a:pt x="1625" y="999"/>
                    </a:cubicBezTo>
                    <a:cubicBezTo>
                      <a:pt x="1621" y="1013"/>
                      <a:pt x="1611" y="1032"/>
                      <a:pt x="1613" y="1046"/>
                    </a:cubicBezTo>
                    <a:close/>
                    <a:moveTo>
                      <a:pt x="1677" y="995"/>
                    </a:moveTo>
                    <a:cubicBezTo>
                      <a:pt x="1677" y="997"/>
                      <a:pt x="1675" y="1003"/>
                      <a:pt x="1677" y="1005"/>
                    </a:cubicBezTo>
                    <a:cubicBezTo>
                      <a:pt x="1677" y="1002"/>
                      <a:pt x="1680" y="997"/>
                      <a:pt x="1677" y="995"/>
                    </a:cubicBezTo>
                    <a:close/>
                    <a:moveTo>
                      <a:pt x="1685" y="1000"/>
                    </a:moveTo>
                    <a:cubicBezTo>
                      <a:pt x="1684" y="1002"/>
                      <a:pt x="1682" y="1006"/>
                      <a:pt x="1684" y="1007"/>
                    </a:cubicBezTo>
                    <a:cubicBezTo>
                      <a:pt x="1684" y="1005"/>
                      <a:pt x="1687" y="1001"/>
                      <a:pt x="1685" y="1000"/>
                    </a:cubicBezTo>
                    <a:close/>
                    <a:moveTo>
                      <a:pt x="1680" y="1016"/>
                    </a:moveTo>
                    <a:cubicBezTo>
                      <a:pt x="1679" y="1027"/>
                      <a:pt x="1675" y="1037"/>
                      <a:pt x="1676" y="1047"/>
                    </a:cubicBezTo>
                    <a:cubicBezTo>
                      <a:pt x="1682" y="1042"/>
                      <a:pt x="1683" y="1028"/>
                      <a:pt x="1683" y="1018"/>
                    </a:cubicBezTo>
                    <a:cubicBezTo>
                      <a:pt x="1681" y="1022"/>
                      <a:pt x="1681" y="1028"/>
                      <a:pt x="1679" y="1031"/>
                    </a:cubicBezTo>
                    <a:cubicBezTo>
                      <a:pt x="1679" y="1026"/>
                      <a:pt x="1683" y="1021"/>
                      <a:pt x="1680" y="1016"/>
                    </a:cubicBezTo>
                    <a:close/>
                    <a:moveTo>
                      <a:pt x="1649" y="1021"/>
                    </a:moveTo>
                    <a:cubicBezTo>
                      <a:pt x="1648" y="1023"/>
                      <a:pt x="1648" y="1026"/>
                      <a:pt x="1647" y="1029"/>
                    </a:cubicBezTo>
                    <a:cubicBezTo>
                      <a:pt x="1652" y="1031"/>
                      <a:pt x="1653" y="1021"/>
                      <a:pt x="1649" y="1021"/>
                    </a:cubicBezTo>
                    <a:close/>
                    <a:moveTo>
                      <a:pt x="1641" y="1043"/>
                    </a:moveTo>
                    <a:cubicBezTo>
                      <a:pt x="1641" y="1041"/>
                      <a:pt x="1644" y="1037"/>
                      <a:pt x="1642" y="1035"/>
                    </a:cubicBezTo>
                    <a:cubicBezTo>
                      <a:pt x="1641" y="1036"/>
                      <a:pt x="1638" y="1041"/>
                      <a:pt x="1641" y="1043"/>
                    </a:cubicBezTo>
                    <a:close/>
                    <a:moveTo>
                      <a:pt x="1634" y="1121"/>
                    </a:moveTo>
                    <a:cubicBezTo>
                      <a:pt x="1639" y="1092"/>
                      <a:pt x="1667" y="1080"/>
                      <a:pt x="1667" y="1048"/>
                    </a:cubicBezTo>
                    <a:cubicBezTo>
                      <a:pt x="1661" y="1065"/>
                      <a:pt x="1655" y="1083"/>
                      <a:pt x="1641" y="1091"/>
                    </a:cubicBezTo>
                    <a:cubicBezTo>
                      <a:pt x="1640" y="1102"/>
                      <a:pt x="1632" y="1110"/>
                      <a:pt x="1630" y="1121"/>
                    </a:cubicBezTo>
                    <a:cubicBezTo>
                      <a:pt x="1629" y="1130"/>
                      <a:pt x="1625" y="1136"/>
                      <a:pt x="1624" y="1142"/>
                    </a:cubicBezTo>
                    <a:cubicBezTo>
                      <a:pt x="1624" y="1144"/>
                      <a:pt x="1626" y="1146"/>
                      <a:pt x="1625" y="1148"/>
                    </a:cubicBezTo>
                    <a:cubicBezTo>
                      <a:pt x="1623" y="1156"/>
                      <a:pt x="1615" y="1162"/>
                      <a:pt x="1619" y="1171"/>
                    </a:cubicBezTo>
                    <a:cubicBezTo>
                      <a:pt x="1619" y="1170"/>
                      <a:pt x="1621" y="1165"/>
                      <a:pt x="1621" y="1168"/>
                    </a:cubicBezTo>
                    <a:cubicBezTo>
                      <a:pt x="1622" y="1180"/>
                      <a:pt x="1616" y="1184"/>
                      <a:pt x="1615" y="1194"/>
                    </a:cubicBezTo>
                    <a:cubicBezTo>
                      <a:pt x="1628" y="1182"/>
                      <a:pt x="1629" y="1157"/>
                      <a:pt x="1634" y="1139"/>
                    </a:cubicBezTo>
                    <a:cubicBezTo>
                      <a:pt x="1636" y="1151"/>
                      <a:pt x="1633" y="1158"/>
                      <a:pt x="1634" y="1168"/>
                    </a:cubicBezTo>
                    <a:cubicBezTo>
                      <a:pt x="1638" y="1159"/>
                      <a:pt x="1642" y="1150"/>
                      <a:pt x="1645" y="1140"/>
                    </a:cubicBezTo>
                    <a:cubicBezTo>
                      <a:pt x="1645" y="1138"/>
                      <a:pt x="1642" y="1140"/>
                      <a:pt x="1643" y="1137"/>
                    </a:cubicBezTo>
                    <a:cubicBezTo>
                      <a:pt x="1646" y="1132"/>
                      <a:pt x="1645" y="1125"/>
                      <a:pt x="1643" y="1120"/>
                    </a:cubicBezTo>
                    <a:cubicBezTo>
                      <a:pt x="1646" y="1111"/>
                      <a:pt x="1653" y="1101"/>
                      <a:pt x="1653" y="1092"/>
                    </a:cubicBezTo>
                    <a:cubicBezTo>
                      <a:pt x="1646" y="1100"/>
                      <a:pt x="1642" y="1125"/>
                      <a:pt x="1634" y="1121"/>
                    </a:cubicBezTo>
                    <a:close/>
                    <a:moveTo>
                      <a:pt x="1558" y="1177"/>
                    </a:moveTo>
                    <a:cubicBezTo>
                      <a:pt x="1557" y="1180"/>
                      <a:pt x="1561" y="1179"/>
                      <a:pt x="1560" y="1182"/>
                    </a:cubicBezTo>
                    <a:cubicBezTo>
                      <a:pt x="1550" y="1194"/>
                      <a:pt x="1533" y="1199"/>
                      <a:pt x="1531" y="1219"/>
                    </a:cubicBezTo>
                    <a:cubicBezTo>
                      <a:pt x="1534" y="1221"/>
                      <a:pt x="1535" y="1225"/>
                      <a:pt x="1536" y="1229"/>
                    </a:cubicBezTo>
                    <a:cubicBezTo>
                      <a:pt x="1538" y="1229"/>
                      <a:pt x="1539" y="1227"/>
                      <a:pt x="1542" y="1228"/>
                    </a:cubicBezTo>
                    <a:cubicBezTo>
                      <a:pt x="1541" y="1234"/>
                      <a:pt x="1541" y="1240"/>
                      <a:pt x="1541" y="1250"/>
                    </a:cubicBezTo>
                    <a:cubicBezTo>
                      <a:pt x="1549" y="1246"/>
                      <a:pt x="1552" y="1238"/>
                      <a:pt x="1558" y="1232"/>
                    </a:cubicBezTo>
                    <a:cubicBezTo>
                      <a:pt x="1559" y="1235"/>
                      <a:pt x="1555" y="1238"/>
                      <a:pt x="1558" y="1239"/>
                    </a:cubicBezTo>
                    <a:cubicBezTo>
                      <a:pt x="1562" y="1233"/>
                      <a:pt x="1568" y="1227"/>
                      <a:pt x="1572" y="1222"/>
                    </a:cubicBezTo>
                    <a:cubicBezTo>
                      <a:pt x="1572" y="1223"/>
                      <a:pt x="1573" y="1224"/>
                      <a:pt x="1574" y="1225"/>
                    </a:cubicBezTo>
                    <a:cubicBezTo>
                      <a:pt x="1578" y="1222"/>
                      <a:pt x="1581" y="1213"/>
                      <a:pt x="1585" y="1213"/>
                    </a:cubicBezTo>
                    <a:cubicBezTo>
                      <a:pt x="1585" y="1217"/>
                      <a:pt x="1584" y="1219"/>
                      <a:pt x="1583" y="1221"/>
                    </a:cubicBezTo>
                    <a:cubicBezTo>
                      <a:pt x="1595" y="1207"/>
                      <a:pt x="1602" y="1188"/>
                      <a:pt x="1609" y="1169"/>
                    </a:cubicBezTo>
                    <a:cubicBezTo>
                      <a:pt x="1604" y="1157"/>
                      <a:pt x="1620" y="1149"/>
                      <a:pt x="1620" y="1135"/>
                    </a:cubicBezTo>
                    <a:cubicBezTo>
                      <a:pt x="1619" y="1135"/>
                      <a:pt x="1618" y="1137"/>
                      <a:pt x="1618" y="1135"/>
                    </a:cubicBezTo>
                    <a:cubicBezTo>
                      <a:pt x="1619" y="1127"/>
                      <a:pt x="1627" y="1124"/>
                      <a:pt x="1629" y="1115"/>
                    </a:cubicBezTo>
                    <a:cubicBezTo>
                      <a:pt x="1623" y="1113"/>
                      <a:pt x="1624" y="1107"/>
                      <a:pt x="1625" y="1101"/>
                    </a:cubicBezTo>
                    <a:cubicBezTo>
                      <a:pt x="1623" y="1100"/>
                      <a:pt x="1622" y="1103"/>
                      <a:pt x="1621" y="1101"/>
                    </a:cubicBezTo>
                    <a:cubicBezTo>
                      <a:pt x="1619" y="1095"/>
                      <a:pt x="1622" y="1089"/>
                      <a:pt x="1621" y="1082"/>
                    </a:cubicBezTo>
                    <a:cubicBezTo>
                      <a:pt x="1627" y="1081"/>
                      <a:pt x="1629" y="1074"/>
                      <a:pt x="1625" y="1070"/>
                    </a:cubicBezTo>
                    <a:cubicBezTo>
                      <a:pt x="1628" y="1066"/>
                      <a:pt x="1635" y="1062"/>
                      <a:pt x="1632" y="1056"/>
                    </a:cubicBezTo>
                    <a:cubicBezTo>
                      <a:pt x="1629" y="1055"/>
                      <a:pt x="1627" y="1059"/>
                      <a:pt x="1622" y="1060"/>
                    </a:cubicBezTo>
                    <a:cubicBezTo>
                      <a:pt x="1623" y="1054"/>
                      <a:pt x="1618" y="1057"/>
                      <a:pt x="1617" y="1059"/>
                    </a:cubicBezTo>
                    <a:cubicBezTo>
                      <a:pt x="1615" y="1057"/>
                      <a:pt x="1617" y="1054"/>
                      <a:pt x="1613" y="1055"/>
                    </a:cubicBezTo>
                    <a:cubicBezTo>
                      <a:pt x="1611" y="1069"/>
                      <a:pt x="1603" y="1077"/>
                      <a:pt x="1602" y="1092"/>
                    </a:cubicBezTo>
                    <a:cubicBezTo>
                      <a:pt x="1594" y="1096"/>
                      <a:pt x="1595" y="1102"/>
                      <a:pt x="1593" y="1110"/>
                    </a:cubicBezTo>
                    <a:cubicBezTo>
                      <a:pt x="1588" y="1127"/>
                      <a:pt x="1583" y="1139"/>
                      <a:pt x="1573" y="1151"/>
                    </a:cubicBezTo>
                    <a:cubicBezTo>
                      <a:pt x="1568" y="1158"/>
                      <a:pt x="1561" y="1166"/>
                      <a:pt x="1558" y="1177"/>
                    </a:cubicBezTo>
                    <a:close/>
                    <a:moveTo>
                      <a:pt x="1665" y="1099"/>
                    </a:moveTo>
                    <a:cubicBezTo>
                      <a:pt x="1666" y="1096"/>
                      <a:pt x="1670" y="1091"/>
                      <a:pt x="1668" y="1087"/>
                    </a:cubicBezTo>
                    <a:cubicBezTo>
                      <a:pt x="1666" y="1090"/>
                      <a:pt x="1662" y="1096"/>
                      <a:pt x="1665" y="1099"/>
                    </a:cubicBezTo>
                    <a:close/>
                    <a:moveTo>
                      <a:pt x="1300" y="1160"/>
                    </a:moveTo>
                    <a:cubicBezTo>
                      <a:pt x="1300" y="1162"/>
                      <a:pt x="1298" y="1161"/>
                      <a:pt x="1297" y="1162"/>
                    </a:cubicBezTo>
                    <a:cubicBezTo>
                      <a:pt x="1293" y="1173"/>
                      <a:pt x="1294" y="1189"/>
                      <a:pt x="1301" y="1197"/>
                    </a:cubicBezTo>
                    <a:cubicBezTo>
                      <a:pt x="1302" y="1187"/>
                      <a:pt x="1305" y="1166"/>
                      <a:pt x="1300" y="1160"/>
                    </a:cubicBezTo>
                    <a:close/>
                    <a:moveTo>
                      <a:pt x="1524" y="1187"/>
                    </a:moveTo>
                    <a:cubicBezTo>
                      <a:pt x="1528" y="1188"/>
                      <a:pt x="1528" y="1184"/>
                      <a:pt x="1528" y="1181"/>
                    </a:cubicBezTo>
                    <a:cubicBezTo>
                      <a:pt x="1526" y="1179"/>
                      <a:pt x="1521" y="1184"/>
                      <a:pt x="1524" y="1187"/>
                    </a:cubicBezTo>
                    <a:close/>
                    <a:moveTo>
                      <a:pt x="1305" y="1208"/>
                    </a:moveTo>
                    <a:cubicBezTo>
                      <a:pt x="1300" y="1207"/>
                      <a:pt x="1301" y="1211"/>
                      <a:pt x="1299" y="1211"/>
                    </a:cubicBezTo>
                    <a:cubicBezTo>
                      <a:pt x="1300" y="1214"/>
                      <a:pt x="1300" y="1217"/>
                      <a:pt x="1304" y="1217"/>
                    </a:cubicBezTo>
                    <a:cubicBezTo>
                      <a:pt x="1305" y="1215"/>
                      <a:pt x="1304" y="1211"/>
                      <a:pt x="1305" y="1208"/>
                    </a:cubicBezTo>
                    <a:close/>
                    <a:moveTo>
                      <a:pt x="1604" y="1225"/>
                    </a:moveTo>
                    <a:cubicBezTo>
                      <a:pt x="1604" y="1229"/>
                      <a:pt x="1596" y="1231"/>
                      <a:pt x="1599" y="1235"/>
                    </a:cubicBezTo>
                    <a:cubicBezTo>
                      <a:pt x="1601" y="1233"/>
                      <a:pt x="1606" y="1228"/>
                      <a:pt x="1604" y="1225"/>
                    </a:cubicBezTo>
                    <a:close/>
                    <a:moveTo>
                      <a:pt x="1599" y="1243"/>
                    </a:moveTo>
                    <a:cubicBezTo>
                      <a:pt x="1601" y="1238"/>
                      <a:pt x="1613" y="1234"/>
                      <a:pt x="1607" y="1229"/>
                    </a:cubicBezTo>
                    <a:cubicBezTo>
                      <a:pt x="1606" y="1234"/>
                      <a:pt x="1597" y="1238"/>
                      <a:pt x="1599" y="1243"/>
                    </a:cubicBezTo>
                    <a:close/>
                    <a:moveTo>
                      <a:pt x="1484" y="1254"/>
                    </a:moveTo>
                    <a:cubicBezTo>
                      <a:pt x="1485" y="1252"/>
                      <a:pt x="1488" y="1248"/>
                      <a:pt x="1484" y="1247"/>
                    </a:cubicBezTo>
                    <a:cubicBezTo>
                      <a:pt x="1483" y="1248"/>
                      <a:pt x="1480" y="1249"/>
                      <a:pt x="1481" y="1253"/>
                    </a:cubicBezTo>
                    <a:cubicBezTo>
                      <a:pt x="1483" y="1253"/>
                      <a:pt x="1483" y="1253"/>
                      <a:pt x="1484" y="1254"/>
                    </a:cubicBezTo>
                    <a:close/>
                    <a:moveTo>
                      <a:pt x="1326" y="1251"/>
                    </a:moveTo>
                    <a:cubicBezTo>
                      <a:pt x="1323" y="1254"/>
                      <a:pt x="1325" y="1260"/>
                      <a:pt x="1331" y="1258"/>
                    </a:cubicBezTo>
                    <a:cubicBezTo>
                      <a:pt x="1333" y="1255"/>
                      <a:pt x="1331" y="1250"/>
                      <a:pt x="1326" y="1251"/>
                    </a:cubicBezTo>
                    <a:close/>
                    <a:moveTo>
                      <a:pt x="1583" y="1252"/>
                    </a:moveTo>
                    <a:cubicBezTo>
                      <a:pt x="1582" y="1254"/>
                      <a:pt x="1579" y="1254"/>
                      <a:pt x="1579" y="1257"/>
                    </a:cubicBezTo>
                    <a:cubicBezTo>
                      <a:pt x="1582" y="1257"/>
                      <a:pt x="1585" y="1253"/>
                      <a:pt x="1583" y="1252"/>
                    </a:cubicBezTo>
                    <a:close/>
                    <a:moveTo>
                      <a:pt x="1576" y="1259"/>
                    </a:moveTo>
                    <a:cubicBezTo>
                      <a:pt x="1570" y="1267"/>
                      <a:pt x="1562" y="1273"/>
                      <a:pt x="1556" y="1280"/>
                    </a:cubicBezTo>
                    <a:cubicBezTo>
                      <a:pt x="1557" y="1277"/>
                      <a:pt x="1558" y="1274"/>
                      <a:pt x="1559" y="1272"/>
                    </a:cubicBezTo>
                    <a:cubicBezTo>
                      <a:pt x="1555" y="1270"/>
                      <a:pt x="1552" y="1276"/>
                      <a:pt x="1548" y="1278"/>
                    </a:cubicBezTo>
                    <a:cubicBezTo>
                      <a:pt x="1548" y="1279"/>
                      <a:pt x="1545" y="1279"/>
                      <a:pt x="1544" y="1279"/>
                    </a:cubicBezTo>
                    <a:cubicBezTo>
                      <a:pt x="1540" y="1282"/>
                      <a:pt x="1541" y="1287"/>
                      <a:pt x="1538" y="1290"/>
                    </a:cubicBezTo>
                    <a:cubicBezTo>
                      <a:pt x="1533" y="1295"/>
                      <a:pt x="1518" y="1305"/>
                      <a:pt x="1512" y="1303"/>
                    </a:cubicBezTo>
                    <a:cubicBezTo>
                      <a:pt x="1504" y="1310"/>
                      <a:pt x="1495" y="1315"/>
                      <a:pt x="1486" y="1320"/>
                    </a:cubicBezTo>
                    <a:cubicBezTo>
                      <a:pt x="1491" y="1309"/>
                      <a:pt x="1491" y="1298"/>
                      <a:pt x="1496" y="1288"/>
                    </a:cubicBezTo>
                    <a:cubicBezTo>
                      <a:pt x="1494" y="1288"/>
                      <a:pt x="1492" y="1285"/>
                      <a:pt x="1491" y="1282"/>
                    </a:cubicBezTo>
                    <a:cubicBezTo>
                      <a:pt x="1490" y="1284"/>
                      <a:pt x="1486" y="1287"/>
                      <a:pt x="1485" y="1285"/>
                    </a:cubicBezTo>
                    <a:cubicBezTo>
                      <a:pt x="1487" y="1283"/>
                      <a:pt x="1490" y="1281"/>
                      <a:pt x="1493" y="1279"/>
                    </a:cubicBezTo>
                    <a:cubicBezTo>
                      <a:pt x="1494" y="1281"/>
                      <a:pt x="1493" y="1285"/>
                      <a:pt x="1496" y="1284"/>
                    </a:cubicBezTo>
                    <a:cubicBezTo>
                      <a:pt x="1506" y="1284"/>
                      <a:pt x="1507" y="1277"/>
                      <a:pt x="1503" y="1269"/>
                    </a:cubicBezTo>
                    <a:cubicBezTo>
                      <a:pt x="1490" y="1265"/>
                      <a:pt x="1490" y="1282"/>
                      <a:pt x="1480" y="1285"/>
                    </a:cubicBezTo>
                    <a:cubicBezTo>
                      <a:pt x="1479" y="1284"/>
                      <a:pt x="1480" y="1280"/>
                      <a:pt x="1478" y="1278"/>
                    </a:cubicBezTo>
                    <a:cubicBezTo>
                      <a:pt x="1474" y="1279"/>
                      <a:pt x="1473" y="1283"/>
                      <a:pt x="1469" y="1283"/>
                    </a:cubicBezTo>
                    <a:cubicBezTo>
                      <a:pt x="1469" y="1276"/>
                      <a:pt x="1472" y="1272"/>
                      <a:pt x="1472" y="1266"/>
                    </a:cubicBezTo>
                    <a:cubicBezTo>
                      <a:pt x="1467" y="1266"/>
                      <a:pt x="1467" y="1271"/>
                      <a:pt x="1462" y="1272"/>
                    </a:cubicBezTo>
                    <a:cubicBezTo>
                      <a:pt x="1462" y="1268"/>
                      <a:pt x="1462" y="1268"/>
                      <a:pt x="1462" y="1268"/>
                    </a:cubicBezTo>
                    <a:cubicBezTo>
                      <a:pt x="1459" y="1268"/>
                      <a:pt x="1458" y="1270"/>
                      <a:pt x="1455" y="1270"/>
                    </a:cubicBezTo>
                    <a:cubicBezTo>
                      <a:pt x="1456" y="1265"/>
                      <a:pt x="1451" y="1266"/>
                      <a:pt x="1449" y="1264"/>
                    </a:cubicBezTo>
                    <a:cubicBezTo>
                      <a:pt x="1449" y="1262"/>
                      <a:pt x="1451" y="1262"/>
                      <a:pt x="1451" y="1259"/>
                    </a:cubicBezTo>
                    <a:cubicBezTo>
                      <a:pt x="1441" y="1261"/>
                      <a:pt x="1431" y="1274"/>
                      <a:pt x="1424" y="1262"/>
                    </a:cubicBezTo>
                    <a:cubicBezTo>
                      <a:pt x="1408" y="1266"/>
                      <a:pt x="1398" y="1253"/>
                      <a:pt x="1390" y="1253"/>
                    </a:cubicBezTo>
                    <a:cubicBezTo>
                      <a:pt x="1382" y="1252"/>
                      <a:pt x="1376" y="1259"/>
                      <a:pt x="1366" y="1261"/>
                    </a:cubicBezTo>
                    <a:cubicBezTo>
                      <a:pt x="1359" y="1256"/>
                      <a:pt x="1350" y="1262"/>
                      <a:pt x="1352" y="1272"/>
                    </a:cubicBezTo>
                    <a:cubicBezTo>
                      <a:pt x="1363" y="1279"/>
                      <a:pt x="1383" y="1278"/>
                      <a:pt x="1390" y="1289"/>
                    </a:cubicBezTo>
                    <a:cubicBezTo>
                      <a:pt x="1404" y="1286"/>
                      <a:pt x="1411" y="1291"/>
                      <a:pt x="1410" y="1305"/>
                    </a:cubicBezTo>
                    <a:cubicBezTo>
                      <a:pt x="1414" y="1306"/>
                      <a:pt x="1414" y="1302"/>
                      <a:pt x="1418" y="1302"/>
                    </a:cubicBezTo>
                    <a:cubicBezTo>
                      <a:pt x="1419" y="1306"/>
                      <a:pt x="1421" y="1308"/>
                      <a:pt x="1427" y="1307"/>
                    </a:cubicBezTo>
                    <a:cubicBezTo>
                      <a:pt x="1426" y="1315"/>
                      <a:pt x="1433" y="1314"/>
                      <a:pt x="1430" y="1323"/>
                    </a:cubicBezTo>
                    <a:cubicBezTo>
                      <a:pt x="1437" y="1323"/>
                      <a:pt x="1440" y="1330"/>
                      <a:pt x="1448" y="1326"/>
                    </a:cubicBezTo>
                    <a:cubicBezTo>
                      <a:pt x="1448" y="1331"/>
                      <a:pt x="1448" y="1331"/>
                      <a:pt x="1448" y="1331"/>
                    </a:cubicBezTo>
                    <a:cubicBezTo>
                      <a:pt x="1456" y="1331"/>
                      <a:pt x="1465" y="1331"/>
                      <a:pt x="1470" y="1334"/>
                    </a:cubicBezTo>
                    <a:cubicBezTo>
                      <a:pt x="1472" y="1328"/>
                      <a:pt x="1479" y="1326"/>
                      <a:pt x="1484" y="1323"/>
                    </a:cubicBezTo>
                    <a:cubicBezTo>
                      <a:pt x="1484" y="1329"/>
                      <a:pt x="1476" y="1333"/>
                      <a:pt x="1476" y="1338"/>
                    </a:cubicBezTo>
                    <a:cubicBezTo>
                      <a:pt x="1479" y="1336"/>
                      <a:pt x="1482" y="1333"/>
                      <a:pt x="1485" y="1331"/>
                    </a:cubicBezTo>
                    <a:cubicBezTo>
                      <a:pt x="1486" y="1334"/>
                      <a:pt x="1484" y="1334"/>
                      <a:pt x="1484" y="1336"/>
                    </a:cubicBezTo>
                    <a:cubicBezTo>
                      <a:pt x="1493" y="1328"/>
                      <a:pt x="1504" y="1324"/>
                      <a:pt x="1514" y="1317"/>
                    </a:cubicBezTo>
                    <a:cubicBezTo>
                      <a:pt x="1519" y="1313"/>
                      <a:pt x="1524" y="1308"/>
                      <a:pt x="1529" y="1305"/>
                    </a:cubicBezTo>
                    <a:cubicBezTo>
                      <a:pt x="1531" y="1305"/>
                      <a:pt x="1533" y="1306"/>
                      <a:pt x="1534" y="1305"/>
                    </a:cubicBezTo>
                    <a:cubicBezTo>
                      <a:pt x="1544" y="1301"/>
                      <a:pt x="1548" y="1286"/>
                      <a:pt x="1560" y="1286"/>
                    </a:cubicBezTo>
                    <a:cubicBezTo>
                      <a:pt x="1561" y="1281"/>
                      <a:pt x="1568" y="1281"/>
                      <a:pt x="1567" y="1273"/>
                    </a:cubicBezTo>
                    <a:cubicBezTo>
                      <a:pt x="1571" y="1270"/>
                      <a:pt x="1578" y="1265"/>
                      <a:pt x="1576" y="1259"/>
                    </a:cubicBezTo>
                    <a:close/>
                    <a:moveTo>
                      <a:pt x="1572" y="1253"/>
                    </a:moveTo>
                    <a:cubicBezTo>
                      <a:pt x="1569" y="1258"/>
                      <a:pt x="1563" y="1260"/>
                      <a:pt x="1562" y="1267"/>
                    </a:cubicBezTo>
                    <a:cubicBezTo>
                      <a:pt x="1567" y="1265"/>
                      <a:pt x="1572" y="1257"/>
                      <a:pt x="1572" y="1253"/>
                    </a:cubicBezTo>
                    <a:close/>
                    <a:moveTo>
                      <a:pt x="1486" y="1256"/>
                    </a:moveTo>
                    <a:cubicBezTo>
                      <a:pt x="1483" y="1258"/>
                      <a:pt x="1481" y="1259"/>
                      <a:pt x="1482" y="1264"/>
                    </a:cubicBezTo>
                    <a:cubicBezTo>
                      <a:pt x="1488" y="1266"/>
                      <a:pt x="1490" y="1258"/>
                      <a:pt x="1486" y="1256"/>
                    </a:cubicBezTo>
                    <a:close/>
                    <a:moveTo>
                      <a:pt x="1512" y="1275"/>
                    </a:moveTo>
                    <a:cubicBezTo>
                      <a:pt x="1515" y="1276"/>
                      <a:pt x="1524" y="1270"/>
                      <a:pt x="1521" y="1264"/>
                    </a:cubicBezTo>
                    <a:cubicBezTo>
                      <a:pt x="1515" y="1264"/>
                      <a:pt x="1512" y="1269"/>
                      <a:pt x="1512" y="1275"/>
                    </a:cubicBezTo>
                    <a:close/>
                    <a:moveTo>
                      <a:pt x="1481" y="1269"/>
                    </a:moveTo>
                    <a:cubicBezTo>
                      <a:pt x="1480" y="1271"/>
                      <a:pt x="1478" y="1272"/>
                      <a:pt x="1478" y="1275"/>
                    </a:cubicBezTo>
                    <a:cubicBezTo>
                      <a:pt x="1483" y="1277"/>
                      <a:pt x="1486" y="1269"/>
                      <a:pt x="1481" y="1269"/>
                    </a:cubicBezTo>
                    <a:close/>
                    <a:moveTo>
                      <a:pt x="1116" y="1298"/>
                    </a:moveTo>
                    <a:cubicBezTo>
                      <a:pt x="1109" y="1297"/>
                      <a:pt x="1104" y="1288"/>
                      <a:pt x="1096" y="1287"/>
                    </a:cubicBezTo>
                    <a:cubicBezTo>
                      <a:pt x="1087" y="1286"/>
                      <a:pt x="1087" y="1292"/>
                      <a:pt x="1082" y="1297"/>
                    </a:cubicBezTo>
                    <a:cubicBezTo>
                      <a:pt x="1096" y="1306"/>
                      <a:pt x="1083" y="1311"/>
                      <a:pt x="1081" y="1320"/>
                    </a:cubicBezTo>
                    <a:cubicBezTo>
                      <a:pt x="1080" y="1327"/>
                      <a:pt x="1084" y="1338"/>
                      <a:pt x="1088" y="1341"/>
                    </a:cubicBezTo>
                    <a:cubicBezTo>
                      <a:pt x="1100" y="1349"/>
                      <a:pt x="1128" y="1331"/>
                      <a:pt x="1129" y="1325"/>
                    </a:cubicBezTo>
                    <a:cubicBezTo>
                      <a:pt x="1130" y="1317"/>
                      <a:pt x="1120" y="1314"/>
                      <a:pt x="1120" y="1304"/>
                    </a:cubicBezTo>
                    <a:cubicBezTo>
                      <a:pt x="1118" y="1303"/>
                      <a:pt x="1114" y="1303"/>
                      <a:pt x="1116" y="1298"/>
                    </a:cubicBezTo>
                    <a:close/>
                    <a:moveTo>
                      <a:pt x="1361" y="1301"/>
                    </a:moveTo>
                    <a:cubicBezTo>
                      <a:pt x="1367" y="1301"/>
                      <a:pt x="1372" y="1301"/>
                      <a:pt x="1373" y="1296"/>
                    </a:cubicBezTo>
                    <a:cubicBezTo>
                      <a:pt x="1369" y="1293"/>
                      <a:pt x="1360" y="1293"/>
                      <a:pt x="1361" y="1301"/>
                    </a:cubicBezTo>
                    <a:close/>
                    <a:moveTo>
                      <a:pt x="1382" y="1306"/>
                    </a:moveTo>
                    <a:cubicBezTo>
                      <a:pt x="1387" y="1307"/>
                      <a:pt x="1387" y="1311"/>
                      <a:pt x="1392" y="1311"/>
                    </a:cubicBezTo>
                    <a:cubicBezTo>
                      <a:pt x="1395" y="1310"/>
                      <a:pt x="1395" y="1306"/>
                      <a:pt x="1395" y="1302"/>
                    </a:cubicBezTo>
                    <a:cubicBezTo>
                      <a:pt x="1391" y="1298"/>
                      <a:pt x="1381" y="1299"/>
                      <a:pt x="1382" y="1306"/>
                    </a:cubicBezTo>
                    <a:close/>
                    <a:moveTo>
                      <a:pt x="1407" y="1320"/>
                    </a:moveTo>
                    <a:cubicBezTo>
                      <a:pt x="1404" y="1322"/>
                      <a:pt x="1402" y="1324"/>
                      <a:pt x="1403" y="1330"/>
                    </a:cubicBezTo>
                    <a:cubicBezTo>
                      <a:pt x="1405" y="1330"/>
                      <a:pt x="1405" y="1332"/>
                      <a:pt x="1406" y="1332"/>
                    </a:cubicBezTo>
                    <a:cubicBezTo>
                      <a:pt x="1411" y="1330"/>
                      <a:pt x="1413" y="1322"/>
                      <a:pt x="1407" y="1320"/>
                    </a:cubicBezTo>
                    <a:close/>
                    <a:moveTo>
                      <a:pt x="1418" y="1326"/>
                    </a:moveTo>
                    <a:cubicBezTo>
                      <a:pt x="1417" y="1328"/>
                      <a:pt x="1413" y="1327"/>
                      <a:pt x="1414" y="1331"/>
                    </a:cubicBezTo>
                    <a:cubicBezTo>
                      <a:pt x="1418" y="1332"/>
                      <a:pt x="1422" y="1328"/>
                      <a:pt x="1418" y="1326"/>
                    </a:cubicBezTo>
                    <a:close/>
                    <a:moveTo>
                      <a:pt x="1416" y="1335"/>
                    </a:moveTo>
                    <a:cubicBezTo>
                      <a:pt x="1420" y="1336"/>
                      <a:pt x="1426" y="1339"/>
                      <a:pt x="1426" y="1332"/>
                    </a:cubicBezTo>
                    <a:cubicBezTo>
                      <a:pt x="1423" y="1330"/>
                      <a:pt x="1416" y="1331"/>
                      <a:pt x="1416" y="1335"/>
                    </a:cubicBezTo>
                    <a:close/>
                    <a:moveTo>
                      <a:pt x="576" y="1568"/>
                    </a:moveTo>
                    <a:cubicBezTo>
                      <a:pt x="565" y="1562"/>
                      <a:pt x="558" y="1545"/>
                      <a:pt x="543" y="1549"/>
                    </a:cubicBezTo>
                    <a:cubicBezTo>
                      <a:pt x="548" y="1557"/>
                      <a:pt x="537" y="1557"/>
                      <a:pt x="532" y="1555"/>
                    </a:cubicBezTo>
                    <a:cubicBezTo>
                      <a:pt x="531" y="1559"/>
                      <a:pt x="535" y="1557"/>
                      <a:pt x="534" y="1561"/>
                    </a:cubicBezTo>
                    <a:cubicBezTo>
                      <a:pt x="529" y="1562"/>
                      <a:pt x="530" y="1558"/>
                      <a:pt x="525" y="1559"/>
                    </a:cubicBezTo>
                    <a:cubicBezTo>
                      <a:pt x="525" y="1560"/>
                      <a:pt x="526" y="1564"/>
                      <a:pt x="524" y="1564"/>
                    </a:cubicBezTo>
                    <a:cubicBezTo>
                      <a:pt x="522" y="1563"/>
                      <a:pt x="521" y="1561"/>
                      <a:pt x="519" y="1561"/>
                    </a:cubicBezTo>
                    <a:cubicBezTo>
                      <a:pt x="518" y="1563"/>
                      <a:pt x="522" y="1564"/>
                      <a:pt x="519" y="1565"/>
                    </a:cubicBezTo>
                    <a:cubicBezTo>
                      <a:pt x="506" y="1563"/>
                      <a:pt x="494" y="1558"/>
                      <a:pt x="484" y="1558"/>
                    </a:cubicBezTo>
                    <a:cubicBezTo>
                      <a:pt x="487" y="1560"/>
                      <a:pt x="481" y="1561"/>
                      <a:pt x="480" y="1562"/>
                    </a:cubicBezTo>
                    <a:cubicBezTo>
                      <a:pt x="483" y="1570"/>
                      <a:pt x="494" y="1576"/>
                      <a:pt x="495" y="1583"/>
                    </a:cubicBezTo>
                    <a:cubicBezTo>
                      <a:pt x="490" y="1582"/>
                      <a:pt x="488" y="1584"/>
                      <a:pt x="483" y="1584"/>
                    </a:cubicBezTo>
                    <a:cubicBezTo>
                      <a:pt x="499" y="1603"/>
                      <a:pt x="519" y="1618"/>
                      <a:pt x="553" y="1619"/>
                    </a:cubicBezTo>
                    <a:cubicBezTo>
                      <a:pt x="548" y="1606"/>
                      <a:pt x="582" y="1598"/>
                      <a:pt x="564" y="1585"/>
                    </a:cubicBezTo>
                    <a:cubicBezTo>
                      <a:pt x="568" y="1584"/>
                      <a:pt x="570" y="1581"/>
                      <a:pt x="569" y="1579"/>
                    </a:cubicBezTo>
                    <a:cubicBezTo>
                      <a:pt x="576" y="1577"/>
                      <a:pt x="579" y="1584"/>
                      <a:pt x="584" y="1581"/>
                    </a:cubicBezTo>
                    <a:cubicBezTo>
                      <a:pt x="581" y="1578"/>
                      <a:pt x="577" y="1576"/>
                      <a:pt x="574" y="1573"/>
                    </a:cubicBezTo>
                    <a:cubicBezTo>
                      <a:pt x="575" y="1571"/>
                      <a:pt x="577" y="1571"/>
                      <a:pt x="576" y="1568"/>
                    </a:cubicBezTo>
                    <a:close/>
                    <a:moveTo>
                      <a:pt x="678" y="8"/>
                    </a:moveTo>
                    <a:cubicBezTo>
                      <a:pt x="673" y="11"/>
                      <a:pt x="668" y="8"/>
                      <a:pt x="666" y="13"/>
                    </a:cubicBezTo>
                    <a:cubicBezTo>
                      <a:pt x="676" y="11"/>
                      <a:pt x="686" y="9"/>
                      <a:pt x="693" y="5"/>
                    </a:cubicBezTo>
                    <a:cubicBezTo>
                      <a:pt x="689" y="5"/>
                      <a:pt x="682" y="8"/>
                      <a:pt x="679" y="6"/>
                    </a:cubicBezTo>
                    <a:cubicBezTo>
                      <a:pt x="688" y="5"/>
                      <a:pt x="698" y="3"/>
                      <a:pt x="707" y="0"/>
                    </a:cubicBezTo>
                    <a:cubicBezTo>
                      <a:pt x="689" y="3"/>
                      <a:pt x="677" y="5"/>
                      <a:pt x="662" y="9"/>
                    </a:cubicBezTo>
                    <a:cubicBezTo>
                      <a:pt x="668" y="10"/>
                      <a:pt x="673" y="6"/>
                      <a:pt x="678" y="8"/>
                    </a:cubicBezTo>
                    <a:close/>
                    <a:moveTo>
                      <a:pt x="643" y="17"/>
                    </a:moveTo>
                    <a:cubicBezTo>
                      <a:pt x="637" y="20"/>
                      <a:pt x="630" y="21"/>
                      <a:pt x="640" y="19"/>
                    </a:cubicBezTo>
                    <a:cubicBezTo>
                      <a:pt x="642" y="19"/>
                      <a:pt x="644" y="19"/>
                      <a:pt x="645" y="19"/>
                    </a:cubicBezTo>
                    <a:cubicBezTo>
                      <a:pt x="649" y="12"/>
                      <a:pt x="664" y="17"/>
                      <a:pt x="666" y="10"/>
                    </a:cubicBezTo>
                    <a:cubicBezTo>
                      <a:pt x="664" y="11"/>
                      <a:pt x="660" y="13"/>
                      <a:pt x="659" y="10"/>
                    </a:cubicBezTo>
                    <a:cubicBezTo>
                      <a:pt x="660" y="10"/>
                      <a:pt x="661" y="10"/>
                      <a:pt x="661" y="9"/>
                    </a:cubicBezTo>
                    <a:cubicBezTo>
                      <a:pt x="659" y="9"/>
                      <a:pt x="659" y="9"/>
                      <a:pt x="659" y="9"/>
                    </a:cubicBezTo>
                    <a:cubicBezTo>
                      <a:pt x="658" y="11"/>
                      <a:pt x="657" y="11"/>
                      <a:pt x="659" y="12"/>
                    </a:cubicBezTo>
                    <a:cubicBezTo>
                      <a:pt x="655" y="11"/>
                      <a:pt x="649" y="15"/>
                      <a:pt x="643" y="17"/>
                    </a:cubicBezTo>
                    <a:close/>
                    <a:moveTo>
                      <a:pt x="460" y="90"/>
                    </a:moveTo>
                    <a:cubicBezTo>
                      <a:pt x="476" y="80"/>
                      <a:pt x="494" y="74"/>
                      <a:pt x="509" y="68"/>
                    </a:cubicBezTo>
                    <a:cubicBezTo>
                      <a:pt x="519" y="64"/>
                      <a:pt x="531" y="58"/>
                      <a:pt x="543" y="54"/>
                    </a:cubicBezTo>
                    <a:cubicBezTo>
                      <a:pt x="552" y="52"/>
                      <a:pt x="562" y="50"/>
                      <a:pt x="568" y="42"/>
                    </a:cubicBezTo>
                    <a:cubicBezTo>
                      <a:pt x="567" y="42"/>
                      <a:pt x="566" y="42"/>
                      <a:pt x="565" y="41"/>
                    </a:cubicBezTo>
                    <a:cubicBezTo>
                      <a:pt x="570" y="40"/>
                      <a:pt x="572" y="46"/>
                      <a:pt x="570" y="40"/>
                    </a:cubicBezTo>
                    <a:cubicBezTo>
                      <a:pt x="573" y="44"/>
                      <a:pt x="580" y="40"/>
                      <a:pt x="581" y="35"/>
                    </a:cubicBezTo>
                    <a:cubicBezTo>
                      <a:pt x="576" y="34"/>
                      <a:pt x="572" y="40"/>
                      <a:pt x="568" y="37"/>
                    </a:cubicBezTo>
                    <a:cubicBezTo>
                      <a:pt x="578" y="34"/>
                      <a:pt x="556" y="38"/>
                      <a:pt x="564" y="42"/>
                    </a:cubicBezTo>
                    <a:cubicBezTo>
                      <a:pt x="557" y="41"/>
                      <a:pt x="542" y="44"/>
                      <a:pt x="540" y="50"/>
                    </a:cubicBezTo>
                    <a:cubicBezTo>
                      <a:pt x="540" y="49"/>
                      <a:pt x="545" y="47"/>
                      <a:pt x="545" y="49"/>
                    </a:cubicBezTo>
                    <a:cubicBezTo>
                      <a:pt x="535" y="52"/>
                      <a:pt x="528" y="58"/>
                      <a:pt x="518" y="58"/>
                    </a:cubicBezTo>
                    <a:cubicBezTo>
                      <a:pt x="520" y="58"/>
                      <a:pt x="521" y="58"/>
                      <a:pt x="521" y="56"/>
                    </a:cubicBezTo>
                    <a:cubicBezTo>
                      <a:pt x="518" y="57"/>
                      <a:pt x="516" y="58"/>
                      <a:pt x="514" y="60"/>
                    </a:cubicBezTo>
                    <a:cubicBezTo>
                      <a:pt x="516" y="62"/>
                      <a:pt x="517" y="58"/>
                      <a:pt x="517" y="60"/>
                    </a:cubicBezTo>
                    <a:cubicBezTo>
                      <a:pt x="513" y="61"/>
                      <a:pt x="502" y="69"/>
                      <a:pt x="502" y="63"/>
                    </a:cubicBezTo>
                    <a:cubicBezTo>
                      <a:pt x="486" y="72"/>
                      <a:pt x="468" y="78"/>
                      <a:pt x="453" y="89"/>
                    </a:cubicBezTo>
                    <a:cubicBezTo>
                      <a:pt x="456" y="89"/>
                      <a:pt x="456" y="87"/>
                      <a:pt x="459" y="87"/>
                    </a:cubicBezTo>
                    <a:cubicBezTo>
                      <a:pt x="457" y="91"/>
                      <a:pt x="460" y="86"/>
                      <a:pt x="460" y="90"/>
                    </a:cubicBezTo>
                    <a:close/>
                    <a:moveTo>
                      <a:pt x="587" y="35"/>
                    </a:moveTo>
                    <a:cubicBezTo>
                      <a:pt x="589" y="37"/>
                      <a:pt x="591" y="33"/>
                      <a:pt x="592" y="35"/>
                    </a:cubicBezTo>
                    <a:cubicBezTo>
                      <a:pt x="583" y="39"/>
                      <a:pt x="572" y="43"/>
                      <a:pt x="564" y="49"/>
                    </a:cubicBezTo>
                    <a:cubicBezTo>
                      <a:pt x="567" y="51"/>
                      <a:pt x="569" y="48"/>
                      <a:pt x="572" y="48"/>
                    </a:cubicBezTo>
                    <a:cubicBezTo>
                      <a:pt x="572" y="50"/>
                      <a:pt x="570" y="50"/>
                      <a:pt x="569" y="52"/>
                    </a:cubicBezTo>
                    <a:cubicBezTo>
                      <a:pt x="572" y="53"/>
                      <a:pt x="574" y="49"/>
                      <a:pt x="575" y="52"/>
                    </a:cubicBezTo>
                    <a:cubicBezTo>
                      <a:pt x="574" y="53"/>
                      <a:pt x="577" y="53"/>
                      <a:pt x="574" y="55"/>
                    </a:cubicBezTo>
                    <a:cubicBezTo>
                      <a:pt x="578" y="59"/>
                      <a:pt x="583" y="52"/>
                      <a:pt x="586" y="54"/>
                    </a:cubicBezTo>
                    <a:cubicBezTo>
                      <a:pt x="585" y="55"/>
                      <a:pt x="584" y="55"/>
                      <a:pt x="582" y="55"/>
                    </a:cubicBezTo>
                    <a:cubicBezTo>
                      <a:pt x="583" y="59"/>
                      <a:pt x="583" y="57"/>
                      <a:pt x="581" y="59"/>
                    </a:cubicBezTo>
                    <a:cubicBezTo>
                      <a:pt x="581" y="62"/>
                      <a:pt x="587" y="64"/>
                      <a:pt x="586" y="69"/>
                    </a:cubicBezTo>
                    <a:cubicBezTo>
                      <a:pt x="604" y="64"/>
                      <a:pt x="608" y="51"/>
                      <a:pt x="622" y="40"/>
                    </a:cubicBezTo>
                    <a:cubicBezTo>
                      <a:pt x="620" y="39"/>
                      <a:pt x="617" y="43"/>
                      <a:pt x="615" y="40"/>
                    </a:cubicBezTo>
                    <a:cubicBezTo>
                      <a:pt x="618" y="40"/>
                      <a:pt x="622" y="39"/>
                      <a:pt x="624" y="38"/>
                    </a:cubicBezTo>
                    <a:cubicBezTo>
                      <a:pt x="621" y="30"/>
                      <a:pt x="597" y="39"/>
                      <a:pt x="600" y="43"/>
                    </a:cubicBezTo>
                    <a:cubicBezTo>
                      <a:pt x="594" y="42"/>
                      <a:pt x="600" y="41"/>
                      <a:pt x="595" y="39"/>
                    </a:cubicBezTo>
                    <a:cubicBezTo>
                      <a:pt x="596" y="38"/>
                      <a:pt x="596" y="37"/>
                      <a:pt x="595" y="36"/>
                    </a:cubicBezTo>
                    <a:cubicBezTo>
                      <a:pt x="602" y="35"/>
                      <a:pt x="612" y="33"/>
                      <a:pt x="613" y="30"/>
                    </a:cubicBezTo>
                    <a:cubicBezTo>
                      <a:pt x="607" y="30"/>
                      <a:pt x="601" y="37"/>
                      <a:pt x="593" y="33"/>
                    </a:cubicBezTo>
                    <a:cubicBezTo>
                      <a:pt x="597" y="33"/>
                      <a:pt x="614" y="30"/>
                      <a:pt x="603" y="30"/>
                    </a:cubicBezTo>
                    <a:cubicBezTo>
                      <a:pt x="603" y="29"/>
                      <a:pt x="604" y="29"/>
                      <a:pt x="605" y="28"/>
                    </a:cubicBezTo>
                    <a:cubicBezTo>
                      <a:pt x="603" y="28"/>
                      <a:pt x="599" y="30"/>
                      <a:pt x="598" y="28"/>
                    </a:cubicBezTo>
                    <a:cubicBezTo>
                      <a:pt x="600" y="28"/>
                      <a:pt x="601" y="27"/>
                      <a:pt x="601" y="26"/>
                    </a:cubicBezTo>
                    <a:cubicBezTo>
                      <a:pt x="591" y="30"/>
                      <a:pt x="582" y="30"/>
                      <a:pt x="573" y="35"/>
                    </a:cubicBezTo>
                    <a:cubicBezTo>
                      <a:pt x="580" y="35"/>
                      <a:pt x="589" y="30"/>
                      <a:pt x="594" y="30"/>
                    </a:cubicBezTo>
                    <a:cubicBezTo>
                      <a:pt x="593" y="33"/>
                      <a:pt x="587" y="32"/>
                      <a:pt x="587" y="35"/>
                    </a:cubicBezTo>
                    <a:close/>
                    <a:moveTo>
                      <a:pt x="400" y="143"/>
                    </a:moveTo>
                    <a:cubicBezTo>
                      <a:pt x="398" y="147"/>
                      <a:pt x="400" y="146"/>
                      <a:pt x="399" y="150"/>
                    </a:cubicBezTo>
                    <a:cubicBezTo>
                      <a:pt x="406" y="151"/>
                      <a:pt x="413" y="148"/>
                      <a:pt x="419" y="149"/>
                    </a:cubicBezTo>
                    <a:cubicBezTo>
                      <a:pt x="418" y="150"/>
                      <a:pt x="416" y="150"/>
                      <a:pt x="417" y="153"/>
                    </a:cubicBezTo>
                    <a:cubicBezTo>
                      <a:pt x="421" y="160"/>
                      <a:pt x="429" y="159"/>
                      <a:pt x="438" y="160"/>
                    </a:cubicBezTo>
                    <a:cubicBezTo>
                      <a:pt x="439" y="153"/>
                      <a:pt x="447" y="148"/>
                      <a:pt x="452" y="149"/>
                    </a:cubicBezTo>
                    <a:cubicBezTo>
                      <a:pt x="447" y="151"/>
                      <a:pt x="443" y="154"/>
                      <a:pt x="441" y="159"/>
                    </a:cubicBezTo>
                    <a:cubicBezTo>
                      <a:pt x="455" y="155"/>
                      <a:pt x="463" y="145"/>
                      <a:pt x="473" y="137"/>
                    </a:cubicBezTo>
                    <a:cubicBezTo>
                      <a:pt x="473" y="139"/>
                      <a:pt x="475" y="139"/>
                      <a:pt x="475" y="140"/>
                    </a:cubicBezTo>
                    <a:cubicBezTo>
                      <a:pt x="473" y="142"/>
                      <a:pt x="471" y="144"/>
                      <a:pt x="468" y="147"/>
                    </a:cubicBezTo>
                    <a:cubicBezTo>
                      <a:pt x="473" y="147"/>
                      <a:pt x="473" y="143"/>
                      <a:pt x="476" y="143"/>
                    </a:cubicBezTo>
                    <a:cubicBezTo>
                      <a:pt x="475" y="144"/>
                      <a:pt x="475" y="145"/>
                      <a:pt x="476" y="147"/>
                    </a:cubicBezTo>
                    <a:cubicBezTo>
                      <a:pt x="482" y="146"/>
                      <a:pt x="486" y="140"/>
                      <a:pt x="489" y="145"/>
                    </a:cubicBezTo>
                    <a:cubicBezTo>
                      <a:pt x="493" y="143"/>
                      <a:pt x="494" y="138"/>
                      <a:pt x="499" y="137"/>
                    </a:cubicBezTo>
                    <a:cubicBezTo>
                      <a:pt x="499" y="138"/>
                      <a:pt x="498" y="139"/>
                      <a:pt x="497" y="140"/>
                    </a:cubicBezTo>
                    <a:cubicBezTo>
                      <a:pt x="506" y="139"/>
                      <a:pt x="509" y="133"/>
                      <a:pt x="515" y="129"/>
                    </a:cubicBezTo>
                    <a:cubicBezTo>
                      <a:pt x="517" y="129"/>
                      <a:pt x="517" y="132"/>
                      <a:pt x="516" y="134"/>
                    </a:cubicBezTo>
                    <a:cubicBezTo>
                      <a:pt x="527" y="130"/>
                      <a:pt x="539" y="120"/>
                      <a:pt x="550" y="124"/>
                    </a:cubicBezTo>
                    <a:cubicBezTo>
                      <a:pt x="556" y="120"/>
                      <a:pt x="568" y="124"/>
                      <a:pt x="574" y="122"/>
                    </a:cubicBezTo>
                    <a:cubicBezTo>
                      <a:pt x="574" y="116"/>
                      <a:pt x="574" y="116"/>
                      <a:pt x="574" y="116"/>
                    </a:cubicBezTo>
                    <a:cubicBezTo>
                      <a:pt x="569" y="116"/>
                      <a:pt x="569" y="116"/>
                      <a:pt x="569" y="116"/>
                    </a:cubicBezTo>
                    <a:cubicBezTo>
                      <a:pt x="572" y="112"/>
                      <a:pt x="568" y="114"/>
                      <a:pt x="566" y="112"/>
                    </a:cubicBezTo>
                    <a:cubicBezTo>
                      <a:pt x="571" y="111"/>
                      <a:pt x="575" y="110"/>
                      <a:pt x="580" y="109"/>
                    </a:cubicBezTo>
                    <a:cubicBezTo>
                      <a:pt x="583" y="103"/>
                      <a:pt x="586" y="99"/>
                      <a:pt x="588" y="94"/>
                    </a:cubicBezTo>
                    <a:cubicBezTo>
                      <a:pt x="585" y="93"/>
                      <a:pt x="586" y="90"/>
                      <a:pt x="584" y="89"/>
                    </a:cubicBezTo>
                    <a:cubicBezTo>
                      <a:pt x="584" y="87"/>
                      <a:pt x="587" y="88"/>
                      <a:pt x="587" y="85"/>
                    </a:cubicBezTo>
                    <a:cubicBezTo>
                      <a:pt x="583" y="82"/>
                      <a:pt x="578" y="89"/>
                      <a:pt x="574" y="85"/>
                    </a:cubicBezTo>
                    <a:cubicBezTo>
                      <a:pt x="577" y="84"/>
                      <a:pt x="580" y="83"/>
                      <a:pt x="581" y="80"/>
                    </a:cubicBezTo>
                    <a:cubicBezTo>
                      <a:pt x="579" y="80"/>
                      <a:pt x="577" y="81"/>
                      <a:pt x="577" y="79"/>
                    </a:cubicBezTo>
                    <a:cubicBezTo>
                      <a:pt x="581" y="77"/>
                      <a:pt x="585" y="76"/>
                      <a:pt x="585" y="69"/>
                    </a:cubicBezTo>
                    <a:cubicBezTo>
                      <a:pt x="579" y="70"/>
                      <a:pt x="582" y="68"/>
                      <a:pt x="581" y="64"/>
                    </a:cubicBezTo>
                    <a:cubicBezTo>
                      <a:pt x="575" y="63"/>
                      <a:pt x="573" y="69"/>
                      <a:pt x="568" y="66"/>
                    </a:cubicBezTo>
                    <a:cubicBezTo>
                      <a:pt x="572" y="63"/>
                      <a:pt x="570" y="61"/>
                      <a:pt x="573" y="58"/>
                    </a:cubicBezTo>
                    <a:cubicBezTo>
                      <a:pt x="546" y="58"/>
                      <a:pt x="540" y="76"/>
                      <a:pt x="516" y="83"/>
                    </a:cubicBezTo>
                    <a:cubicBezTo>
                      <a:pt x="507" y="86"/>
                      <a:pt x="499" y="89"/>
                      <a:pt x="488" y="89"/>
                    </a:cubicBezTo>
                    <a:cubicBezTo>
                      <a:pt x="487" y="90"/>
                      <a:pt x="487" y="90"/>
                      <a:pt x="486" y="90"/>
                    </a:cubicBezTo>
                    <a:cubicBezTo>
                      <a:pt x="484" y="91"/>
                      <a:pt x="484" y="95"/>
                      <a:pt x="482" y="96"/>
                    </a:cubicBezTo>
                    <a:cubicBezTo>
                      <a:pt x="478" y="96"/>
                      <a:pt x="473" y="101"/>
                      <a:pt x="470" y="100"/>
                    </a:cubicBezTo>
                    <a:cubicBezTo>
                      <a:pt x="474" y="98"/>
                      <a:pt x="477" y="96"/>
                      <a:pt x="479" y="94"/>
                    </a:cubicBezTo>
                    <a:cubicBezTo>
                      <a:pt x="469" y="96"/>
                      <a:pt x="462" y="108"/>
                      <a:pt x="450" y="105"/>
                    </a:cubicBezTo>
                    <a:cubicBezTo>
                      <a:pt x="453" y="105"/>
                      <a:pt x="455" y="104"/>
                      <a:pt x="456" y="102"/>
                    </a:cubicBezTo>
                    <a:cubicBezTo>
                      <a:pt x="453" y="102"/>
                      <a:pt x="452" y="104"/>
                      <a:pt x="450" y="104"/>
                    </a:cubicBezTo>
                    <a:cubicBezTo>
                      <a:pt x="450" y="103"/>
                      <a:pt x="452" y="102"/>
                      <a:pt x="449" y="102"/>
                    </a:cubicBezTo>
                    <a:cubicBezTo>
                      <a:pt x="440" y="109"/>
                      <a:pt x="422" y="111"/>
                      <a:pt x="416" y="118"/>
                    </a:cubicBezTo>
                    <a:cubicBezTo>
                      <a:pt x="416" y="118"/>
                      <a:pt x="418" y="118"/>
                      <a:pt x="418" y="119"/>
                    </a:cubicBezTo>
                    <a:cubicBezTo>
                      <a:pt x="394" y="126"/>
                      <a:pt x="373" y="142"/>
                      <a:pt x="359" y="156"/>
                    </a:cubicBezTo>
                    <a:cubicBezTo>
                      <a:pt x="372" y="151"/>
                      <a:pt x="390" y="144"/>
                      <a:pt x="400" y="143"/>
                    </a:cubicBezTo>
                    <a:close/>
                    <a:moveTo>
                      <a:pt x="1359" y="1093"/>
                    </a:moveTo>
                    <a:cubicBezTo>
                      <a:pt x="1366" y="1102"/>
                      <a:pt x="1365" y="1114"/>
                      <a:pt x="1370" y="1122"/>
                    </a:cubicBezTo>
                    <a:cubicBezTo>
                      <a:pt x="1371" y="1123"/>
                      <a:pt x="1374" y="1124"/>
                      <a:pt x="1375" y="1125"/>
                    </a:cubicBezTo>
                    <a:cubicBezTo>
                      <a:pt x="1380" y="1132"/>
                      <a:pt x="1385" y="1139"/>
                      <a:pt x="1389" y="1146"/>
                    </a:cubicBezTo>
                    <a:cubicBezTo>
                      <a:pt x="1386" y="1149"/>
                      <a:pt x="1385" y="1155"/>
                      <a:pt x="1384" y="1160"/>
                    </a:cubicBezTo>
                    <a:cubicBezTo>
                      <a:pt x="1389" y="1162"/>
                      <a:pt x="1390" y="1156"/>
                      <a:pt x="1392" y="1158"/>
                    </a:cubicBezTo>
                    <a:cubicBezTo>
                      <a:pt x="1394" y="1178"/>
                      <a:pt x="1390" y="1191"/>
                      <a:pt x="1392" y="1212"/>
                    </a:cubicBezTo>
                    <a:cubicBezTo>
                      <a:pt x="1398" y="1213"/>
                      <a:pt x="1396" y="1206"/>
                      <a:pt x="1401" y="1206"/>
                    </a:cubicBezTo>
                    <a:cubicBezTo>
                      <a:pt x="1407" y="1206"/>
                      <a:pt x="1406" y="1213"/>
                      <a:pt x="1414" y="1212"/>
                    </a:cubicBezTo>
                    <a:cubicBezTo>
                      <a:pt x="1416" y="1221"/>
                      <a:pt x="1425" y="1222"/>
                      <a:pt x="1424" y="1234"/>
                    </a:cubicBezTo>
                    <a:cubicBezTo>
                      <a:pt x="1428" y="1235"/>
                      <a:pt x="1427" y="1230"/>
                      <a:pt x="1432" y="1231"/>
                    </a:cubicBezTo>
                    <a:cubicBezTo>
                      <a:pt x="1433" y="1237"/>
                      <a:pt x="1430" y="1241"/>
                      <a:pt x="1432" y="1246"/>
                    </a:cubicBezTo>
                    <a:cubicBezTo>
                      <a:pt x="1436" y="1247"/>
                      <a:pt x="1436" y="1244"/>
                      <a:pt x="1439" y="1245"/>
                    </a:cubicBezTo>
                    <a:cubicBezTo>
                      <a:pt x="1438" y="1249"/>
                      <a:pt x="1438" y="1251"/>
                      <a:pt x="1440" y="1254"/>
                    </a:cubicBezTo>
                    <a:cubicBezTo>
                      <a:pt x="1455" y="1254"/>
                      <a:pt x="1481" y="1264"/>
                      <a:pt x="1479" y="1239"/>
                    </a:cubicBezTo>
                    <a:cubicBezTo>
                      <a:pt x="1478" y="1237"/>
                      <a:pt x="1474" y="1237"/>
                      <a:pt x="1472" y="1235"/>
                    </a:cubicBezTo>
                    <a:cubicBezTo>
                      <a:pt x="1468" y="1227"/>
                      <a:pt x="1473" y="1212"/>
                      <a:pt x="1469" y="1204"/>
                    </a:cubicBezTo>
                    <a:cubicBezTo>
                      <a:pt x="1460" y="1204"/>
                      <a:pt x="1454" y="1203"/>
                      <a:pt x="1447" y="1203"/>
                    </a:cubicBezTo>
                    <a:cubicBezTo>
                      <a:pt x="1446" y="1201"/>
                      <a:pt x="1446" y="1197"/>
                      <a:pt x="1444" y="1196"/>
                    </a:cubicBezTo>
                    <a:cubicBezTo>
                      <a:pt x="1438" y="1196"/>
                      <a:pt x="1438" y="1202"/>
                      <a:pt x="1432" y="1203"/>
                    </a:cubicBezTo>
                    <a:cubicBezTo>
                      <a:pt x="1431" y="1201"/>
                      <a:pt x="1430" y="1199"/>
                      <a:pt x="1428" y="1197"/>
                    </a:cubicBezTo>
                    <a:cubicBezTo>
                      <a:pt x="1424" y="1196"/>
                      <a:pt x="1427" y="1203"/>
                      <a:pt x="1423" y="1202"/>
                    </a:cubicBezTo>
                    <a:cubicBezTo>
                      <a:pt x="1419" y="1198"/>
                      <a:pt x="1426" y="1197"/>
                      <a:pt x="1426" y="1193"/>
                    </a:cubicBezTo>
                    <a:cubicBezTo>
                      <a:pt x="1424" y="1187"/>
                      <a:pt x="1415" y="1187"/>
                      <a:pt x="1416" y="1179"/>
                    </a:cubicBezTo>
                    <a:cubicBezTo>
                      <a:pt x="1412" y="1179"/>
                      <a:pt x="1410" y="1183"/>
                      <a:pt x="1406" y="1184"/>
                    </a:cubicBezTo>
                    <a:cubicBezTo>
                      <a:pt x="1404" y="1179"/>
                      <a:pt x="1406" y="1169"/>
                      <a:pt x="1402" y="1165"/>
                    </a:cubicBezTo>
                    <a:cubicBezTo>
                      <a:pt x="1409" y="1160"/>
                      <a:pt x="1404" y="1151"/>
                      <a:pt x="1405" y="1142"/>
                    </a:cubicBezTo>
                    <a:cubicBezTo>
                      <a:pt x="1406" y="1140"/>
                      <a:pt x="1408" y="1138"/>
                      <a:pt x="1408" y="1136"/>
                    </a:cubicBezTo>
                    <a:cubicBezTo>
                      <a:pt x="1411" y="1122"/>
                      <a:pt x="1401" y="1112"/>
                      <a:pt x="1418" y="1113"/>
                    </a:cubicBezTo>
                    <a:cubicBezTo>
                      <a:pt x="1417" y="1118"/>
                      <a:pt x="1420" y="1119"/>
                      <a:pt x="1419" y="1124"/>
                    </a:cubicBezTo>
                    <a:cubicBezTo>
                      <a:pt x="1427" y="1123"/>
                      <a:pt x="1428" y="1115"/>
                      <a:pt x="1435" y="1113"/>
                    </a:cubicBezTo>
                    <a:cubicBezTo>
                      <a:pt x="1436" y="1117"/>
                      <a:pt x="1439" y="1119"/>
                      <a:pt x="1440" y="1122"/>
                    </a:cubicBezTo>
                    <a:cubicBezTo>
                      <a:pt x="1444" y="1122"/>
                      <a:pt x="1445" y="1118"/>
                      <a:pt x="1449" y="1118"/>
                    </a:cubicBezTo>
                    <a:cubicBezTo>
                      <a:pt x="1452" y="1121"/>
                      <a:pt x="1450" y="1123"/>
                      <a:pt x="1450" y="1128"/>
                    </a:cubicBezTo>
                    <a:cubicBezTo>
                      <a:pt x="1455" y="1130"/>
                      <a:pt x="1463" y="1130"/>
                      <a:pt x="1469" y="1128"/>
                    </a:cubicBezTo>
                    <a:cubicBezTo>
                      <a:pt x="1475" y="1132"/>
                      <a:pt x="1475" y="1142"/>
                      <a:pt x="1478" y="1149"/>
                    </a:cubicBezTo>
                    <a:cubicBezTo>
                      <a:pt x="1496" y="1148"/>
                      <a:pt x="1492" y="1126"/>
                      <a:pt x="1503" y="1118"/>
                    </a:cubicBezTo>
                    <a:cubicBezTo>
                      <a:pt x="1504" y="1115"/>
                      <a:pt x="1499" y="1115"/>
                      <a:pt x="1501" y="1112"/>
                    </a:cubicBezTo>
                    <a:cubicBezTo>
                      <a:pt x="1516" y="1098"/>
                      <a:pt x="1530" y="1083"/>
                      <a:pt x="1528" y="1053"/>
                    </a:cubicBezTo>
                    <a:cubicBezTo>
                      <a:pt x="1528" y="1050"/>
                      <a:pt x="1525" y="1049"/>
                      <a:pt x="1524" y="1047"/>
                    </a:cubicBezTo>
                    <a:cubicBezTo>
                      <a:pt x="1527" y="1035"/>
                      <a:pt x="1515" y="1029"/>
                      <a:pt x="1514" y="1018"/>
                    </a:cubicBezTo>
                    <a:cubicBezTo>
                      <a:pt x="1504" y="1015"/>
                      <a:pt x="1493" y="1012"/>
                      <a:pt x="1481" y="1013"/>
                    </a:cubicBezTo>
                    <a:cubicBezTo>
                      <a:pt x="1480" y="1010"/>
                      <a:pt x="1480" y="1008"/>
                      <a:pt x="1479" y="1005"/>
                    </a:cubicBezTo>
                    <a:cubicBezTo>
                      <a:pt x="1466" y="1000"/>
                      <a:pt x="1456" y="995"/>
                      <a:pt x="1454" y="984"/>
                    </a:cubicBezTo>
                    <a:cubicBezTo>
                      <a:pt x="1452" y="968"/>
                      <a:pt x="1464" y="961"/>
                      <a:pt x="1468" y="951"/>
                    </a:cubicBezTo>
                    <a:cubicBezTo>
                      <a:pt x="1471" y="943"/>
                      <a:pt x="1468" y="935"/>
                      <a:pt x="1476" y="932"/>
                    </a:cubicBezTo>
                    <a:cubicBezTo>
                      <a:pt x="1481" y="934"/>
                      <a:pt x="1483" y="927"/>
                      <a:pt x="1488" y="927"/>
                    </a:cubicBezTo>
                    <a:cubicBezTo>
                      <a:pt x="1493" y="929"/>
                      <a:pt x="1490" y="938"/>
                      <a:pt x="1493" y="942"/>
                    </a:cubicBezTo>
                    <a:cubicBezTo>
                      <a:pt x="1497" y="942"/>
                      <a:pt x="1499" y="945"/>
                      <a:pt x="1502" y="943"/>
                    </a:cubicBezTo>
                    <a:cubicBezTo>
                      <a:pt x="1507" y="933"/>
                      <a:pt x="1499" y="930"/>
                      <a:pt x="1501" y="920"/>
                    </a:cubicBezTo>
                    <a:cubicBezTo>
                      <a:pt x="1504" y="908"/>
                      <a:pt x="1522" y="904"/>
                      <a:pt x="1523" y="891"/>
                    </a:cubicBezTo>
                    <a:cubicBezTo>
                      <a:pt x="1523" y="887"/>
                      <a:pt x="1519" y="884"/>
                      <a:pt x="1521" y="879"/>
                    </a:cubicBezTo>
                    <a:cubicBezTo>
                      <a:pt x="1524" y="879"/>
                      <a:pt x="1524" y="883"/>
                      <a:pt x="1527" y="883"/>
                    </a:cubicBezTo>
                    <a:cubicBezTo>
                      <a:pt x="1530" y="880"/>
                      <a:pt x="1531" y="876"/>
                      <a:pt x="1531" y="870"/>
                    </a:cubicBezTo>
                    <a:cubicBezTo>
                      <a:pt x="1542" y="863"/>
                      <a:pt x="1554" y="847"/>
                      <a:pt x="1553" y="828"/>
                    </a:cubicBezTo>
                    <a:cubicBezTo>
                      <a:pt x="1553" y="827"/>
                      <a:pt x="1551" y="824"/>
                      <a:pt x="1550" y="822"/>
                    </a:cubicBezTo>
                    <a:cubicBezTo>
                      <a:pt x="1550" y="818"/>
                      <a:pt x="1552" y="815"/>
                      <a:pt x="1552" y="810"/>
                    </a:cubicBezTo>
                    <a:cubicBezTo>
                      <a:pt x="1554" y="798"/>
                      <a:pt x="1553" y="787"/>
                      <a:pt x="1548" y="778"/>
                    </a:cubicBezTo>
                    <a:cubicBezTo>
                      <a:pt x="1549" y="776"/>
                      <a:pt x="1549" y="773"/>
                      <a:pt x="1549" y="770"/>
                    </a:cubicBezTo>
                    <a:cubicBezTo>
                      <a:pt x="1540" y="759"/>
                      <a:pt x="1545" y="741"/>
                      <a:pt x="1546" y="727"/>
                    </a:cubicBezTo>
                    <a:cubicBezTo>
                      <a:pt x="1539" y="726"/>
                      <a:pt x="1543" y="713"/>
                      <a:pt x="1538" y="709"/>
                    </a:cubicBezTo>
                    <a:cubicBezTo>
                      <a:pt x="1531" y="711"/>
                      <a:pt x="1531" y="721"/>
                      <a:pt x="1524" y="724"/>
                    </a:cubicBezTo>
                    <a:cubicBezTo>
                      <a:pt x="1523" y="717"/>
                      <a:pt x="1527" y="714"/>
                      <a:pt x="1527" y="709"/>
                    </a:cubicBezTo>
                    <a:cubicBezTo>
                      <a:pt x="1527" y="707"/>
                      <a:pt x="1525" y="707"/>
                      <a:pt x="1524" y="705"/>
                    </a:cubicBezTo>
                    <a:cubicBezTo>
                      <a:pt x="1519" y="705"/>
                      <a:pt x="1517" y="709"/>
                      <a:pt x="1512" y="705"/>
                    </a:cubicBezTo>
                    <a:cubicBezTo>
                      <a:pt x="1513" y="702"/>
                      <a:pt x="1517" y="702"/>
                      <a:pt x="1519" y="699"/>
                    </a:cubicBezTo>
                    <a:cubicBezTo>
                      <a:pt x="1513" y="697"/>
                      <a:pt x="1510" y="690"/>
                      <a:pt x="1503" y="694"/>
                    </a:cubicBezTo>
                    <a:cubicBezTo>
                      <a:pt x="1495" y="683"/>
                      <a:pt x="1482" y="675"/>
                      <a:pt x="1465" y="678"/>
                    </a:cubicBezTo>
                    <a:cubicBezTo>
                      <a:pt x="1460" y="672"/>
                      <a:pt x="1461" y="660"/>
                      <a:pt x="1463" y="654"/>
                    </a:cubicBezTo>
                    <a:cubicBezTo>
                      <a:pt x="1458" y="648"/>
                      <a:pt x="1460" y="636"/>
                      <a:pt x="1467" y="633"/>
                    </a:cubicBezTo>
                    <a:cubicBezTo>
                      <a:pt x="1465" y="630"/>
                      <a:pt x="1464" y="626"/>
                      <a:pt x="1460" y="624"/>
                    </a:cubicBezTo>
                    <a:cubicBezTo>
                      <a:pt x="1455" y="627"/>
                      <a:pt x="1453" y="632"/>
                      <a:pt x="1444" y="630"/>
                    </a:cubicBezTo>
                    <a:cubicBezTo>
                      <a:pt x="1441" y="633"/>
                      <a:pt x="1442" y="641"/>
                      <a:pt x="1442" y="647"/>
                    </a:cubicBezTo>
                    <a:cubicBezTo>
                      <a:pt x="1433" y="653"/>
                      <a:pt x="1430" y="641"/>
                      <a:pt x="1425" y="638"/>
                    </a:cubicBezTo>
                    <a:cubicBezTo>
                      <a:pt x="1417" y="647"/>
                      <a:pt x="1404" y="644"/>
                      <a:pt x="1403" y="631"/>
                    </a:cubicBezTo>
                    <a:cubicBezTo>
                      <a:pt x="1416" y="630"/>
                      <a:pt x="1411" y="619"/>
                      <a:pt x="1406" y="611"/>
                    </a:cubicBezTo>
                    <a:cubicBezTo>
                      <a:pt x="1413" y="607"/>
                      <a:pt x="1407" y="601"/>
                      <a:pt x="1408" y="592"/>
                    </a:cubicBezTo>
                    <a:cubicBezTo>
                      <a:pt x="1419" y="581"/>
                      <a:pt x="1423" y="599"/>
                      <a:pt x="1426" y="608"/>
                    </a:cubicBezTo>
                    <a:cubicBezTo>
                      <a:pt x="1427" y="610"/>
                      <a:pt x="1431" y="609"/>
                      <a:pt x="1432" y="610"/>
                    </a:cubicBezTo>
                    <a:cubicBezTo>
                      <a:pt x="1432" y="614"/>
                      <a:pt x="1432" y="618"/>
                      <a:pt x="1435" y="619"/>
                    </a:cubicBezTo>
                    <a:cubicBezTo>
                      <a:pt x="1440" y="609"/>
                      <a:pt x="1433" y="592"/>
                      <a:pt x="1444" y="585"/>
                    </a:cubicBezTo>
                    <a:cubicBezTo>
                      <a:pt x="1449" y="591"/>
                      <a:pt x="1451" y="582"/>
                      <a:pt x="1455" y="583"/>
                    </a:cubicBezTo>
                    <a:cubicBezTo>
                      <a:pt x="1464" y="586"/>
                      <a:pt x="1463" y="604"/>
                      <a:pt x="1475" y="606"/>
                    </a:cubicBezTo>
                    <a:cubicBezTo>
                      <a:pt x="1475" y="600"/>
                      <a:pt x="1483" y="602"/>
                      <a:pt x="1484" y="598"/>
                    </a:cubicBezTo>
                    <a:cubicBezTo>
                      <a:pt x="1486" y="601"/>
                      <a:pt x="1494" y="598"/>
                      <a:pt x="1495" y="602"/>
                    </a:cubicBezTo>
                    <a:cubicBezTo>
                      <a:pt x="1495" y="605"/>
                      <a:pt x="1492" y="605"/>
                      <a:pt x="1492" y="607"/>
                    </a:cubicBezTo>
                    <a:cubicBezTo>
                      <a:pt x="1499" y="609"/>
                      <a:pt x="1500" y="616"/>
                      <a:pt x="1509" y="615"/>
                    </a:cubicBezTo>
                    <a:cubicBezTo>
                      <a:pt x="1510" y="626"/>
                      <a:pt x="1517" y="630"/>
                      <a:pt x="1524" y="635"/>
                    </a:cubicBezTo>
                    <a:cubicBezTo>
                      <a:pt x="1528" y="632"/>
                      <a:pt x="1524" y="629"/>
                      <a:pt x="1524" y="626"/>
                    </a:cubicBezTo>
                    <a:cubicBezTo>
                      <a:pt x="1525" y="619"/>
                      <a:pt x="1532" y="612"/>
                      <a:pt x="1531" y="606"/>
                    </a:cubicBezTo>
                    <a:cubicBezTo>
                      <a:pt x="1531" y="603"/>
                      <a:pt x="1519" y="590"/>
                      <a:pt x="1517" y="588"/>
                    </a:cubicBezTo>
                    <a:cubicBezTo>
                      <a:pt x="1512" y="584"/>
                      <a:pt x="1504" y="585"/>
                      <a:pt x="1500" y="583"/>
                    </a:cubicBezTo>
                    <a:cubicBezTo>
                      <a:pt x="1490" y="580"/>
                      <a:pt x="1481" y="568"/>
                      <a:pt x="1474" y="575"/>
                    </a:cubicBezTo>
                    <a:cubicBezTo>
                      <a:pt x="1475" y="568"/>
                      <a:pt x="1468" y="570"/>
                      <a:pt x="1467" y="566"/>
                    </a:cubicBezTo>
                    <a:cubicBezTo>
                      <a:pt x="1468" y="562"/>
                      <a:pt x="1469" y="559"/>
                      <a:pt x="1469" y="556"/>
                    </a:cubicBezTo>
                    <a:cubicBezTo>
                      <a:pt x="1469" y="554"/>
                      <a:pt x="1466" y="543"/>
                      <a:pt x="1466" y="543"/>
                    </a:cubicBezTo>
                    <a:cubicBezTo>
                      <a:pt x="1463" y="537"/>
                      <a:pt x="1457" y="537"/>
                      <a:pt x="1453" y="531"/>
                    </a:cubicBezTo>
                    <a:cubicBezTo>
                      <a:pt x="1451" y="526"/>
                      <a:pt x="1453" y="520"/>
                      <a:pt x="1452" y="515"/>
                    </a:cubicBezTo>
                    <a:cubicBezTo>
                      <a:pt x="1450" y="511"/>
                      <a:pt x="1445" y="511"/>
                      <a:pt x="1446" y="506"/>
                    </a:cubicBezTo>
                    <a:cubicBezTo>
                      <a:pt x="1450" y="503"/>
                      <a:pt x="1454" y="507"/>
                      <a:pt x="1457" y="508"/>
                    </a:cubicBezTo>
                    <a:cubicBezTo>
                      <a:pt x="1457" y="503"/>
                      <a:pt x="1458" y="502"/>
                      <a:pt x="1461" y="504"/>
                    </a:cubicBezTo>
                    <a:cubicBezTo>
                      <a:pt x="1466" y="489"/>
                      <a:pt x="1456" y="482"/>
                      <a:pt x="1452" y="474"/>
                    </a:cubicBezTo>
                    <a:cubicBezTo>
                      <a:pt x="1446" y="462"/>
                      <a:pt x="1440" y="449"/>
                      <a:pt x="1432" y="440"/>
                    </a:cubicBezTo>
                    <a:cubicBezTo>
                      <a:pt x="1430" y="438"/>
                      <a:pt x="1427" y="436"/>
                      <a:pt x="1425" y="434"/>
                    </a:cubicBezTo>
                    <a:cubicBezTo>
                      <a:pt x="1420" y="428"/>
                      <a:pt x="1418" y="421"/>
                      <a:pt x="1413" y="415"/>
                    </a:cubicBezTo>
                    <a:cubicBezTo>
                      <a:pt x="1400" y="400"/>
                      <a:pt x="1374" y="397"/>
                      <a:pt x="1364" y="379"/>
                    </a:cubicBezTo>
                    <a:cubicBezTo>
                      <a:pt x="1376" y="380"/>
                      <a:pt x="1383" y="386"/>
                      <a:pt x="1390" y="390"/>
                    </a:cubicBezTo>
                    <a:cubicBezTo>
                      <a:pt x="1393" y="392"/>
                      <a:pt x="1397" y="394"/>
                      <a:pt x="1400" y="395"/>
                    </a:cubicBezTo>
                    <a:cubicBezTo>
                      <a:pt x="1406" y="399"/>
                      <a:pt x="1413" y="405"/>
                      <a:pt x="1418" y="407"/>
                    </a:cubicBezTo>
                    <a:cubicBezTo>
                      <a:pt x="1431" y="410"/>
                      <a:pt x="1441" y="420"/>
                      <a:pt x="1453" y="425"/>
                    </a:cubicBezTo>
                    <a:cubicBezTo>
                      <a:pt x="1452" y="422"/>
                      <a:pt x="1448" y="421"/>
                      <a:pt x="1448" y="417"/>
                    </a:cubicBezTo>
                    <a:cubicBezTo>
                      <a:pt x="1451" y="413"/>
                      <a:pt x="1454" y="419"/>
                      <a:pt x="1457" y="416"/>
                    </a:cubicBezTo>
                    <a:cubicBezTo>
                      <a:pt x="1453" y="409"/>
                      <a:pt x="1442" y="412"/>
                      <a:pt x="1434" y="410"/>
                    </a:cubicBezTo>
                    <a:cubicBezTo>
                      <a:pt x="1424" y="406"/>
                      <a:pt x="1420" y="398"/>
                      <a:pt x="1412" y="392"/>
                    </a:cubicBezTo>
                    <a:cubicBezTo>
                      <a:pt x="1416" y="392"/>
                      <a:pt x="1419" y="391"/>
                      <a:pt x="1424" y="391"/>
                    </a:cubicBezTo>
                    <a:cubicBezTo>
                      <a:pt x="1410" y="386"/>
                      <a:pt x="1396" y="378"/>
                      <a:pt x="1382" y="374"/>
                    </a:cubicBezTo>
                    <a:cubicBezTo>
                      <a:pt x="1378" y="373"/>
                      <a:pt x="1373" y="374"/>
                      <a:pt x="1368" y="372"/>
                    </a:cubicBezTo>
                    <a:cubicBezTo>
                      <a:pt x="1365" y="371"/>
                      <a:pt x="1363" y="366"/>
                      <a:pt x="1359" y="365"/>
                    </a:cubicBezTo>
                    <a:cubicBezTo>
                      <a:pt x="1351" y="360"/>
                      <a:pt x="1340" y="360"/>
                      <a:pt x="1332" y="355"/>
                    </a:cubicBezTo>
                    <a:cubicBezTo>
                      <a:pt x="1330" y="359"/>
                      <a:pt x="1337" y="360"/>
                      <a:pt x="1341" y="362"/>
                    </a:cubicBezTo>
                    <a:cubicBezTo>
                      <a:pt x="1341" y="373"/>
                      <a:pt x="1358" y="371"/>
                      <a:pt x="1358" y="378"/>
                    </a:cubicBezTo>
                    <a:cubicBezTo>
                      <a:pt x="1347" y="371"/>
                      <a:pt x="1336" y="369"/>
                      <a:pt x="1319" y="368"/>
                    </a:cubicBezTo>
                    <a:cubicBezTo>
                      <a:pt x="1319" y="371"/>
                      <a:pt x="1317" y="372"/>
                      <a:pt x="1315" y="373"/>
                    </a:cubicBezTo>
                    <a:cubicBezTo>
                      <a:pt x="1318" y="375"/>
                      <a:pt x="1320" y="378"/>
                      <a:pt x="1320" y="383"/>
                    </a:cubicBezTo>
                    <a:cubicBezTo>
                      <a:pt x="1316" y="383"/>
                      <a:pt x="1317" y="379"/>
                      <a:pt x="1312" y="380"/>
                    </a:cubicBezTo>
                    <a:cubicBezTo>
                      <a:pt x="1312" y="381"/>
                      <a:pt x="1313" y="383"/>
                      <a:pt x="1311" y="384"/>
                    </a:cubicBezTo>
                    <a:cubicBezTo>
                      <a:pt x="1307" y="382"/>
                      <a:pt x="1304" y="379"/>
                      <a:pt x="1300" y="377"/>
                    </a:cubicBezTo>
                    <a:cubicBezTo>
                      <a:pt x="1297" y="380"/>
                      <a:pt x="1294" y="383"/>
                      <a:pt x="1287" y="382"/>
                    </a:cubicBezTo>
                    <a:cubicBezTo>
                      <a:pt x="1280" y="356"/>
                      <a:pt x="1260" y="341"/>
                      <a:pt x="1249" y="318"/>
                    </a:cubicBezTo>
                    <a:cubicBezTo>
                      <a:pt x="1254" y="316"/>
                      <a:pt x="1258" y="308"/>
                      <a:pt x="1265" y="311"/>
                    </a:cubicBezTo>
                    <a:cubicBezTo>
                      <a:pt x="1266" y="308"/>
                      <a:pt x="1264" y="308"/>
                      <a:pt x="1264" y="306"/>
                    </a:cubicBezTo>
                    <a:cubicBezTo>
                      <a:pt x="1273" y="307"/>
                      <a:pt x="1268" y="302"/>
                      <a:pt x="1274" y="301"/>
                    </a:cubicBezTo>
                    <a:cubicBezTo>
                      <a:pt x="1272" y="300"/>
                      <a:pt x="1271" y="298"/>
                      <a:pt x="1270" y="296"/>
                    </a:cubicBezTo>
                    <a:cubicBezTo>
                      <a:pt x="1273" y="294"/>
                      <a:pt x="1274" y="293"/>
                      <a:pt x="1279" y="294"/>
                    </a:cubicBezTo>
                    <a:cubicBezTo>
                      <a:pt x="1279" y="293"/>
                      <a:pt x="1278" y="290"/>
                      <a:pt x="1280" y="290"/>
                    </a:cubicBezTo>
                    <a:cubicBezTo>
                      <a:pt x="1285" y="290"/>
                      <a:pt x="1285" y="296"/>
                      <a:pt x="1290" y="296"/>
                    </a:cubicBezTo>
                    <a:cubicBezTo>
                      <a:pt x="1290" y="291"/>
                      <a:pt x="1293" y="288"/>
                      <a:pt x="1296" y="284"/>
                    </a:cubicBezTo>
                    <a:cubicBezTo>
                      <a:pt x="1295" y="283"/>
                      <a:pt x="1295" y="280"/>
                      <a:pt x="1294" y="279"/>
                    </a:cubicBezTo>
                    <a:cubicBezTo>
                      <a:pt x="1289" y="278"/>
                      <a:pt x="1289" y="278"/>
                      <a:pt x="1285" y="280"/>
                    </a:cubicBezTo>
                    <a:cubicBezTo>
                      <a:pt x="1276" y="274"/>
                      <a:pt x="1269" y="266"/>
                      <a:pt x="1260" y="259"/>
                    </a:cubicBezTo>
                    <a:cubicBezTo>
                      <a:pt x="1263" y="257"/>
                      <a:pt x="1264" y="256"/>
                      <a:pt x="1264" y="253"/>
                    </a:cubicBezTo>
                    <a:cubicBezTo>
                      <a:pt x="1272" y="253"/>
                      <a:pt x="1279" y="255"/>
                      <a:pt x="1286" y="257"/>
                    </a:cubicBezTo>
                    <a:cubicBezTo>
                      <a:pt x="1284" y="251"/>
                      <a:pt x="1275" y="248"/>
                      <a:pt x="1277" y="242"/>
                    </a:cubicBezTo>
                    <a:cubicBezTo>
                      <a:pt x="1272" y="240"/>
                      <a:pt x="1264" y="241"/>
                      <a:pt x="1261" y="237"/>
                    </a:cubicBezTo>
                    <a:cubicBezTo>
                      <a:pt x="1264" y="237"/>
                      <a:pt x="1263" y="234"/>
                      <a:pt x="1264" y="234"/>
                    </a:cubicBezTo>
                    <a:cubicBezTo>
                      <a:pt x="1271" y="239"/>
                      <a:pt x="1281" y="241"/>
                      <a:pt x="1289" y="245"/>
                    </a:cubicBezTo>
                    <a:cubicBezTo>
                      <a:pt x="1295" y="256"/>
                      <a:pt x="1311" y="262"/>
                      <a:pt x="1319" y="272"/>
                    </a:cubicBezTo>
                    <a:cubicBezTo>
                      <a:pt x="1324" y="278"/>
                      <a:pt x="1324" y="285"/>
                      <a:pt x="1332" y="285"/>
                    </a:cubicBezTo>
                    <a:cubicBezTo>
                      <a:pt x="1341" y="299"/>
                      <a:pt x="1365" y="300"/>
                      <a:pt x="1381" y="306"/>
                    </a:cubicBezTo>
                    <a:cubicBezTo>
                      <a:pt x="1388" y="308"/>
                      <a:pt x="1393" y="315"/>
                      <a:pt x="1401" y="311"/>
                    </a:cubicBezTo>
                    <a:cubicBezTo>
                      <a:pt x="1407" y="314"/>
                      <a:pt x="1416" y="318"/>
                      <a:pt x="1423" y="318"/>
                    </a:cubicBezTo>
                    <a:cubicBezTo>
                      <a:pt x="1419" y="305"/>
                      <a:pt x="1398" y="305"/>
                      <a:pt x="1397" y="292"/>
                    </a:cubicBezTo>
                    <a:cubicBezTo>
                      <a:pt x="1390" y="289"/>
                      <a:pt x="1378" y="288"/>
                      <a:pt x="1381" y="278"/>
                    </a:cubicBezTo>
                    <a:cubicBezTo>
                      <a:pt x="1375" y="273"/>
                      <a:pt x="1363" y="276"/>
                      <a:pt x="1357" y="268"/>
                    </a:cubicBezTo>
                    <a:cubicBezTo>
                      <a:pt x="1359" y="267"/>
                      <a:pt x="1361" y="268"/>
                      <a:pt x="1361" y="267"/>
                    </a:cubicBezTo>
                    <a:cubicBezTo>
                      <a:pt x="1354" y="261"/>
                      <a:pt x="1342" y="264"/>
                      <a:pt x="1334" y="258"/>
                    </a:cubicBezTo>
                    <a:cubicBezTo>
                      <a:pt x="1331" y="258"/>
                      <a:pt x="1334" y="263"/>
                      <a:pt x="1331" y="262"/>
                    </a:cubicBezTo>
                    <a:cubicBezTo>
                      <a:pt x="1325" y="261"/>
                      <a:pt x="1322" y="257"/>
                      <a:pt x="1317" y="254"/>
                    </a:cubicBezTo>
                    <a:cubicBezTo>
                      <a:pt x="1313" y="252"/>
                      <a:pt x="1305" y="251"/>
                      <a:pt x="1306" y="245"/>
                    </a:cubicBezTo>
                    <a:cubicBezTo>
                      <a:pt x="1306" y="245"/>
                      <a:pt x="1309" y="247"/>
                      <a:pt x="1309" y="245"/>
                    </a:cubicBezTo>
                    <a:cubicBezTo>
                      <a:pt x="1307" y="242"/>
                      <a:pt x="1302" y="242"/>
                      <a:pt x="1302" y="238"/>
                    </a:cubicBezTo>
                    <a:cubicBezTo>
                      <a:pt x="1305" y="238"/>
                      <a:pt x="1310" y="242"/>
                      <a:pt x="1311" y="240"/>
                    </a:cubicBezTo>
                    <a:cubicBezTo>
                      <a:pt x="1306" y="238"/>
                      <a:pt x="1302" y="231"/>
                      <a:pt x="1308" y="227"/>
                    </a:cubicBezTo>
                    <a:cubicBezTo>
                      <a:pt x="1314" y="227"/>
                      <a:pt x="1314" y="227"/>
                      <a:pt x="1314" y="227"/>
                    </a:cubicBezTo>
                    <a:cubicBezTo>
                      <a:pt x="1301" y="218"/>
                      <a:pt x="1293" y="208"/>
                      <a:pt x="1284" y="197"/>
                    </a:cubicBezTo>
                    <a:cubicBezTo>
                      <a:pt x="1286" y="196"/>
                      <a:pt x="1287" y="193"/>
                      <a:pt x="1288" y="192"/>
                    </a:cubicBezTo>
                    <a:cubicBezTo>
                      <a:pt x="1280" y="185"/>
                      <a:pt x="1270" y="191"/>
                      <a:pt x="1260" y="188"/>
                    </a:cubicBezTo>
                    <a:cubicBezTo>
                      <a:pt x="1260" y="190"/>
                      <a:pt x="1259" y="192"/>
                      <a:pt x="1254" y="191"/>
                    </a:cubicBezTo>
                    <a:cubicBezTo>
                      <a:pt x="1256" y="176"/>
                      <a:pt x="1238" y="183"/>
                      <a:pt x="1234" y="177"/>
                    </a:cubicBezTo>
                    <a:cubicBezTo>
                      <a:pt x="1238" y="176"/>
                      <a:pt x="1242" y="179"/>
                      <a:pt x="1245" y="177"/>
                    </a:cubicBezTo>
                    <a:cubicBezTo>
                      <a:pt x="1248" y="176"/>
                      <a:pt x="1243" y="174"/>
                      <a:pt x="1246" y="173"/>
                    </a:cubicBezTo>
                    <a:cubicBezTo>
                      <a:pt x="1254" y="173"/>
                      <a:pt x="1258" y="168"/>
                      <a:pt x="1267" y="169"/>
                    </a:cubicBezTo>
                    <a:cubicBezTo>
                      <a:pt x="1263" y="161"/>
                      <a:pt x="1246" y="166"/>
                      <a:pt x="1244" y="155"/>
                    </a:cubicBezTo>
                    <a:cubicBezTo>
                      <a:pt x="1235" y="153"/>
                      <a:pt x="1232" y="159"/>
                      <a:pt x="1223" y="161"/>
                    </a:cubicBezTo>
                    <a:cubicBezTo>
                      <a:pt x="1222" y="165"/>
                      <a:pt x="1227" y="163"/>
                      <a:pt x="1228" y="165"/>
                    </a:cubicBezTo>
                    <a:cubicBezTo>
                      <a:pt x="1216" y="163"/>
                      <a:pt x="1208" y="168"/>
                      <a:pt x="1196" y="172"/>
                    </a:cubicBezTo>
                    <a:cubicBezTo>
                      <a:pt x="1181" y="177"/>
                      <a:pt x="1171" y="177"/>
                      <a:pt x="1166" y="187"/>
                    </a:cubicBezTo>
                    <a:cubicBezTo>
                      <a:pt x="1162" y="187"/>
                      <a:pt x="1157" y="187"/>
                      <a:pt x="1156" y="190"/>
                    </a:cubicBezTo>
                    <a:cubicBezTo>
                      <a:pt x="1162" y="196"/>
                      <a:pt x="1174" y="189"/>
                      <a:pt x="1177" y="198"/>
                    </a:cubicBezTo>
                    <a:cubicBezTo>
                      <a:pt x="1171" y="195"/>
                      <a:pt x="1168" y="197"/>
                      <a:pt x="1164" y="198"/>
                    </a:cubicBezTo>
                    <a:cubicBezTo>
                      <a:pt x="1162" y="195"/>
                      <a:pt x="1158" y="192"/>
                      <a:pt x="1153" y="195"/>
                    </a:cubicBezTo>
                    <a:cubicBezTo>
                      <a:pt x="1153" y="198"/>
                      <a:pt x="1158" y="197"/>
                      <a:pt x="1157" y="201"/>
                    </a:cubicBezTo>
                    <a:cubicBezTo>
                      <a:pt x="1149" y="202"/>
                      <a:pt x="1141" y="207"/>
                      <a:pt x="1140" y="212"/>
                    </a:cubicBezTo>
                    <a:cubicBezTo>
                      <a:pt x="1128" y="214"/>
                      <a:pt x="1109" y="206"/>
                      <a:pt x="1097" y="216"/>
                    </a:cubicBezTo>
                    <a:cubicBezTo>
                      <a:pt x="1095" y="217"/>
                      <a:pt x="1099" y="219"/>
                      <a:pt x="1096" y="222"/>
                    </a:cubicBezTo>
                    <a:cubicBezTo>
                      <a:pt x="1077" y="223"/>
                      <a:pt x="1063" y="218"/>
                      <a:pt x="1044" y="222"/>
                    </a:cubicBezTo>
                    <a:cubicBezTo>
                      <a:pt x="1037" y="226"/>
                      <a:pt x="1029" y="227"/>
                      <a:pt x="1020" y="228"/>
                    </a:cubicBezTo>
                    <a:cubicBezTo>
                      <a:pt x="1024" y="230"/>
                      <a:pt x="1020" y="233"/>
                      <a:pt x="1022" y="235"/>
                    </a:cubicBezTo>
                    <a:cubicBezTo>
                      <a:pt x="1028" y="236"/>
                      <a:pt x="1032" y="234"/>
                      <a:pt x="1036" y="239"/>
                    </a:cubicBezTo>
                    <a:cubicBezTo>
                      <a:pt x="1034" y="241"/>
                      <a:pt x="1033" y="238"/>
                      <a:pt x="1030" y="239"/>
                    </a:cubicBezTo>
                    <a:cubicBezTo>
                      <a:pt x="1029" y="241"/>
                      <a:pt x="1033" y="243"/>
                      <a:pt x="1030" y="244"/>
                    </a:cubicBezTo>
                    <a:cubicBezTo>
                      <a:pt x="1026" y="244"/>
                      <a:pt x="1024" y="242"/>
                      <a:pt x="1020" y="243"/>
                    </a:cubicBezTo>
                    <a:cubicBezTo>
                      <a:pt x="1018" y="251"/>
                      <a:pt x="1009" y="247"/>
                      <a:pt x="1002" y="246"/>
                    </a:cubicBezTo>
                    <a:cubicBezTo>
                      <a:pt x="1003" y="251"/>
                      <a:pt x="1009" y="251"/>
                      <a:pt x="1011" y="256"/>
                    </a:cubicBezTo>
                    <a:cubicBezTo>
                      <a:pt x="1000" y="257"/>
                      <a:pt x="993" y="249"/>
                      <a:pt x="986" y="252"/>
                    </a:cubicBezTo>
                    <a:cubicBezTo>
                      <a:pt x="985" y="250"/>
                      <a:pt x="987" y="248"/>
                      <a:pt x="984" y="246"/>
                    </a:cubicBezTo>
                    <a:cubicBezTo>
                      <a:pt x="976" y="244"/>
                      <a:pt x="969" y="240"/>
                      <a:pt x="961" y="238"/>
                    </a:cubicBezTo>
                    <a:cubicBezTo>
                      <a:pt x="957" y="244"/>
                      <a:pt x="948" y="238"/>
                      <a:pt x="942" y="241"/>
                    </a:cubicBezTo>
                    <a:cubicBezTo>
                      <a:pt x="942" y="245"/>
                      <a:pt x="950" y="246"/>
                      <a:pt x="948" y="249"/>
                    </a:cubicBezTo>
                    <a:cubicBezTo>
                      <a:pt x="937" y="248"/>
                      <a:pt x="935" y="251"/>
                      <a:pt x="924" y="250"/>
                    </a:cubicBezTo>
                    <a:cubicBezTo>
                      <a:pt x="925" y="248"/>
                      <a:pt x="924" y="246"/>
                      <a:pt x="922" y="246"/>
                    </a:cubicBezTo>
                    <a:cubicBezTo>
                      <a:pt x="913" y="249"/>
                      <a:pt x="906" y="247"/>
                      <a:pt x="900" y="251"/>
                    </a:cubicBezTo>
                    <a:cubicBezTo>
                      <a:pt x="897" y="250"/>
                      <a:pt x="896" y="247"/>
                      <a:pt x="893" y="246"/>
                    </a:cubicBezTo>
                    <a:cubicBezTo>
                      <a:pt x="892" y="248"/>
                      <a:pt x="894" y="251"/>
                      <a:pt x="892" y="251"/>
                    </a:cubicBezTo>
                    <a:cubicBezTo>
                      <a:pt x="889" y="251"/>
                      <a:pt x="887" y="250"/>
                      <a:pt x="886" y="248"/>
                    </a:cubicBezTo>
                    <a:cubicBezTo>
                      <a:pt x="887" y="247"/>
                      <a:pt x="891" y="248"/>
                      <a:pt x="890" y="244"/>
                    </a:cubicBezTo>
                    <a:cubicBezTo>
                      <a:pt x="889" y="242"/>
                      <a:pt x="884" y="242"/>
                      <a:pt x="882" y="244"/>
                    </a:cubicBezTo>
                    <a:cubicBezTo>
                      <a:pt x="881" y="247"/>
                      <a:pt x="885" y="246"/>
                      <a:pt x="885" y="247"/>
                    </a:cubicBezTo>
                    <a:cubicBezTo>
                      <a:pt x="884" y="249"/>
                      <a:pt x="879" y="247"/>
                      <a:pt x="880" y="250"/>
                    </a:cubicBezTo>
                    <a:cubicBezTo>
                      <a:pt x="879" y="254"/>
                      <a:pt x="885" y="252"/>
                      <a:pt x="884" y="255"/>
                    </a:cubicBezTo>
                    <a:cubicBezTo>
                      <a:pt x="879" y="258"/>
                      <a:pt x="870" y="258"/>
                      <a:pt x="868" y="264"/>
                    </a:cubicBezTo>
                    <a:cubicBezTo>
                      <a:pt x="865" y="255"/>
                      <a:pt x="880" y="256"/>
                      <a:pt x="877" y="244"/>
                    </a:cubicBezTo>
                    <a:cubicBezTo>
                      <a:pt x="879" y="242"/>
                      <a:pt x="883" y="242"/>
                      <a:pt x="883" y="239"/>
                    </a:cubicBezTo>
                    <a:cubicBezTo>
                      <a:pt x="881" y="224"/>
                      <a:pt x="859" y="222"/>
                      <a:pt x="846" y="228"/>
                    </a:cubicBezTo>
                    <a:cubicBezTo>
                      <a:pt x="843" y="228"/>
                      <a:pt x="844" y="225"/>
                      <a:pt x="843" y="223"/>
                    </a:cubicBezTo>
                    <a:cubicBezTo>
                      <a:pt x="839" y="223"/>
                      <a:pt x="839" y="225"/>
                      <a:pt x="835" y="224"/>
                    </a:cubicBezTo>
                    <a:cubicBezTo>
                      <a:pt x="835" y="222"/>
                      <a:pt x="837" y="222"/>
                      <a:pt x="835" y="221"/>
                    </a:cubicBezTo>
                    <a:cubicBezTo>
                      <a:pt x="828" y="218"/>
                      <a:pt x="825" y="220"/>
                      <a:pt x="820" y="222"/>
                    </a:cubicBezTo>
                    <a:cubicBezTo>
                      <a:pt x="819" y="227"/>
                      <a:pt x="823" y="227"/>
                      <a:pt x="823" y="230"/>
                    </a:cubicBezTo>
                    <a:cubicBezTo>
                      <a:pt x="814" y="229"/>
                      <a:pt x="815" y="238"/>
                      <a:pt x="806" y="238"/>
                    </a:cubicBezTo>
                    <a:cubicBezTo>
                      <a:pt x="807" y="235"/>
                      <a:pt x="807" y="233"/>
                      <a:pt x="804" y="233"/>
                    </a:cubicBezTo>
                    <a:cubicBezTo>
                      <a:pt x="793" y="239"/>
                      <a:pt x="778" y="240"/>
                      <a:pt x="772" y="250"/>
                    </a:cubicBezTo>
                    <a:cubicBezTo>
                      <a:pt x="773" y="253"/>
                      <a:pt x="775" y="254"/>
                      <a:pt x="775" y="257"/>
                    </a:cubicBezTo>
                    <a:cubicBezTo>
                      <a:pt x="768" y="263"/>
                      <a:pt x="758" y="257"/>
                      <a:pt x="750" y="261"/>
                    </a:cubicBezTo>
                    <a:cubicBezTo>
                      <a:pt x="748" y="266"/>
                      <a:pt x="751" y="269"/>
                      <a:pt x="752" y="273"/>
                    </a:cubicBezTo>
                    <a:cubicBezTo>
                      <a:pt x="756" y="275"/>
                      <a:pt x="762" y="275"/>
                      <a:pt x="763" y="280"/>
                    </a:cubicBezTo>
                    <a:cubicBezTo>
                      <a:pt x="754" y="283"/>
                      <a:pt x="752" y="271"/>
                      <a:pt x="739" y="273"/>
                    </a:cubicBezTo>
                    <a:cubicBezTo>
                      <a:pt x="739" y="279"/>
                      <a:pt x="739" y="279"/>
                      <a:pt x="739" y="279"/>
                    </a:cubicBezTo>
                    <a:cubicBezTo>
                      <a:pt x="737" y="278"/>
                      <a:pt x="736" y="275"/>
                      <a:pt x="732" y="275"/>
                    </a:cubicBezTo>
                    <a:cubicBezTo>
                      <a:pt x="729" y="279"/>
                      <a:pt x="732" y="281"/>
                      <a:pt x="732" y="286"/>
                    </a:cubicBezTo>
                    <a:cubicBezTo>
                      <a:pt x="729" y="285"/>
                      <a:pt x="728" y="282"/>
                      <a:pt x="727" y="278"/>
                    </a:cubicBezTo>
                    <a:cubicBezTo>
                      <a:pt x="729" y="276"/>
                      <a:pt x="730" y="268"/>
                      <a:pt x="726" y="268"/>
                    </a:cubicBezTo>
                    <a:cubicBezTo>
                      <a:pt x="723" y="269"/>
                      <a:pt x="726" y="272"/>
                      <a:pt x="726" y="273"/>
                    </a:cubicBezTo>
                    <a:cubicBezTo>
                      <a:pt x="715" y="277"/>
                      <a:pt x="715" y="286"/>
                      <a:pt x="723" y="293"/>
                    </a:cubicBezTo>
                    <a:cubicBezTo>
                      <a:pt x="722" y="296"/>
                      <a:pt x="720" y="299"/>
                      <a:pt x="720" y="303"/>
                    </a:cubicBezTo>
                    <a:cubicBezTo>
                      <a:pt x="722" y="305"/>
                      <a:pt x="725" y="306"/>
                      <a:pt x="724" y="311"/>
                    </a:cubicBezTo>
                    <a:cubicBezTo>
                      <a:pt x="726" y="313"/>
                      <a:pt x="732" y="311"/>
                      <a:pt x="733" y="313"/>
                    </a:cubicBezTo>
                    <a:cubicBezTo>
                      <a:pt x="725" y="312"/>
                      <a:pt x="726" y="322"/>
                      <a:pt x="730" y="326"/>
                    </a:cubicBezTo>
                    <a:cubicBezTo>
                      <a:pt x="724" y="332"/>
                      <a:pt x="723" y="342"/>
                      <a:pt x="714" y="345"/>
                    </a:cubicBezTo>
                    <a:cubicBezTo>
                      <a:pt x="711" y="341"/>
                      <a:pt x="700" y="346"/>
                      <a:pt x="700" y="339"/>
                    </a:cubicBezTo>
                    <a:cubicBezTo>
                      <a:pt x="706" y="340"/>
                      <a:pt x="708" y="337"/>
                      <a:pt x="715" y="338"/>
                    </a:cubicBezTo>
                    <a:cubicBezTo>
                      <a:pt x="716" y="329"/>
                      <a:pt x="723" y="327"/>
                      <a:pt x="722" y="317"/>
                    </a:cubicBezTo>
                    <a:cubicBezTo>
                      <a:pt x="708" y="314"/>
                      <a:pt x="721" y="291"/>
                      <a:pt x="711" y="282"/>
                    </a:cubicBezTo>
                    <a:cubicBezTo>
                      <a:pt x="714" y="280"/>
                      <a:pt x="716" y="276"/>
                      <a:pt x="715" y="270"/>
                    </a:cubicBezTo>
                    <a:cubicBezTo>
                      <a:pt x="711" y="267"/>
                      <a:pt x="706" y="265"/>
                      <a:pt x="699" y="265"/>
                    </a:cubicBezTo>
                    <a:cubicBezTo>
                      <a:pt x="697" y="275"/>
                      <a:pt x="689" y="279"/>
                      <a:pt x="684" y="286"/>
                    </a:cubicBezTo>
                    <a:cubicBezTo>
                      <a:pt x="689" y="291"/>
                      <a:pt x="685" y="296"/>
                      <a:pt x="685" y="303"/>
                    </a:cubicBezTo>
                    <a:cubicBezTo>
                      <a:pt x="692" y="302"/>
                      <a:pt x="691" y="310"/>
                      <a:pt x="695" y="312"/>
                    </a:cubicBezTo>
                    <a:cubicBezTo>
                      <a:pt x="695" y="315"/>
                      <a:pt x="694" y="316"/>
                      <a:pt x="691" y="317"/>
                    </a:cubicBezTo>
                    <a:cubicBezTo>
                      <a:pt x="688" y="315"/>
                      <a:pt x="686" y="311"/>
                      <a:pt x="684" y="308"/>
                    </a:cubicBezTo>
                    <a:cubicBezTo>
                      <a:pt x="671" y="307"/>
                      <a:pt x="667" y="292"/>
                      <a:pt x="652" y="297"/>
                    </a:cubicBezTo>
                    <a:cubicBezTo>
                      <a:pt x="650" y="301"/>
                      <a:pt x="652" y="302"/>
                      <a:pt x="652" y="307"/>
                    </a:cubicBezTo>
                    <a:cubicBezTo>
                      <a:pt x="647" y="306"/>
                      <a:pt x="648" y="312"/>
                      <a:pt x="644" y="312"/>
                    </a:cubicBezTo>
                    <a:cubicBezTo>
                      <a:pt x="642" y="310"/>
                      <a:pt x="648" y="306"/>
                      <a:pt x="645" y="303"/>
                    </a:cubicBezTo>
                    <a:cubicBezTo>
                      <a:pt x="640" y="303"/>
                      <a:pt x="639" y="307"/>
                      <a:pt x="635" y="308"/>
                    </a:cubicBezTo>
                    <a:cubicBezTo>
                      <a:pt x="628" y="300"/>
                      <a:pt x="621" y="312"/>
                      <a:pt x="613" y="309"/>
                    </a:cubicBezTo>
                    <a:cubicBezTo>
                      <a:pt x="615" y="305"/>
                      <a:pt x="617" y="303"/>
                      <a:pt x="618" y="299"/>
                    </a:cubicBezTo>
                    <a:cubicBezTo>
                      <a:pt x="612" y="298"/>
                      <a:pt x="611" y="303"/>
                      <a:pt x="607" y="304"/>
                    </a:cubicBezTo>
                    <a:cubicBezTo>
                      <a:pt x="601" y="299"/>
                      <a:pt x="591" y="309"/>
                      <a:pt x="582" y="309"/>
                    </a:cubicBezTo>
                    <a:cubicBezTo>
                      <a:pt x="579" y="313"/>
                      <a:pt x="578" y="318"/>
                      <a:pt x="569" y="317"/>
                    </a:cubicBezTo>
                    <a:cubicBezTo>
                      <a:pt x="571" y="312"/>
                      <a:pt x="565" y="314"/>
                      <a:pt x="565" y="310"/>
                    </a:cubicBezTo>
                    <a:cubicBezTo>
                      <a:pt x="568" y="305"/>
                      <a:pt x="571" y="305"/>
                      <a:pt x="577" y="306"/>
                    </a:cubicBezTo>
                    <a:cubicBezTo>
                      <a:pt x="579" y="304"/>
                      <a:pt x="578" y="299"/>
                      <a:pt x="578" y="295"/>
                    </a:cubicBezTo>
                    <a:cubicBezTo>
                      <a:pt x="575" y="294"/>
                      <a:pt x="572" y="292"/>
                      <a:pt x="567" y="293"/>
                    </a:cubicBezTo>
                    <a:cubicBezTo>
                      <a:pt x="570" y="303"/>
                      <a:pt x="552" y="305"/>
                      <a:pt x="560" y="317"/>
                    </a:cubicBezTo>
                    <a:cubicBezTo>
                      <a:pt x="556" y="317"/>
                      <a:pt x="557" y="324"/>
                      <a:pt x="552" y="321"/>
                    </a:cubicBezTo>
                    <a:cubicBezTo>
                      <a:pt x="550" y="319"/>
                      <a:pt x="551" y="314"/>
                      <a:pt x="547" y="314"/>
                    </a:cubicBezTo>
                    <a:cubicBezTo>
                      <a:pt x="543" y="320"/>
                      <a:pt x="534" y="321"/>
                      <a:pt x="527" y="324"/>
                    </a:cubicBezTo>
                    <a:cubicBezTo>
                      <a:pt x="527" y="329"/>
                      <a:pt x="529" y="337"/>
                      <a:pt x="523" y="337"/>
                    </a:cubicBezTo>
                    <a:cubicBezTo>
                      <a:pt x="517" y="335"/>
                      <a:pt x="516" y="330"/>
                      <a:pt x="516" y="324"/>
                    </a:cubicBezTo>
                    <a:cubicBezTo>
                      <a:pt x="513" y="325"/>
                      <a:pt x="510" y="326"/>
                      <a:pt x="507" y="327"/>
                    </a:cubicBezTo>
                    <a:cubicBezTo>
                      <a:pt x="506" y="333"/>
                      <a:pt x="508" y="336"/>
                      <a:pt x="511" y="338"/>
                    </a:cubicBezTo>
                    <a:cubicBezTo>
                      <a:pt x="508" y="338"/>
                      <a:pt x="509" y="341"/>
                      <a:pt x="505" y="341"/>
                    </a:cubicBezTo>
                    <a:cubicBezTo>
                      <a:pt x="501" y="338"/>
                      <a:pt x="502" y="331"/>
                      <a:pt x="496" y="330"/>
                    </a:cubicBezTo>
                    <a:cubicBezTo>
                      <a:pt x="498" y="322"/>
                      <a:pt x="507" y="320"/>
                      <a:pt x="509" y="313"/>
                    </a:cubicBezTo>
                    <a:cubicBezTo>
                      <a:pt x="510" y="307"/>
                      <a:pt x="501" y="299"/>
                      <a:pt x="510" y="294"/>
                    </a:cubicBezTo>
                    <a:cubicBezTo>
                      <a:pt x="507" y="300"/>
                      <a:pt x="516" y="301"/>
                      <a:pt x="514" y="307"/>
                    </a:cubicBezTo>
                    <a:cubicBezTo>
                      <a:pt x="520" y="316"/>
                      <a:pt x="538" y="322"/>
                      <a:pt x="546" y="312"/>
                    </a:cubicBezTo>
                    <a:cubicBezTo>
                      <a:pt x="556" y="300"/>
                      <a:pt x="542" y="287"/>
                      <a:pt x="540" y="276"/>
                    </a:cubicBezTo>
                    <a:cubicBezTo>
                      <a:pt x="537" y="275"/>
                      <a:pt x="533" y="274"/>
                      <a:pt x="531" y="272"/>
                    </a:cubicBezTo>
                    <a:cubicBezTo>
                      <a:pt x="531" y="271"/>
                      <a:pt x="531" y="269"/>
                      <a:pt x="530" y="269"/>
                    </a:cubicBezTo>
                    <a:cubicBezTo>
                      <a:pt x="532" y="266"/>
                      <a:pt x="537" y="266"/>
                      <a:pt x="534" y="261"/>
                    </a:cubicBezTo>
                    <a:cubicBezTo>
                      <a:pt x="530" y="259"/>
                      <a:pt x="526" y="267"/>
                      <a:pt x="522" y="261"/>
                    </a:cubicBezTo>
                    <a:cubicBezTo>
                      <a:pt x="531" y="260"/>
                      <a:pt x="534" y="248"/>
                      <a:pt x="526" y="249"/>
                    </a:cubicBezTo>
                    <a:cubicBezTo>
                      <a:pt x="528" y="248"/>
                      <a:pt x="528" y="246"/>
                      <a:pt x="528" y="244"/>
                    </a:cubicBezTo>
                    <a:cubicBezTo>
                      <a:pt x="523" y="244"/>
                      <a:pt x="521" y="249"/>
                      <a:pt x="516" y="250"/>
                    </a:cubicBezTo>
                    <a:cubicBezTo>
                      <a:pt x="516" y="248"/>
                      <a:pt x="521" y="246"/>
                      <a:pt x="518" y="246"/>
                    </a:cubicBezTo>
                    <a:cubicBezTo>
                      <a:pt x="517" y="247"/>
                      <a:pt x="513" y="250"/>
                      <a:pt x="512" y="248"/>
                    </a:cubicBezTo>
                    <a:cubicBezTo>
                      <a:pt x="514" y="245"/>
                      <a:pt x="521" y="246"/>
                      <a:pt x="521" y="241"/>
                    </a:cubicBezTo>
                    <a:cubicBezTo>
                      <a:pt x="507" y="245"/>
                      <a:pt x="500" y="243"/>
                      <a:pt x="489" y="248"/>
                    </a:cubicBezTo>
                    <a:cubicBezTo>
                      <a:pt x="489" y="246"/>
                      <a:pt x="492" y="247"/>
                      <a:pt x="492" y="244"/>
                    </a:cubicBezTo>
                    <a:cubicBezTo>
                      <a:pt x="489" y="244"/>
                      <a:pt x="487" y="246"/>
                      <a:pt x="485" y="246"/>
                    </a:cubicBezTo>
                    <a:cubicBezTo>
                      <a:pt x="485" y="244"/>
                      <a:pt x="493" y="243"/>
                      <a:pt x="490" y="240"/>
                    </a:cubicBezTo>
                    <a:cubicBezTo>
                      <a:pt x="481" y="246"/>
                      <a:pt x="467" y="253"/>
                      <a:pt x="458" y="252"/>
                    </a:cubicBezTo>
                    <a:cubicBezTo>
                      <a:pt x="445" y="261"/>
                      <a:pt x="427" y="265"/>
                      <a:pt x="417" y="276"/>
                    </a:cubicBezTo>
                    <a:cubicBezTo>
                      <a:pt x="409" y="278"/>
                      <a:pt x="402" y="278"/>
                      <a:pt x="396" y="283"/>
                    </a:cubicBezTo>
                    <a:cubicBezTo>
                      <a:pt x="389" y="277"/>
                      <a:pt x="378" y="288"/>
                      <a:pt x="372" y="290"/>
                    </a:cubicBezTo>
                    <a:cubicBezTo>
                      <a:pt x="366" y="285"/>
                      <a:pt x="356" y="295"/>
                      <a:pt x="357" y="300"/>
                    </a:cubicBezTo>
                    <a:cubicBezTo>
                      <a:pt x="355" y="300"/>
                      <a:pt x="355" y="297"/>
                      <a:pt x="352" y="298"/>
                    </a:cubicBezTo>
                    <a:cubicBezTo>
                      <a:pt x="348" y="304"/>
                      <a:pt x="345" y="312"/>
                      <a:pt x="336" y="313"/>
                    </a:cubicBezTo>
                    <a:cubicBezTo>
                      <a:pt x="335" y="316"/>
                      <a:pt x="335" y="316"/>
                      <a:pt x="336" y="318"/>
                    </a:cubicBezTo>
                    <a:cubicBezTo>
                      <a:pt x="334" y="322"/>
                      <a:pt x="331" y="320"/>
                      <a:pt x="328" y="321"/>
                    </a:cubicBezTo>
                    <a:cubicBezTo>
                      <a:pt x="327" y="327"/>
                      <a:pt x="321" y="333"/>
                      <a:pt x="325" y="339"/>
                    </a:cubicBezTo>
                    <a:cubicBezTo>
                      <a:pt x="335" y="338"/>
                      <a:pt x="342" y="331"/>
                      <a:pt x="348" y="333"/>
                    </a:cubicBezTo>
                    <a:cubicBezTo>
                      <a:pt x="343" y="348"/>
                      <a:pt x="331" y="353"/>
                      <a:pt x="327" y="370"/>
                    </a:cubicBezTo>
                    <a:cubicBezTo>
                      <a:pt x="321" y="374"/>
                      <a:pt x="317" y="380"/>
                      <a:pt x="315" y="388"/>
                    </a:cubicBezTo>
                    <a:cubicBezTo>
                      <a:pt x="317" y="388"/>
                      <a:pt x="317" y="391"/>
                      <a:pt x="320" y="390"/>
                    </a:cubicBezTo>
                    <a:cubicBezTo>
                      <a:pt x="322" y="387"/>
                      <a:pt x="326" y="384"/>
                      <a:pt x="330" y="383"/>
                    </a:cubicBezTo>
                    <a:cubicBezTo>
                      <a:pt x="332" y="384"/>
                      <a:pt x="332" y="387"/>
                      <a:pt x="335" y="387"/>
                    </a:cubicBezTo>
                    <a:cubicBezTo>
                      <a:pt x="345" y="378"/>
                      <a:pt x="354" y="369"/>
                      <a:pt x="363" y="360"/>
                    </a:cubicBezTo>
                    <a:cubicBezTo>
                      <a:pt x="373" y="360"/>
                      <a:pt x="392" y="350"/>
                      <a:pt x="387" y="336"/>
                    </a:cubicBezTo>
                    <a:cubicBezTo>
                      <a:pt x="397" y="325"/>
                      <a:pt x="410" y="307"/>
                      <a:pt x="428" y="311"/>
                    </a:cubicBezTo>
                    <a:cubicBezTo>
                      <a:pt x="440" y="305"/>
                      <a:pt x="446" y="293"/>
                      <a:pt x="460" y="290"/>
                    </a:cubicBezTo>
                    <a:cubicBezTo>
                      <a:pt x="472" y="302"/>
                      <a:pt x="451" y="310"/>
                      <a:pt x="439" y="312"/>
                    </a:cubicBezTo>
                    <a:cubicBezTo>
                      <a:pt x="429" y="318"/>
                      <a:pt x="419" y="321"/>
                      <a:pt x="414" y="331"/>
                    </a:cubicBezTo>
                    <a:cubicBezTo>
                      <a:pt x="413" y="332"/>
                      <a:pt x="414" y="334"/>
                      <a:pt x="414" y="335"/>
                    </a:cubicBezTo>
                    <a:cubicBezTo>
                      <a:pt x="409" y="340"/>
                      <a:pt x="402" y="344"/>
                      <a:pt x="401" y="351"/>
                    </a:cubicBezTo>
                    <a:cubicBezTo>
                      <a:pt x="401" y="355"/>
                      <a:pt x="404" y="358"/>
                      <a:pt x="402" y="362"/>
                    </a:cubicBezTo>
                    <a:cubicBezTo>
                      <a:pt x="413" y="364"/>
                      <a:pt x="424" y="362"/>
                      <a:pt x="434" y="366"/>
                    </a:cubicBezTo>
                    <a:cubicBezTo>
                      <a:pt x="432" y="368"/>
                      <a:pt x="434" y="372"/>
                      <a:pt x="433" y="374"/>
                    </a:cubicBezTo>
                    <a:cubicBezTo>
                      <a:pt x="428" y="376"/>
                      <a:pt x="425" y="375"/>
                      <a:pt x="420" y="378"/>
                    </a:cubicBezTo>
                    <a:cubicBezTo>
                      <a:pt x="418" y="364"/>
                      <a:pt x="384" y="366"/>
                      <a:pt x="393" y="385"/>
                    </a:cubicBezTo>
                    <a:cubicBezTo>
                      <a:pt x="386" y="387"/>
                      <a:pt x="387" y="397"/>
                      <a:pt x="380" y="399"/>
                    </a:cubicBezTo>
                    <a:cubicBezTo>
                      <a:pt x="374" y="397"/>
                      <a:pt x="382" y="390"/>
                      <a:pt x="379" y="386"/>
                    </a:cubicBezTo>
                    <a:cubicBezTo>
                      <a:pt x="362" y="386"/>
                      <a:pt x="356" y="407"/>
                      <a:pt x="346" y="417"/>
                    </a:cubicBezTo>
                    <a:cubicBezTo>
                      <a:pt x="343" y="417"/>
                      <a:pt x="343" y="414"/>
                      <a:pt x="339" y="415"/>
                    </a:cubicBezTo>
                    <a:cubicBezTo>
                      <a:pt x="337" y="417"/>
                      <a:pt x="337" y="421"/>
                      <a:pt x="333" y="421"/>
                    </a:cubicBezTo>
                    <a:cubicBezTo>
                      <a:pt x="329" y="420"/>
                      <a:pt x="331" y="416"/>
                      <a:pt x="331" y="412"/>
                    </a:cubicBezTo>
                    <a:cubicBezTo>
                      <a:pt x="323" y="407"/>
                      <a:pt x="310" y="410"/>
                      <a:pt x="302" y="411"/>
                    </a:cubicBezTo>
                    <a:cubicBezTo>
                      <a:pt x="305" y="406"/>
                      <a:pt x="304" y="403"/>
                      <a:pt x="303" y="397"/>
                    </a:cubicBezTo>
                    <a:cubicBezTo>
                      <a:pt x="299" y="397"/>
                      <a:pt x="295" y="397"/>
                      <a:pt x="293" y="396"/>
                    </a:cubicBezTo>
                    <a:cubicBezTo>
                      <a:pt x="294" y="394"/>
                      <a:pt x="297" y="393"/>
                      <a:pt x="298" y="390"/>
                    </a:cubicBezTo>
                    <a:cubicBezTo>
                      <a:pt x="290" y="381"/>
                      <a:pt x="309" y="368"/>
                      <a:pt x="318" y="366"/>
                    </a:cubicBezTo>
                    <a:cubicBezTo>
                      <a:pt x="318" y="357"/>
                      <a:pt x="328" y="358"/>
                      <a:pt x="329" y="349"/>
                    </a:cubicBezTo>
                    <a:cubicBezTo>
                      <a:pt x="325" y="350"/>
                      <a:pt x="323" y="353"/>
                      <a:pt x="319" y="354"/>
                    </a:cubicBezTo>
                    <a:cubicBezTo>
                      <a:pt x="318" y="352"/>
                      <a:pt x="323" y="350"/>
                      <a:pt x="319" y="350"/>
                    </a:cubicBezTo>
                    <a:cubicBezTo>
                      <a:pt x="314" y="350"/>
                      <a:pt x="315" y="355"/>
                      <a:pt x="312" y="357"/>
                    </a:cubicBezTo>
                    <a:cubicBezTo>
                      <a:pt x="297" y="360"/>
                      <a:pt x="296" y="386"/>
                      <a:pt x="278" y="391"/>
                    </a:cubicBezTo>
                    <a:cubicBezTo>
                      <a:pt x="278" y="386"/>
                      <a:pt x="278" y="386"/>
                      <a:pt x="278" y="386"/>
                    </a:cubicBezTo>
                    <a:cubicBezTo>
                      <a:pt x="275" y="385"/>
                      <a:pt x="276" y="389"/>
                      <a:pt x="273" y="389"/>
                    </a:cubicBezTo>
                    <a:cubicBezTo>
                      <a:pt x="272" y="386"/>
                      <a:pt x="272" y="384"/>
                      <a:pt x="269" y="384"/>
                    </a:cubicBezTo>
                    <a:cubicBezTo>
                      <a:pt x="255" y="385"/>
                      <a:pt x="243" y="406"/>
                      <a:pt x="233" y="393"/>
                    </a:cubicBezTo>
                    <a:cubicBezTo>
                      <a:pt x="234" y="380"/>
                      <a:pt x="260" y="382"/>
                      <a:pt x="251" y="366"/>
                    </a:cubicBezTo>
                    <a:cubicBezTo>
                      <a:pt x="269" y="350"/>
                      <a:pt x="274" y="320"/>
                      <a:pt x="300" y="311"/>
                    </a:cubicBezTo>
                    <a:cubicBezTo>
                      <a:pt x="301" y="307"/>
                      <a:pt x="299" y="305"/>
                      <a:pt x="299" y="301"/>
                    </a:cubicBezTo>
                    <a:cubicBezTo>
                      <a:pt x="303" y="299"/>
                      <a:pt x="309" y="299"/>
                      <a:pt x="310" y="294"/>
                    </a:cubicBezTo>
                    <a:cubicBezTo>
                      <a:pt x="308" y="294"/>
                      <a:pt x="307" y="292"/>
                      <a:pt x="307" y="290"/>
                    </a:cubicBezTo>
                    <a:cubicBezTo>
                      <a:pt x="294" y="296"/>
                      <a:pt x="283" y="306"/>
                      <a:pt x="273" y="315"/>
                    </a:cubicBezTo>
                    <a:cubicBezTo>
                      <a:pt x="273" y="313"/>
                      <a:pt x="277" y="312"/>
                      <a:pt x="273" y="312"/>
                    </a:cubicBezTo>
                    <a:cubicBezTo>
                      <a:pt x="270" y="315"/>
                      <a:pt x="267" y="319"/>
                      <a:pt x="270" y="320"/>
                    </a:cubicBezTo>
                    <a:cubicBezTo>
                      <a:pt x="268" y="323"/>
                      <a:pt x="264" y="324"/>
                      <a:pt x="262" y="327"/>
                    </a:cubicBezTo>
                    <a:cubicBezTo>
                      <a:pt x="261" y="331"/>
                      <a:pt x="266" y="329"/>
                      <a:pt x="266" y="333"/>
                    </a:cubicBezTo>
                    <a:cubicBezTo>
                      <a:pt x="257" y="336"/>
                      <a:pt x="258" y="348"/>
                      <a:pt x="249" y="350"/>
                    </a:cubicBezTo>
                    <a:cubicBezTo>
                      <a:pt x="249" y="343"/>
                      <a:pt x="249" y="343"/>
                      <a:pt x="249" y="343"/>
                    </a:cubicBezTo>
                    <a:cubicBezTo>
                      <a:pt x="245" y="345"/>
                      <a:pt x="241" y="346"/>
                      <a:pt x="242" y="352"/>
                    </a:cubicBezTo>
                    <a:cubicBezTo>
                      <a:pt x="239" y="356"/>
                      <a:pt x="231" y="355"/>
                      <a:pt x="228" y="360"/>
                    </a:cubicBezTo>
                    <a:cubicBezTo>
                      <a:pt x="229" y="363"/>
                      <a:pt x="228" y="369"/>
                      <a:pt x="228" y="371"/>
                    </a:cubicBezTo>
                    <a:cubicBezTo>
                      <a:pt x="224" y="366"/>
                      <a:pt x="212" y="372"/>
                      <a:pt x="210" y="377"/>
                    </a:cubicBezTo>
                    <a:cubicBezTo>
                      <a:pt x="215" y="375"/>
                      <a:pt x="216" y="378"/>
                      <a:pt x="214" y="382"/>
                    </a:cubicBezTo>
                    <a:cubicBezTo>
                      <a:pt x="218" y="382"/>
                      <a:pt x="218" y="379"/>
                      <a:pt x="221" y="379"/>
                    </a:cubicBezTo>
                    <a:cubicBezTo>
                      <a:pt x="220" y="388"/>
                      <a:pt x="224" y="390"/>
                      <a:pt x="232" y="394"/>
                    </a:cubicBezTo>
                    <a:cubicBezTo>
                      <a:pt x="229" y="397"/>
                      <a:pt x="228" y="403"/>
                      <a:pt x="224" y="405"/>
                    </a:cubicBezTo>
                    <a:cubicBezTo>
                      <a:pt x="219" y="400"/>
                      <a:pt x="214" y="408"/>
                      <a:pt x="211" y="407"/>
                    </a:cubicBezTo>
                    <a:cubicBezTo>
                      <a:pt x="209" y="401"/>
                      <a:pt x="217" y="397"/>
                      <a:pt x="212" y="395"/>
                    </a:cubicBezTo>
                    <a:cubicBezTo>
                      <a:pt x="210" y="399"/>
                      <a:pt x="209" y="405"/>
                      <a:pt x="204" y="407"/>
                    </a:cubicBezTo>
                    <a:cubicBezTo>
                      <a:pt x="202" y="404"/>
                      <a:pt x="202" y="401"/>
                      <a:pt x="203" y="397"/>
                    </a:cubicBezTo>
                    <a:cubicBezTo>
                      <a:pt x="200" y="398"/>
                      <a:pt x="200" y="395"/>
                      <a:pt x="198" y="394"/>
                    </a:cubicBezTo>
                    <a:cubicBezTo>
                      <a:pt x="195" y="396"/>
                      <a:pt x="193" y="400"/>
                      <a:pt x="190" y="401"/>
                    </a:cubicBezTo>
                    <a:cubicBezTo>
                      <a:pt x="189" y="429"/>
                      <a:pt x="170" y="457"/>
                      <a:pt x="151" y="469"/>
                    </a:cubicBezTo>
                    <a:cubicBezTo>
                      <a:pt x="148" y="457"/>
                      <a:pt x="148" y="442"/>
                      <a:pt x="148" y="433"/>
                    </a:cubicBezTo>
                    <a:cubicBezTo>
                      <a:pt x="141" y="431"/>
                      <a:pt x="142" y="434"/>
                      <a:pt x="137" y="442"/>
                    </a:cubicBezTo>
                    <a:cubicBezTo>
                      <a:pt x="126" y="461"/>
                      <a:pt x="114" y="467"/>
                      <a:pt x="105" y="486"/>
                    </a:cubicBezTo>
                    <a:cubicBezTo>
                      <a:pt x="101" y="494"/>
                      <a:pt x="95" y="500"/>
                      <a:pt x="94" y="504"/>
                    </a:cubicBezTo>
                    <a:cubicBezTo>
                      <a:pt x="93" y="508"/>
                      <a:pt x="95" y="512"/>
                      <a:pt x="95" y="515"/>
                    </a:cubicBezTo>
                    <a:cubicBezTo>
                      <a:pt x="94" y="523"/>
                      <a:pt x="87" y="530"/>
                      <a:pt x="88" y="537"/>
                    </a:cubicBezTo>
                    <a:cubicBezTo>
                      <a:pt x="95" y="535"/>
                      <a:pt x="94" y="548"/>
                      <a:pt x="97" y="553"/>
                    </a:cubicBezTo>
                    <a:cubicBezTo>
                      <a:pt x="99" y="550"/>
                      <a:pt x="103" y="544"/>
                      <a:pt x="107" y="549"/>
                    </a:cubicBezTo>
                    <a:cubicBezTo>
                      <a:pt x="109" y="544"/>
                      <a:pt x="112" y="541"/>
                      <a:pt x="116" y="541"/>
                    </a:cubicBezTo>
                    <a:cubicBezTo>
                      <a:pt x="117" y="527"/>
                      <a:pt x="128" y="522"/>
                      <a:pt x="137" y="516"/>
                    </a:cubicBezTo>
                    <a:cubicBezTo>
                      <a:pt x="139" y="519"/>
                      <a:pt x="144" y="518"/>
                      <a:pt x="149" y="518"/>
                    </a:cubicBezTo>
                    <a:cubicBezTo>
                      <a:pt x="154" y="512"/>
                      <a:pt x="154" y="500"/>
                      <a:pt x="166" y="500"/>
                    </a:cubicBezTo>
                    <a:cubicBezTo>
                      <a:pt x="168" y="507"/>
                      <a:pt x="166" y="513"/>
                      <a:pt x="169" y="519"/>
                    </a:cubicBezTo>
                    <a:cubicBezTo>
                      <a:pt x="175" y="515"/>
                      <a:pt x="182" y="517"/>
                      <a:pt x="189" y="513"/>
                    </a:cubicBezTo>
                    <a:cubicBezTo>
                      <a:pt x="194" y="529"/>
                      <a:pt x="183" y="537"/>
                      <a:pt x="182" y="554"/>
                    </a:cubicBezTo>
                    <a:cubicBezTo>
                      <a:pt x="182" y="572"/>
                      <a:pt x="181" y="586"/>
                      <a:pt x="186" y="599"/>
                    </a:cubicBezTo>
                    <a:cubicBezTo>
                      <a:pt x="182" y="612"/>
                      <a:pt x="187" y="633"/>
                      <a:pt x="172" y="639"/>
                    </a:cubicBezTo>
                    <a:cubicBezTo>
                      <a:pt x="171" y="634"/>
                      <a:pt x="163" y="635"/>
                      <a:pt x="161" y="631"/>
                    </a:cubicBezTo>
                    <a:cubicBezTo>
                      <a:pt x="162" y="625"/>
                      <a:pt x="158" y="625"/>
                      <a:pt x="155" y="623"/>
                    </a:cubicBezTo>
                    <a:cubicBezTo>
                      <a:pt x="151" y="633"/>
                      <a:pt x="155" y="651"/>
                      <a:pt x="159" y="659"/>
                    </a:cubicBezTo>
                    <a:cubicBezTo>
                      <a:pt x="164" y="656"/>
                      <a:pt x="163" y="646"/>
                      <a:pt x="169" y="644"/>
                    </a:cubicBezTo>
                    <a:cubicBezTo>
                      <a:pt x="179" y="648"/>
                      <a:pt x="180" y="636"/>
                      <a:pt x="189" y="635"/>
                    </a:cubicBezTo>
                    <a:cubicBezTo>
                      <a:pt x="191" y="626"/>
                      <a:pt x="187" y="615"/>
                      <a:pt x="198" y="614"/>
                    </a:cubicBezTo>
                    <a:cubicBezTo>
                      <a:pt x="200" y="619"/>
                      <a:pt x="198" y="626"/>
                      <a:pt x="201" y="630"/>
                    </a:cubicBezTo>
                    <a:cubicBezTo>
                      <a:pt x="211" y="622"/>
                      <a:pt x="201" y="603"/>
                      <a:pt x="199" y="593"/>
                    </a:cubicBezTo>
                    <a:cubicBezTo>
                      <a:pt x="200" y="590"/>
                      <a:pt x="204" y="590"/>
                      <a:pt x="204" y="586"/>
                    </a:cubicBezTo>
                    <a:cubicBezTo>
                      <a:pt x="191" y="572"/>
                      <a:pt x="206" y="547"/>
                      <a:pt x="206" y="526"/>
                    </a:cubicBezTo>
                    <a:cubicBezTo>
                      <a:pt x="213" y="527"/>
                      <a:pt x="209" y="518"/>
                      <a:pt x="214" y="517"/>
                    </a:cubicBezTo>
                    <a:cubicBezTo>
                      <a:pt x="215" y="517"/>
                      <a:pt x="222" y="516"/>
                      <a:pt x="223" y="519"/>
                    </a:cubicBezTo>
                    <a:cubicBezTo>
                      <a:pt x="221" y="524"/>
                      <a:pt x="216" y="526"/>
                      <a:pt x="215" y="532"/>
                    </a:cubicBezTo>
                    <a:cubicBezTo>
                      <a:pt x="217" y="532"/>
                      <a:pt x="219" y="527"/>
                      <a:pt x="221" y="531"/>
                    </a:cubicBezTo>
                    <a:cubicBezTo>
                      <a:pt x="217" y="539"/>
                      <a:pt x="217" y="552"/>
                      <a:pt x="214" y="560"/>
                    </a:cubicBezTo>
                    <a:cubicBezTo>
                      <a:pt x="214" y="565"/>
                      <a:pt x="219" y="564"/>
                      <a:pt x="219" y="568"/>
                    </a:cubicBezTo>
                    <a:cubicBezTo>
                      <a:pt x="218" y="578"/>
                      <a:pt x="221" y="595"/>
                      <a:pt x="223" y="607"/>
                    </a:cubicBezTo>
                    <a:cubicBezTo>
                      <a:pt x="220" y="616"/>
                      <a:pt x="211" y="620"/>
                      <a:pt x="209" y="629"/>
                    </a:cubicBezTo>
                    <a:cubicBezTo>
                      <a:pt x="209" y="631"/>
                      <a:pt x="211" y="633"/>
                      <a:pt x="211" y="635"/>
                    </a:cubicBezTo>
                    <a:cubicBezTo>
                      <a:pt x="211" y="637"/>
                      <a:pt x="209" y="639"/>
                      <a:pt x="209" y="641"/>
                    </a:cubicBezTo>
                    <a:cubicBezTo>
                      <a:pt x="209" y="649"/>
                      <a:pt x="212" y="658"/>
                      <a:pt x="210" y="667"/>
                    </a:cubicBezTo>
                    <a:cubicBezTo>
                      <a:pt x="211" y="670"/>
                      <a:pt x="215" y="669"/>
                      <a:pt x="214" y="674"/>
                    </a:cubicBezTo>
                    <a:cubicBezTo>
                      <a:pt x="211" y="672"/>
                      <a:pt x="210" y="674"/>
                      <a:pt x="207" y="676"/>
                    </a:cubicBezTo>
                    <a:cubicBezTo>
                      <a:pt x="209" y="684"/>
                      <a:pt x="205" y="688"/>
                      <a:pt x="204" y="694"/>
                    </a:cubicBezTo>
                    <a:cubicBezTo>
                      <a:pt x="208" y="696"/>
                      <a:pt x="208" y="700"/>
                      <a:pt x="208" y="704"/>
                    </a:cubicBezTo>
                    <a:cubicBezTo>
                      <a:pt x="212" y="700"/>
                      <a:pt x="210" y="709"/>
                      <a:pt x="213" y="708"/>
                    </a:cubicBezTo>
                    <a:cubicBezTo>
                      <a:pt x="216" y="703"/>
                      <a:pt x="216" y="696"/>
                      <a:pt x="218" y="690"/>
                    </a:cubicBezTo>
                    <a:cubicBezTo>
                      <a:pt x="220" y="691"/>
                      <a:pt x="219" y="696"/>
                      <a:pt x="222" y="696"/>
                    </a:cubicBezTo>
                    <a:cubicBezTo>
                      <a:pt x="226" y="687"/>
                      <a:pt x="215" y="680"/>
                      <a:pt x="218" y="673"/>
                    </a:cubicBezTo>
                    <a:cubicBezTo>
                      <a:pt x="222" y="677"/>
                      <a:pt x="225" y="684"/>
                      <a:pt x="227" y="692"/>
                    </a:cubicBezTo>
                    <a:cubicBezTo>
                      <a:pt x="232" y="690"/>
                      <a:pt x="231" y="681"/>
                      <a:pt x="237" y="680"/>
                    </a:cubicBezTo>
                    <a:cubicBezTo>
                      <a:pt x="229" y="672"/>
                      <a:pt x="231" y="656"/>
                      <a:pt x="234" y="643"/>
                    </a:cubicBezTo>
                    <a:cubicBezTo>
                      <a:pt x="236" y="646"/>
                      <a:pt x="236" y="651"/>
                      <a:pt x="237" y="654"/>
                    </a:cubicBezTo>
                    <a:cubicBezTo>
                      <a:pt x="245" y="655"/>
                      <a:pt x="242" y="645"/>
                      <a:pt x="249" y="644"/>
                    </a:cubicBezTo>
                    <a:cubicBezTo>
                      <a:pt x="252" y="645"/>
                      <a:pt x="249" y="650"/>
                      <a:pt x="252" y="651"/>
                    </a:cubicBezTo>
                    <a:cubicBezTo>
                      <a:pt x="253" y="649"/>
                      <a:pt x="255" y="648"/>
                      <a:pt x="258" y="648"/>
                    </a:cubicBezTo>
                    <a:cubicBezTo>
                      <a:pt x="260" y="651"/>
                      <a:pt x="263" y="654"/>
                      <a:pt x="262" y="660"/>
                    </a:cubicBezTo>
                    <a:cubicBezTo>
                      <a:pt x="258" y="659"/>
                      <a:pt x="256" y="660"/>
                      <a:pt x="255" y="665"/>
                    </a:cubicBezTo>
                    <a:cubicBezTo>
                      <a:pt x="259" y="667"/>
                      <a:pt x="260" y="662"/>
                      <a:pt x="261" y="664"/>
                    </a:cubicBezTo>
                    <a:cubicBezTo>
                      <a:pt x="258" y="669"/>
                      <a:pt x="257" y="676"/>
                      <a:pt x="252" y="678"/>
                    </a:cubicBezTo>
                    <a:cubicBezTo>
                      <a:pt x="252" y="682"/>
                      <a:pt x="253" y="685"/>
                      <a:pt x="255" y="686"/>
                    </a:cubicBezTo>
                    <a:cubicBezTo>
                      <a:pt x="260" y="684"/>
                      <a:pt x="256" y="680"/>
                      <a:pt x="257" y="678"/>
                    </a:cubicBezTo>
                    <a:cubicBezTo>
                      <a:pt x="262" y="682"/>
                      <a:pt x="256" y="692"/>
                      <a:pt x="255" y="698"/>
                    </a:cubicBezTo>
                    <a:cubicBezTo>
                      <a:pt x="255" y="690"/>
                      <a:pt x="252" y="691"/>
                      <a:pt x="248" y="689"/>
                    </a:cubicBezTo>
                    <a:cubicBezTo>
                      <a:pt x="247" y="691"/>
                      <a:pt x="246" y="693"/>
                      <a:pt x="246" y="696"/>
                    </a:cubicBezTo>
                    <a:cubicBezTo>
                      <a:pt x="250" y="693"/>
                      <a:pt x="249" y="702"/>
                      <a:pt x="254" y="702"/>
                    </a:cubicBezTo>
                    <a:cubicBezTo>
                      <a:pt x="254" y="713"/>
                      <a:pt x="255" y="721"/>
                      <a:pt x="256" y="731"/>
                    </a:cubicBezTo>
                    <a:cubicBezTo>
                      <a:pt x="265" y="735"/>
                      <a:pt x="263" y="750"/>
                      <a:pt x="276" y="750"/>
                    </a:cubicBezTo>
                    <a:cubicBezTo>
                      <a:pt x="278" y="747"/>
                      <a:pt x="279" y="743"/>
                      <a:pt x="283" y="743"/>
                    </a:cubicBezTo>
                    <a:cubicBezTo>
                      <a:pt x="296" y="749"/>
                      <a:pt x="291" y="768"/>
                      <a:pt x="306" y="768"/>
                    </a:cubicBezTo>
                    <a:cubicBezTo>
                      <a:pt x="315" y="768"/>
                      <a:pt x="325" y="755"/>
                      <a:pt x="329" y="770"/>
                    </a:cubicBezTo>
                    <a:cubicBezTo>
                      <a:pt x="333" y="770"/>
                      <a:pt x="334" y="766"/>
                      <a:pt x="338" y="767"/>
                    </a:cubicBezTo>
                    <a:cubicBezTo>
                      <a:pt x="334" y="779"/>
                      <a:pt x="321" y="789"/>
                      <a:pt x="326" y="804"/>
                    </a:cubicBezTo>
                    <a:cubicBezTo>
                      <a:pt x="311" y="813"/>
                      <a:pt x="311" y="837"/>
                      <a:pt x="301" y="850"/>
                    </a:cubicBezTo>
                    <a:cubicBezTo>
                      <a:pt x="295" y="847"/>
                      <a:pt x="297" y="854"/>
                      <a:pt x="292" y="854"/>
                    </a:cubicBezTo>
                    <a:cubicBezTo>
                      <a:pt x="284" y="854"/>
                      <a:pt x="281" y="849"/>
                      <a:pt x="276" y="846"/>
                    </a:cubicBezTo>
                    <a:cubicBezTo>
                      <a:pt x="273" y="831"/>
                      <a:pt x="253" y="833"/>
                      <a:pt x="241" y="835"/>
                    </a:cubicBezTo>
                    <a:cubicBezTo>
                      <a:pt x="230" y="823"/>
                      <a:pt x="221" y="810"/>
                      <a:pt x="207" y="801"/>
                    </a:cubicBezTo>
                    <a:cubicBezTo>
                      <a:pt x="205" y="800"/>
                      <a:pt x="207" y="797"/>
                      <a:pt x="207" y="795"/>
                    </a:cubicBezTo>
                    <a:cubicBezTo>
                      <a:pt x="204" y="792"/>
                      <a:pt x="204" y="789"/>
                      <a:pt x="201" y="789"/>
                    </a:cubicBezTo>
                    <a:cubicBezTo>
                      <a:pt x="200" y="780"/>
                      <a:pt x="189" y="782"/>
                      <a:pt x="192" y="770"/>
                    </a:cubicBezTo>
                    <a:cubicBezTo>
                      <a:pt x="189" y="766"/>
                      <a:pt x="186" y="763"/>
                      <a:pt x="183" y="758"/>
                    </a:cubicBezTo>
                    <a:cubicBezTo>
                      <a:pt x="175" y="759"/>
                      <a:pt x="177" y="755"/>
                      <a:pt x="173" y="755"/>
                    </a:cubicBezTo>
                    <a:cubicBezTo>
                      <a:pt x="159" y="756"/>
                      <a:pt x="166" y="786"/>
                      <a:pt x="154" y="785"/>
                    </a:cubicBezTo>
                    <a:cubicBezTo>
                      <a:pt x="144" y="784"/>
                      <a:pt x="147" y="766"/>
                      <a:pt x="142" y="757"/>
                    </a:cubicBezTo>
                    <a:cubicBezTo>
                      <a:pt x="140" y="753"/>
                      <a:pt x="134" y="751"/>
                      <a:pt x="132" y="747"/>
                    </a:cubicBezTo>
                    <a:cubicBezTo>
                      <a:pt x="131" y="740"/>
                      <a:pt x="134" y="732"/>
                      <a:pt x="133" y="726"/>
                    </a:cubicBezTo>
                    <a:cubicBezTo>
                      <a:pt x="132" y="714"/>
                      <a:pt x="127" y="708"/>
                      <a:pt x="120" y="702"/>
                    </a:cubicBezTo>
                    <a:cubicBezTo>
                      <a:pt x="118" y="689"/>
                      <a:pt x="116" y="678"/>
                      <a:pt x="116" y="666"/>
                    </a:cubicBezTo>
                    <a:cubicBezTo>
                      <a:pt x="126" y="663"/>
                      <a:pt x="133" y="656"/>
                      <a:pt x="131" y="641"/>
                    </a:cubicBezTo>
                    <a:cubicBezTo>
                      <a:pt x="133" y="636"/>
                      <a:pt x="140" y="636"/>
                      <a:pt x="140" y="629"/>
                    </a:cubicBezTo>
                    <a:cubicBezTo>
                      <a:pt x="137" y="627"/>
                      <a:pt x="135" y="632"/>
                      <a:pt x="134" y="630"/>
                    </a:cubicBezTo>
                    <a:cubicBezTo>
                      <a:pt x="134" y="624"/>
                      <a:pt x="139" y="624"/>
                      <a:pt x="138" y="618"/>
                    </a:cubicBezTo>
                    <a:cubicBezTo>
                      <a:pt x="132" y="616"/>
                      <a:pt x="125" y="614"/>
                      <a:pt x="125" y="606"/>
                    </a:cubicBezTo>
                    <a:cubicBezTo>
                      <a:pt x="123" y="608"/>
                      <a:pt x="121" y="603"/>
                      <a:pt x="122" y="600"/>
                    </a:cubicBezTo>
                    <a:cubicBezTo>
                      <a:pt x="119" y="602"/>
                      <a:pt x="117" y="599"/>
                      <a:pt x="114" y="598"/>
                    </a:cubicBezTo>
                    <a:cubicBezTo>
                      <a:pt x="113" y="586"/>
                      <a:pt x="104" y="581"/>
                      <a:pt x="100" y="572"/>
                    </a:cubicBezTo>
                    <a:cubicBezTo>
                      <a:pt x="97" y="572"/>
                      <a:pt x="97" y="574"/>
                      <a:pt x="95" y="575"/>
                    </a:cubicBezTo>
                    <a:cubicBezTo>
                      <a:pt x="92" y="571"/>
                      <a:pt x="91" y="573"/>
                      <a:pt x="86" y="574"/>
                    </a:cubicBezTo>
                    <a:cubicBezTo>
                      <a:pt x="84" y="563"/>
                      <a:pt x="84" y="551"/>
                      <a:pt x="85" y="539"/>
                    </a:cubicBezTo>
                    <a:cubicBezTo>
                      <a:pt x="82" y="546"/>
                      <a:pt x="78" y="551"/>
                      <a:pt x="73" y="556"/>
                    </a:cubicBezTo>
                    <a:cubicBezTo>
                      <a:pt x="73" y="554"/>
                      <a:pt x="71" y="553"/>
                      <a:pt x="70" y="552"/>
                    </a:cubicBezTo>
                    <a:cubicBezTo>
                      <a:pt x="57" y="560"/>
                      <a:pt x="57" y="581"/>
                      <a:pt x="45" y="590"/>
                    </a:cubicBezTo>
                    <a:cubicBezTo>
                      <a:pt x="43" y="588"/>
                      <a:pt x="46" y="587"/>
                      <a:pt x="44" y="585"/>
                    </a:cubicBezTo>
                    <a:cubicBezTo>
                      <a:pt x="13" y="667"/>
                      <a:pt x="0" y="783"/>
                      <a:pt x="5" y="894"/>
                    </a:cubicBezTo>
                    <a:cubicBezTo>
                      <a:pt x="8" y="958"/>
                      <a:pt x="25" y="1012"/>
                      <a:pt x="41" y="1061"/>
                    </a:cubicBezTo>
                    <a:cubicBezTo>
                      <a:pt x="53" y="1077"/>
                      <a:pt x="55" y="1101"/>
                      <a:pt x="59" y="1119"/>
                    </a:cubicBezTo>
                    <a:cubicBezTo>
                      <a:pt x="61" y="1131"/>
                      <a:pt x="62" y="1139"/>
                      <a:pt x="65" y="1149"/>
                    </a:cubicBezTo>
                    <a:cubicBezTo>
                      <a:pt x="75" y="1175"/>
                      <a:pt x="88" y="1198"/>
                      <a:pt x="99" y="1223"/>
                    </a:cubicBezTo>
                    <a:cubicBezTo>
                      <a:pt x="162" y="1366"/>
                      <a:pt x="271" y="1478"/>
                      <a:pt x="394" y="1556"/>
                    </a:cubicBezTo>
                    <a:cubicBezTo>
                      <a:pt x="392" y="1554"/>
                      <a:pt x="385" y="1551"/>
                      <a:pt x="386" y="1549"/>
                    </a:cubicBezTo>
                    <a:cubicBezTo>
                      <a:pt x="392" y="1552"/>
                      <a:pt x="400" y="1557"/>
                      <a:pt x="405" y="1557"/>
                    </a:cubicBezTo>
                    <a:cubicBezTo>
                      <a:pt x="395" y="1548"/>
                      <a:pt x="386" y="1539"/>
                      <a:pt x="376" y="1529"/>
                    </a:cubicBezTo>
                    <a:cubicBezTo>
                      <a:pt x="382" y="1530"/>
                      <a:pt x="385" y="1530"/>
                      <a:pt x="391" y="1531"/>
                    </a:cubicBezTo>
                    <a:cubicBezTo>
                      <a:pt x="393" y="1531"/>
                      <a:pt x="390" y="1527"/>
                      <a:pt x="394" y="1528"/>
                    </a:cubicBezTo>
                    <a:cubicBezTo>
                      <a:pt x="406" y="1530"/>
                      <a:pt x="417" y="1538"/>
                      <a:pt x="429" y="1532"/>
                    </a:cubicBezTo>
                    <a:cubicBezTo>
                      <a:pt x="429" y="1531"/>
                      <a:pt x="429" y="1529"/>
                      <a:pt x="430" y="1529"/>
                    </a:cubicBezTo>
                    <a:cubicBezTo>
                      <a:pt x="424" y="1517"/>
                      <a:pt x="415" y="1509"/>
                      <a:pt x="414" y="1493"/>
                    </a:cubicBezTo>
                    <a:cubicBezTo>
                      <a:pt x="401" y="1482"/>
                      <a:pt x="383" y="1468"/>
                      <a:pt x="386" y="1451"/>
                    </a:cubicBezTo>
                    <a:cubicBezTo>
                      <a:pt x="379" y="1444"/>
                      <a:pt x="369" y="1441"/>
                      <a:pt x="373" y="1425"/>
                    </a:cubicBezTo>
                    <a:cubicBezTo>
                      <a:pt x="379" y="1426"/>
                      <a:pt x="382" y="1419"/>
                      <a:pt x="379" y="1415"/>
                    </a:cubicBezTo>
                    <a:cubicBezTo>
                      <a:pt x="382" y="1415"/>
                      <a:pt x="381" y="1413"/>
                      <a:pt x="384" y="1414"/>
                    </a:cubicBezTo>
                    <a:cubicBezTo>
                      <a:pt x="385" y="1411"/>
                      <a:pt x="382" y="1411"/>
                      <a:pt x="383" y="1408"/>
                    </a:cubicBezTo>
                    <a:cubicBezTo>
                      <a:pt x="390" y="1409"/>
                      <a:pt x="390" y="1407"/>
                      <a:pt x="392" y="1404"/>
                    </a:cubicBezTo>
                    <a:cubicBezTo>
                      <a:pt x="395" y="1404"/>
                      <a:pt x="396" y="1406"/>
                      <a:pt x="399" y="1405"/>
                    </a:cubicBezTo>
                    <a:cubicBezTo>
                      <a:pt x="403" y="1403"/>
                      <a:pt x="405" y="1398"/>
                      <a:pt x="409" y="1395"/>
                    </a:cubicBezTo>
                    <a:cubicBezTo>
                      <a:pt x="413" y="1395"/>
                      <a:pt x="415" y="1393"/>
                      <a:pt x="420" y="1393"/>
                    </a:cubicBezTo>
                    <a:cubicBezTo>
                      <a:pt x="428" y="1380"/>
                      <a:pt x="445" y="1381"/>
                      <a:pt x="461" y="1376"/>
                    </a:cubicBezTo>
                    <a:cubicBezTo>
                      <a:pt x="472" y="1373"/>
                      <a:pt x="484" y="1367"/>
                      <a:pt x="492" y="1359"/>
                    </a:cubicBezTo>
                    <a:cubicBezTo>
                      <a:pt x="497" y="1356"/>
                      <a:pt x="498" y="1350"/>
                      <a:pt x="502" y="1345"/>
                    </a:cubicBezTo>
                    <a:cubicBezTo>
                      <a:pt x="506" y="1340"/>
                      <a:pt x="513" y="1339"/>
                      <a:pt x="511" y="1329"/>
                    </a:cubicBezTo>
                    <a:cubicBezTo>
                      <a:pt x="522" y="1324"/>
                      <a:pt x="522" y="1307"/>
                      <a:pt x="534" y="1302"/>
                    </a:cubicBezTo>
                    <a:cubicBezTo>
                      <a:pt x="534" y="1299"/>
                      <a:pt x="533" y="1291"/>
                      <a:pt x="534" y="1284"/>
                    </a:cubicBezTo>
                    <a:cubicBezTo>
                      <a:pt x="542" y="1282"/>
                      <a:pt x="533" y="1267"/>
                      <a:pt x="540" y="1262"/>
                    </a:cubicBezTo>
                    <a:cubicBezTo>
                      <a:pt x="538" y="1258"/>
                      <a:pt x="533" y="1257"/>
                      <a:pt x="527" y="1256"/>
                    </a:cubicBezTo>
                    <a:cubicBezTo>
                      <a:pt x="517" y="1271"/>
                      <a:pt x="494" y="1253"/>
                      <a:pt x="482" y="1261"/>
                    </a:cubicBezTo>
                    <a:cubicBezTo>
                      <a:pt x="476" y="1254"/>
                      <a:pt x="465" y="1257"/>
                      <a:pt x="458" y="1261"/>
                    </a:cubicBezTo>
                    <a:cubicBezTo>
                      <a:pt x="451" y="1252"/>
                      <a:pt x="443" y="1258"/>
                      <a:pt x="434" y="1257"/>
                    </a:cubicBezTo>
                    <a:cubicBezTo>
                      <a:pt x="416" y="1257"/>
                      <a:pt x="411" y="1239"/>
                      <a:pt x="399" y="1229"/>
                    </a:cubicBezTo>
                    <a:cubicBezTo>
                      <a:pt x="402" y="1227"/>
                      <a:pt x="405" y="1226"/>
                      <a:pt x="406" y="1223"/>
                    </a:cubicBezTo>
                    <a:cubicBezTo>
                      <a:pt x="404" y="1209"/>
                      <a:pt x="388" y="1209"/>
                      <a:pt x="387" y="1195"/>
                    </a:cubicBezTo>
                    <a:cubicBezTo>
                      <a:pt x="382" y="1193"/>
                      <a:pt x="378" y="1189"/>
                      <a:pt x="374" y="1185"/>
                    </a:cubicBezTo>
                    <a:cubicBezTo>
                      <a:pt x="374" y="1177"/>
                      <a:pt x="371" y="1171"/>
                      <a:pt x="363" y="1170"/>
                    </a:cubicBezTo>
                    <a:cubicBezTo>
                      <a:pt x="356" y="1160"/>
                      <a:pt x="342" y="1155"/>
                      <a:pt x="340" y="1140"/>
                    </a:cubicBezTo>
                    <a:cubicBezTo>
                      <a:pt x="340" y="1139"/>
                      <a:pt x="341" y="1136"/>
                      <a:pt x="341" y="1134"/>
                    </a:cubicBezTo>
                    <a:cubicBezTo>
                      <a:pt x="341" y="1116"/>
                      <a:pt x="328" y="1105"/>
                      <a:pt x="323" y="1090"/>
                    </a:cubicBezTo>
                    <a:cubicBezTo>
                      <a:pt x="320" y="1088"/>
                      <a:pt x="316" y="1089"/>
                      <a:pt x="315" y="1086"/>
                    </a:cubicBezTo>
                    <a:cubicBezTo>
                      <a:pt x="316" y="1071"/>
                      <a:pt x="310" y="1060"/>
                      <a:pt x="315" y="1047"/>
                    </a:cubicBezTo>
                    <a:cubicBezTo>
                      <a:pt x="309" y="1042"/>
                      <a:pt x="314" y="1037"/>
                      <a:pt x="312" y="1031"/>
                    </a:cubicBezTo>
                    <a:cubicBezTo>
                      <a:pt x="308" y="1017"/>
                      <a:pt x="286" y="1008"/>
                      <a:pt x="299" y="989"/>
                    </a:cubicBezTo>
                    <a:cubicBezTo>
                      <a:pt x="287" y="969"/>
                      <a:pt x="285" y="936"/>
                      <a:pt x="280" y="916"/>
                    </a:cubicBezTo>
                    <a:cubicBezTo>
                      <a:pt x="283" y="919"/>
                      <a:pt x="283" y="926"/>
                      <a:pt x="289" y="925"/>
                    </a:cubicBezTo>
                    <a:cubicBezTo>
                      <a:pt x="291" y="918"/>
                      <a:pt x="289" y="907"/>
                      <a:pt x="295" y="904"/>
                    </a:cubicBezTo>
                    <a:cubicBezTo>
                      <a:pt x="296" y="910"/>
                      <a:pt x="292" y="916"/>
                      <a:pt x="293" y="922"/>
                    </a:cubicBezTo>
                    <a:cubicBezTo>
                      <a:pt x="294" y="928"/>
                      <a:pt x="302" y="932"/>
                      <a:pt x="303" y="937"/>
                    </a:cubicBezTo>
                    <a:cubicBezTo>
                      <a:pt x="305" y="942"/>
                      <a:pt x="304" y="950"/>
                      <a:pt x="306" y="957"/>
                    </a:cubicBezTo>
                    <a:cubicBezTo>
                      <a:pt x="309" y="964"/>
                      <a:pt x="315" y="970"/>
                      <a:pt x="317" y="977"/>
                    </a:cubicBezTo>
                    <a:cubicBezTo>
                      <a:pt x="318" y="982"/>
                      <a:pt x="317" y="989"/>
                      <a:pt x="319" y="994"/>
                    </a:cubicBezTo>
                    <a:cubicBezTo>
                      <a:pt x="322" y="1002"/>
                      <a:pt x="329" y="1001"/>
                      <a:pt x="333" y="1005"/>
                    </a:cubicBezTo>
                    <a:cubicBezTo>
                      <a:pt x="349" y="1019"/>
                      <a:pt x="333" y="1061"/>
                      <a:pt x="351" y="1072"/>
                    </a:cubicBezTo>
                    <a:cubicBezTo>
                      <a:pt x="368" y="1077"/>
                      <a:pt x="369" y="1096"/>
                      <a:pt x="376" y="1112"/>
                    </a:cubicBezTo>
                    <a:cubicBezTo>
                      <a:pt x="385" y="1131"/>
                      <a:pt x="402" y="1143"/>
                      <a:pt x="391" y="1162"/>
                    </a:cubicBezTo>
                    <a:cubicBezTo>
                      <a:pt x="399" y="1168"/>
                      <a:pt x="398" y="1182"/>
                      <a:pt x="396" y="1194"/>
                    </a:cubicBezTo>
                    <a:cubicBezTo>
                      <a:pt x="404" y="1205"/>
                      <a:pt x="409" y="1222"/>
                      <a:pt x="429" y="1218"/>
                    </a:cubicBezTo>
                    <a:cubicBezTo>
                      <a:pt x="431" y="1215"/>
                      <a:pt x="433" y="1212"/>
                      <a:pt x="437" y="1211"/>
                    </a:cubicBezTo>
                    <a:cubicBezTo>
                      <a:pt x="450" y="1215"/>
                      <a:pt x="465" y="1222"/>
                      <a:pt x="480" y="1219"/>
                    </a:cubicBezTo>
                    <a:cubicBezTo>
                      <a:pt x="483" y="1218"/>
                      <a:pt x="487" y="1214"/>
                      <a:pt x="492" y="1212"/>
                    </a:cubicBezTo>
                    <a:cubicBezTo>
                      <a:pt x="509" y="1205"/>
                      <a:pt x="529" y="1200"/>
                      <a:pt x="550" y="1204"/>
                    </a:cubicBezTo>
                    <a:cubicBezTo>
                      <a:pt x="554" y="1182"/>
                      <a:pt x="587" y="1189"/>
                      <a:pt x="607" y="1182"/>
                    </a:cubicBezTo>
                    <a:cubicBezTo>
                      <a:pt x="607" y="1178"/>
                      <a:pt x="607" y="1174"/>
                      <a:pt x="610" y="1173"/>
                    </a:cubicBezTo>
                    <a:cubicBezTo>
                      <a:pt x="617" y="1173"/>
                      <a:pt x="624" y="1172"/>
                      <a:pt x="629" y="1169"/>
                    </a:cubicBezTo>
                    <a:cubicBezTo>
                      <a:pt x="629" y="1157"/>
                      <a:pt x="644" y="1160"/>
                      <a:pt x="648" y="1153"/>
                    </a:cubicBezTo>
                    <a:cubicBezTo>
                      <a:pt x="651" y="1148"/>
                      <a:pt x="648" y="1143"/>
                      <a:pt x="652" y="1137"/>
                    </a:cubicBezTo>
                    <a:cubicBezTo>
                      <a:pt x="656" y="1139"/>
                      <a:pt x="660" y="1140"/>
                      <a:pt x="664" y="1137"/>
                    </a:cubicBezTo>
                    <a:cubicBezTo>
                      <a:pt x="665" y="1135"/>
                      <a:pt x="665" y="1131"/>
                      <a:pt x="665" y="1128"/>
                    </a:cubicBezTo>
                    <a:cubicBezTo>
                      <a:pt x="671" y="1126"/>
                      <a:pt x="674" y="1121"/>
                      <a:pt x="680" y="1118"/>
                    </a:cubicBezTo>
                    <a:cubicBezTo>
                      <a:pt x="680" y="1112"/>
                      <a:pt x="682" y="1108"/>
                      <a:pt x="682" y="1102"/>
                    </a:cubicBezTo>
                    <a:cubicBezTo>
                      <a:pt x="681" y="1102"/>
                      <a:pt x="680" y="1101"/>
                      <a:pt x="681" y="1100"/>
                    </a:cubicBezTo>
                    <a:cubicBezTo>
                      <a:pt x="679" y="1098"/>
                      <a:pt x="676" y="1098"/>
                      <a:pt x="673" y="1097"/>
                    </a:cubicBezTo>
                    <a:cubicBezTo>
                      <a:pt x="668" y="1091"/>
                      <a:pt x="666" y="1083"/>
                      <a:pt x="660" y="1078"/>
                    </a:cubicBezTo>
                    <a:cubicBezTo>
                      <a:pt x="648" y="1069"/>
                      <a:pt x="630" y="1073"/>
                      <a:pt x="620" y="1062"/>
                    </a:cubicBezTo>
                    <a:cubicBezTo>
                      <a:pt x="611" y="1053"/>
                      <a:pt x="614" y="1038"/>
                      <a:pt x="613" y="1023"/>
                    </a:cubicBezTo>
                    <a:cubicBezTo>
                      <a:pt x="607" y="1023"/>
                      <a:pt x="605" y="1033"/>
                      <a:pt x="600" y="1038"/>
                    </a:cubicBezTo>
                    <a:cubicBezTo>
                      <a:pt x="589" y="1041"/>
                      <a:pt x="582" y="1049"/>
                      <a:pt x="578" y="1061"/>
                    </a:cubicBezTo>
                    <a:cubicBezTo>
                      <a:pt x="563" y="1060"/>
                      <a:pt x="555" y="1054"/>
                      <a:pt x="540" y="1059"/>
                    </a:cubicBezTo>
                    <a:cubicBezTo>
                      <a:pt x="521" y="1051"/>
                      <a:pt x="556" y="1018"/>
                      <a:pt x="528" y="1017"/>
                    </a:cubicBezTo>
                    <a:cubicBezTo>
                      <a:pt x="524" y="1023"/>
                      <a:pt x="528" y="1036"/>
                      <a:pt x="521" y="1038"/>
                    </a:cubicBezTo>
                    <a:cubicBezTo>
                      <a:pt x="517" y="1035"/>
                      <a:pt x="519" y="1031"/>
                      <a:pt x="516" y="1026"/>
                    </a:cubicBezTo>
                    <a:cubicBezTo>
                      <a:pt x="514" y="1021"/>
                      <a:pt x="508" y="1021"/>
                      <a:pt x="507" y="1014"/>
                    </a:cubicBezTo>
                    <a:cubicBezTo>
                      <a:pt x="506" y="1011"/>
                      <a:pt x="508" y="1007"/>
                      <a:pt x="507" y="1003"/>
                    </a:cubicBezTo>
                    <a:cubicBezTo>
                      <a:pt x="504" y="995"/>
                      <a:pt x="487" y="994"/>
                      <a:pt x="492" y="981"/>
                    </a:cubicBezTo>
                    <a:cubicBezTo>
                      <a:pt x="490" y="977"/>
                      <a:pt x="486" y="974"/>
                      <a:pt x="487" y="966"/>
                    </a:cubicBezTo>
                    <a:cubicBezTo>
                      <a:pt x="483" y="963"/>
                      <a:pt x="477" y="958"/>
                      <a:pt x="478" y="953"/>
                    </a:cubicBezTo>
                    <a:cubicBezTo>
                      <a:pt x="480" y="951"/>
                      <a:pt x="482" y="955"/>
                      <a:pt x="487" y="954"/>
                    </a:cubicBezTo>
                    <a:cubicBezTo>
                      <a:pt x="488" y="953"/>
                      <a:pt x="487" y="948"/>
                      <a:pt x="490" y="948"/>
                    </a:cubicBezTo>
                    <a:cubicBezTo>
                      <a:pt x="493" y="948"/>
                      <a:pt x="493" y="951"/>
                      <a:pt x="495" y="949"/>
                    </a:cubicBezTo>
                    <a:cubicBezTo>
                      <a:pt x="497" y="946"/>
                      <a:pt x="496" y="942"/>
                      <a:pt x="500" y="942"/>
                    </a:cubicBezTo>
                    <a:cubicBezTo>
                      <a:pt x="518" y="953"/>
                      <a:pt x="520" y="980"/>
                      <a:pt x="534" y="996"/>
                    </a:cubicBezTo>
                    <a:cubicBezTo>
                      <a:pt x="556" y="986"/>
                      <a:pt x="562" y="1017"/>
                      <a:pt x="577" y="1021"/>
                    </a:cubicBezTo>
                    <a:cubicBezTo>
                      <a:pt x="593" y="1025"/>
                      <a:pt x="599" y="1012"/>
                      <a:pt x="617" y="1013"/>
                    </a:cubicBezTo>
                    <a:cubicBezTo>
                      <a:pt x="622" y="1020"/>
                      <a:pt x="626" y="1028"/>
                      <a:pt x="629" y="1038"/>
                    </a:cubicBezTo>
                    <a:cubicBezTo>
                      <a:pt x="634" y="1035"/>
                      <a:pt x="635" y="1041"/>
                      <a:pt x="640" y="1042"/>
                    </a:cubicBezTo>
                    <a:cubicBezTo>
                      <a:pt x="646" y="1044"/>
                      <a:pt x="654" y="1042"/>
                      <a:pt x="660" y="1044"/>
                    </a:cubicBezTo>
                    <a:cubicBezTo>
                      <a:pt x="663" y="1046"/>
                      <a:pt x="665" y="1050"/>
                      <a:pt x="669" y="1051"/>
                    </a:cubicBezTo>
                    <a:cubicBezTo>
                      <a:pt x="673" y="1052"/>
                      <a:pt x="676" y="1050"/>
                      <a:pt x="680" y="1050"/>
                    </a:cubicBezTo>
                    <a:cubicBezTo>
                      <a:pt x="689" y="1051"/>
                      <a:pt x="692" y="1057"/>
                      <a:pt x="703" y="1056"/>
                    </a:cubicBezTo>
                    <a:cubicBezTo>
                      <a:pt x="705" y="1055"/>
                      <a:pt x="707" y="1053"/>
                      <a:pt x="710" y="1053"/>
                    </a:cubicBezTo>
                    <a:cubicBezTo>
                      <a:pt x="719" y="1053"/>
                      <a:pt x="728" y="1058"/>
                      <a:pt x="736" y="1051"/>
                    </a:cubicBezTo>
                    <a:cubicBezTo>
                      <a:pt x="747" y="1057"/>
                      <a:pt x="757" y="1048"/>
                      <a:pt x="771" y="1051"/>
                    </a:cubicBezTo>
                    <a:cubicBezTo>
                      <a:pt x="781" y="1041"/>
                      <a:pt x="789" y="1056"/>
                      <a:pt x="792" y="1064"/>
                    </a:cubicBezTo>
                    <a:cubicBezTo>
                      <a:pt x="800" y="1065"/>
                      <a:pt x="807" y="1067"/>
                      <a:pt x="814" y="1068"/>
                    </a:cubicBezTo>
                    <a:cubicBezTo>
                      <a:pt x="815" y="1072"/>
                      <a:pt x="819" y="1074"/>
                      <a:pt x="820" y="1078"/>
                    </a:cubicBezTo>
                    <a:cubicBezTo>
                      <a:pt x="826" y="1077"/>
                      <a:pt x="828" y="1080"/>
                      <a:pt x="834" y="1079"/>
                    </a:cubicBezTo>
                    <a:cubicBezTo>
                      <a:pt x="836" y="1081"/>
                      <a:pt x="836" y="1085"/>
                      <a:pt x="836" y="1089"/>
                    </a:cubicBezTo>
                    <a:cubicBezTo>
                      <a:pt x="847" y="1096"/>
                      <a:pt x="864" y="1092"/>
                      <a:pt x="871" y="1087"/>
                    </a:cubicBezTo>
                    <a:cubicBezTo>
                      <a:pt x="868" y="1101"/>
                      <a:pt x="850" y="1097"/>
                      <a:pt x="841" y="1104"/>
                    </a:cubicBezTo>
                    <a:cubicBezTo>
                      <a:pt x="841" y="1108"/>
                      <a:pt x="842" y="1111"/>
                      <a:pt x="845" y="1113"/>
                    </a:cubicBezTo>
                    <a:cubicBezTo>
                      <a:pt x="852" y="1119"/>
                      <a:pt x="871" y="1131"/>
                      <a:pt x="881" y="1132"/>
                    </a:cubicBezTo>
                    <a:cubicBezTo>
                      <a:pt x="892" y="1133"/>
                      <a:pt x="906" y="1126"/>
                      <a:pt x="909" y="1118"/>
                    </a:cubicBezTo>
                    <a:cubicBezTo>
                      <a:pt x="910" y="1115"/>
                      <a:pt x="908" y="1111"/>
                      <a:pt x="909" y="1109"/>
                    </a:cubicBezTo>
                    <a:cubicBezTo>
                      <a:pt x="911" y="1102"/>
                      <a:pt x="915" y="1098"/>
                      <a:pt x="922" y="1099"/>
                    </a:cubicBezTo>
                    <a:cubicBezTo>
                      <a:pt x="920" y="1106"/>
                      <a:pt x="913" y="1107"/>
                      <a:pt x="912" y="1114"/>
                    </a:cubicBezTo>
                    <a:cubicBezTo>
                      <a:pt x="913" y="1119"/>
                      <a:pt x="922" y="1119"/>
                      <a:pt x="924" y="1125"/>
                    </a:cubicBezTo>
                    <a:cubicBezTo>
                      <a:pt x="925" y="1131"/>
                      <a:pt x="920" y="1137"/>
                      <a:pt x="920" y="1144"/>
                    </a:cubicBezTo>
                    <a:cubicBezTo>
                      <a:pt x="917" y="1167"/>
                      <a:pt x="931" y="1186"/>
                      <a:pt x="942" y="1199"/>
                    </a:cubicBezTo>
                    <a:cubicBezTo>
                      <a:pt x="942" y="1201"/>
                      <a:pt x="942" y="1204"/>
                      <a:pt x="941" y="1206"/>
                    </a:cubicBezTo>
                    <a:cubicBezTo>
                      <a:pt x="944" y="1209"/>
                      <a:pt x="947" y="1213"/>
                      <a:pt x="954" y="1212"/>
                    </a:cubicBezTo>
                    <a:cubicBezTo>
                      <a:pt x="957" y="1221"/>
                      <a:pt x="963" y="1228"/>
                      <a:pt x="972" y="1230"/>
                    </a:cubicBezTo>
                    <a:cubicBezTo>
                      <a:pt x="977" y="1242"/>
                      <a:pt x="975" y="1248"/>
                      <a:pt x="980" y="1257"/>
                    </a:cubicBezTo>
                    <a:cubicBezTo>
                      <a:pt x="988" y="1272"/>
                      <a:pt x="1010" y="1273"/>
                      <a:pt x="1007" y="1296"/>
                    </a:cubicBezTo>
                    <a:cubicBezTo>
                      <a:pt x="1016" y="1305"/>
                      <a:pt x="1025" y="1313"/>
                      <a:pt x="1035" y="1322"/>
                    </a:cubicBezTo>
                    <a:cubicBezTo>
                      <a:pt x="1044" y="1319"/>
                      <a:pt x="1055" y="1318"/>
                      <a:pt x="1053" y="1304"/>
                    </a:cubicBezTo>
                    <a:cubicBezTo>
                      <a:pt x="1058" y="1300"/>
                      <a:pt x="1068" y="1301"/>
                      <a:pt x="1072" y="1296"/>
                    </a:cubicBezTo>
                    <a:cubicBezTo>
                      <a:pt x="1073" y="1292"/>
                      <a:pt x="1069" y="1293"/>
                      <a:pt x="1070" y="1289"/>
                    </a:cubicBezTo>
                    <a:cubicBezTo>
                      <a:pt x="1074" y="1283"/>
                      <a:pt x="1083" y="1282"/>
                      <a:pt x="1088" y="1277"/>
                    </a:cubicBezTo>
                    <a:cubicBezTo>
                      <a:pt x="1087" y="1265"/>
                      <a:pt x="1078" y="1258"/>
                      <a:pt x="1081" y="1247"/>
                    </a:cubicBezTo>
                    <a:cubicBezTo>
                      <a:pt x="1081" y="1245"/>
                      <a:pt x="1084" y="1244"/>
                      <a:pt x="1084" y="1242"/>
                    </a:cubicBezTo>
                    <a:cubicBezTo>
                      <a:pt x="1084" y="1236"/>
                      <a:pt x="1082" y="1231"/>
                      <a:pt x="1083" y="1225"/>
                    </a:cubicBezTo>
                    <a:cubicBezTo>
                      <a:pt x="1080" y="1222"/>
                      <a:pt x="1075" y="1222"/>
                      <a:pt x="1074" y="1217"/>
                    </a:cubicBezTo>
                    <a:cubicBezTo>
                      <a:pt x="1078" y="1212"/>
                      <a:pt x="1077" y="1204"/>
                      <a:pt x="1074" y="1199"/>
                    </a:cubicBezTo>
                    <a:cubicBezTo>
                      <a:pt x="1077" y="1194"/>
                      <a:pt x="1082" y="1192"/>
                      <a:pt x="1087" y="1190"/>
                    </a:cubicBezTo>
                    <a:cubicBezTo>
                      <a:pt x="1086" y="1177"/>
                      <a:pt x="1097" y="1176"/>
                      <a:pt x="1107" y="1174"/>
                    </a:cubicBezTo>
                    <a:cubicBezTo>
                      <a:pt x="1112" y="1165"/>
                      <a:pt x="1113" y="1156"/>
                      <a:pt x="1121" y="1149"/>
                    </a:cubicBezTo>
                    <a:cubicBezTo>
                      <a:pt x="1124" y="1147"/>
                      <a:pt x="1128" y="1146"/>
                      <a:pt x="1130" y="1143"/>
                    </a:cubicBezTo>
                    <a:cubicBezTo>
                      <a:pt x="1134" y="1137"/>
                      <a:pt x="1134" y="1128"/>
                      <a:pt x="1140" y="1122"/>
                    </a:cubicBezTo>
                    <a:cubicBezTo>
                      <a:pt x="1145" y="1116"/>
                      <a:pt x="1151" y="1116"/>
                      <a:pt x="1155" y="1109"/>
                    </a:cubicBezTo>
                    <a:cubicBezTo>
                      <a:pt x="1155" y="1108"/>
                      <a:pt x="1151" y="1107"/>
                      <a:pt x="1154" y="1106"/>
                    </a:cubicBezTo>
                    <a:cubicBezTo>
                      <a:pt x="1163" y="1109"/>
                      <a:pt x="1171" y="1094"/>
                      <a:pt x="1174" y="1085"/>
                    </a:cubicBezTo>
                    <a:cubicBezTo>
                      <a:pt x="1173" y="1081"/>
                      <a:pt x="1168" y="1080"/>
                      <a:pt x="1167" y="1076"/>
                    </a:cubicBezTo>
                    <a:cubicBezTo>
                      <a:pt x="1175" y="1072"/>
                      <a:pt x="1181" y="1067"/>
                      <a:pt x="1184" y="1059"/>
                    </a:cubicBezTo>
                    <a:cubicBezTo>
                      <a:pt x="1191" y="1058"/>
                      <a:pt x="1192" y="1064"/>
                      <a:pt x="1197" y="1066"/>
                    </a:cubicBezTo>
                    <a:cubicBezTo>
                      <a:pt x="1200" y="1064"/>
                      <a:pt x="1201" y="1060"/>
                      <a:pt x="1207" y="1061"/>
                    </a:cubicBezTo>
                    <a:cubicBezTo>
                      <a:pt x="1207" y="1057"/>
                      <a:pt x="1207" y="1054"/>
                      <a:pt x="1206" y="1052"/>
                    </a:cubicBezTo>
                    <a:cubicBezTo>
                      <a:pt x="1210" y="1048"/>
                      <a:pt x="1219" y="1053"/>
                      <a:pt x="1224" y="1048"/>
                    </a:cubicBezTo>
                    <a:cubicBezTo>
                      <a:pt x="1227" y="1046"/>
                      <a:pt x="1221" y="1044"/>
                      <a:pt x="1224" y="1042"/>
                    </a:cubicBezTo>
                    <a:cubicBezTo>
                      <a:pt x="1229" y="1041"/>
                      <a:pt x="1232" y="1044"/>
                      <a:pt x="1237" y="1041"/>
                    </a:cubicBezTo>
                    <a:cubicBezTo>
                      <a:pt x="1240" y="1040"/>
                      <a:pt x="1239" y="1036"/>
                      <a:pt x="1240" y="1035"/>
                    </a:cubicBezTo>
                    <a:cubicBezTo>
                      <a:pt x="1241" y="1035"/>
                      <a:pt x="1243" y="1036"/>
                      <a:pt x="1245" y="1036"/>
                    </a:cubicBezTo>
                    <a:cubicBezTo>
                      <a:pt x="1247" y="1039"/>
                      <a:pt x="1245" y="1046"/>
                      <a:pt x="1247" y="1050"/>
                    </a:cubicBezTo>
                    <a:cubicBezTo>
                      <a:pt x="1248" y="1051"/>
                      <a:pt x="1252" y="1051"/>
                      <a:pt x="1255" y="1051"/>
                    </a:cubicBezTo>
                    <a:cubicBezTo>
                      <a:pt x="1256" y="1053"/>
                      <a:pt x="1256" y="1057"/>
                      <a:pt x="1258" y="1060"/>
                    </a:cubicBezTo>
                    <a:cubicBezTo>
                      <a:pt x="1271" y="1057"/>
                      <a:pt x="1273" y="1068"/>
                      <a:pt x="1282" y="1067"/>
                    </a:cubicBezTo>
                    <a:cubicBezTo>
                      <a:pt x="1282" y="1070"/>
                      <a:pt x="1280" y="1071"/>
                      <a:pt x="1281" y="1074"/>
                    </a:cubicBezTo>
                    <a:cubicBezTo>
                      <a:pt x="1301" y="1070"/>
                      <a:pt x="1301" y="1085"/>
                      <a:pt x="1310" y="1091"/>
                    </a:cubicBezTo>
                    <a:cubicBezTo>
                      <a:pt x="1305" y="1101"/>
                      <a:pt x="1317" y="1109"/>
                      <a:pt x="1311" y="1119"/>
                    </a:cubicBezTo>
                    <a:cubicBezTo>
                      <a:pt x="1318" y="1123"/>
                      <a:pt x="1320" y="1115"/>
                      <a:pt x="1328" y="1117"/>
                    </a:cubicBezTo>
                    <a:cubicBezTo>
                      <a:pt x="1333" y="1104"/>
                      <a:pt x="1349" y="1100"/>
                      <a:pt x="1346" y="1082"/>
                    </a:cubicBezTo>
                    <a:cubicBezTo>
                      <a:pt x="1352" y="1084"/>
                      <a:pt x="1352" y="1092"/>
                      <a:pt x="1359" y="1093"/>
                    </a:cubicBezTo>
                    <a:close/>
                    <a:moveTo>
                      <a:pt x="268" y="663"/>
                    </a:moveTo>
                    <a:cubicBezTo>
                      <a:pt x="263" y="663"/>
                      <a:pt x="263" y="663"/>
                      <a:pt x="263" y="663"/>
                    </a:cubicBezTo>
                    <a:cubicBezTo>
                      <a:pt x="263" y="661"/>
                      <a:pt x="264" y="661"/>
                      <a:pt x="264" y="659"/>
                    </a:cubicBezTo>
                    <a:cubicBezTo>
                      <a:pt x="266" y="660"/>
                      <a:pt x="269" y="660"/>
                      <a:pt x="268" y="663"/>
                    </a:cubicBezTo>
                    <a:close/>
                    <a:moveTo>
                      <a:pt x="283" y="671"/>
                    </a:moveTo>
                    <a:cubicBezTo>
                      <a:pt x="279" y="669"/>
                      <a:pt x="275" y="667"/>
                      <a:pt x="272" y="664"/>
                    </a:cubicBezTo>
                    <a:cubicBezTo>
                      <a:pt x="274" y="651"/>
                      <a:pt x="297" y="665"/>
                      <a:pt x="283" y="671"/>
                    </a:cubicBezTo>
                    <a:close/>
                    <a:moveTo>
                      <a:pt x="418" y="702"/>
                    </a:moveTo>
                    <a:cubicBezTo>
                      <a:pt x="404" y="717"/>
                      <a:pt x="381" y="703"/>
                      <a:pt x="367" y="696"/>
                    </a:cubicBezTo>
                    <a:cubicBezTo>
                      <a:pt x="368" y="690"/>
                      <a:pt x="365" y="688"/>
                      <a:pt x="360" y="689"/>
                    </a:cubicBezTo>
                    <a:cubicBezTo>
                      <a:pt x="359" y="687"/>
                      <a:pt x="359" y="685"/>
                      <a:pt x="359" y="681"/>
                    </a:cubicBezTo>
                    <a:cubicBezTo>
                      <a:pt x="358" y="679"/>
                      <a:pt x="353" y="680"/>
                      <a:pt x="351" y="678"/>
                    </a:cubicBezTo>
                    <a:cubicBezTo>
                      <a:pt x="350" y="676"/>
                      <a:pt x="349" y="674"/>
                      <a:pt x="349" y="670"/>
                    </a:cubicBezTo>
                    <a:cubicBezTo>
                      <a:pt x="342" y="672"/>
                      <a:pt x="337" y="668"/>
                      <a:pt x="333" y="664"/>
                    </a:cubicBezTo>
                    <a:cubicBezTo>
                      <a:pt x="323" y="664"/>
                      <a:pt x="314" y="666"/>
                      <a:pt x="309" y="671"/>
                    </a:cubicBezTo>
                    <a:cubicBezTo>
                      <a:pt x="299" y="667"/>
                      <a:pt x="293" y="659"/>
                      <a:pt x="285" y="654"/>
                    </a:cubicBezTo>
                    <a:cubicBezTo>
                      <a:pt x="286" y="641"/>
                      <a:pt x="288" y="630"/>
                      <a:pt x="294" y="622"/>
                    </a:cubicBezTo>
                    <a:cubicBezTo>
                      <a:pt x="296" y="622"/>
                      <a:pt x="298" y="622"/>
                      <a:pt x="300" y="623"/>
                    </a:cubicBezTo>
                    <a:cubicBezTo>
                      <a:pt x="303" y="613"/>
                      <a:pt x="307" y="602"/>
                      <a:pt x="319" y="604"/>
                    </a:cubicBezTo>
                    <a:cubicBezTo>
                      <a:pt x="322" y="601"/>
                      <a:pt x="322" y="596"/>
                      <a:pt x="324" y="591"/>
                    </a:cubicBezTo>
                    <a:cubicBezTo>
                      <a:pt x="333" y="589"/>
                      <a:pt x="341" y="574"/>
                      <a:pt x="351" y="583"/>
                    </a:cubicBezTo>
                    <a:cubicBezTo>
                      <a:pt x="352" y="586"/>
                      <a:pt x="348" y="584"/>
                      <a:pt x="348" y="586"/>
                    </a:cubicBezTo>
                    <a:cubicBezTo>
                      <a:pt x="346" y="595"/>
                      <a:pt x="356" y="593"/>
                      <a:pt x="358" y="598"/>
                    </a:cubicBezTo>
                    <a:cubicBezTo>
                      <a:pt x="357" y="602"/>
                      <a:pt x="350" y="601"/>
                      <a:pt x="347" y="604"/>
                    </a:cubicBezTo>
                    <a:cubicBezTo>
                      <a:pt x="346" y="609"/>
                      <a:pt x="352" y="608"/>
                      <a:pt x="352" y="612"/>
                    </a:cubicBezTo>
                    <a:cubicBezTo>
                      <a:pt x="353" y="618"/>
                      <a:pt x="349" y="618"/>
                      <a:pt x="348" y="623"/>
                    </a:cubicBezTo>
                    <a:cubicBezTo>
                      <a:pt x="348" y="626"/>
                      <a:pt x="351" y="626"/>
                      <a:pt x="352" y="628"/>
                    </a:cubicBezTo>
                    <a:cubicBezTo>
                      <a:pt x="355" y="621"/>
                      <a:pt x="367" y="628"/>
                      <a:pt x="369" y="621"/>
                    </a:cubicBezTo>
                    <a:cubicBezTo>
                      <a:pt x="372" y="621"/>
                      <a:pt x="371" y="625"/>
                      <a:pt x="374" y="625"/>
                    </a:cubicBezTo>
                    <a:cubicBezTo>
                      <a:pt x="379" y="624"/>
                      <a:pt x="380" y="621"/>
                      <a:pt x="383" y="619"/>
                    </a:cubicBezTo>
                    <a:cubicBezTo>
                      <a:pt x="381" y="613"/>
                      <a:pt x="374" y="619"/>
                      <a:pt x="371" y="616"/>
                    </a:cubicBezTo>
                    <a:cubicBezTo>
                      <a:pt x="369" y="611"/>
                      <a:pt x="368" y="606"/>
                      <a:pt x="367" y="601"/>
                    </a:cubicBezTo>
                    <a:cubicBezTo>
                      <a:pt x="377" y="596"/>
                      <a:pt x="390" y="600"/>
                      <a:pt x="399" y="594"/>
                    </a:cubicBezTo>
                    <a:cubicBezTo>
                      <a:pt x="403" y="600"/>
                      <a:pt x="409" y="593"/>
                      <a:pt x="414" y="596"/>
                    </a:cubicBezTo>
                    <a:cubicBezTo>
                      <a:pt x="414" y="603"/>
                      <a:pt x="405" y="601"/>
                      <a:pt x="399" y="604"/>
                    </a:cubicBezTo>
                    <a:cubicBezTo>
                      <a:pt x="399" y="607"/>
                      <a:pt x="402" y="608"/>
                      <a:pt x="401" y="612"/>
                    </a:cubicBezTo>
                    <a:cubicBezTo>
                      <a:pt x="394" y="612"/>
                      <a:pt x="395" y="621"/>
                      <a:pt x="390" y="623"/>
                    </a:cubicBezTo>
                    <a:cubicBezTo>
                      <a:pt x="386" y="624"/>
                      <a:pt x="388" y="620"/>
                      <a:pt x="386" y="619"/>
                    </a:cubicBezTo>
                    <a:cubicBezTo>
                      <a:pt x="378" y="628"/>
                      <a:pt x="390" y="641"/>
                      <a:pt x="396" y="645"/>
                    </a:cubicBezTo>
                    <a:cubicBezTo>
                      <a:pt x="396" y="663"/>
                      <a:pt x="417" y="671"/>
                      <a:pt x="419" y="685"/>
                    </a:cubicBezTo>
                    <a:cubicBezTo>
                      <a:pt x="419" y="691"/>
                      <a:pt x="415" y="696"/>
                      <a:pt x="418" y="702"/>
                    </a:cubicBezTo>
                    <a:close/>
                    <a:moveTo>
                      <a:pt x="748" y="322"/>
                    </a:moveTo>
                    <a:cubicBezTo>
                      <a:pt x="743" y="322"/>
                      <a:pt x="742" y="318"/>
                      <a:pt x="740" y="315"/>
                    </a:cubicBezTo>
                    <a:cubicBezTo>
                      <a:pt x="744" y="312"/>
                      <a:pt x="750" y="319"/>
                      <a:pt x="748" y="322"/>
                    </a:cubicBezTo>
                    <a:close/>
                    <a:moveTo>
                      <a:pt x="1695" y="994"/>
                    </a:moveTo>
                    <a:cubicBezTo>
                      <a:pt x="1693" y="1005"/>
                      <a:pt x="1689" y="1017"/>
                      <a:pt x="1689" y="1026"/>
                    </a:cubicBezTo>
                    <a:cubicBezTo>
                      <a:pt x="1689" y="1025"/>
                      <a:pt x="1688" y="1023"/>
                      <a:pt x="1690" y="1023"/>
                    </a:cubicBezTo>
                    <a:cubicBezTo>
                      <a:pt x="1690" y="1027"/>
                      <a:pt x="1688" y="1029"/>
                      <a:pt x="1688" y="1033"/>
                    </a:cubicBezTo>
                    <a:cubicBezTo>
                      <a:pt x="1693" y="1021"/>
                      <a:pt x="1695" y="1007"/>
                      <a:pt x="1695" y="994"/>
                    </a:cubicBezTo>
                    <a:close/>
                    <a:moveTo>
                      <a:pt x="1682" y="1045"/>
                    </a:moveTo>
                    <a:cubicBezTo>
                      <a:pt x="1680" y="1057"/>
                      <a:pt x="1674" y="1068"/>
                      <a:pt x="1673" y="1078"/>
                    </a:cubicBezTo>
                    <a:cubicBezTo>
                      <a:pt x="1674" y="1069"/>
                      <a:pt x="1686" y="1057"/>
                      <a:pt x="1681" y="1051"/>
                    </a:cubicBezTo>
                    <a:cubicBezTo>
                      <a:pt x="1682" y="1050"/>
                      <a:pt x="1684" y="1043"/>
                      <a:pt x="1682" y="1045"/>
                    </a:cubicBezTo>
                    <a:close/>
                    <a:moveTo>
                      <a:pt x="1658" y="1099"/>
                    </a:moveTo>
                    <a:cubicBezTo>
                      <a:pt x="1659" y="1096"/>
                      <a:pt x="1665" y="1087"/>
                      <a:pt x="1663" y="1087"/>
                    </a:cubicBezTo>
                    <a:cubicBezTo>
                      <a:pt x="1661" y="1091"/>
                      <a:pt x="1656" y="1095"/>
                      <a:pt x="1658" y="1099"/>
                    </a:cubicBezTo>
                    <a:close/>
                    <a:moveTo>
                      <a:pt x="1647" y="1156"/>
                    </a:moveTo>
                    <a:cubicBezTo>
                      <a:pt x="1647" y="1161"/>
                      <a:pt x="1636" y="1177"/>
                      <a:pt x="1636" y="1185"/>
                    </a:cubicBezTo>
                    <a:cubicBezTo>
                      <a:pt x="1638" y="1181"/>
                      <a:pt x="1640" y="1175"/>
                      <a:pt x="1643" y="1169"/>
                    </a:cubicBezTo>
                    <a:cubicBezTo>
                      <a:pt x="1645" y="1164"/>
                      <a:pt x="1651" y="1157"/>
                      <a:pt x="1647" y="1156"/>
                    </a:cubicBezTo>
                    <a:close/>
                    <a:moveTo>
                      <a:pt x="1627" y="1204"/>
                    </a:moveTo>
                    <a:cubicBezTo>
                      <a:pt x="1629" y="1199"/>
                      <a:pt x="1635" y="1189"/>
                      <a:pt x="1634" y="1187"/>
                    </a:cubicBezTo>
                    <a:cubicBezTo>
                      <a:pt x="1631" y="1192"/>
                      <a:pt x="1627" y="1199"/>
                      <a:pt x="1627" y="1204"/>
                    </a:cubicBezTo>
                    <a:close/>
                    <a:moveTo>
                      <a:pt x="1608" y="1226"/>
                    </a:moveTo>
                    <a:cubicBezTo>
                      <a:pt x="1615" y="1216"/>
                      <a:pt x="1621" y="1205"/>
                      <a:pt x="1627" y="1195"/>
                    </a:cubicBezTo>
                    <a:cubicBezTo>
                      <a:pt x="1620" y="1203"/>
                      <a:pt x="1612" y="1217"/>
                      <a:pt x="1608" y="1226"/>
                    </a:cubicBezTo>
                    <a:close/>
                    <a:moveTo>
                      <a:pt x="1583" y="1258"/>
                    </a:moveTo>
                    <a:cubicBezTo>
                      <a:pt x="1589" y="1253"/>
                      <a:pt x="1594" y="1247"/>
                      <a:pt x="1597" y="1239"/>
                    </a:cubicBezTo>
                    <a:cubicBezTo>
                      <a:pt x="1592" y="1244"/>
                      <a:pt x="1584" y="1252"/>
                      <a:pt x="1583" y="1258"/>
                    </a:cubicBezTo>
                    <a:close/>
                    <a:moveTo>
                      <a:pt x="1571" y="1311"/>
                    </a:moveTo>
                    <a:cubicBezTo>
                      <a:pt x="1572" y="1306"/>
                      <a:pt x="1578" y="1301"/>
                      <a:pt x="1577" y="1298"/>
                    </a:cubicBezTo>
                    <a:cubicBezTo>
                      <a:pt x="1575" y="1302"/>
                      <a:pt x="1569" y="1307"/>
                      <a:pt x="1571" y="1311"/>
                    </a:cubicBezTo>
                    <a:close/>
                    <a:moveTo>
                      <a:pt x="1537" y="1355"/>
                    </a:moveTo>
                    <a:cubicBezTo>
                      <a:pt x="1509" y="1391"/>
                      <a:pt x="1478" y="1423"/>
                      <a:pt x="1448" y="1456"/>
                    </a:cubicBezTo>
                    <a:cubicBezTo>
                      <a:pt x="1481" y="1426"/>
                      <a:pt x="1513" y="1390"/>
                      <a:pt x="1537" y="1355"/>
                    </a:cubicBezTo>
                    <a:close/>
                    <a:moveTo>
                      <a:pt x="614" y="27"/>
                    </a:moveTo>
                    <a:cubicBezTo>
                      <a:pt x="613" y="27"/>
                      <a:pt x="612" y="27"/>
                      <a:pt x="612" y="29"/>
                    </a:cubicBezTo>
                    <a:cubicBezTo>
                      <a:pt x="617" y="28"/>
                      <a:pt x="625" y="27"/>
                      <a:pt x="623" y="24"/>
                    </a:cubicBezTo>
                    <a:cubicBezTo>
                      <a:pt x="623" y="25"/>
                      <a:pt x="618" y="25"/>
                      <a:pt x="618" y="24"/>
                    </a:cubicBezTo>
                    <a:cubicBezTo>
                      <a:pt x="620" y="23"/>
                      <a:pt x="623" y="23"/>
                      <a:pt x="624" y="21"/>
                    </a:cubicBezTo>
                    <a:cubicBezTo>
                      <a:pt x="617" y="22"/>
                      <a:pt x="609" y="23"/>
                      <a:pt x="604" y="27"/>
                    </a:cubicBezTo>
                    <a:cubicBezTo>
                      <a:pt x="609" y="27"/>
                      <a:pt x="611" y="25"/>
                      <a:pt x="614" y="27"/>
                    </a:cubicBezTo>
                    <a:close/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 dirty="0">
                  <a:latin typeface="+mj-lt"/>
                </a:endParaRPr>
              </a:p>
            </p:txBody>
          </p:sp>
        </p:grpSp>
      </p:grpSp>
      <p:grpSp>
        <p:nvGrpSpPr>
          <p:cNvPr id="76" name="Gruppieren 63">
            <a:extLst>
              <a:ext uri="{FF2B5EF4-FFF2-40B4-BE49-F238E27FC236}">
                <a16:creationId xmlns:a16="http://schemas.microsoft.com/office/drawing/2014/main" id="{77ACE539-11FB-41E1-A9E8-DC6F56F988DA}"/>
              </a:ext>
            </a:extLst>
          </p:cNvPr>
          <p:cNvGrpSpPr/>
          <p:nvPr/>
        </p:nvGrpSpPr>
        <p:grpSpPr>
          <a:xfrm>
            <a:off x="11283751" y="836712"/>
            <a:ext cx="1718464" cy="6768578"/>
            <a:chOff x="10475245" y="1677988"/>
            <a:chExt cx="1168546" cy="4424456"/>
          </a:xfrm>
        </p:grpSpPr>
        <p:grpSp>
          <p:nvGrpSpPr>
            <p:cNvPr id="77" name="Group 83">
              <a:extLst>
                <a:ext uri="{FF2B5EF4-FFF2-40B4-BE49-F238E27FC236}">
                  <a16:creationId xmlns:a16="http://schemas.microsoft.com/office/drawing/2014/main" id="{EF9AAF27-27FC-4FB6-9E19-BC2BB63EDAD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476044" y="4932360"/>
              <a:ext cx="1166458" cy="1170084"/>
              <a:chOff x="578880" y="4283152"/>
              <a:chExt cx="1660544" cy="1665708"/>
            </a:xfrm>
            <a:solidFill>
              <a:srgbClr val="E6EBEE"/>
            </a:solidFill>
          </p:grpSpPr>
          <p:sp>
            <p:nvSpPr>
              <p:cNvPr id="85" name="Freeform 22">
                <a:extLst>
                  <a:ext uri="{FF2B5EF4-FFF2-40B4-BE49-F238E27FC236}">
                    <a16:creationId xmlns:a16="http://schemas.microsoft.com/office/drawing/2014/main" id="{3511C2EC-E481-4533-B6CB-DF2DBF8603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8880" y="4283152"/>
                <a:ext cx="1660544" cy="1665708"/>
              </a:xfrm>
              <a:custGeom>
                <a:avLst/>
                <a:gdLst/>
                <a:ahLst/>
                <a:cxnLst>
                  <a:cxn ang="0">
                    <a:pos x="43" y="519"/>
                  </a:cxn>
                  <a:cxn ang="0">
                    <a:pos x="688" y="16"/>
                  </a:cxn>
                  <a:cxn ang="0">
                    <a:pos x="710" y="20"/>
                  </a:cxn>
                  <a:cxn ang="0">
                    <a:pos x="799" y="22"/>
                  </a:cxn>
                  <a:cxn ang="0">
                    <a:pos x="581" y="42"/>
                  </a:cxn>
                  <a:cxn ang="0">
                    <a:pos x="530" y="61"/>
                  </a:cxn>
                  <a:cxn ang="0">
                    <a:pos x="991" y="49"/>
                  </a:cxn>
                  <a:cxn ang="0">
                    <a:pos x="372" y="115"/>
                  </a:cxn>
                  <a:cxn ang="0">
                    <a:pos x="428" y="107"/>
                  </a:cxn>
                  <a:cxn ang="0">
                    <a:pos x="818" y="92"/>
                  </a:cxn>
                  <a:cxn ang="0">
                    <a:pos x="1055" y="192"/>
                  </a:cxn>
                  <a:cxn ang="0">
                    <a:pos x="825" y="120"/>
                  </a:cxn>
                  <a:cxn ang="0">
                    <a:pos x="386" y="131"/>
                  </a:cxn>
                  <a:cxn ang="0">
                    <a:pos x="360" y="122"/>
                  </a:cxn>
                  <a:cxn ang="0">
                    <a:pos x="307" y="157"/>
                  </a:cxn>
                  <a:cxn ang="0">
                    <a:pos x="1281" y="215"/>
                  </a:cxn>
                  <a:cxn ang="0">
                    <a:pos x="262" y="197"/>
                  </a:cxn>
                  <a:cxn ang="0">
                    <a:pos x="342" y="207"/>
                  </a:cxn>
                  <a:cxn ang="0">
                    <a:pos x="515" y="222"/>
                  </a:cxn>
                  <a:cxn ang="0">
                    <a:pos x="1092" y="232"/>
                  </a:cxn>
                  <a:cxn ang="0">
                    <a:pos x="1054" y="395"/>
                  </a:cxn>
                  <a:cxn ang="0">
                    <a:pos x="286" y="259"/>
                  </a:cxn>
                  <a:cxn ang="0">
                    <a:pos x="422" y="400"/>
                  </a:cxn>
                  <a:cxn ang="0">
                    <a:pos x="139" y="360"/>
                  </a:cxn>
                  <a:cxn ang="0">
                    <a:pos x="735" y="383"/>
                  </a:cxn>
                  <a:cxn ang="0">
                    <a:pos x="401" y="453"/>
                  </a:cxn>
                  <a:cxn ang="0">
                    <a:pos x="1275" y="515"/>
                  </a:cxn>
                  <a:cxn ang="0">
                    <a:pos x="965" y="472"/>
                  </a:cxn>
                  <a:cxn ang="0">
                    <a:pos x="1457" y="507"/>
                  </a:cxn>
                  <a:cxn ang="0">
                    <a:pos x="1123" y="716"/>
                  </a:cxn>
                  <a:cxn ang="0">
                    <a:pos x="1284" y="635"/>
                  </a:cxn>
                  <a:cxn ang="0">
                    <a:pos x="109" y="683"/>
                  </a:cxn>
                  <a:cxn ang="0">
                    <a:pos x="320" y="836"/>
                  </a:cxn>
                  <a:cxn ang="0">
                    <a:pos x="942" y="737"/>
                  </a:cxn>
                  <a:cxn ang="0">
                    <a:pos x="1520" y="791"/>
                  </a:cxn>
                  <a:cxn ang="0">
                    <a:pos x="1506" y="837"/>
                  </a:cxn>
                  <a:cxn ang="0">
                    <a:pos x="1392" y="910"/>
                  </a:cxn>
                  <a:cxn ang="0">
                    <a:pos x="1322" y="936"/>
                  </a:cxn>
                  <a:cxn ang="0">
                    <a:pos x="497" y="992"/>
                  </a:cxn>
                  <a:cxn ang="0">
                    <a:pos x="637" y="1004"/>
                  </a:cxn>
                  <a:cxn ang="0">
                    <a:pos x="75" y="1026"/>
                  </a:cxn>
                  <a:cxn ang="0">
                    <a:pos x="155" y="1216"/>
                  </a:cxn>
                  <a:cxn ang="0">
                    <a:pos x="1376" y="1175"/>
                  </a:cxn>
                  <a:cxn ang="0">
                    <a:pos x="187" y="1148"/>
                  </a:cxn>
                  <a:cxn ang="0">
                    <a:pos x="163" y="1223"/>
                  </a:cxn>
                  <a:cxn ang="0">
                    <a:pos x="363" y="1201"/>
                  </a:cxn>
                  <a:cxn ang="0">
                    <a:pos x="535" y="1295"/>
                  </a:cxn>
                  <a:cxn ang="0">
                    <a:pos x="170" y="1239"/>
                  </a:cxn>
                  <a:cxn ang="0">
                    <a:pos x="195" y="1266"/>
                  </a:cxn>
                  <a:cxn ang="0">
                    <a:pos x="224" y="1300"/>
                  </a:cxn>
                  <a:cxn ang="0">
                    <a:pos x="309" y="1356"/>
                  </a:cxn>
                  <a:cxn ang="0">
                    <a:pos x="1151" y="1402"/>
                  </a:cxn>
                  <a:cxn ang="0">
                    <a:pos x="618" y="1375"/>
                  </a:cxn>
                  <a:cxn ang="0">
                    <a:pos x="956" y="1397"/>
                  </a:cxn>
                  <a:cxn ang="0">
                    <a:pos x="1038" y="1391"/>
                  </a:cxn>
                  <a:cxn ang="0">
                    <a:pos x="697" y="1413"/>
                  </a:cxn>
                  <a:cxn ang="0">
                    <a:pos x="987" y="1439"/>
                  </a:cxn>
                  <a:cxn ang="0">
                    <a:pos x="513" y="1480"/>
                  </a:cxn>
                  <a:cxn ang="0">
                    <a:pos x="749" y="1462"/>
                  </a:cxn>
                  <a:cxn ang="0">
                    <a:pos x="975" y="1464"/>
                  </a:cxn>
                  <a:cxn ang="0">
                    <a:pos x="782" y="1475"/>
                  </a:cxn>
                  <a:cxn ang="0">
                    <a:pos x="738" y="1484"/>
                  </a:cxn>
                  <a:cxn ang="0">
                    <a:pos x="845" y="1510"/>
                  </a:cxn>
                </a:cxnLst>
                <a:rect l="0" t="0" r="r" b="b"/>
                <a:pathLst>
                  <a:path w="1525" h="1529">
                    <a:moveTo>
                      <a:pt x="760" y="11"/>
                    </a:moveTo>
                    <a:cubicBezTo>
                      <a:pt x="764" y="10"/>
                      <a:pt x="762" y="3"/>
                      <a:pt x="767" y="3"/>
                    </a:cubicBezTo>
                    <a:cubicBezTo>
                      <a:pt x="772" y="2"/>
                      <a:pt x="769" y="11"/>
                      <a:pt x="774" y="8"/>
                    </a:cubicBezTo>
                    <a:cubicBezTo>
                      <a:pt x="798" y="0"/>
                      <a:pt x="832" y="6"/>
                      <a:pt x="860" y="10"/>
                    </a:cubicBezTo>
                    <a:cubicBezTo>
                      <a:pt x="920" y="18"/>
                      <a:pt x="979" y="31"/>
                      <a:pt x="1027" y="50"/>
                    </a:cubicBezTo>
                    <a:cubicBezTo>
                      <a:pt x="1077" y="70"/>
                      <a:pt x="1124" y="92"/>
                      <a:pt x="1166" y="119"/>
                    </a:cubicBezTo>
                    <a:cubicBezTo>
                      <a:pt x="1181" y="129"/>
                      <a:pt x="1197" y="136"/>
                      <a:pt x="1209" y="145"/>
                    </a:cubicBezTo>
                    <a:cubicBezTo>
                      <a:pt x="1217" y="151"/>
                      <a:pt x="1224" y="160"/>
                      <a:pt x="1232" y="167"/>
                    </a:cubicBezTo>
                    <a:cubicBezTo>
                      <a:pt x="1281" y="205"/>
                      <a:pt x="1322" y="252"/>
                      <a:pt x="1362" y="301"/>
                    </a:cubicBezTo>
                    <a:cubicBezTo>
                      <a:pt x="1369" y="310"/>
                      <a:pt x="1378" y="316"/>
                      <a:pt x="1383" y="323"/>
                    </a:cubicBezTo>
                    <a:cubicBezTo>
                      <a:pt x="1388" y="331"/>
                      <a:pt x="1392" y="340"/>
                      <a:pt x="1398" y="348"/>
                    </a:cubicBezTo>
                    <a:cubicBezTo>
                      <a:pt x="1468" y="449"/>
                      <a:pt x="1525" y="587"/>
                      <a:pt x="1522" y="761"/>
                    </a:cubicBezTo>
                    <a:cubicBezTo>
                      <a:pt x="1522" y="773"/>
                      <a:pt x="1525" y="784"/>
                      <a:pt x="1524" y="795"/>
                    </a:cubicBezTo>
                    <a:cubicBezTo>
                      <a:pt x="1524" y="805"/>
                      <a:pt x="1520" y="815"/>
                      <a:pt x="1518" y="826"/>
                    </a:cubicBezTo>
                    <a:cubicBezTo>
                      <a:pt x="1515" y="857"/>
                      <a:pt x="1508" y="890"/>
                      <a:pt x="1502" y="919"/>
                    </a:cubicBezTo>
                    <a:cubicBezTo>
                      <a:pt x="1495" y="950"/>
                      <a:pt x="1489" y="979"/>
                      <a:pt x="1481" y="1007"/>
                    </a:cubicBezTo>
                    <a:cubicBezTo>
                      <a:pt x="1478" y="1017"/>
                      <a:pt x="1477" y="1028"/>
                      <a:pt x="1474" y="1037"/>
                    </a:cubicBezTo>
                    <a:cubicBezTo>
                      <a:pt x="1472" y="1045"/>
                      <a:pt x="1468" y="1051"/>
                      <a:pt x="1465" y="1058"/>
                    </a:cubicBezTo>
                    <a:cubicBezTo>
                      <a:pt x="1455" y="1079"/>
                      <a:pt x="1446" y="1102"/>
                      <a:pt x="1436" y="1122"/>
                    </a:cubicBezTo>
                    <a:cubicBezTo>
                      <a:pt x="1414" y="1164"/>
                      <a:pt x="1392" y="1199"/>
                      <a:pt x="1364" y="1233"/>
                    </a:cubicBezTo>
                    <a:cubicBezTo>
                      <a:pt x="1355" y="1245"/>
                      <a:pt x="1347" y="1257"/>
                      <a:pt x="1337" y="1268"/>
                    </a:cubicBezTo>
                    <a:cubicBezTo>
                      <a:pt x="1318" y="1289"/>
                      <a:pt x="1295" y="1305"/>
                      <a:pt x="1274" y="1326"/>
                    </a:cubicBezTo>
                    <a:cubicBezTo>
                      <a:pt x="1232" y="1368"/>
                      <a:pt x="1185" y="1404"/>
                      <a:pt x="1136" y="1434"/>
                    </a:cubicBezTo>
                    <a:cubicBezTo>
                      <a:pt x="1110" y="1450"/>
                      <a:pt x="1082" y="1460"/>
                      <a:pt x="1052" y="1471"/>
                    </a:cubicBezTo>
                    <a:cubicBezTo>
                      <a:pt x="1037" y="1477"/>
                      <a:pt x="1023" y="1484"/>
                      <a:pt x="1008" y="1488"/>
                    </a:cubicBezTo>
                    <a:cubicBezTo>
                      <a:pt x="992" y="1493"/>
                      <a:pt x="976" y="1494"/>
                      <a:pt x="958" y="1499"/>
                    </a:cubicBezTo>
                    <a:cubicBezTo>
                      <a:pt x="948" y="1502"/>
                      <a:pt x="940" y="1508"/>
                      <a:pt x="930" y="1511"/>
                    </a:cubicBezTo>
                    <a:cubicBezTo>
                      <a:pt x="904" y="1518"/>
                      <a:pt x="872" y="1514"/>
                      <a:pt x="846" y="1522"/>
                    </a:cubicBezTo>
                    <a:cubicBezTo>
                      <a:pt x="840" y="1524"/>
                      <a:pt x="835" y="1527"/>
                      <a:pt x="828" y="1528"/>
                    </a:cubicBezTo>
                    <a:cubicBezTo>
                      <a:pt x="823" y="1528"/>
                      <a:pt x="818" y="1526"/>
                      <a:pt x="813" y="1526"/>
                    </a:cubicBezTo>
                    <a:cubicBezTo>
                      <a:pt x="796" y="1525"/>
                      <a:pt x="777" y="1527"/>
                      <a:pt x="758" y="1528"/>
                    </a:cubicBezTo>
                    <a:cubicBezTo>
                      <a:pt x="735" y="1529"/>
                      <a:pt x="713" y="1524"/>
                      <a:pt x="691" y="1523"/>
                    </a:cubicBezTo>
                    <a:cubicBezTo>
                      <a:pt x="683" y="1523"/>
                      <a:pt x="676" y="1525"/>
                      <a:pt x="669" y="1524"/>
                    </a:cubicBezTo>
                    <a:cubicBezTo>
                      <a:pt x="656" y="1523"/>
                      <a:pt x="646" y="1514"/>
                      <a:pt x="635" y="1512"/>
                    </a:cubicBezTo>
                    <a:cubicBezTo>
                      <a:pt x="620" y="1510"/>
                      <a:pt x="607" y="1512"/>
                      <a:pt x="594" y="1511"/>
                    </a:cubicBezTo>
                    <a:cubicBezTo>
                      <a:pt x="571" y="1507"/>
                      <a:pt x="551" y="1496"/>
                      <a:pt x="531" y="1489"/>
                    </a:cubicBezTo>
                    <a:cubicBezTo>
                      <a:pt x="520" y="1486"/>
                      <a:pt x="508" y="1484"/>
                      <a:pt x="497" y="1481"/>
                    </a:cubicBezTo>
                    <a:cubicBezTo>
                      <a:pt x="454" y="1468"/>
                      <a:pt x="414" y="1451"/>
                      <a:pt x="380" y="1429"/>
                    </a:cubicBezTo>
                    <a:cubicBezTo>
                      <a:pt x="363" y="1418"/>
                      <a:pt x="347" y="1404"/>
                      <a:pt x="330" y="1393"/>
                    </a:cubicBezTo>
                    <a:cubicBezTo>
                      <a:pt x="287" y="1366"/>
                      <a:pt x="251" y="1334"/>
                      <a:pt x="216" y="1296"/>
                    </a:cubicBezTo>
                    <a:cubicBezTo>
                      <a:pt x="202" y="1282"/>
                      <a:pt x="187" y="1270"/>
                      <a:pt x="174" y="1252"/>
                    </a:cubicBezTo>
                    <a:cubicBezTo>
                      <a:pt x="169" y="1244"/>
                      <a:pt x="165" y="1234"/>
                      <a:pt x="159" y="1225"/>
                    </a:cubicBezTo>
                    <a:cubicBezTo>
                      <a:pt x="147" y="1209"/>
                      <a:pt x="133" y="1193"/>
                      <a:pt x="123" y="1177"/>
                    </a:cubicBezTo>
                    <a:cubicBezTo>
                      <a:pt x="60" y="1083"/>
                      <a:pt x="16" y="977"/>
                      <a:pt x="6" y="830"/>
                    </a:cubicBezTo>
                    <a:cubicBezTo>
                      <a:pt x="5" y="816"/>
                      <a:pt x="0" y="804"/>
                      <a:pt x="0" y="791"/>
                    </a:cubicBezTo>
                    <a:cubicBezTo>
                      <a:pt x="0" y="782"/>
                      <a:pt x="4" y="772"/>
                      <a:pt x="5" y="762"/>
                    </a:cubicBezTo>
                    <a:cubicBezTo>
                      <a:pt x="11" y="698"/>
                      <a:pt x="14" y="634"/>
                      <a:pt x="27" y="577"/>
                    </a:cubicBezTo>
                    <a:cubicBezTo>
                      <a:pt x="29" y="567"/>
                      <a:pt x="29" y="558"/>
                      <a:pt x="31" y="549"/>
                    </a:cubicBezTo>
                    <a:cubicBezTo>
                      <a:pt x="34" y="539"/>
                      <a:pt x="40" y="529"/>
                      <a:pt x="43" y="519"/>
                    </a:cubicBezTo>
                    <a:cubicBezTo>
                      <a:pt x="65" y="448"/>
                      <a:pt x="100" y="386"/>
                      <a:pt x="137" y="330"/>
                    </a:cubicBezTo>
                    <a:cubicBezTo>
                      <a:pt x="170" y="280"/>
                      <a:pt x="209" y="240"/>
                      <a:pt x="252" y="202"/>
                    </a:cubicBezTo>
                    <a:cubicBezTo>
                      <a:pt x="266" y="190"/>
                      <a:pt x="282" y="179"/>
                      <a:pt x="296" y="166"/>
                    </a:cubicBezTo>
                    <a:cubicBezTo>
                      <a:pt x="303" y="159"/>
                      <a:pt x="307" y="151"/>
                      <a:pt x="315" y="145"/>
                    </a:cubicBezTo>
                    <a:cubicBezTo>
                      <a:pt x="323" y="139"/>
                      <a:pt x="332" y="137"/>
                      <a:pt x="341" y="132"/>
                    </a:cubicBezTo>
                    <a:cubicBezTo>
                      <a:pt x="354" y="124"/>
                      <a:pt x="367" y="114"/>
                      <a:pt x="380" y="106"/>
                    </a:cubicBezTo>
                    <a:cubicBezTo>
                      <a:pt x="419" y="82"/>
                      <a:pt x="466" y="61"/>
                      <a:pt x="514" y="46"/>
                    </a:cubicBezTo>
                    <a:cubicBezTo>
                      <a:pt x="531" y="40"/>
                      <a:pt x="546" y="33"/>
                      <a:pt x="563" y="29"/>
                    </a:cubicBezTo>
                    <a:cubicBezTo>
                      <a:pt x="605" y="19"/>
                      <a:pt x="652" y="8"/>
                      <a:pt x="702" y="5"/>
                    </a:cubicBezTo>
                    <a:cubicBezTo>
                      <a:pt x="711" y="5"/>
                      <a:pt x="721" y="5"/>
                      <a:pt x="731" y="3"/>
                    </a:cubicBezTo>
                    <a:cubicBezTo>
                      <a:pt x="741" y="1"/>
                      <a:pt x="752" y="5"/>
                      <a:pt x="760" y="11"/>
                    </a:cubicBezTo>
                    <a:close/>
                    <a:moveTo>
                      <a:pt x="765" y="11"/>
                    </a:moveTo>
                    <a:cubicBezTo>
                      <a:pt x="767" y="11"/>
                      <a:pt x="769" y="11"/>
                      <a:pt x="770" y="9"/>
                    </a:cubicBezTo>
                    <a:cubicBezTo>
                      <a:pt x="768" y="9"/>
                      <a:pt x="769" y="6"/>
                      <a:pt x="767" y="5"/>
                    </a:cubicBezTo>
                    <a:cubicBezTo>
                      <a:pt x="766" y="7"/>
                      <a:pt x="764" y="8"/>
                      <a:pt x="765" y="11"/>
                    </a:cubicBezTo>
                    <a:close/>
                    <a:moveTo>
                      <a:pt x="737" y="6"/>
                    </a:moveTo>
                    <a:cubicBezTo>
                      <a:pt x="736" y="6"/>
                      <a:pt x="735" y="6"/>
                      <a:pt x="735" y="7"/>
                    </a:cubicBezTo>
                    <a:cubicBezTo>
                      <a:pt x="736" y="7"/>
                      <a:pt x="737" y="7"/>
                      <a:pt x="737" y="6"/>
                    </a:cubicBezTo>
                    <a:close/>
                    <a:moveTo>
                      <a:pt x="800" y="6"/>
                    </a:moveTo>
                    <a:cubicBezTo>
                      <a:pt x="790" y="5"/>
                      <a:pt x="794" y="9"/>
                      <a:pt x="800" y="6"/>
                    </a:cubicBezTo>
                    <a:close/>
                    <a:moveTo>
                      <a:pt x="744" y="7"/>
                    </a:moveTo>
                    <a:cubicBezTo>
                      <a:pt x="742" y="8"/>
                      <a:pt x="738" y="6"/>
                      <a:pt x="738" y="8"/>
                    </a:cubicBezTo>
                    <a:cubicBezTo>
                      <a:pt x="740" y="8"/>
                      <a:pt x="744" y="9"/>
                      <a:pt x="744" y="7"/>
                    </a:cubicBezTo>
                    <a:close/>
                    <a:moveTo>
                      <a:pt x="792" y="7"/>
                    </a:moveTo>
                    <a:cubicBezTo>
                      <a:pt x="790" y="8"/>
                      <a:pt x="785" y="6"/>
                      <a:pt x="785" y="8"/>
                    </a:cubicBezTo>
                    <a:cubicBezTo>
                      <a:pt x="787" y="8"/>
                      <a:pt x="791" y="9"/>
                      <a:pt x="792" y="7"/>
                    </a:cubicBezTo>
                    <a:close/>
                    <a:moveTo>
                      <a:pt x="727" y="8"/>
                    </a:moveTo>
                    <a:cubicBezTo>
                      <a:pt x="726" y="8"/>
                      <a:pt x="725" y="8"/>
                      <a:pt x="725" y="9"/>
                    </a:cubicBezTo>
                    <a:cubicBezTo>
                      <a:pt x="726" y="9"/>
                      <a:pt x="727" y="9"/>
                      <a:pt x="727" y="8"/>
                    </a:cubicBezTo>
                    <a:close/>
                    <a:moveTo>
                      <a:pt x="747" y="8"/>
                    </a:moveTo>
                    <a:cubicBezTo>
                      <a:pt x="746" y="8"/>
                      <a:pt x="745" y="8"/>
                      <a:pt x="745" y="9"/>
                    </a:cubicBezTo>
                    <a:cubicBezTo>
                      <a:pt x="745" y="9"/>
                      <a:pt x="747" y="9"/>
                      <a:pt x="747" y="8"/>
                    </a:cubicBezTo>
                    <a:close/>
                    <a:moveTo>
                      <a:pt x="784" y="8"/>
                    </a:moveTo>
                    <a:cubicBezTo>
                      <a:pt x="783" y="8"/>
                      <a:pt x="781" y="8"/>
                      <a:pt x="781" y="9"/>
                    </a:cubicBezTo>
                    <a:cubicBezTo>
                      <a:pt x="782" y="9"/>
                      <a:pt x="784" y="9"/>
                      <a:pt x="784" y="8"/>
                    </a:cubicBezTo>
                    <a:close/>
                    <a:moveTo>
                      <a:pt x="748" y="10"/>
                    </a:moveTo>
                    <a:cubicBezTo>
                      <a:pt x="747" y="10"/>
                      <a:pt x="748" y="11"/>
                      <a:pt x="748" y="10"/>
                    </a:cubicBezTo>
                    <a:close/>
                    <a:moveTo>
                      <a:pt x="778" y="10"/>
                    </a:moveTo>
                    <a:cubicBezTo>
                      <a:pt x="778" y="10"/>
                      <a:pt x="779" y="11"/>
                      <a:pt x="778" y="10"/>
                    </a:cubicBezTo>
                    <a:close/>
                    <a:moveTo>
                      <a:pt x="688" y="10"/>
                    </a:moveTo>
                    <a:cubicBezTo>
                      <a:pt x="686" y="11"/>
                      <a:pt x="682" y="9"/>
                      <a:pt x="682" y="11"/>
                    </a:cubicBezTo>
                    <a:cubicBezTo>
                      <a:pt x="684" y="10"/>
                      <a:pt x="688" y="12"/>
                      <a:pt x="688" y="10"/>
                    </a:cubicBezTo>
                    <a:close/>
                    <a:moveTo>
                      <a:pt x="841" y="11"/>
                    </a:moveTo>
                    <a:cubicBezTo>
                      <a:pt x="836" y="10"/>
                      <a:pt x="840" y="14"/>
                      <a:pt x="841" y="11"/>
                    </a:cubicBezTo>
                    <a:close/>
                    <a:moveTo>
                      <a:pt x="857" y="12"/>
                    </a:moveTo>
                    <a:cubicBezTo>
                      <a:pt x="856" y="12"/>
                      <a:pt x="854" y="12"/>
                      <a:pt x="854" y="13"/>
                    </a:cubicBezTo>
                    <a:cubicBezTo>
                      <a:pt x="855" y="13"/>
                      <a:pt x="857" y="13"/>
                      <a:pt x="857" y="12"/>
                    </a:cubicBezTo>
                    <a:close/>
                    <a:moveTo>
                      <a:pt x="688" y="16"/>
                    </a:moveTo>
                    <a:cubicBezTo>
                      <a:pt x="680" y="15"/>
                      <a:pt x="684" y="19"/>
                      <a:pt x="688" y="16"/>
                    </a:cubicBezTo>
                    <a:close/>
                    <a:moveTo>
                      <a:pt x="678" y="17"/>
                    </a:moveTo>
                    <a:cubicBezTo>
                      <a:pt x="676" y="17"/>
                      <a:pt x="671" y="16"/>
                      <a:pt x="671" y="18"/>
                    </a:cubicBezTo>
                    <a:cubicBezTo>
                      <a:pt x="673" y="17"/>
                      <a:pt x="677" y="19"/>
                      <a:pt x="678" y="17"/>
                    </a:cubicBezTo>
                    <a:close/>
                    <a:moveTo>
                      <a:pt x="842" y="17"/>
                    </a:moveTo>
                    <a:cubicBezTo>
                      <a:pt x="836" y="16"/>
                      <a:pt x="840" y="20"/>
                      <a:pt x="842" y="17"/>
                    </a:cubicBezTo>
                    <a:close/>
                    <a:moveTo>
                      <a:pt x="664" y="19"/>
                    </a:moveTo>
                    <a:cubicBezTo>
                      <a:pt x="674" y="17"/>
                      <a:pt x="664" y="18"/>
                      <a:pt x="658" y="19"/>
                    </a:cubicBezTo>
                    <a:cubicBezTo>
                      <a:pt x="655" y="19"/>
                      <a:pt x="652" y="18"/>
                      <a:pt x="651" y="21"/>
                    </a:cubicBezTo>
                    <a:cubicBezTo>
                      <a:pt x="656" y="20"/>
                      <a:pt x="660" y="19"/>
                      <a:pt x="664" y="19"/>
                    </a:cubicBezTo>
                    <a:close/>
                    <a:moveTo>
                      <a:pt x="700" y="19"/>
                    </a:moveTo>
                    <a:cubicBezTo>
                      <a:pt x="699" y="18"/>
                      <a:pt x="700" y="19"/>
                      <a:pt x="700" y="19"/>
                    </a:cubicBezTo>
                    <a:close/>
                    <a:moveTo>
                      <a:pt x="698" y="81"/>
                    </a:moveTo>
                    <a:cubicBezTo>
                      <a:pt x="716" y="81"/>
                      <a:pt x="734" y="81"/>
                      <a:pt x="751" y="81"/>
                    </a:cubicBezTo>
                    <a:cubicBezTo>
                      <a:pt x="753" y="60"/>
                      <a:pt x="757" y="36"/>
                      <a:pt x="759" y="18"/>
                    </a:cubicBezTo>
                    <a:cubicBezTo>
                      <a:pt x="733" y="34"/>
                      <a:pt x="714" y="56"/>
                      <a:pt x="698" y="81"/>
                    </a:cubicBezTo>
                    <a:close/>
                    <a:moveTo>
                      <a:pt x="852" y="19"/>
                    </a:moveTo>
                    <a:cubicBezTo>
                      <a:pt x="852" y="19"/>
                      <a:pt x="852" y="19"/>
                      <a:pt x="852" y="20"/>
                    </a:cubicBezTo>
                    <a:cubicBezTo>
                      <a:pt x="870" y="21"/>
                      <a:pt x="885" y="24"/>
                      <a:pt x="901" y="26"/>
                    </a:cubicBezTo>
                    <a:moveTo>
                      <a:pt x="901" y="26"/>
                    </a:moveTo>
                    <a:cubicBezTo>
                      <a:pt x="902" y="29"/>
                      <a:pt x="906" y="25"/>
                      <a:pt x="901" y="26"/>
                    </a:cubicBezTo>
                    <a:moveTo>
                      <a:pt x="901" y="26"/>
                    </a:moveTo>
                    <a:cubicBezTo>
                      <a:pt x="901" y="26"/>
                      <a:pt x="901" y="26"/>
                      <a:pt x="901" y="25"/>
                    </a:cubicBezTo>
                    <a:cubicBezTo>
                      <a:pt x="887" y="21"/>
                      <a:pt x="870" y="20"/>
                      <a:pt x="852" y="19"/>
                    </a:cubicBezTo>
                    <a:moveTo>
                      <a:pt x="852" y="19"/>
                    </a:moveTo>
                    <a:cubicBezTo>
                      <a:pt x="846" y="16"/>
                      <a:pt x="842" y="20"/>
                      <a:pt x="852" y="19"/>
                    </a:cubicBezTo>
                    <a:moveTo>
                      <a:pt x="693" y="19"/>
                    </a:moveTo>
                    <a:cubicBezTo>
                      <a:pt x="683" y="17"/>
                      <a:pt x="687" y="22"/>
                      <a:pt x="693" y="19"/>
                    </a:cubicBezTo>
                    <a:close/>
                    <a:moveTo>
                      <a:pt x="751" y="20"/>
                    </a:moveTo>
                    <a:cubicBezTo>
                      <a:pt x="751" y="19"/>
                      <a:pt x="752" y="20"/>
                      <a:pt x="751" y="20"/>
                    </a:cubicBezTo>
                    <a:close/>
                    <a:moveTo>
                      <a:pt x="754" y="81"/>
                    </a:moveTo>
                    <a:cubicBezTo>
                      <a:pt x="762" y="81"/>
                      <a:pt x="770" y="81"/>
                      <a:pt x="778" y="81"/>
                    </a:cubicBezTo>
                    <a:cubicBezTo>
                      <a:pt x="774" y="59"/>
                      <a:pt x="781" y="26"/>
                      <a:pt x="762" y="19"/>
                    </a:cubicBezTo>
                    <a:cubicBezTo>
                      <a:pt x="759" y="39"/>
                      <a:pt x="756" y="59"/>
                      <a:pt x="754" y="81"/>
                    </a:cubicBezTo>
                    <a:close/>
                    <a:moveTo>
                      <a:pt x="826" y="19"/>
                    </a:moveTo>
                    <a:cubicBezTo>
                      <a:pt x="820" y="18"/>
                      <a:pt x="824" y="22"/>
                      <a:pt x="826" y="19"/>
                    </a:cubicBezTo>
                    <a:close/>
                    <a:moveTo>
                      <a:pt x="641" y="21"/>
                    </a:moveTo>
                    <a:cubicBezTo>
                      <a:pt x="619" y="23"/>
                      <a:pt x="596" y="25"/>
                      <a:pt x="580" y="33"/>
                    </a:cubicBezTo>
                    <a:moveTo>
                      <a:pt x="580" y="33"/>
                    </a:moveTo>
                    <a:cubicBezTo>
                      <a:pt x="576" y="32"/>
                      <a:pt x="579" y="36"/>
                      <a:pt x="580" y="33"/>
                    </a:cubicBezTo>
                    <a:moveTo>
                      <a:pt x="580" y="33"/>
                    </a:moveTo>
                    <a:cubicBezTo>
                      <a:pt x="600" y="29"/>
                      <a:pt x="622" y="26"/>
                      <a:pt x="641" y="21"/>
                    </a:cubicBezTo>
                    <a:moveTo>
                      <a:pt x="641" y="21"/>
                    </a:moveTo>
                    <a:cubicBezTo>
                      <a:pt x="646" y="22"/>
                      <a:pt x="642" y="18"/>
                      <a:pt x="641" y="21"/>
                    </a:cubicBezTo>
                    <a:moveTo>
                      <a:pt x="632" y="29"/>
                    </a:moveTo>
                    <a:cubicBezTo>
                      <a:pt x="649" y="25"/>
                      <a:pt x="668" y="24"/>
                      <a:pt x="684" y="20"/>
                    </a:cubicBezTo>
                    <a:cubicBezTo>
                      <a:pt x="666" y="22"/>
                      <a:pt x="644" y="21"/>
                      <a:pt x="632" y="29"/>
                    </a:cubicBezTo>
                    <a:close/>
                    <a:moveTo>
                      <a:pt x="710" y="20"/>
                    </a:moveTo>
                    <a:cubicBezTo>
                      <a:pt x="709" y="20"/>
                      <a:pt x="707" y="19"/>
                      <a:pt x="707" y="21"/>
                    </a:cubicBezTo>
                    <a:cubicBezTo>
                      <a:pt x="708" y="20"/>
                      <a:pt x="710" y="21"/>
                      <a:pt x="710" y="20"/>
                    </a:cubicBezTo>
                    <a:close/>
                    <a:moveTo>
                      <a:pt x="726" y="21"/>
                    </a:moveTo>
                    <a:cubicBezTo>
                      <a:pt x="725" y="20"/>
                      <a:pt x="726" y="21"/>
                      <a:pt x="726" y="21"/>
                    </a:cubicBezTo>
                    <a:close/>
                    <a:moveTo>
                      <a:pt x="739" y="21"/>
                    </a:moveTo>
                    <a:cubicBezTo>
                      <a:pt x="739" y="20"/>
                      <a:pt x="740" y="21"/>
                      <a:pt x="739" y="21"/>
                    </a:cubicBezTo>
                    <a:close/>
                    <a:moveTo>
                      <a:pt x="749" y="21"/>
                    </a:moveTo>
                    <a:cubicBezTo>
                      <a:pt x="725" y="27"/>
                      <a:pt x="705" y="37"/>
                      <a:pt x="686" y="48"/>
                    </a:cubicBezTo>
                    <a:cubicBezTo>
                      <a:pt x="681" y="59"/>
                      <a:pt x="675" y="70"/>
                      <a:pt x="672" y="82"/>
                    </a:cubicBezTo>
                    <a:cubicBezTo>
                      <a:pt x="679" y="82"/>
                      <a:pt x="686" y="82"/>
                      <a:pt x="693" y="82"/>
                    </a:cubicBezTo>
                    <a:cubicBezTo>
                      <a:pt x="709" y="59"/>
                      <a:pt x="727" y="38"/>
                      <a:pt x="749" y="21"/>
                    </a:cubicBezTo>
                    <a:moveTo>
                      <a:pt x="749" y="21"/>
                    </a:moveTo>
                    <a:cubicBezTo>
                      <a:pt x="753" y="22"/>
                      <a:pt x="749" y="18"/>
                      <a:pt x="749" y="21"/>
                    </a:cubicBezTo>
                    <a:moveTo>
                      <a:pt x="793" y="21"/>
                    </a:moveTo>
                    <a:cubicBezTo>
                      <a:pt x="792" y="20"/>
                      <a:pt x="793" y="21"/>
                      <a:pt x="793" y="21"/>
                    </a:cubicBezTo>
                    <a:close/>
                    <a:moveTo>
                      <a:pt x="810" y="20"/>
                    </a:moveTo>
                    <a:cubicBezTo>
                      <a:pt x="809" y="20"/>
                      <a:pt x="808" y="20"/>
                      <a:pt x="808" y="21"/>
                    </a:cubicBezTo>
                    <a:cubicBezTo>
                      <a:pt x="809" y="20"/>
                      <a:pt x="810" y="21"/>
                      <a:pt x="810" y="20"/>
                    </a:cubicBezTo>
                    <a:close/>
                    <a:moveTo>
                      <a:pt x="837" y="21"/>
                    </a:moveTo>
                    <a:cubicBezTo>
                      <a:pt x="837" y="22"/>
                      <a:pt x="839" y="22"/>
                      <a:pt x="839" y="21"/>
                    </a:cubicBezTo>
                    <a:cubicBezTo>
                      <a:pt x="834" y="18"/>
                      <a:pt x="826" y="21"/>
                      <a:pt x="837" y="21"/>
                    </a:cubicBezTo>
                    <a:close/>
                    <a:moveTo>
                      <a:pt x="699" y="22"/>
                    </a:moveTo>
                    <a:cubicBezTo>
                      <a:pt x="667" y="27"/>
                      <a:pt x="629" y="26"/>
                      <a:pt x="610" y="45"/>
                    </a:cubicBezTo>
                    <a:moveTo>
                      <a:pt x="610" y="45"/>
                    </a:moveTo>
                    <a:cubicBezTo>
                      <a:pt x="606" y="44"/>
                      <a:pt x="610" y="47"/>
                      <a:pt x="610" y="45"/>
                    </a:cubicBezTo>
                    <a:moveTo>
                      <a:pt x="699" y="22"/>
                    </a:moveTo>
                    <a:cubicBezTo>
                      <a:pt x="668" y="28"/>
                      <a:pt x="639" y="36"/>
                      <a:pt x="610" y="45"/>
                    </a:cubicBezTo>
                    <a:moveTo>
                      <a:pt x="699" y="22"/>
                    </a:moveTo>
                    <a:cubicBezTo>
                      <a:pt x="703" y="22"/>
                      <a:pt x="699" y="19"/>
                      <a:pt x="699" y="22"/>
                    </a:cubicBezTo>
                    <a:moveTo>
                      <a:pt x="720" y="22"/>
                    </a:moveTo>
                    <a:cubicBezTo>
                      <a:pt x="713" y="23"/>
                      <a:pt x="705" y="22"/>
                      <a:pt x="702" y="26"/>
                    </a:cubicBezTo>
                    <a:cubicBezTo>
                      <a:pt x="708" y="25"/>
                      <a:pt x="714" y="24"/>
                      <a:pt x="720" y="22"/>
                    </a:cubicBezTo>
                    <a:moveTo>
                      <a:pt x="720" y="22"/>
                    </a:moveTo>
                    <a:cubicBezTo>
                      <a:pt x="725" y="23"/>
                      <a:pt x="721" y="19"/>
                      <a:pt x="720" y="22"/>
                    </a:cubicBezTo>
                    <a:moveTo>
                      <a:pt x="690" y="43"/>
                    </a:moveTo>
                    <a:cubicBezTo>
                      <a:pt x="689" y="43"/>
                      <a:pt x="690" y="44"/>
                      <a:pt x="690" y="43"/>
                    </a:cubicBezTo>
                    <a:moveTo>
                      <a:pt x="690" y="43"/>
                    </a:moveTo>
                    <a:cubicBezTo>
                      <a:pt x="705" y="35"/>
                      <a:pt x="721" y="28"/>
                      <a:pt x="737" y="21"/>
                    </a:cubicBezTo>
                    <a:cubicBezTo>
                      <a:pt x="720" y="26"/>
                      <a:pt x="695" y="25"/>
                      <a:pt x="690" y="43"/>
                    </a:cubicBezTo>
                    <a:moveTo>
                      <a:pt x="812" y="81"/>
                    </a:moveTo>
                    <a:cubicBezTo>
                      <a:pt x="830" y="82"/>
                      <a:pt x="849" y="82"/>
                      <a:pt x="867" y="83"/>
                    </a:cubicBezTo>
                    <a:cubicBezTo>
                      <a:pt x="844" y="58"/>
                      <a:pt x="811" y="35"/>
                      <a:pt x="774" y="21"/>
                    </a:cubicBezTo>
                    <a:cubicBezTo>
                      <a:pt x="788" y="40"/>
                      <a:pt x="803" y="58"/>
                      <a:pt x="812" y="81"/>
                    </a:cubicBezTo>
                    <a:close/>
                    <a:moveTo>
                      <a:pt x="852" y="66"/>
                    </a:moveTo>
                    <a:cubicBezTo>
                      <a:pt x="863" y="75"/>
                      <a:pt x="870" y="86"/>
                      <a:pt x="887" y="84"/>
                    </a:cubicBezTo>
                    <a:cubicBezTo>
                      <a:pt x="882" y="71"/>
                      <a:pt x="874" y="61"/>
                      <a:pt x="867" y="49"/>
                    </a:cubicBezTo>
                    <a:cubicBezTo>
                      <a:pt x="840" y="39"/>
                      <a:pt x="812" y="26"/>
                      <a:pt x="783" y="22"/>
                    </a:cubicBezTo>
                    <a:cubicBezTo>
                      <a:pt x="810" y="32"/>
                      <a:pt x="831" y="48"/>
                      <a:pt x="852" y="66"/>
                    </a:cubicBezTo>
                    <a:close/>
                    <a:moveTo>
                      <a:pt x="799" y="22"/>
                    </a:moveTo>
                    <a:cubicBezTo>
                      <a:pt x="821" y="29"/>
                      <a:pt x="844" y="36"/>
                      <a:pt x="863" y="46"/>
                    </a:cubicBezTo>
                    <a:cubicBezTo>
                      <a:pt x="854" y="26"/>
                      <a:pt x="823" y="27"/>
                      <a:pt x="799" y="22"/>
                    </a:cubicBezTo>
                    <a:moveTo>
                      <a:pt x="799" y="22"/>
                    </a:moveTo>
                    <a:cubicBezTo>
                      <a:pt x="797" y="19"/>
                      <a:pt x="793" y="23"/>
                      <a:pt x="799" y="22"/>
                    </a:cubicBezTo>
                    <a:moveTo>
                      <a:pt x="817" y="21"/>
                    </a:moveTo>
                    <a:cubicBezTo>
                      <a:pt x="811" y="19"/>
                      <a:pt x="815" y="24"/>
                      <a:pt x="817" y="21"/>
                    </a:cubicBezTo>
                    <a:close/>
                    <a:moveTo>
                      <a:pt x="928" y="41"/>
                    </a:moveTo>
                    <a:cubicBezTo>
                      <a:pt x="928" y="44"/>
                      <a:pt x="932" y="40"/>
                      <a:pt x="928" y="41"/>
                    </a:cubicBezTo>
                    <a:moveTo>
                      <a:pt x="928" y="41"/>
                    </a:moveTo>
                    <a:cubicBezTo>
                      <a:pt x="909" y="25"/>
                      <a:pt x="871" y="25"/>
                      <a:pt x="844" y="22"/>
                    </a:cubicBezTo>
                    <a:cubicBezTo>
                      <a:pt x="872" y="28"/>
                      <a:pt x="901" y="33"/>
                      <a:pt x="928" y="41"/>
                    </a:cubicBezTo>
                    <a:moveTo>
                      <a:pt x="901" y="21"/>
                    </a:moveTo>
                    <a:cubicBezTo>
                      <a:pt x="900" y="21"/>
                      <a:pt x="899" y="21"/>
                      <a:pt x="899" y="22"/>
                    </a:cubicBezTo>
                    <a:cubicBezTo>
                      <a:pt x="900" y="21"/>
                      <a:pt x="901" y="22"/>
                      <a:pt x="901" y="21"/>
                    </a:cubicBezTo>
                    <a:close/>
                    <a:moveTo>
                      <a:pt x="847" y="28"/>
                    </a:moveTo>
                    <a:cubicBezTo>
                      <a:pt x="848" y="30"/>
                      <a:pt x="849" y="28"/>
                      <a:pt x="847" y="28"/>
                    </a:cubicBezTo>
                    <a:moveTo>
                      <a:pt x="847" y="28"/>
                    </a:moveTo>
                    <a:cubicBezTo>
                      <a:pt x="842" y="22"/>
                      <a:pt x="827" y="22"/>
                      <a:pt x="818" y="23"/>
                    </a:cubicBezTo>
                    <a:cubicBezTo>
                      <a:pt x="829" y="23"/>
                      <a:pt x="837" y="27"/>
                      <a:pt x="847" y="28"/>
                    </a:cubicBezTo>
                    <a:moveTo>
                      <a:pt x="909" y="22"/>
                    </a:moveTo>
                    <a:cubicBezTo>
                      <a:pt x="904" y="21"/>
                      <a:pt x="908" y="24"/>
                      <a:pt x="909" y="22"/>
                    </a:cubicBezTo>
                    <a:close/>
                    <a:moveTo>
                      <a:pt x="916" y="23"/>
                    </a:moveTo>
                    <a:cubicBezTo>
                      <a:pt x="914" y="23"/>
                      <a:pt x="913" y="22"/>
                      <a:pt x="913" y="23"/>
                    </a:cubicBezTo>
                    <a:cubicBezTo>
                      <a:pt x="914" y="23"/>
                      <a:pt x="915" y="24"/>
                      <a:pt x="916" y="23"/>
                    </a:cubicBezTo>
                    <a:close/>
                    <a:moveTo>
                      <a:pt x="922" y="24"/>
                    </a:moveTo>
                    <a:cubicBezTo>
                      <a:pt x="922" y="25"/>
                      <a:pt x="922" y="25"/>
                      <a:pt x="922" y="25"/>
                    </a:cubicBezTo>
                    <a:cubicBezTo>
                      <a:pt x="927" y="25"/>
                      <a:pt x="928" y="27"/>
                      <a:pt x="932" y="26"/>
                    </a:cubicBezTo>
                    <a:moveTo>
                      <a:pt x="932" y="26"/>
                    </a:moveTo>
                    <a:cubicBezTo>
                      <a:pt x="934" y="29"/>
                      <a:pt x="938" y="25"/>
                      <a:pt x="932" y="26"/>
                    </a:cubicBezTo>
                    <a:moveTo>
                      <a:pt x="932" y="26"/>
                    </a:moveTo>
                    <a:cubicBezTo>
                      <a:pt x="932" y="26"/>
                      <a:pt x="932" y="26"/>
                      <a:pt x="932" y="25"/>
                    </a:cubicBezTo>
                    <a:cubicBezTo>
                      <a:pt x="928" y="26"/>
                      <a:pt x="927" y="24"/>
                      <a:pt x="922" y="24"/>
                    </a:cubicBezTo>
                    <a:moveTo>
                      <a:pt x="922" y="24"/>
                    </a:moveTo>
                    <a:cubicBezTo>
                      <a:pt x="919" y="22"/>
                      <a:pt x="915" y="26"/>
                      <a:pt x="922" y="24"/>
                    </a:cubicBezTo>
                    <a:moveTo>
                      <a:pt x="907" y="25"/>
                    </a:moveTo>
                    <a:cubicBezTo>
                      <a:pt x="907" y="26"/>
                      <a:pt x="907" y="26"/>
                      <a:pt x="907" y="26"/>
                    </a:cubicBezTo>
                    <a:cubicBezTo>
                      <a:pt x="934" y="34"/>
                      <a:pt x="965" y="42"/>
                      <a:pt x="990" y="47"/>
                    </a:cubicBezTo>
                    <a:cubicBezTo>
                      <a:pt x="967" y="36"/>
                      <a:pt x="938" y="29"/>
                      <a:pt x="907" y="25"/>
                    </a:cubicBezTo>
                    <a:moveTo>
                      <a:pt x="907" y="25"/>
                    </a:moveTo>
                    <a:cubicBezTo>
                      <a:pt x="907" y="23"/>
                      <a:pt x="903" y="26"/>
                      <a:pt x="907" y="25"/>
                    </a:cubicBezTo>
                    <a:moveTo>
                      <a:pt x="602" y="50"/>
                    </a:moveTo>
                    <a:cubicBezTo>
                      <a:pt x="598" y="55"/>
                      <a:pt x="592" y="59"/>
                      <a:pt x="587" y="64"/>
                    </a:cubicBezTo>
                    <a:cubicBezTo>
                      <a:pt x="583" y="68"/>
                      <a:pt x="576" y="75"/>
                      <a:pt x="577" y="78"/>
                    </a:cubicBezTo>
                    <a:cubicBezTo>
                      <a:pt x="587" y="77"/>
                      <a:pt x="597" y="71"/>
                      <a:pt x="606" y="66"/>
                    </a:cubicBezTo>
                    <a:cubicBezTo>
                      <a:pt x="631" y="53"/>
                      <a:pt x="656" y="41"/>
                      <a:pt x="683" y="32"/>
                    </a:cubicBezTo>
                    <a:cubicBezTo>
                      <a:pt x="687" y="31"/>
                      <a:pt x="696" y="31"/>
                      <a:pt x="695" y="25"/>
                    </a:cubicBezTo>
                    <a:cubicBezTo>
                      <a:pt x="662" y="32"/>
                      <a:pt x="632" y="41"/>
                      <a:pt x="602" y="50"/>
                    </a:cubicBezTo>
                    <a:close/>
                    <a:moveTo>
                      <a:pt x="530" y="58"/>
                    </a:moveTo>
                    <a:cubicBezTo>
                      <a:pt x="526" y="57"/>
                      <a:pt x="529" y="61"/>
                      <a:pt x="530" y="58"/>
                    </a:cubicBezTo>
                    <a:moveTo>
                      <a:pt x="530" y="58"/>
                    </a:moveTo>
                    <a:cubicBezTo>
                      <a:pt x="546" y="53"/>
                      <a:pt x="563" y="47"/>
                      <a:pt x="581" y="42"/>
                    </a:cubicBezTo>
                    <a:cubicBezTo>
                      <a:pt x="598" y="37"/>
                      <a:pt x="617" y="35"/>
                      <a:pt x="631" y="26"/>
                    </a:cubicBezTo>
                    <a:cubicBezTo>
                      <a:pt x="593" y="33"/>
                      <a:pt x="554" y="38"/>
                      <a:pt x="530" y="58"/>
                    </a:cubicBezTo>
                    <a:moveTo>
                      <a:pt x="969" y="73"/>
                    </a:moveTo>
                    <a:cubicBezTo>
                      <a:pt x="947" y="41"/>
                      <a:pt x="895" y="34"/>
                      <a:pt x="850" y="27"/>
                    </a:cubicBezTo>
                    <a:cubicBezTo>
                      <a:pt x="890" y="42"/>
                      <a:pt x="933" y="54"/>
                      <a:pt x="969" y="73"/>
                    </a:cubicBezTo>
                    <a:close/>
                    <a:moveTo>
                      <a:pt x="939" y="27"/>
                    </a:moveTo>
                    <a:cubicBezTo>
                      <a:pt x="938" y="28"/>
                      <a:pt x="937" y="27"/>
                      <a:pt x="937" y="28"/>
                    </a:cubicBezTo>
                    <a:cubicBezTo>
                      <a:pt x="937" y="28"/>
                      <a:pt x="939" y="28"/>
                      <a:pt x="939" y="27"/>
                    </a:cubicBezTo>
                    <a:close/>
                    <a:moveTo>
                      <a:pt x="574" y="32"/>
                    </a:moveTo>
                    <a:cubicBezTo>
                      <a:pt x="574" y="33"/>
                      <a:pt x="573" y="32"/>
                      <a:pt x="574" y="32"/>
                    </a:cubicBezTo>
                    <a:close/>
                    <a:moveTo>
                      <a:pt x="781" y="81"/>
                    </a:moveTo>
                    <a:cubicBezTo>
                      <a:pt x="790" y="80"/>
                      <a:pt x="801" y="82"/>
                      <a:pt x="808" y="80"/>
                    </a:cubicBezTo>
                    <a:cubicBezTo>
                      <a:pt x="798" y="63"/>
                      <a:pt x="789" y="45"/>
                      <a:pt x="776" y="31"/>
                    </a:cubicBezTo>
                    <a:cubicBezTo>
                      <a:pt x="778" y="48"/>
                      <a:pt x="779" y="65"/>
                      <a:pt x="781" y="81"/>
                    </a:cubicBezTo>
                    <a:close/>
                    <a:moveTo>
                      <a:pt x="526" y="47"/>
                    </a:moveTo>
                    <a:cubicBezTo>
                      <a:pt x="524" y="48"/>
                      <a:pt x="526" y="49"/>
                      <a:pt x="526" y="47"/>
                    </a:cubicBezTo>
                    <a:moveTo>
                      <a:pt x="526" y="47"/>
                    </a:moveTo>
                    <a:cubicBezTo>
                      <a:pt x="543" y="43"/>
                      <a:pt x="560" y="40"/>
                      <a:pt x="573" y="32"/>
                    </a:cubicBezTo>
                    <a:cubicBezTo>
                      <a:pt x="557" y="37"/>
                      <a:pt x="537" y="38"/>
                      <a:pt x="526" y="47"/>
                    </a:cubicBezTo>
                    <a:moveTo>
                      <a:pt x="963" y="32"/>
                    </a:moveTo>
                    <a:cubicBezTo>
                      <a:pt x="962" y="32"/>
                      <a:pt x="961" y="32"/>
                      <a:pt x="961" y="33"/>
                    </a:cubicBezTo>
                    <a:cubicBezTo>
                      <a:pt x="961" y="33"/>
                      <a:pt x="963" y="33"/>
                      <a:pt x="963" y="32"/>
                    </a:cubicBezTo>
                    <a:close/>
                    <a:moveTo>
                      <a:pt x="585" y="80"/>
                    </a:moveTo>
                    <a:cubicBezTo>
                      <a:pt x="601" y="82"/>
                      <a:pt x="616" y="87"/>
                      <a:pt x="632" y="84"/>
                    </a:cubicBezTo>
                    <a:cubicBezTo>
                      <a:pt x="648" y="70"/>
                      <a:pt x="665" y="58"/>
                      <a:pt x="683" y="47"/>
                    </a:cubicBezTo>
                    <a:cubicBezTo>
                      <a:pt x="683" y="42"/>
                      <a:pt x="693" y="36"/>
                      <a:pt x="689" y="33"/>
                    </a:cubicBezTo>
                    <a:cubicBezTo>
                      <a:pt x="652" y="46"/>
                      <a:pt x="617" y="61"/>
                      <a:pt x="585" y="80"/>
                    </a:cubicBezTo>
                    <a:close/>
                    <a:moveTo>
                      <a:pt x="966" y="34"/>
                    </a:moveTo>
                    <a:cubicBezTo>
                      <a:pt x="968" y="37"/>
                      <a:pt x="972" y="33"/>
                      <a:pt x="966" y="34"/>
                    </a:cubicBezTo>
                    <a:moveTo>
                      <a:pt x="966" y="34"/>
                    </a:moveTo>
                    <a:cubicBezTo>
                      <a:pt x="965" y="31"/>
                      <a:pt x="961" y="35"/>
                      <a:pt x="966" y="34"/>
                    </a:cubicBezTo>
                    <a:moveTo>
                      <a:pt x="575" y="35"/>
                    </a:moveTo>
                    <a:cubicBezTo>
                      <a:pt x="574" y="35"/>
                      <a:pt x="575" y="36"/>
                      <a:pt x="575" y="35"/>
                    </a:cubicBezTo>
                    <a:close/>
                    <a:moveTo>
                      <a:pt x="859" y="35"/>
                    </a:moveTo>
                    <a:cubicBezTo>
                      <a:pt x="861" y="40"/>
                      <a:pt x="866" y="43"/>
                      <a:pt x="869" y="48"/>
                    </a:cubicBezTo>
                    <a:cubicBezTo>
                      <a:pt x="878" y="53"/>
                      <a:pt x="889" y="57"/>
                      <a:pt x="900" y="64"/>
                    </a:cubicBezTo>
                    <a:cubicBezTo>
                      <a:pt x="909" y="69"/>
                      <a:pt x="921" y="80"/>
                      <a:pt x="930" y="81"/>
                    </a:cubicBezTo>
                    <a:cubicBezTo>
                      <a:pt x="940" y="82"/>
                      <a:pt x="953" y="76"/>
                      <a:pt x="965" y="73"/>
                    </a:cubicBezTo>
                    <a:cubicBezTo>
                      <a:pt x="931" y="59"/>
                      <a:pt x="898" y="44"/>
                      <a:pt x="859" y="35"/>
                    </a:cubicBezTo>
                    <a:moveTo>
                      <a:pt x="859" y="35"/>
                    </a:moveTo>
                    <a:cubicBezTo>
                      <a:pt x="858" y="34"/>
                      <a:pt x="858" y="35"/>
                      <a:pt x="859" y="35"/>
                    </a:cubicBezTo>
                    <a:moveTo>
                      <a:pt x="993" y="63"/>
                    </a:moveTo>
                    <a:cubicBezTo>
                      <a:pt x="997" y="61"/>
                      <a:pt x="1000" y="59"/>
                      <a:pt x="1001" y="55"/>
                    </a:cubicBezTo>
                    <a:cubicBezTo>
                      <a:pt x="977" y="47"/>
                      <a:pt x="949" y="38"/>
                      <a:pt x="924" y="35"/>
                    </a:cubicBezTo>
                    <a:cubicBezTo>
                      <a:pt x="943" y="48"/>
                      <a:pt x="970" y="54"/>
                      <a:pt x="993" y="63"/>
                    </a:cubicBezTo>
                    <a:close/>
                    <a:moveTo>
                      <a:pt x="973" y="35"/>
                    </a:moveTo>
                    <a:cubicBezTo>
                      <a:pt x="972" y="35"/>
                      <a:pt x="970" y="35"/>
                      <a:pt x="970" y="36"/>
                    </a:cubicBezTo>
                    <a:cubicBezTo>
                      <a:pt x="971" y="36"/>
                      <a:pt x="973" y="36"/>
                      <a:pt x="973" y="35"/>
                    </a:cubicBezTo>
                    <a:close/>
                    <a:moveTo>
                      <a:pt x="530" y="61"/>
                    </a:moveTo>
                    <a:cubicBezTo>
                      <a:pt x="542" y="76"/>
                      <a:pt x="556" y="66"/>
                      <a:pt x="573" y="59"/>
                    </a:cubicBezTo>
                    <a:cubicBezTo>
                      <a:pt x="588" y="53"/>
                      <a:pt x="599" y="49"/>
                      <a:pt x="608" y="42"/>
                    </a:cubicBezTo>
                    <a:cubicBezTo>
                      <a:pt x="611" y="39"/>
                      <a:pt x="617" y="37"/>
                      <a:pt x="614" y="36"/>
                    </a:cubicBezTo>
                    <a:cubicBezTo>
                      <a:pt x="585" y="43"/>
                      <a:pt x="557" y="52"/>
                      <a:pt x="530" y="61"/>
                    </a:cubicBezTo>
                    <a:close/>
                    <a:moveTo>
                      <a:pt x="976" y="36"/>
                    </a:moveTo>
                    <a:cubicBezTo>
                      <a:pt x="975" y="36"/>
                      <a:pt x="974" y="36"/>
                      <a:pt x="974" y="37"/>
                    </a:cubicBezTo>
                    <a:cubicBezTo>
                      <a:pt x="975" y="37"/>
                      <a:pt x="976" y="37"/>
                      <a:pt x="976" y="36"/>
                    </a:cubicBezTo>
                    <a:close/>
                    <a:moveTo>
                      <a:pt x="978" y="38"/>
                    </a:moveTo>
                    <a:cubicBezTo>
                      <a:pt x="978" y="37"/>
                      <a:pt x="979" y="39"/>
                      <a:pt x="978" y="38"/>
                    </a:cubicBezTo>
                    <a:close/>
                    <a:moveTo>
                      <a:pt x="982" y="39"/>
                    </a:moveTo>
                    <a:cubicBezTo>
                      <a:pt x="981" y="38"/>
                      <a:pt x="982" y="39"/>
                      <a:pt x="982" y="39"/>
                    </a:cubicBezTo>
                    <a:close/>
                    <a:moveTo>
                      <a:pt x="931" y="43"/>
                    </a:moveTo>
                    <a:cubicBezTo>
                      <a:pt x="931" y="42"/>
                      <a:pt x="932" y="43"/>
                      <a:pt x="931" y="43"/>
                    </a:cubicBezTo>
                    <a:close/>
                    <a:moveTo>
                      <a:pt x="985" y="43"/>
                    </a:moveTo>
                    <a:cubicBezTo>
                      <a:pt x="984" y="42"/>
                      <a:pt x="985" y="43"/>
                      <a:pt x="985" y="43"/>
                    </a:cubicBezTo>
                    <a:close/>
                    <a:moveTo>
                      <a:pt x="1000" y="48"/>
                    </a:moveTo>
                    <a:cubicBezTo>
                      <a:pt x="997" y="46"/>
                      <a:pt x="991" y="42"/>
                      <a:pt x="987" y="44"/>
                    </a:cubicBezTo>
                    <a:cubicBezTo>
                      <a:pt x="992" y="44"/>
                      <a:pt x="996" y="50"/>
                      <a:pt x="1000" y="48"/>
                    </a:cubicBezTo>
                    <a:close/>
                    <a:moveTo>
                      <a:pt x="489" y="60"/>
                    </a:moveTo>
                    <a:cubicBezTo>
                      <a:pt x="488" y="60"/>
                      <a:pt x="487" y="60"/>
                      <a:pt x="486" y="61"/>
                    </a:cubicBezTo>
                    <a:moveTo>
                      <a:pt x="486" y="61"/>
                    </a:moveTo>
                    <a:cubicBezTo>
                      <a:pt x="485" y="61"/>
                      <a:pt x="485" y="61"/>
                      <a:pt x="485" y="62"/>
                    </a:cubicBezTo>
                    <a:moveTo>
                      <a:pt x="485" y="62"/>
                    </a:moveTo>
                    <a:cubicBezTo>
                      <a:pt x="481" y="61"/>
                      <a:pt x="484" y="65"/>
                      <a:pt x="485" y="62"/>
                    </a:cubicBezTo>
                    <a:moveTo>
                      <a:pt x="485" y="62"/>
                    </a:moveTo>
                    <a:cubicBezTo>
                      <a:pt x="486" y="62"/>
                      <a:pt x="486" y="62"/>
                      <a:pt x="486" y="61"/>
                    </a:cubicBezTo>
                    <a:moveTo>
                      <a:pt x="486" y="61"/>
                    </a:moveTo>
                    <a:cubicBezTo>
                      <a:pt x="488" y="61"/>
                      <a:pt x="489" y="61"/>
                      <a:pt x="489" y="60"/>
                    </a:cubicBezTo>
                    <a:moveTo>
                      <a:pt x="489" y="60"/>
                    </a:moveTo>
                    <a:cubicBezTo>
                      <a:pt x="500" y="55"/>
                      <a:pt x="516" y="55"/>
                      <a:pt x="523" y="46"/>
                    </a:cubicBezTo>
                    <a:cubicBezTo>
                      <a:pt x="511" y="50"/>
                      <a:pt x="500" y="54"/>
                      <a:pt x="489" y="60"/>
                    </a:cubicBezTo>
                    <a:moveTo>
                      <a:pt x="542" y="47"/>
                    </a:moveTo>
                    <a:cubicBezTo>
                      <a:pt x="535" y="47"/>
                      <a:pt x="530" y="50"/>
                      <a:pt x="523" y="51"/>
                    </a:cubicBezTo>
                    <a:cubicBezTo>
                      <a:pt x="523" y="54"/>
                      <a:pt x="523" y="56"/>
                      <a:pt x="524" y="57"/>
                    </a:cubicBezTo>
                    <a:cubicBezTo>
                      <a:pt x="531" y="55"/>
                      <a:pt x="537" y="50"/>
                      <a:pt x="542" y="47"/>
                    </a:cubicBezTo>
                    <a:moveTo>
                      <a:pt x="542" y="47"/>
                    </a:moveTo>
                    <a:cubicBezTo>
                      <a:pt x="546" y="47"/>
                      <a:pt x="542" y="44"/>
                      <a:pt x="542" y="47"/>
                    </a:cubicBezTo>
                    <a:moveTo>
                      <a:pt x="1113" y="98"/>
                    </a:moveTo>
                    <a:cubicBezTo>
                      <a:pt x="1113" y="99"/>
                      <a:pt x="1115" y="99"/>
                      <a:pt x="1115" y="99"/>
                    </a:cubicBezTo>
                    <a:moveTo>
                      <a:pt x="1115" y="99"/>
                    </a:moveTo>
                    <a:cubicBezTo>
                      <a:pt x="1116" y="101"/>
                      <a:pt x="1116" y="99"/>
                      <a:pt x="1115" y="99"/>
                    </a:cubicBezTo>
                    <a:moveTo>
                      <a:pt x="1115" y="99"/>
                    </a:moveTo>
                    <a:cubicBezTo>
                      <a:pt x="1115" y="98"/>
                      <a:pt x="1114" y="99"/>
                      <a:pt x="1113" y="98"/>
                    </a:cubicBezTo>
                    <a:moveTo>
                      <a:pt x="1113" y="98"/>
                    </a:moveTo>
                    <a:cubicBezTo>
                      <a:pt x="1081" y="77"/>
                      <a:pt x="1043" y="57"/>
                      <a:pt x="1002" y="48"/>
                    </a:cubicBezTo>
                    <a:cubicBezTo>
                      <a:pt x="1008" y="57"/>
                      <a:pt x="1020" y="58"/>
                      <a:pt x="1029" y="62"/>
                    </a:cubicBezTo>
                    <a:cubicBezTo>
                      <a:pt x="1057" y="72"/>
                      <a:pt x="1086" y="86"/>
                      <a:pt x="1113" y="98"/>
                    </a:cubicBezTo>
                    <a:moveTo>
                      <a:pt x="991" y="49"/>
                    </a:moveTo>
                    <a:cubicBezTo>
                      <a:pt x="991" y="49"/>
                      <a:pt x="992" y="50"/>
                      <a:pt x="991" y="49"/>
                    </a:cubicBezTo>
                    <a:close/>
                    <a:moveTo>
                      <a:pt x="948" y="50"/>
                    </a:moveTo>
                    <a:cubicBezTo>
                      <a:pt x="957" y="57"/>
                      <a:pt x="965" y="65"/>
                      <a:pt x="974" y="71"/>
                    </a:cubicBezTo>
                    <a:cubicBezTo>
                      <a:pt x="979" y="69"/>
                      <a:pt x="987" y="69"/>
                      <a:pt x="990" y="64"/>
                    </a:cubicBezTo>
                    <a:cubicBezTo>
                      <a:pt x="975" y="60"/>
                      <a:pt x="963" y="54"/>
                      <a:pt x="948" y="50"/>
                    </a:cubicBezTo>
                    <a:moveTo>
                      <a:pt x="948" y="50"/>
                    </a:moveTo>
                    <a:cubicBezTo>
                      <a:pt x="948" y="49"/>
                      <a:pt x="947" y="50"/>
                      <a:pt x="948" y="50"/>
                    </a:cubicBezTo>
                    <a:moveTo>
                      <a:pt x="399" y="114"/>
                    </a:moveTo>
                    <a:cubicBezTo>
                      <a:pt x="405" y="112"/>
                      <a:pt x="411" y="111"/>
                      <a:pt x="416" y="110"/>
                    </a:cubicBezTo>
                    <a:cubicBezTo>
                      <a:pt x="433" y="101"/>
                      <a:pt x="450" y="91"/>
                      <a:pt x="468" y="83"/>
                    </a:cubicBezTo>
                    <a:cubicBezTo>
                      <a:pt x="486" y="75"/>
                      <a:pt x="506" y="70"/>
                      <a:pt x="522" y="58"/>
                    </a:cubicBezTo>
                    <a:cubicBezTo>
                      <a:pt x="520" y="58"/>
                      <a:pt x="520" y="56"/>
                      <a:pt x="520" y="53"/>
                    </a:cubicBezTo>
                    <a:cubicBezTo>
                      <a:pt x="473" y="66"/>
                      <a:pt x="432" y="86"/>
                      <a:pt x="399" y="114"/>
                    </a:cubicBezTo>
                    <a:close/>
                    <a:moveTo>
                      <a:pt x="593" y="54"/>
                    </a:moveTo>
                    <a:cubicBezTo>
                      <a:pt x="578" y="59"/>
                      <a:pt x="564" y="65"/>
                      <a:pt x="550" y="71"/>
                    </a:cubicBezTo>
                    <a:cubicBezTo>
                      <a:pt x="556" y="74"/>
                      <a:pt x="564" y="75"/>
                      <a:pt x="570" y="77"/>
                    </a:cubicBezTo>
                    <a:cubicBezTo>
                      <a:pt x="579" y="71"/>
                      <a:pt x="585" y="62"/>
                      <a:pt x="593" y="54"/>
                    </a:cubicBezTo>
                    <a:moveTo>
                      <a:pt x="593" y="54"/>
                    </a:moveTo>
                    <a:cubicBezTo>
                      <a:pt x="594" y="54"/>
                      <a:pt x="593" y="53"/>
                      <a:pt x="593" y="54"/>
                    </a:cubicBezTo>
                    <a:moveTo>
                      <a:pt x="637" y="84"/>
                    </a:moveTo>
                    <a:cubicBezTo>
                      <a:pt x="647" y="83"/>
                      <a:pt x="659" y="84"/>
                      <a:pt x="668" y="82"/>
                    </a:cubicBezTo>
                    <a:cubicBezTo>
                      <a:pt x="669" y="72"/>
                      <a:pt x="679" y="60"/>
                      <a:pt x="678" y="53"/>
                    </a:cubicBezTo>
                    <a:cubicBezTo>
                      <a:pt x="664" y="64"/>
                      <a:pt x="649" y="72"/>
                      <a:pt x="637" y="84"/>
                    </a:cubicBezTo>
                    <a:close/>
                    <a:moveTo>
                      <a:pt x="890" y="84"/>
                    </a:moveTo>
                    <a:cubicBezTo>
                      <a:pt x="901" y="85"/>
                      <a:pt x="916" y="86"/>
                      <a:pt x="924" y="81"/>
                    </a:cubicBezTo>
                    <a:cubicBezTo>
                      <a:pt x="907" y="73"/>
                      <a:pt x="890" y="59"/>
                      <a:pt x="872" y="54"/>
                    </a:cubicBezTo>
                    <a:cubicBezTo>
                      <a:pt x="879" y="63"/>
                      <a:pt x="885" y="73"/>
                      <a:pt x="890" y="84"/>
                    </a:cubicBezTo>
                    <a:close/>
                    <a:moveTo>
                      <a:pt x="1063" y="94"/>
                    </a:moveTo>
                    <a:cubicBezTo>
                      <a:pt x="1063" y="94"/>
                      <a:pt x="1063" y="94"/>
                      <a:pt x="1063" y="95"/>
                    </a:cubicBezTo>
                    <a:cubicBezTo>
                      <a:pt x="1064" y="95"/>
                      <a:pt x="1065" y="96"/>
                      <a:pt x="1066" y="95"/>
                    </a:cubicBezTo>
                    <a:moveTo>
                      <a:pt x="1066" y="95"/>
                    </a:moveTo>
                    <a:cubicBezTo>
                      <a:pt x="1067" y="97"/>
                      <a:pt x="1067" y="95"/>
                      <a:pt x="1066" y="95"/>
                    </a:cubicBezTo>
                    <a:moveTo>
                      <a:pt x="1066" y="95"/>
                    </a:moveTo>
                    <a:cubicBezTo>
                      <a:pt x="1066" y="94"/>
                      <a:pt x="1065" y="94"/>
                      <a:pt x="1063" y="94"/>
                    </a:cubicBezTo>
                    <a:moveTo>
                      <a:pt x="1063" y="94"/>
                    </a:moveTo>
                    <a:cubicBezTo>
                      <a:pt x="1046" y="79"/>
                      <a:pt x="1027" y="67"/>
                      <a:pt x="1006" y="56"/>
                    </a:cubicBezTo>
                    <a:cubicBezTo>
                      <a:pt x="1001" y="58"/>
                      <a:pt x="1000" y="63"/>
                      <a:pt x="996" y="65"/>
                    </a:cubicBezTo>
                    <a:cubicBezTo>
                      <a:pt x="1020" y="73"/>
                      <a:pt x="1041" y="84"/>
                      <a:pt x="1063" y="94"/>
                    </a:cubicBezTo>
                    <a:moveTo>
                      <a:pt x="482" y="60"/>
                    </a:moveTo>
                    <a:cubicBezTo>
                      <a:pt x="482" y="61"/>
                      <a:pt x="481" y="60"/>
                      <a:pt x="482" y="60"/>
                    </a:cubicBezTo>
                    <a:close/>
                    <a:moveTo>
                      <a:pt x="526" y="60"/>
                    </a:moveTo>
                    <a:cubicBezTo>
                      <a:pt x="526" y="61"/>
                      <a:pt x="525" y="60"/>
                      <a:pt x="526" y="60"/>
                    </a:cubicBezTo>
                    <a:close/>
                    <a:moveTo>
                      <a:pt x="479" y="61"/>
                    </a:moveTo>
                    <a:cubicBezTo>
                      <a:pt x="478" y="61"/>
                      <a:pt x="477" y="61"/>
                      <a:pt x="477" y="62"/>
                    </a:cubicBezTo>
                    <a:moveTo>
                      <a:pt x="477" y="62"/>
                    </a:moveTo>
                    <a:cubicBezTo>
                      <a:pt x="441" y="76"/>
                      <a:pt x="407" y="92"/>
                      <a:pt x="377" y="112"/>
                    </a:cubicBezTo>
                    <a:moveTo>
                      <a:pt x="377" y="112"/>
                    </a:moveTo>
                    <a:cubicBezTo>
                      <a:pt x="375" y="112"/>
                      <a:pt x="375" y="113"/>
                      <a:pt x="374" y="114"/>
                    </a:cubicBezTo>
                    <a:moveTo>
                      <a:pt x="374" y="114"/>
                    </a:moveTo>
                    <a:cubicBezTo>
                      <a:pt x="373" y="114"/>
                      <a:pt x="372" y="114"/>
                      <a:pt x="372" y="115"/>
                    </a:cubicBezTo>
                    <a:moveTo>
                      <a:pt x="372" y="115"/>
                    </a:moveTo>
                    <a:cubicBezTo>
                      <a:pt x="371" y="115"/>
                      <a:pt x="371" y="115"/>
                      <a:pt x="370" y="116"/>
                    </a:cubicBezTo>
                    <a:moveTo>
                      <a:pt x="370" y="116"/>
                    </a:moveTo>
                    <a:cubicBezTo>
                      <a:pt x="370" y="115"/>
                      <a:pt x="369" y="116"/>
                      <a:pt x="369" y="117"/>
                    </a:cubicBezTo>
                    <a:moveTo>
                      <a:pt x="369" y="117"/>
                    </a:moveTo>
                    <a:cubicBezTo>
                      <a:pt x="368" y="116"/>
                      <a:pt x="368" y="117"/>
                      <a:pt x="367" y="118"/>
                    </a:cubicBezTo>
                    <a:moveTo>
                      <a:pt x="367" y="118"/>
                    </a:moveTo>
                    <a:cubicBezTo>
                      <a:pt x="366" y="118"/>
                      <a:pt x="368" y="119"/>
                      <a:pt x="367" y="118"/>
                    </a:cubicBezTo>
                    <a:moveTo>
                      <a:pt x="367" y="118"/>
                    </a:moveTo>
                    <a:cubicBezTo>
                      <a:pt x="369" y="118"/>
                      <a:pt x="369" y="117"/>
                      <a:pt x="369" y="117"/>
                    </a:cubicBezTo>
                    <a:moveTo>
                      <a:pt x="369" y="117"/>
                    </a:moveTo>
                    <a:cubicBezTo>
                      <a:pt x="370" y="117"/>
                      <a:pt x="370" y="116"/>
                      <a:pt x="370" y="116"/>
                    </a:cubicBezTo>
                    <a:moveTo>
                      <a:pt x="370" y="116"/>
                    </a:moveTo>
                    <a:cubicBezTo>
                      <a:pt x="371" y="116"/>
                      <a:pt x="372" y="115"/>
                      <a:pt x="372" y="115"/>
                    </a:cubicBezTo>
                    <a:moveTo>
                      <a:pt x="372" y="115"/>
                    </a:moveTo>
                    <a:cubicBezTo>
                      <a:pt x="373" y="115"/>
                      <a:pt x="374" y="114"/>
                      <a:pt x="374" y="114"/>
                    </a:cubicBezTo>
                    <a:moveTo>
                      <a:pt x="374" y="114"/>
                    </a:moveTo>
                    <a:cubicBezTo>
                      <a:pt x="376" y="114"/>
                      <a:pt x="377" y="113"/>
                      <a:pt x="377" y="112"/>
                    </a:cubicBezTo>
                    <a:moveTo>
                      <a:pt x="377" y="112"/>
                    </a:moveTo>
                    <a:cubicBezTo>
                      <a:pt x="409" y="94"/>
                      <a:pt x="445" y="80"/>
                      <a:pt x="477" y="62"/>
                    </a:cubicBezTo>
                    <a:moveTo>
                      <a:pt x="477" y="62"/>
                    </a:moveTo>
                    <a:cubicBezTo>
                      <a:pt x="478" y="62"/>
                      <a:pt x="479" y="62"/>
                      <a:pt x="479" y="61"/>
                    </a:cubicBezTo>
                    <a:moveTo>
                      <a:pt x="479" y="61"/>
                    </a:moveTo>
                    <a:cubicBezTo>
                      <a:pt x="483" y="62"/>
                      <a:pt x="479" y="58"/>
                      <a:pt x="479" y="61"/>
                    </a:cubicBezTo>
                    <a:moveTo>
                      <a:pt x="481" y="64"/>
                    </a:moveTo>
                    <a:cubicBezTo>
                      <a:pt x="480" y="63"/>
                      <a:pt x="481" y="64"/>
                      <a:pt x="481" y="64"/>
                    </a:cubicBezTo>
                    <a:close/>
                    <a:moveTo>
                      <a:pt x="524" y="63"/>
                    </a:moveTo>
                    <a:cubicBezTo>
                      <a:pt x="510" y="69"/>
                      <a:pt x="495" y="80"/>
                      <a:pt x="484" y="90"/>
                    </a:cubicBezTo>
                    <a:cubicBezTo>
                      <a:pt x="480" y="92"/>
                      <a:pt x="475" y="96"/>
                      <a:pt x="476" y="99"/>
                    </a:cubicBezTo>
                    <a:cubicBezTo>
                      <a:pt x="504" y="96"/>
                      <a:pt x="519" y="80"/>
                      <a:pt x="542" y="71"/>
                    </a:cubicBezTo>
                    <a:cubicBezTo>
                      <a:pt x="535" y="69"/>
                      <a:pt x="530" y="65"/>
                      <a:pt x="524" y="63"/>
                    </a:cubicBezTo>
                    <a:close/>
                    <a:moveTo>
                      <a:pt x="479" y="65"/>
                    </a:moveTo>
                    <a:cubicBezTo>
                      <a:pt x="478" y="64"/>
                      <a:pt x="479" y="65"/>
                      <a:pt x="479" y="65"/>
                    </a:cubicBezTo>
                    <a:close/>
                    <a:moveTo>
                      <a:pt x="1028" y="65"/>
                    </a:moveTo>
                    <a:cubicBezTo>
                      <a:pt x="1048" y="78"/>
                      <a:pt x="1066" y="92"/>
                      <a:pt x="1086" y="106"/>
                    </a:cubicBezTo>
                    <a:cubicBezTo>
                      <a:pt x="1106" y="107"/>
                      <a:pt x="1124" y="115"/>
                      <a:pt x="1141" y="117"/>
                    </a:cubicBezTo>
                    <a:cubicBezTo>
                      <a:pt x="1105" y="97"/>
                      <a:pt x="1069" y="79"/>
                      <a:pt x="1028" y="65"/>
                    </a:cubicBezTo>
                    <a:moveTo>
                      <a:pt x="1028" y="65"/>
                    </a:moveTo>
                    <a:cubicBezTo>
                      <a:pt x="1028" y="62"/>
                      <a:pt x="1024" y="66"/>
                      <a:pt x="1028" y="65"/>
                    </a:cubicBezTo>
                    <a:moveTo>
                      <a:pt x="993" y="66"/>
                    </a:moveTo>
                    <a:cubicBezTo>
                      <a:pt x="989" y="70"/>
                      <a:pt x="981" y="71"/>
                      <a:pt x="975" y="74"/>
                    </a:cubicBezTo>
                    <a:cubicBezTo>
                      <a:pt x="984" y="83"/>
                      <a:pt x="999" y="87"/>
                      <a:pt x="1009" y="95"/>
                    </a:cubicBezTo>
                    <a:cubicBezTo>
                      <a:pt x="1032" y="95"/>
                      <a:pt x="1054" y="102"/>
                      <a:pt x="1074" y="102"/>
                    </a:cubicBezTo>
                    <a:cubicBezTo>
                      <a:pt x="1048" y="89"/>
                      <a:pt x="1021" y="77"/>
                      <a:pt x="993" y="66"/>
                    </a:cubicBezTo>
                    <a:close/>
                    <a:moveTo>
                      <a:pt x="504" y="71"/>
                    </a:moveTo>
                    <a:cubicBezTo>
                      <a:pt x="503" y="71"/>
                      <a:pt x="504" y="72"/>
                      <a:pt x="504" y="71"/>
                    </a:cubicBezTo>
                    <a:close/>
                    <a:moveTo>
                      <a:pt x="502" y="72"/>
                    </a:moveTo>
                    <a:cubicBezTo>
                      <a:pt x="476" y="83"/>
                      <a:pt x="450" y="93"/>
                      <a:pt x="428" y="107"/>
                    </a:cubicBezTo>
                    <a:moveTo>
                      <a:pt x="428" y="107"/>
                    </a:moveTo>
                    <a:cubicBezTo>
                      <a:pt x="424" y="106"/>
                      <a:pt x="428" y="110"/>
                      <a:pt x="428" y="107"/>
                    </a:cubicBezTo>
                    <a:moveTo>
                      <a:pt x="428" y="107"/>
                    </a:moveTo>
                    <a:cubicBezTo>
                      <a:pt x="442" y="105"/>
                      <a:pt x="455" y="103"/>
                      <a:pt x="468" y="100"/>
                    </a:cubicBezTo>
                    <a:cubicBezTo>
                      <a:pt x="479" y="91"/>
                      <a:pt x="490" y="82"/>
                      <a:pt x="502" y="72"/>
                    </a:cubicBezTo>
                    <a:moveTo>
                      <a:pt x="502" y="72"/>
                    </a:moveTo>
                    <a:cubicBezTo>
                      <a:pt x="503" y="72"/>
                      <a:pt x="502" y="71"/>
                      <a:pt x="502" y="72"/>
                    </a:cubicBezTo>
                    <a:moveTo>
                      <a:pt x="544" y="73"/>
                    </a:moveTo>
                    <a:cubicBezTo>
                      <a:pt x="530" y="79"/>
                      <a:pt x="513" y="89"/>
                      <a:pt x="501" y="95"/>
                    </a:cubicBezTo>
                    <a:cubicBezTo>
                      <a:pt x="522" y="94"/>
                      <a:pt x="540" y="90"/>
                      <a:pt x="561" y="90"/>
                    </a:cubicBezTo>
                    <a:cubicBezTo>
                      <a:pt x="565" y="87"/>
                      <a:pt x="567" y="83"/>
                      <a:pt x="570" y="79"/>
                    </a:cubicBezTo>
                    <a:cubicBezTo>
                      <a:pt x="561" y="81"/>
                      <a:pt x="551" y="71"/>
                      <a:pt x="544" y="73"/>
                    </a:cubicBezTo>
                    <a:close/>
                    <a:moveTo>
                      <a:pt x="933" y="85"/>
                    </a:moveTo>
                    <a:cubicBezTo>
                      <a:pt x="948" y="90"/>
                      <a:pt x="970" y="89"/>
                      <a:pt x="988" y="92"/>
                    </a:cubicBezTo>
                    <a:cubicBezTo>
                      <a:pt x="981" y="71"/>
                      <a:pt x="952" y="78"/>
                      <a:pt x="933" y="85"/>
                    </a:cubicBezTo>
                    <a:close/>
                    <a:moveTo>
                      <a:pt x="569" y="86"/>
                    </a:moveTo>
                    <a:cubicBezTo>
                      <a:pt x="568" y="86"/>
                      <a:pt x="569" y="87"/>
                      <a:pt x="569" y="86"/>
                    </a:cubicBezTo>
                    <a:moveTo>
                      <a:pt x="569" y="86"/>
                    </a:moveTo>
                    <a:cubicBezTo>
                      <a:pt x="572" y="85"/>
                      <a:pt x="575" y="84"/>
                      <a:pt x="577" y="81"/>
                    </a:cubicBezTo>
                    <a:cubicBezTo>
                      <a:pt x="574" y="81"/>
                      <a:pt x="575" y="79"/>
                      <a:pt x="572" y="80"/>
                    </a:cubicBezTo>
                    <a:cubicBezTo>
                      <a:pt x="572" y="84"/>
                      <a:pt x="569" y="82"/>
                      <a:pt x="569" y="86"/>
                    </a:cubicBezTo>
                    <a:moveTo>
                      <a:pt x="573" y="88"/>
                    </a:moveTo>
                    <a:cubicBezTo>
                      <a:pt x="569" y="87"/>
                      <a:pt x="573" y="91"/>
                      <a:pt x="573" y="88"/>
                    </a:cubicBezTo>
                    <a:moveTo>
                      <a:pt x="573" y="88"/>
                    </a:moveTo>
                    <a:cubicBezTo>
                      <a:pt x="583" y="87"/>
                      <a:pt x="594" y="88"/>
                      <a:pt x="602" y="85"/>
                    </a:cubicBezTo>
                    <a:cubicBezTo>
                      <a:pt x="590" y="84"/>
                      <a:pt x="579" y="79"/>
                      <a:pt x="573" y="88"/>
                    </a:cubicBezTo>
                    <a:moveTo>
                      <a:pt x="1092" y="83"/>
                    </a:moveTo>
                    <a:cubicBezTo>
                      <a:pt x="1092" y="83"/>
                      <a:pt x="1093" y="84"/>
                      <a:pt x="1092" y="83"/>
                    </a:cubicBezTo>
                    <a:close/>
                    <a:moveTo>
                      <a:pt x="695" y="84"/>
                    </a:moveTo>
                    <a:cubicBezTo>
                      <a:pt x="694" y="87"/>
                      <a:pt x="692" y="89"/>
                      <a:pt x="690" y="92"/>
                    </a:cubicBezTo>
                    <a:cubicBezTo>
                      <a:pt x="710" y="92"/>
                      <a:pt x="729" y="93"/>
                      <a:pt x="750" y="93"/>
                    </a:cubicBezTo>
                    <a:cubicBezTo>
                      <a:pt x="750" y="88"/>
                      <a:pt x="752" y="87"/>
                      <a:pt x="751" y="83"/>
                    </a:cubicBezTo>
                    <a:cubicBezTo>
                      <a:pt x="732" y="82"/>
                      <a:pt x="715" y="85"/>
                      <a:pt x="695" y="84"/>
                    </a:cubicBezTo>
                    <a:close/>
                    <a:moveTo>
                      <a:pt x="753" y="94"/>
                    </a:moveTo>
                    <a:cubicBezTo>
                      <a:pt x="763" y="94"/>
                      <a:pt x="770" y="92"/>
                      <a:pt x="779" y="93"/>
                    </a:cubicBezTo>
                    <a:cubicBezTo>
                      <a:pt x="780" y="89"/>
                      <a:pt x="778" y="87"/>
                      <a:pt x="778" y="83"/>
                    </a:cubicBezTo>
                    <a:cubicBezTo>
                      <a:pt x="768" y="84"/>
                      <a:pt x="749" y="77"/>
                      <a:pt x="753" y="94"/>
                    </a:cubicBezTo>
                    <a:close/>
                    <a:moveTo>
                      <a:pt x="781" y="93"/>
                    </a:moveTo>
                    <a:cubicBezTo>
                      <a:pt x="792" y="92"/>
                      <a:pt x="805" y="94"/>
                      <a:pt x="814" y="92"/>
                    </a:cubicBezTo>
                    <a:cubicBezTo>
                      <a:pt x="812" y="90"/>
                      <a:pt x="811" y="87"/>
                      <a:pt x="810" y="84"/>
                    </a:cubicBezTo>
                    <a:cubicBezTo>
                      <a:pt x="800" y="84"/>
                      <a:pt x="792" y="82"/>
                      <a:pt x="781" y="83"/>
                    </a:cubicBezTo>
                    <a:cubicBezTo>
                      <a:pt x="781" y="86"/>
                      <a:pt x="781" y="89"/>
                      <a:pt x="781" y="93"/>
                    </a:cubicBezTo>
                    <a:close/>
                    <a:moveTo>
                      <a:pt x="1094" y="84"/>
                    </a:moveTo>
                    <a:cubicBezTo>
                      <a:pt x="1095" y="85"/>
                      <a:pt x="1094" y="84"/>
                      <a:pt x="1094" y="84"/>
                    </a:cubicBezTo>
                    <a:close/>
                    <a:moveTo>
                      <a:pt x="670" y="85"/>
                    </a:moveTo>
                    <a:cubicBezTo>
                      <a:pt x="671" y="88"/>
                      <a:pt x="668" y="87"/>
                      <a:pt x="669" y="90"/>
                    </a:cubicBezTo>
                    <a:cubicBezTo>
                      <a:pt x="675" y="90"/>
                      <a:pt x="681" y="91"/>
                      <a:pt x="688" y="91"/>
                    </a:cubicBezTo>
                    <a:cubicBezTo>
                      <a:pt x="688" y="88"/>
                      <a:pt x="691" y="86"/>
                      <a:pt x="692" y="84"/>
                    </a:cubicBezTo>
                    <a:cubicBezTo>
                      <a:pt x="685" y="84"/>
                      <a:pt x="678" y="85"/>
                      <a:pt x="670" y="85"/>
                    </a:cubicBezTo>
                    <a:close/>
                    <a:moveTo>
                      <a:pt x="818" y="92"/>
                    </a:moveTo>
                    <a:cubicBezTo>
                      <a:pt x="837" y="91"/>
                      <a:pt x="856" y="90"/>
                      <a:pt x="873" y="88"/>
                    </a:cubicBezTo>
                    <a:cubicBezTo>
                      <a:pt x="858" y="83"/>
                      <a:pt x="832" y="84"/>
                      <a:pt x="814" y="85"/>
                    </a:cubicBezTo>
                    <a:cubicBezTo>
                      <a:pt x="816" y="86"/>
                      <a:pt x="816" y="90"/>
                      <a:pt x="818" y="92"/>
                    </a:cubicBezTo>
                    <a:close/>
                    <a:moveTo>
                      <a:pt x="1096" y="85"/>
                    </a:moveTo>
                    <a:cubicBezTo>
                      <a:pt x="1096" y="85"/>
                      <a:pt x="1097" y="86"/>
                      <a:pt x="1096" y="85"/>
                    </a:cubicBezTo>
                    <a:close/>
                    <a:moveTo>
                      <a:pt x="639" y="88"/>
                    </a:moveTo>
                    <a:cubicBezTo>
                      <a:pt x="648" y="88"/>
                      <a:pt x="656" y="89"/>
                      <a:pt x="665" y="90"/>
                    </a:cubicBezTo>
                    <a:cubicBezTo>
                      <a:pt x="664" y="87"/>
                      <a:pt x="666" y="87"/>
                      <a:pt x="666" y="85"/>
                    </a:cubicBezTo>
                    <a:cubicBezTo>
                      <a:pt x="658" y="87"/>
                      <a:pt x="645" y="84"/>
                      <a:pt x="639" y="88"/>
                    </a:cubicBezTo>
                    <a:close/>
                    <a:moveTo>
                      <a:pt x="931" y="86"/>
                    </a:moveTo>
                    <a:cubicBezTo>
                      <a:pt x="930" y="85"/>
                      <a:pt x="923" y="84"/>
                      <a:pt x="922" y="86"/>
                    </a:cubicBezTo>
                    <a:cubicBezTo>
                      <a:pt x="926" y="85"/>
                      <a:pt x="929" y="89"/>
                      <a:pt x="931" y="86"/>
                    </a:cubicBezTo>
                    <a:close/>
                    <a:moveTo>
                      <a:pt x="988" y="86"/>
                    </a:moveTo>
                    <a:cubicBezTo>
                      <a:pt x="988" y="86"/>
                      <a:pt x="988" y="87"/>
                      <a:pt x="988" y="87"/>
                    </a:cubicBezTo>
                    <a:cubicBezTo>
                      <a:pt x="990" y="88"/>
                      <a:pt x="991" y="90"/>
                      <a:pt x="992" y="93"/>
                    </a:cubicBezTo>
                    <a:cubicBezTo>
                      <a:pt x="995" y="93"/>
                      <a:pt x="998" y="93"/>
                      <a:pt x="1000" y="93"/>
                    </a:cubicBezTo>
                    <a:moveTo>
                      <a:pt x="1000" y="93"/>
                    </a:moveTo>
                    <a:cubicBezTo>
                      <a:pt x="1001" y="94"/>
                      <a:pt x="1001" y="93"/>
                      <a:pt x="1000" y="93"/>
                    </a:cubicBezTo>
                    <a:moveTo>
                      <a:pt x="1000" y="93"/>
                    </a:moveTo>
                    <a:cubicBezTo>
                      <a:pt x="996" y="90"/>
                      <a:pt x="993" y="87"/>
                      <a:pt x="988" y="86"/>
                    </a:cubicBezTo>
                    <a:moveTo>
                      <a:pt x="988" y="86"/>
                    </a:moveTo>
                    <a:cubicBezTo>
                      <a:pt x="987" y="84"/>
                      <a:pt x="986" y="86"/>
                      <a:pt x="988" y="86"/>
                    </a:cubicBezTo>
                    <a:moveTo>
                      <a:pt x="1173" y="127"/>
                    </a:moveTo>
                    <a:cubicBezTo>
                      <a:pt x="1173" y="128"/>
                      <a:pt x="1174" y="128"/>
                      <a:pt x="1175" y="128"/>
                    </a:cubicBezTo>
                    <a:moveTo>
                      <a:pt x="1175" y="128"/>
                    </a:moveTo>
                    <a:cubicBezTo>
                      <a:pt x="1175" y="130"/>
                      <a:pt x="1176" y="128"/>
                      <a:pt x="1175" y="128"/>
                    </a:cubicBezTo>
                    <a:moveTo>
                      <a:pt x="1175" y="128"/>
                    </a:moveTo>
                    <a:cubicBezTo>
                      <a:pt x="1175" y="127"/>
                      <a:pt x="1174" y="127"/>
                      <a:pt x="1173" y="127"/>
                    </a:cubicBezTo>
                    <a:moveTo>
                      <a:pt x="1173" y="127"/>
                    </a:moveTo>
                    <a:cubicBezTo>
                      <a:pt x="1150" y="112"/>
                      <a:pt x="1124" y="95"/>
                      <a:pt x="1098" y="86"/>
                    </a:cubicBezTo>
                    <a:cubicBezTo>
                      <a:pt x="1125" y="98"/>
                      <a:pt x="1141" y="120"/>
                      <a:pt x="1173" y="127"/>
                    </a:cubicBezTo>
                    <a:moveTo>
                      <a:pt x="885" y="86"/>
                    </a:moveTo>
                    <a:cubicBezTo>
                      <a:pt x="882" y="86"/>
                      <a:pt x="877" y="85"/>
                      <a:pt x="875" y="87"/>
                    </a:cubicBezTo>
                    <a:cubicBezTo>
                      <a:pt x="877" y="88"/>
                      <a:pt x="885" y="90"/>
                      <a:pt x="885" y="86"/>
                    </a:cubicBezTo>
                    <a:close/>
                    <a:moveTo>
                      <a:pt x="430" y="89"/>
                    </a:moveTo>
                    <a:cubicBezTo>
                      <a:pt x="429" y="88"/>
                      <a:pt x="430" y="89"/>
                      <a:pt x="430" y="89"/>
                    </a:cubicBezTo>
                    <a:close/>
                    <a:moveTo>
                      <a:pt x="564" y="92"/>
                    </a:moveTo>
                    <a:cubicBezTo>
                      <a:pt x="535" y="128"/>
                      <a:pt x="514" y="173"/>
                      <a:pt x="497" y="221"/>
                    </a:cubicBezTo>
                    <a:cubicBezTo>
                      <a:pt x="502" y="220"/>
                      <a:pt x="508" y="220"/>
                      <a:pt x="513" y="219"/>
                    </a:cubicBezTo>
                    <a:cubicBezTo>
                      <a:pt x="545" y="174"/>
                      <a:pt x="578" y="131"/>
                      <a:pt x="619" y="95"/>
                    </a:cubicBezTo>
                    <a:cubicBezTo>
                      <a:pt x="620" y="94"/>
                      <a:pt x="628" y="90"/>
                      <a:pt x="624" y="89"/>
                    </a:cubicBezTo>
                    <a:cubicBezTo>
                      <a:pt x="604" y="86"/>
                      <a:pt x="584" y="91"/>
                      <a:pt x="564" y="92"/>
                    </a:cubicBezTo>
                    <a:close/>
                    <a:moveTo>
                      <a:pt x="1055" y="192"/>
                    </a:moveTo>
                    <a:cubicBezTo>
                      <a:pt x="1019" y="154"/>
                      <a:pt x="980" y="120"/>
                      <a:pt x="937" y="90"/>
                    </a:cubicBezTo>
                    <a:cubicBezTo>
                      <a:pt x="922" y="89"/>
                      <a:pt x="906" y="86"/>
                      <a:pt x="893" y="90"/>
                    </a:cubicBezTo>
                    <a:cubicBezTo>
                      <a:pt x="901" y="111"/>
                      <a:pt x="911" y="126"/>
                      <a:pt x="923" y="142"/>
                    </a:cubicBezTo>
                    <a:cubicBezTo>
                      <a:pt x="942" y="166"/>
                      <a:pt x="959" y="189"/>
                      <a:pt x="973" y="216"/>
                    </a:cubicBezTo>
                    <a:cubicBezTo>
                      <a:pt x="1006" y="219"/>
                      <a:pt x="1038" y="222"/>
                      <a:pt x="1069" y="226"/>
                    </a:cubicBezTo>
                    <a:cubicBezTo>
                      <a:pt x="1065" y="214"/>
                      <a:pt x="1059" y="204"/>
                      <a:pt x="1055" y="192"/>
                    </a:cubicBezTo>
                    <a:close/>
                    <a:moveTo>
                      <a:pt x="366" y="122"/>
                    </a:moveTo>
                    <a:cubicBezTo>
                      <a:pt x="394" y="118"/>
                      <a:pt x="410" y="101"/>
                      <a:pt x="429" y="89"/>
                    </a:cubicBezTo>
                    <a:cubicBezTo>
                      <a:pt x="407" y="99"/>
                      <a:pt x="386" y="110"/>
                      <a:pt x="366" y="122"/>
                    </a:cubicBezTo>
                    <a:close/>
                    <a:moveTo>
                      <a:pt x="631" y="90"/>
                    </a:moveTo>
                    <a:cubicBezTo>
                      <a:pt x="632" y="88"/>
                      <a:pt x="629" y="90"/>
                      <a:pt x="629" y="91"/>
                    </a:cubicBezTo>
                    <a:cubicBezTo>
                      <a:pt x="589" y="125"/>
                      <a:pt x="552" y="168"/>
                      <a:pt x="523" y="212"/>
                    </a:cubicBezTo>
                    <a:cubicBezTo>
                      <a:pt x="522" y="214"/>
                      <a:pt x="517" y="216"/>
                      <a:pt x="519" y="219"/>
                    </a:cubicBezTo>
                    <a:cubicBezTo>
                      <a:pt x="554" y="215"/>
                      <a:pt x="591" y="214"/>
                      <a:pt x="629" y="212"/>
                    </a:cubicBezTo>
                    <a:cubicBezTo>
                      <a:pt x="645" y="177"/>
                      <a:pt x="650" y="130"/>
                      <a:pt x="663" y="93"/>
                    </a:cubicBezTo>
                    <a:cubicBezTo>
                      <a:pt x="653" y="91"/>
                      <a:pt x="643" y="90"/>
                      <a:pt x="631" y="90"/>
                    </a:cubicBezTo>
                    <a:close/>
                    <a:moveTo>
                      <a:pt x="899" y="111"/>
                    </a:moveTo>
                    <a:cubicBezTo>
                      <a:pt x="900" y="112"/>
                      <a:pt x="900" y="111"/>
                      <a:pt x="899" y="111"/>
                    </a:cubicBezTo>
                    <a:moveTo>
                      <a:pt x="899" y="111"/>
                    </a:moveTo>
                    <a:cubicBezTo>
                      <a:pt x="897" y="103"/>
                      <a:pt x="893" y="97"/>
                      <a:pt x="891" y="90"/>
                    </a:cubicBezTo>
                    <a:cubicBezTo>
                      <a:pt x="886" y="90"/>
                      <a:pt x="882" y="89"/>
                      <a:pt x="880" y="92"/>
                    </a:cubicBezTo>
                    <a:cubicBezTo>
                      <a:pt x="887" y="97"/>
                      <a:pt x="892" y="105"/>
                      <a:pt x="899" y="111"/>
                    </a:cubicBezTo>
                    <a:moveTo>
                      <a:pt x="943" y="91"/>
                    </a:moveTo>
                    <a:cubicBezTo>
                      <a:pt x="979" y="114"/>
                      <a:pt x="1013" y="148"/>
                      <a:pt x="1044" y="177"/>
                    </a:cubicBezTo>
                    <a:cubicBezTo>
                      <a:pt x="1045" y="178"/>
                      <a:pt x="1047" y="183"/>
                      <a:pt x="1049" y="180"/>
                    </a:cubicBezTo>
                    <a:cubicBezTo>
                      <a:pt x="1032" y="150"/>
                      <a:pt x="1014" y="120"/>
                      <a:pt x="991" y="95"/>
                    </a:cubicBezTo>
                    <a:cubicBezTo>
                      <a:pt x="975" y="94"/>
                      <a:pt x="961" y="91"/>
                      <a:pt x="943" y="91"/>
                    </a:cubicBezTo>
                    <a:moveTo>
                      <a:pt x="943" y="91"/>
                    </a:moveTo>
                    <a:cubicBezTo>
                      <a:pt x="943" y="88"/>
                      <a:pt x="939" y="92"/>
                      <a:pt x="943" y="91"/>
                    </a:cubicBezTo>
                    <a:moveTo>
                      <a:pt x="904" y="120"/>
                    </a:moveTo>
                    <a:cubicBezTo>
                      <a:pt x="894" y="111"/>
                      <a:pt x="886" y="98"/>
                      <a:pt x="874" y="91"/>
                    </a:cubicBezTo>
                    <a:cubicBezTo>
                      <a:pt x="857" y="93"/>
                      <a:pt x="838" y="94"/>
                      <a:pt x="820" y="95"/>
                    </a:cubicBezTo>
                    <a:cubicBezTo>
                      <a:pt x="835" y="132"/>
                      <a:pt x="849" y="170"/>
                      <a:pt x="860" y="211"/>
                    </a:cubicBezTo>
                    <a:cubicBezTo>
                      <a:pt x="885" y="210"/>
                      <a:pt x="907" y="212"/>
                      <a:pt x="931" y="214"/>
                    </a:cubicBezTo>
                    <a:cubicBezTo>
                      <a:pt x="924" y="180"/>
                      <a:pt x="914" y="150"/>
                      <a:pt x="904" y="120"/>
                    </a:cubicBezTo>
                    <a:close/>
                    <a:moveTo>
                      <a:pt x="558" y="93"/>
                    </a:moveTo>
                    <a:cubicBezTo>
                      <a:pt x="558" y="92"/>
                      <a:pt x="559" y="93"/>
                      <a:pt x="558" y="93"/>
                    </a:cubicBezTo>
                    <a:close/>
                    <a:moveTo>
                      <a:pt x="492" y="99"/>
                    </a:moveTo>
                    <a:cubicBezTo>
                      <a:pt x="485" y="102"/>
                      <a:pt x="476" y="109"/>
                      <a:pt x="468" y="114"/>
                    </a:cubicBezTo>
                    <a:cubicBezTo>
                      <a:pt x="460" y="119"/>
                      <a:pt x="450" y="123"/>
                      <a:pt x="444" y="128"/>
                    </a:cubicBezTo>
                    <a:cubicBezTo>
                      <a:pt x="432" y="139"/>
                      <a:pt x="421" y="155"/>
                      <a:pt x="411" y="169"/>
                    </a:cubicBezTo>
                    <a:cubicBezTo>
                      <a:pt x="400" y="185"/>
                      <a:pt x="389" y="201"/>
                      <a:pt x="382" y="216"/>
                    </a:cubicBezTo>
                    <a:cubicBezTo>
                      <a:pt x="390" y="219"/>
                      <a:pt x="399" y="220"/>
                      <a:pt x="407" y="223"/>
                    </a:cubicBezTo>
                    <a:cubicBezTo>
                      <a:pt x="452" y="175"/>
                      <a:pt x="501" y="130"/>
                      <a:pt x="558" y="93"/>
                    </a:cubicBezTo>
                    <a:cubicBezTo>
                      <a:pt x="533" y="97"/>
                      <a:pt x="512" y="93"/>
                      <a:pt x="492" y="99"/>
                    </a:cubicBezTo>
                    <a:close/>
                    <a:moveTo>
                      <a:pt x="667" y="93"/>
                    </a:moveTo>
                    <a:cubicBezTo>
                      <a:pt x="661" y="115"/>
                      <a:pt x="652" y="139"/>
                      <a:pt x="650" y="163"/>
                    </a:cubicBezTo>
                    <a:cubicBezTo>
                      <a:pt x="660" y="138"/>
                      <a:pt x="673" y="116"/>
                      <a:pt x="685" y="94"/>
                    </a:cubicBezTo>
                    <a:cubicBezTo>
                      <a:pt x="678" y="94"/>
                      <a:pt x="674" y="92"/>
                      <a:pt x="667" y="93"/>
                    </a:cubicBezTo>
                    <a:close/>
                    <a:moveTo>
                      <a:pt x="639" y="211"/>
                    </a:moveTo>
                    <a:cubicBezTo>
                      <a:pt x="674" y="211"/>
                      <a:pt x="707" y="208"/>
                      <a:pt x="743" y="209"/>
                    </a:cubicBezTo>
                    <a:cubicBezTo>
                      <a:pt x="745" y="170"/>
                      <a:pt x="747" y="132"/>
                      <a:pt x="750" y="95"/>
                    </a:cubicBezTo>
                    <a:cubicBezTo>
                      <a:pt x="729" y="96"/>
                      <a:pt x="708" y="95"/>
                      <a:pt x="689" y="94"/>
                    </a:cubicBezTo>
                    <a:cubicBezTo>
                      <a:pt x="669" y="129"/>
                      <a:pt x="646" y="162"/>
                      <a:pt x="639" y="211"/>
                    </a:cubicBezTo>
                    <a:close/>
                    <a:moveTo>
                      <a:pt x="825" y="120"/>
                    </a:moveTo>
                    <a:cubicBezTo>
                      <a:pt x="823" y="113"/>
                      <a:pt x="819" y="96"/>
                      <a:pt x="811" y="95"/>
                    </a:cubicBezTo>
                    <a:cubicBezTo>
                      <a:pt x="803" y="93"/>
                      <a:pt x="791" y="98"/>
                      <a:pt x="782" y="95"/>
                    </a:cubicBezTo>
                    <a:cubicBezTo>
                      <a:pt x="784" y="133"/>
                      <a:pt x="786" y="171"/>
                      <a:pt x="787" y="209"/>
                    </a:cubicBezTo>
                    <a:cubicBezTo>
                      <a:pt x="811" y="208"/>
                      <a:pt x="832" y="210"/>
                      <a:pt x="855" y="210"/>
                    </a:cubicBezTo>
                    <a:cubicBezTo>
                      <a:pt x="848" y="183"/>
                      <a:pt x="836" y="148"/>
                      <a:pt x="825" y="120"/>
                    </a:cubicBezTo>
                    <a:close/>
                    <a:moveTo>
                      <a:pt x="499" y="96"/>
                    </a:moveTo>
                    <a:cubicBezTo>
                      <a:pt x="499" y="96"/>
                      <a:pt x="500" y="97"/>
                      <a:pt x="499" y="96"/>
                    </a:cubicBezTo>
                    <a:close/>
                    <a:moveTo>
                      <a:pt x="752" y="98"/>
                    </a:moveTo>
                    <a:cubicBezTo>
                      <a:pt x="750" y="135"/>
                      <a:pt x="747" y="171"/>
                      <a:pt x="746" y="209"/>
                    </a:cubicBezTo>
                    <a:cubicBezTo>
                      <a:pt x="758" y="209"/>
                      <a:pt x="771" y="209"/>
                      <a:pt x="784" y="209"/>
                    </a:cubicBezTo>
                    <a:cubicBezTo>
                      <a:pt x="783" y="170"/>
                      <a:pt x="781" y="133"/>
                      <a:pt x="779" y="95"/>
                    </a:cubicBezTo>
                    <a:cubicBezTo>
                      <a:pt x="771" y="97"/>
                      <a:pt x="756" y="92"/>
                      <a:pt x="752" y="98"/>
                    </a:cubicBezTo>
                    <a:close/>
                    <a:moveTo>
                      <a:pt x="1056" y="191"/>
                    </a:moveTo>
                    <a:cubicBezTo>
                      <a:pt x="1069" y="202"/>
                      <a:pt x="1077" y="217"/>
                      <a:pt x="1090" y="228"/>
                    </a:cubicBezTo>
                    <a:cubicBezTo>
                      <a:pt x="1115" y="224"/>
                      <a:pt x="1137" y="218"/>
                      <a:pt x="1159" y="212"/>
                    </a:cubicBezTo>
                    <a:cubicBezTo>
                      <a:pt x="1152" y="199"/>
                      <a:pt x="1138" y="190"/>
                      <a:pt x="1126" y="180"/>
                    </a:cubicBezTo>
                    <a:cubicBezTo>
                      <a:pt x="1101" y="159"/>
                      <a:pt x="1078" y="141"/>
                      <a:pt x="1049" y="122"/>
                    </a:cubicBezTo>
                    <a:cubicBezTo>
                      <a:pt x="1032" y="112"/>
                      <a:pt x="1016" y="96"/>
                      <a:pt x="996" y="96"/>
                    </a:cubicBezTo>
                    <a:cubicBezTo>
                      <a:pt x="1020" y="124"/>
                      <a:pt x="1040" y="155"/>
                      <a:pt x="1056" y="191"/>
                    </a:cubicBezTo>
                    <a:close/>
                    <a:moveTo>
                      <a:pt x="1095" y="150"/>
                    </a:moveTo>
                    <a:cubicBezTo>
                      <a:pt x="1112" y="165"/>
                      <a:pt x="1132" y="180"/>
                      <a:pt x="1149" y="195"/>
                    </a:cubicBezTo>
                    <a:cubicBezTo>
                      <a:pt x="1154" y="200"/>
                      <a:pt x="1159" y="209"/>
                      <a:pt x="1167" y="209"/>
                    </a:cubicBezTo>
                    <a:cubicBezTo>
                      <a:pt x="1146" y="171"/>
                      <a:pt x="1113" y="136"/>
                      <a:pt x="1081" y="107"/>
                    </a:cubicBezTo>
                    <a:cubicBezTo>
                      <a:pt x="1060" y="104"/>
                      <a:pt x="1036" y="99"/>
                      <a:pt x="1015" y="98"/>
                    </a:cubicBezTo>
                    <a:cubicBezTo>
                      <a:pt x="1044" y="113"/>
                      <a:pt x="1069" y="132"/>
                      <a:pt x="1095" y="150"/>
                    </a:cubicBezTo>
                    <a:close/>
                    <a:moveTo>
                      <a:pt x="555" y="99"/>
                    </a:moveTo>
                    <a:cubicBezTo>
                      <a:pt x="506" y="130"/>
                      <a:pt x="457" y="172"/>
                      <a:pt x="418" y="216"/>
                    </a:cubicBezTo>
                    <a:cubicBezTo>
                      <a:pt x="417" y="218"/>
                      <a:pt x="411" y="220"/>
                      <a:pt x="414" y="224"/>
                    </a:cubicBezTo>
                    <a:cubicBezTo>
                      <a:pt x="438" y="232"/>
                      <a:pt x="467" y="223"/>
                      <a:pt x="494" y="221"/>
                    </a:cubicBezTo>
                    <a:cubicBezTo>
                      <a:pt x="510" y="176"/>
                      <a:pt x="530" y="135"/>
                      <a:pt x="555" y="99"/>
                    </a:cubicBezTo>
                    <a:moveTo>
                      <a:pt x="555" y="99"/>
                    </a:moveTo>
                    <a:cubicBezTo>
                      <a:pt x="556" y="99"/>
                      <a:pt x="555" y="98"/>
                      <a:pt x="555" y="99"/>
                    </a:cubicBezTo>
                    <a:moveTo>
                      <a:pt x="484" y="101"/>
                    </a:moveTo>
                    <a:cubicBezTo>
                      <a:pt x="483" y="101"/>
                      <a:pt x="484" y="102"/>
                      <a:pt x="484" y="101"/>
                    </a:cubicBezTo>
                    <a:close/>
                    <a:moveTo>
                      <a:pt x="1118" y="101"/>
                    </a:moveTo>
                    <a:cubicBezTo>
                      <a:pt x="1119" y="103"/>
                      <a:pt x="1119" y="101"/>
                      <a:pt x="1118" y="101"/>
                    </a:cubicBezTo>
                    <a:moveTo>
                      <a:pt x="1118" y="101"/>
                    </a:moveTo>
                    <a:cubicBezTo>
                      <a:pt x="1118" y="100"/>
                      <a:pt x="1117" y="101"/>
                      <a:pt x="1118" y="101"/>
                    </a:cubicBezTo>
                    <a:moveTo>
                      <a:pt x="454" y="119"/>
                    </a:moveTo>
                    <a:cubicBezTo>
                      <a:pt x="452" y="119"/>
                      <a:pt x="454" y="120"/>
                      <a:pt x="454" y="119"/>
                    </a:cubicBezTo>
                    <a:moveTo>
                      <a:pt x="454" y="119"/>
                    </a:moveTo>
                    <a:cubicBezTo>
                      <a:pt x="464" y="113"/>
                      <a:pt x="474" y="108"/>
                      <a:pt x="483" y="101"/>
                    </a:cubicBezTo>
                    <a:cubicBezTo>
                      <a:pt x="466" y="100"/>
                      <a:pt x="462" y="111"/>
                      <a:pt x="454" y="119"/>
                    </a:cubicBezTo>
                    <a:moveTo>
                      <a:pt x="1120" y="103"/>
                    </a:moveTo>
                    <a:cubicBezTo>
                      <a:pt x="1120" y="103"/>
                      <a:pt x="1121" y="104"/>
                      <a:pt x="1120" y="103"/>
                    </a:cubicBezTo>
                    <a:close/>
                    <a:moveTo>
                      <a:pt x="1075" y="104"/>
                    </a:moveTo>
                    <a:cubicBezTo>
                      <a:pt x="1075" y="104"/>
                      <a:pt x="1076" y="105"/>
                      <a:pt x="1075" y="104"/>
                    </a:cubicBezTo>
                    <a:close/>
                    <a:moveTo>
                      <a:pt x="417" y="112"/>
                    </a:moveTo>
                    <a:cubicBezTo>
                      <a:pt x="407" y="115"/>
                      <a:pt x="396" y="125"/>
                      <a:pt x="386" y="131"/>
                    </a:cubicBezTo>
                    <a:cubicBezTo>
                      <a:pt x="357" y="148"/>
                      <a:pt x="335" y="165"/>
                      <a:pt x="317" y="191"/>
                    </a:cubicBezTo>
                    <a:cubicBezTo>
                      <a:pt x="325" y="195"/>
                      <a:pt x="332" y="200"/>
                      <a:pt x="342" y="203"/>
                    </a:cubicBezTo>
                    <a:cubicBezTo>
                      <a:pt x="374" y="176"/>
                      <a:pt x="406" y="149"/>
                      <a:pt x="442" y="127"/>
                    </a:cubicBezTo>
                    <a:cubicBezTo>
                      <a:pt x="445" y="123"/>
                      <a:pt x="449" y="119"/>
                      <a:pt x="453" y="115"/>
                    </a:cubicBezTo>
                    <a:cubicBezTo>
                      <a:pt x="455" y="112"/>
                      <a:pt x="466" y="105"/>
                      <a:pt x="461" y="104"/>
                    </a:cubicBezTo>
                    <a:cubicBezTo>
                      <a:pt x="446" y="109"/>
                      <a:pt x="430" y="107"/>
                      <a:pt x="417" y="112"/>
                    </a:cubicBezTo>
                    <a:close/>
                    <a:moveTo>
                      <a:pt x="1210" y="188"/>
                    </a:moveTo>
                    <a:cubicBezTo>
                      <a:pt x="1213" y="187"/>
                      <a:pt x="1214" y="184"/>
                      <a:pt x="1216" y="183"/>
                    </a:cubicBezTo>
                    <a:cubicBezTo>
                      <a:pt x="1210" y="171"/>
                      <a:pt x="1197" y="162"/>
                      <a:pt x="1185" y="152"/>
                    </a:cubicBezTo>
                    <a:cubicBezTo>
                      <a:pt x="1175" y="143"/>
                      <a:pt x="1164" y="130"/>
                      <a:pt x="1151" y="123"/>
                    </a:cubicBezTo>
                    <a:cubicBezTo>
                      <a:pt x="1135" y="116"/>
                      <a:pt x="1116" y="117"/>
                      <a:pt x="1097" y="110"/>
                    </a:cubicBezTo>
                    <a:cubicBezTo>
                      <a:pt x="1096" y="110"/>
                      <a:pt x="1094" y="110"/>
                      <a:pt x="1094" y="111"/>
                    </a:cubicBezTo>
                    <a:cubicBezTo>
                      <a:pt x="1136" y="132"/>
                      <a:pt x="1174" y="163"/>
                      <a:pt x="1210" y="188"/>
                    </a:cubicBezTo>
                    <a:close/>
                    <a:moveTo>
                      <a:pt x="1090" y="112"/>
                    </a:moveTo>
                    <a:cubicBezTo>
                      <a:pt x="1090" y="112"/>
                      <a:pt x="1090" y="113"/>
                      <a:pt x="1090" y="113"/>
                    </a:cubicBezTo>
                    <a:cubicBezTo>
                      <a:pt x="1124" y="138"/>
                      <a:pt x="1146" y="175"/>
                      <a:pt x="1173" y="207"/>
                    </a:cubicBezTo>
                    <a:cubicBezTo>
                      <a:pt x="1185" y="202"/>
                      <a:pt x="1198" y="198"/>
                      <a:pt x="1206" y="190"/>
                    </a:cubicBezTo>
                    <a:cubicBezTo>
                      <a:pt x="1170" y="161"/>
                      <a:pt x="1132" y="134"/>
                      <a:pt x="1090" y="112"/>
                    </a:cubicBezTo>
                    <a:moveTo>
                      <a:pt x="1090" y="112"/>
                    </a:moveTo>
                    <a:cubicBezTo>
                      <a:pt x="1090" y="110"/>
                      <a:pt x="1089" y="112"/>
                      <a:pt x="1090" y="112"/>
                    </a:cubicBezTo>
                    <a:moveTo>
                      <a:pt x="405" y="116"/>
                    </a:moveTo>
                    <a:cubicBezTo>
                      <a:pt x="389" y="116"/>
                      <a:pt x="383" y="126"/>
                      <a:pt x="374" y="134"/>
                    </a:cubicBezTo>
                    <a:moveTo>
                      <a:pt x="374" y="134"/>
                    </a:moveTo>
                    <a:cubicBezTo>
                      <a:pt x="373" y="134"/>
                      <a:pt x="372" y="135"/>
                      <a:pt x="371" y="136"/>
                    </a:cubicBezTo>
                    <a:moveTo>
                      <a:pt x="371" y="136"/>
                    </a:moveTo>
                    <a:cubicBezTo>
                      <a:pt x="370" y="136"/>
                      <a:pt x="370" y="136"/>
                      <a:pt x="370" y="137"/>
                    </a:cubicBezTo>
                    <a:moveTo>
                      <a:pt x="370" y="137"/>
                    </a:moveTo>
                    <a:cubicBezTo>
                      <a:pt x="369" y="137"/>
                      <a:pt x="370" y="138"/>
                      <a:pt x="370" y="137"/>
                    </a:cubicBezTo>
                    <a:moveTo>
                      <a:pt x="370" y="137"/>
                    </a:moveTo>
                    <a:cubicBezTo>
                      <a:pt x="371" y="137"/>
                      <a:pt x="371" y="136"/>
                      <a:pt x="371" y="136"/>
                    </a:cubicBezTo>
                    <a:moveTo>
                      <a:pt x="371" y="136"/>
                    </a:moveTo>
                    <a:cubicBezTo>
                      <a:pt x="373" y="136"/>
                      <a:pt x="374" y="135"/>
                      <a:pt x="374" y="134"/>
                    </a:cubicBezTo>
                    <a:moveTo>
                      <a:pt x="374" y="134"/>
                    </a:moveTo>
                    <a:cubicBezTo>
                      <a:pt x="385" y="129"/>
                      <a:pt x="395" y="122"/>
                      <a:pt x="405" y="116"/>
                    </a:cubicBezTo>
                    <a:moveTo>
                      <a:pt x="405" y="116"/>
                    </a:moveTo>
                    <a:cubicBezTo>
                      <a:pt x="409" y="117"/>
                      <a:pt x="405" y="113"/>
                      <a:pt x="405" y="116"/>
                    </a:cubicBezTo>
                    <a:moveTo>
                      <a:pt x="1142" y="119"/>
                    </a:moveTo>
                    <a:cubicBezTo>
                      <a:pt x="1142" y="118"/>
                      <a:pt x="1143" y="119"/>
                      <a:pt x="1142" y="119"/>
                    </a:cubicBezTo>
                    <a:close/>
                    <a:moveTo>
                      <a:pt x="365" y="119"/>
                    </a:moveTo>
                    <a:cubicBezTo>
                      <a:pt x="364" y="119"/>
                      <a:pt x="365" y="120"/>
                      <a:pt x="365" y="119"/>
                    </a:cubicBezTo>
                    <a:close/>
                    <a:moveTo>
                      <a:pt x="363" y="120"/>
                    </a:moveTo>
                    <a:cubicBezTo>
                      <a:pt x="361" y="121"/>
                      <a:pt x="363" y="122"/>
                      <a:pt x="363" y="120"/>
                    </a:cubicBezTo>
                    <a:moveTo>
                      <a:pt x="363" y="120"/>
                    </a:moveTo>
                    <a:cubicBezTo>
                      <a:pt x="364" y="120"/>
                      <a:pt x="363" y="119"/>
                      <a:pt x="363" y="120"/>
                    </a:cubicBezTo>
                    <a:moveTo>
                      <a:pt x="326" y="147"/>
                    </a:moveTo>
                    <a:cubicBezTo>
                      <a:pt x="312" y="157"/>
                      <a:pt x="291" y="166"/>
                      <a:pt x="308" y="182"/>
                    </a:cubicBezTo>
                    <a:cubicBezTo>
                      <a:pt x="333" y="161"/>
                      <a:pt x="362" y="143"/>
                      <a:pt x="385" y="120"/>
                    </a:cubicBezTo>
                    <a:cubicBezTo>
                      <a:pt x="360" y="124"/>
                      <a:pt x="343" y="136"/>
                      <a:pt x="326" y="147"/>
                    </a:cubicBezTo>
                    <a:close/>
                    <a:moveTo>
                      <a:pt x="360" y="122"/>
                    </a:moveTo>
                    <a:cubicBezTo>
                      <a:pt x="359" y="122"/>
                      <a:pt x="360" y="123"/>
                      <a:pt x="360" y="122"/>
                    </a:cubicBezTo>
                    <a:close/>
                    <a:moveTo>
                      <a:pt x="365" y="123"/>
                    </a:moveTo>
                    <a:cubicBezTo>
                      <a:pt x="364" y="123"/>
                      <a:pt x="365" y="124"/>
                      <a:pt x="365" y="123"/>
                    </a:cubicBezTo>
                    <a:close/>
                    <a:moveTo>
                      <a:pt x="357" y="124"/>
                    </a:moveTo>
                    <a:cubicBezTo>
                      <a:pt x="356" y="124"/>
                      <a:pt x="358" y="125"/>
                      <a:pt x="357" y="124"/>
                    </a:cubicBezTo>
                    <a:close/>
                    <a:moveTo>
                      <a:pt x="354" y="126"/>
                    </a:moveTo>
                    <a:cubicBezTo>
                      <a:pt x="354" y="126"/>
                      <a:pt x="355" y="127"/>
                      <a:pt x="354" y="126"/>
                    </a:cubicBezTo>
                    <a:close/>
                    <a:moveTo>
                      <a:pt x="910" y="129"/>
                    </a:moveTo>
                    <a:cubicBezTo>
                      <a:pt x="919" y="156"/>
                      <a:pt x="927" y="184"/>
                      <a:pt x="934" y="214"/>
                    </a:cubicBezTo>
                    <a:cubicBezTo>
                      <a:pt x="946" y="215"/>
                      <a:pt x="959" y="215"/>
                      <a:pt x="970" y="216"/>
                    </a:cubicBezTo>
                    <a:cubicBezTo>
                      <a:pt x="952" y="185"/>
                      <a:pt x="933" y="155"/>
                      <a:pt x="910" y="129"/>
                    </a:cubicBezTo>
                    <a:moveTo>
                      <a:pt x="910" y="129"/>
                    </a:moveTo>
                    <a:cubicBezTo>
                      <a:pt x="911" y="125"/>
                      <a:pt x="907" y="129"/>
                      <a:pt x="910" y="129"/>
                    </a:cubicBezTo>
                    <a:moveTo>
                      <a:pt x="1166" y="129"/>
                    </a:moveTo>
                    <a:cubicBezTo>
                      <a:pt x="1166" y="129"/>
                      <a:pt x="1167" y="130"/>
                      <a:pt x="1166" y="129"/>
                    </a:cubicBezTo>
                    <a:close/>
                    <a:moveTo>
                      <a:pt x="1222" y="166"/>
                    </a:moveTo>
                    <a:cubicBezTo>
                      <a:pt x="1218" y="155"/>
                      <a:pt x="1206" y="150"/>
                      <a:pt x="1198" y="144"/>
                    </a:cubicBezTo>
                    <a:cubicBezTo>
                      <a:pt x="1189" y="138"/>
                      <a:pt x="1180" y="130"/>
                      <a:pt x="1168" y="130"/>
                    </a:cubicBezTo>
                    <a:cubicBezTo>
                      <a:pt x="1187" y="141"/>
                      <a:pt x="1204" y="154"/>
                      <a:pt x="1222" y="166"/>
                    </a:cubicBezTo>
                    <a:close/>
                    <a:moveTo>
                      <a:pt x="1165" y="132"/>
                    </a:moveTo>
                    <a:cubicBezTo>
                      <a:pt x="1166" y="133"/>
                      <a:pt x="1165" y="132"/>
                      <a:pt x="1165" y="132"/>
                    </a:cubicBezTo>
                    <a:close/>
                    <a:moveTo>
                      <a:pt x="1169" y="134"/>
                    </a:moveTo>
                    <a:cubicBezTo>
                      <a:pt x="1187" y="147"/>
                      <a:pt x="1204" y="167"/>
                      <a:pt x="1220" y="178"/>
                    </a:cubicBezTo>
                    <a:cubicBezTo>
                      <a:pt x="1220" y="175"/>
                      <a:pt x="1223" y="174"/>
                      <a:pt x="1222" y="170"/>
                    </a:cubicBezTo>
                    <a:cubicBezTo>
                      <a:pt x="1206" y="157"/>
                      <a:pt x="1188" y="145"/>
                      <a:pt x="1169" y="134"/>
                    </a:cubicBezTo>
                    <a:moveTo>
                      <a:pt x="1169" y="134"/>
                    </a:moveTo>
                    <a:cubicBezTo>
                      <a:pt x="1168" y="132"/>
                      <a:pt x="1168" y="134"/>
                      <a:pt x="1169" y="134"/>
                    </a:cubicBezTo>
                    <a:moveTo>
                      <a:pt x="434" y="136"/>
                    </a:moveTo>
                    <a:cubicBezTo>
                      <a:pt x="433" y="136"/>
                      <a:pt x="433" y="136"/>
                      <a:pt x="433" y="137"/>
                    </a:cubicBezTo>
                    <a:moveTo>
                      <a:pt x="433" y="137"/>
                    </a:moveTo>
                    <a:cubicBezTo>
                      <a:pt x="401" y="157"/>
                      <a:pt x="372" y="180"/>
                      <a:pt x="345" y="205"/>
                    </a:cubicBezTo>
                    <a:cubicBezTo>
                      <a:pt x="357" y="209"/>
                      <a:pt x="367" y="213"/>
                      <a:pt x="379" y="215"/>
                    </a:cubicBezTo>
                    <a:cubicBezTo>
                      <a:pt x="394" y="187"/>
                      <a:pt x="413" y="162"/>
                      <a:pt x="433" y="137"/>
                    </a:cubicBezTo>
                    <a:moveTo>
                      <a:pt x="433" y="137"/>
                    </a:moveTo>
                    <a:cubicBezTo>
                      <a:pt x="434" y="137"/>
                      <a:pt x="434" y="136"/>
                      <a:pt x="434" y="136"/>
                    </a:cubicBezTo>
                    <a:moveTo>
                      <a:pt x="434" y="136"/>
                    </a:moveTo>
                    <a:cubicBezTo>
                      <a:pt x="435" y="135"/>
                      <a:pt x="434" y="135"/>
                      <a:pt x="434" y="136"/>
                    </a:cubicBezTo>
                    <a:moveTo>
                      <a:pt x="327" y="142"/>
                    </a:moveTo>
                    <a:cubicBezTo>
                      <a:pt x="327" y="141"/>
                      <a:pt x="328" y="142"/>
                      <a:pt x="327" y="142"/>
                    </a:cubicBezTo>
                    <a:close/>
                    <a:moveTo>
                      <a:pt x="325" y="143"/>
                    </a:moveTo>
                    <a:cubicBezTo>
                      <a:pt x="319" y="146"/>
                      <a:pt x="312" y="150"/>
                      <a:pt x="308" y="156"/>
                    </a:cubicBezTo>
                    <a:moveTo>
                      <a:pt x="308" y="156"/>
                    </a:moveTo>
                    <a:cubicBezTo>
                      <a:pt x="307" y="156"/>
                      <a:pt x="307" y="156"/>
                      <a:pt x="307" y="157"/>
                    </a:cubicBezTo>
                    <a:moveTo>
                      <a:pt x="307" y="157"/>
                    </a:moveTo>
                    <a:cubicBezTo>
                      <a:pt x="306" y="157"/>
                      <a:pt x="306" y="157"/>
                      <a:pt x="306" y="158"/>
                    </a:cubicBezTo>
                    <a:moveTo>
                      <a:pt x="306" y="158"/>
                    </a:moveTo>
                    <a:cubicBezTo>
                      <a:pt x="305" y="158"/>
                      <a:pt x="306" y="159"/>
                      <a:pt x="306" y="158"/>
                    </a:cubicBezTo>
                    <a:moveTo>
                      <a:pt x="306" y="158"/>
                    </a:moveTo>
                    <a:cubicBezTo>
                      <a:pt x="307" y="158"/>
                      <a:pt x="307" y="158"/>
                      <a:pt x="307" y="157"/>
                    </a:cubicBezTo>
                    <a:moveTo>
                      <a:pt x="307" y="157"/>
                    </a:moveTo>
                    <a:cubicBezTo>
                      <a:pt x="308" y="157"/>
                      <a:pt x="308" y="157"/>
                      <a:pt x="308" y="156"/>
                    </a:cubicBezTo>
                    <a:moveTo>
                      <a:pt x="308" y="156"/>
                    </a:moveTo>
                    <a:cubicBezTo>
                      <a:pt x="314" y="152"/>
                      <a:pt x="320" y="147"/>
                      <a:pt x="325" y="143"/>
                    </a:cubicBezTo>
                    <a:moveTo>
                      <a:pt x="325" y="143"/>
                    </a:moveTo>
                    <a:cubicBezTo>
                      <a:pt x="327" y="142"/>
                      <a:pt x="325" y="141"/>
                      <a:pt x="325" y="143"/>
                    </a:cubicBezTo>
                    <a:moveTo>
                      <a:pt x="338" y="163"/>
                    </a:moveTo>
                    <a:cubicBezTo>
                      <a:pt x="337" y="163"/>
                      <a:pt x="337" y="163"/>
                      <a:pt x="337" y="164"/>
                    </a:cubicBezTo>
                    <a:moveTo>
                      <a:pt x="337" y="164"/>
                    </a:moveTo>
                    <a:cubicBezTo>
                      <a:pt x="327" y="170"/>
                      <a:pt x="317" y="176"/>
                      <a:pt x="310" y="185"/>
                    </a:cubicBezTo>
                    <a:cubicBezTo>
                      <a:pt x="312" y="185"/>
                      <a:pt x="312" y="188"/>
                      <a:pt x="315" y="188"/>
                    </a:cubicBezTo>
                    <a:cubicBezTo>
                      <a:pt x="322" y="180"/>
                      <a:pt x="330" y="172"/>
                      <a:pt x="337" y="164"/>
                    </a:cubicBezTo>
                    <a:moveTo>
                      <a:pt x="337" y="164"/>
                    </a:moveTo>
                    <a:cubicBezTo>
                      <a:pt x="338" y="164"/>
                      <a:pt x="338" y="163"/>
                      <a:pt x="338" y="163"/>
                    </a:cubicBezTo>
                    <a:moveTo>
                      <a:pt x="338" y="163"/>
                    </a:moveTo>
                    <a:cubicBezTo>
                      <a:pt x="339" y="162"/>
                      <a:pt x="338" y="162"/>
                      <a:pt x="338" y="163"/>
                    </a:cubicBezTo>
                    <a:moveTo>
                      <a:pt x="648" y="165"/>
                    </a:moveTo>
                    <a:cubicBezTo>
                      <a:pt x="647" y="164"/>
                      <a:pt x="648" y="165"/>
                      <a:pt x="648" y="165"/>
                    </a:cubicBezTo>
                    <a:close/>
                    <a:moveTo>
                      <a:pt x="1279" y="213"/>
                    </a:moveTo>
                    <a:cubicBezTo>
                      <a:pt x="1279" y="213"/>
                      <a:pt x="1280" y="214"/>
                      <a:pt x="1280" y="214"/>
                    </a:cubicBezTo>
                    <a:moveTo>
                      <a:pt x="1280" y="214"/>
                    </a:moveTo>
                    <a:cubicBezTo>
                      <a:pt x="1280" y="214"/>
                      <a:pt x="1281" y="214"/>
                      <a:pt x="1281" y="215"/>
                    </a:cubicBezTo>
                    <a:moveTo>
                      <a:pt x="1281" y="215"/>
                    </a:moveTo>
                    <a:cubicBezTo>
                      <a:pt x="1281" y="215"/>
                      <a:pt x="1282" y="215"/>
                      <a:pt x="1282" y="215"/>
                    </a:cubicBezTo>
                    <a:moveTo>
                      <a:pt x="1282" y="215"/>
                    </a:moveTo>
                    <a:cubicBezTo>
                      <a:pt x="1282" y="216"/>
                      <a:pt x="1283" y="216"/>
                      <a:pt x="1283" y="216"/>
                    </a:cubicBezTo>
                    <a:moveTo>
                      <a:pt x="1283" y="216"/>
                    </a:moveTo>
                    <a:cubicBezTo>
                      <a:pt x="1283" y="217"/>
                      <a:pt x="1284" y="217"/>
                      <a:pt x="1284" y="217"/>
                    </a:cubicBezTo>
                    <a:moveTo>
                      <a:pt x="1284" y="217"/>
                    </a:moveTo>
                    <a:cubicBezTo>
                      <a:pt x="1284" y="218"/>
                      <a:pt x="1285" y="218"/>
                      <a:pt x="1285" y="218"/>
                    </a:cubicBezTo>
                    <a:moveTo>
                      <a:pt x="1285" y="218"/>
                    </a:moveTo>
                    <a:cubicBezTo>
                      <a:pt x="1285" y="219"/>
                      <a:pt x="1286" y="219"/>
                      <a:pt x="1286" y="219"/>
                    </a:cubicBezTo>
                    <a:moveTo>
                      <a:pt x="1286" y="219"/>
                    </a:moveTo>
                    <a:cubicBezTo>
                      <a:pt x="1286" y="220"/>
                      <a:pt x="1287" y="220"/>
                      <a:pt x="1287" y="220"/>
                    </a:cubicBezTo>
                    <a:moveTo>
                      <a:pt x="1287" y="220"/>
                    </a:moveTo>
                    <a:cubicBezTo>
                      <a:pt x="1288" y="222"/>
                      <a:pt x="1288" y="220"/>
                      <a:pt x="1287" y="220"/>
                    </a:cubicBezTo>
                    <a:moveTo>
                      <a:pt x="1287" y="220"/>
                    </a:moveTo>
                    <a:cubicBezTo>
                      <a:pt x="1287" y="219"/>
                      <a:pt x="1287" y="219"/>
                      <a:pt x="1286" y="219"/>
                    </a:cubicBezTo>
                    <a:moveTo>
                      <a:pt x="1286" y="219"/>
                    </a:moveTo>
                    <a:cubicBezTo>
                      <a:pt x="1286" y="219"/>
                      <a:pt x="1286" y="218"/>
                      <a:pt x="1285" y="218"/>
                    </a:cubicBezTo>
                    <a:moveTo>
                      <a:pt x="1285" y="218"/>
                    </a:moveTo>
                    <a:cubicBezTo>
                      <a:pt x="1285" y="218"/>
                      <a:pt x="1285" y="217"/>
                      <a:pt x="1284" y="217"/>
                    </a:cubicBezTo>
                    <a:moveTo>
                      <a:pt x="1284" y="217"/>
                    </a:moveTo>
                    <a:cubicBezTo>
                      <a:pt x="1284" y="217"/>
                      <a:pt x="1284" y="216"/>
                      <a:pt x="1283" y="216"/>
                    </a:cubicBezTo>
                    <a:moveTo>
                      <a:pt x="1283" y="216"/>
                    </a:moveTo>
                    <a:cubicBezTo>
                      <a:pt x="1283" y="216"/>
                      <a:pt x="1283" y="216"/>
                      <a:pt x="1282" y="215"/>
                    </a:cubicBezTo>
                    <a:moveTo>
                      <a:pt x="1282" y="215"/>
                    </a:moveTo>
                    <a:cubicBezTo>
                      <a:pt x="1283" y="215"/>
                      <a:pt x="1282" y="215"/>
                      <a:pt x="1281" y="215"/>
                    </a:cubicBezTo>
                    <a:moveTo>
                      <a:pt x="1281" y="215"/>
                    </a:moveTo>
                    <a:cubicBezTo>
                      <a:pt x="1282" y="214"/>
                      <a:pt x="1281" y="214"/>
                      <a:pt x="1280" y="214"/>
                    </a:cubicBezTo>
                    <a:moveTo>
                      <a:pt x="1280" y="214"/>
                    </a:moveTo>
                    <a:cubicBezTo>
                      <a:pt x="1281" y="213"/>
                      <a:pt x="1280" y="213"/>
                      <a:pt x="1279" y="213"/>
                    </a:cubicBezTo>
                    <a:moveTo>
                      <a:pt x="1279" y="213"/>
                    </a:moveTo>
                    <a:cubicBezTo>
                      <a:pt x="1262" y="195"/>
                      <a:pt x="1245" y="179"/>
                      <a:pt x="1225" y="165"/>
                    </a:cubicBezTo>
                    <a:cubicBezTo>
                      <a:pt x="1226" y="171"/>
                      <a:pt x="1233" y="175"/>
                      <a:pt x="1237" y="178"/>
                    </a:cubicBezTo>
                    <a:cubicBezTo>
                      <a:pt x="1251" y="189"/>
                      <a:pt x="1265" y="201"/>
                      <a:pt x="1279" y="213"/>
                    </a:cubicBezTo>
                    <a:moveTo>
                      <a:pt x="188" y="288"/>
                    </a:moveTo>
                    <a:cubicBezTo>
                      <a:pt x="205" y="283"/>
                      <a:pt x="212" y="269"/>
                      <a:pt x="223" y="257"/>
                    </a:cubicBezTo>
                    <a:cubicBezTo>
                      <a:pt x="250" y="230"/>
                      <a:pt x="277" y="206"/>
                      <a:pt x="305" y="183"/>
                    </a:cubicBezTo>
                    <a:cubicBezTo>
                      <a:pt x="301" y="179"/>
                      <a:pt x="300" y="173"/>
                      <a:pt x="298" y="167"/>
                    </a:cubicBezTo>
                    <a:cubicBezTo>
                      <a:pt x="257" y="204"/>
                      <a:pt x="219" y="243"/>
                      <a:pt x="188" y="288"/>
                    </a:cubicBezTo>
                    <a:close/>
                    <a:moveTo>
                      <a:pt x="1351" y="296"/>
                    </a:moveTo>
                    <a:cubicBezTo>
                      <a:pt x="1351" y="297"/>
                      <a:pt x="1352" y="297"/>
                      <a:pt x="1352" y="297"/>
                    </a:cubicBezTo>
                    <a:moveTo>
                      <a:pt x="1352" y="297"/>
                    </a:moveTo>
                    <a:cubicBezTo>
                      <a:pt x="1353" y="298"/>
                      <a:pt x="1354" y="297"/>
                      <a:pt x="1352" y="297"/>
                    </a:cubicBezTo>
                    <a:moveTo>
                      <a:pt x="1352" y="297"/>
                    </a:moveTo>
                    <a:cubicBezTo>
                      <a:pt x="1353" y="296"/>
                      <a:pt x="1352" y="296"/>
                      <a:pt x="1351" y="296"/>
                    </a:cubicBezTo>
                    <a:moveTo>
                      <a:pt x="1351" y="296"/>
                    </a:moveTo>
                    <a:cubicBezTo>
                      <a:pt x="1351" y="295"/>
                      <a:pt x="1351" y="293"/>
                      <a:pt x="1350" y="293"/>
                    </a:cubicBezTo>
                    <a:cubicBezTo>
                      <a:pt x="1320" y="252"/>
                      <a:pt x="1281" y="217"/>
                      <a:pt x="1241" y="185"/>
                    </a:cubicBezTo>
                    <a:cubicBezTo>
                      <a:pt x="1236" y="181"/>
                      <a:pt x="1231" y="174"/>
                      <a:pt x="1224" y="173"/>
                    </a:cubicBezTo>
                    <a:cubicBezTo>
                      <a:pt x="1218" y="183"/>
                      <a:pt x="1228" y="188"/>
                      <a:pt x="1233" y="194"/>
                    </a:cubicBezTo>
                    <a:cubicBezTo>
                      <a:pt x="1239" y="201"/>
                      <a:pt x="1244" y="208"/>
                      <a:pt x="1250" y="214"/>
                    </a:cubicBezTo>
                    <a:cubicBezTo>
                      <a:pt x="1267" y="233"/>
                      <a:pt x="1280" y="256"/>
                      <a:pt x="1300" y="274"/>
                    </a:cubicBezTo>
                    <a:cubicBezTo>
                      <a:pt x="1319" y="279"/>
                      <a:pt x="1335" y="288"/>
                      <a:pt x="1351" y="296"/>
                    </a:cubicBezTo>
                    <a:moveTo>
                      <a:pt x="1218" y="184"/>
                    </a:moveTo>
                    <a:cubicBezTo>
                      <a:pt x="1217" y="187"/>
                      <a:pt x="1213" y="188"/>
                      <a:pt x="1211" y="191"/>
                    </a:cubicBezTo>
                    <a:cubicBezTo>
                      <a:pt x="1231" y="205"/>
                      <a:pt x="1249" y="226"/>
                      <a:pt x="1267" y="239"/>
                    </a:cubicBezTo>
                    <a:cubicBezTo>
                      <a:pt x="1250" y="220"/>
                      <a:pt x="1237" y="199"/>
                      <a:pt x="1218" y="184"/>
                    </a:cubicBezTo>
                    <a:close/>
                    <a:moveTo>
                      <a:pt x="207" y="280"/>
                    </a:moveTo>
                    <a:cubicBezTo>
                      <a:pt x="206" y="280"/>
                      <a:pt x="207" y="281"/>
                      <a:pt x="207" y="280"/>
                    </a:cubicBezTo>
                    <a:moveTo>
                      <a:pt x="207" y="280"/>
                    </a:moveTo>
                    <a:cubicBezTo>
                      <a:pt x="225" y="274"/>
                      <a:pt x="241" y="267"/>
                      <a:pt x="260" y="263"/>
                    </a:cubicBezTo>
                    <a:cubicBezTo>
                      <a:pt x="272" y="244"/>
                      <a:pt x="285" y="224"/>
                      <a:pt x="299" y="206"/>
                    </a:cubicBezTo>
                    <a:cubicBezTo>
                      <a:pt x="304" y="200"/>
                      <a:pt x="311" y="196"/>
                      <a:pt x="312" y="189"/>
                    </a:cubicBezTo>
                    <a:cubicBezTo>
                      <a:pt x="306" y="183"/>
                      <a:pt x="301" y="190"/>
                      <a:pt x="297" y="193"/>
                    </a:cubicBezTo>
                    <a:cubicBezTo>
                      <a:pt x="268" y="218"/>
                      <a:pt x="231" y="250"/>
                      <a:pt x="207" y="280"/>
                    </a:cubicBezTo>
                    <a:moveTo>
                      <a:pt x="267" y="192"/>
                    </a:moveTo>
                    <a:cubicBezTo>
                      <a:pt x="266" y="192"/>
                      <a:pt x="266" y="193"/>
                      <a:pt x="266" y="193"/>
                    </a:cubicBezTo>
                    <a:moveTo>
                      <a:pt x="266" y="193"/>
                    </a:moveTo>
                    <a:cubicBezTo>
                      <a:pt x="265" y="193"/>
                      <a:pt x="265" y="194"/>
                      <a:pt x="265" y="194"/>
                    </a:cubicBezTo>
                    <a:moveTo>
                      <a:pt x="265" y="194"/>
                    </a:moveTo>
                    <a:cubicBezTo>
                      <a:pt x="264" y="194"/>
                      <a:pt x="264" y="195"/>
                      <a:pt x="264" y="195"/>
                    </a:cubicBezTo>
                    <a:moveTo>
                      <a:pt x="264" y="195"/>
                    </a:moveTo>
                    <a:cubicBezTo>
                      <a:pt x="263" y="195"/>
                      <a:pt x="263" y="196"/>
                      <a:pt x="263" y="196"/>
                    </a:cubicBezTo>
                    <a:moveTo>
                      <a:pt x="263" y="196"/>
                    </a:moveTo>
                    <a:cubicBezTo>
                      <a:pt x="262" y="196"/>
                      <a:pt x="262" y="197"/>
                      <a:pt x="262" y="197"/>
                    </a:cubicBezTo>
                    <a:moveTo>
                      <a:pt x="262" y="197"/>
                    </a:moveTo>
                    <a:cubicBezTo>
                      <a:pt x="261" y="197"/>
                      <a:pt x="261" y="198"/>
                      <a:pt x="261" y="198"/>
                    </a:cubicBezTo>
                    <a:moveTo>
                      <a:pt x="261" y="198"/>
                    </a:moveTo>
                    <a:cubicBezTo>
                      <a:pt x="222" y="229"/>
                      <a:pt x="189" y="265"/>
                      <a:pt x="159" y="305"/>
                    </a:cubicBezTo>
                    <a:moveTo>
                      <a:pt x="159" y="305"/>
                    </a:moveTo>
                    <a:cubicBezTo>
                      <a:pt x="158" y="305"/>
                      <a:pt x="158" y="305"/>
                      <a:pt x="158" y="306"/>
                    </a:cubicBezTo>
                    <a:moveTo>
                      <a:pt x="158" y="306"/>
                    </a:moveTo>
                    <a:cubicBezTo>
                      <a:pt x="157" y="306"/>
                      <a:pt x="158" y="307"/>
                      <a:pt x="158" y="306"/>
                    </a:cubicBezTo>
                    <a:moveTo>
                      <a:pt x="158" y="306"/>
                    </a:moveTo>
                    <a:cubicBezTo>
                      <a:pt x="159" y="306"/>
                      <a:pt x="159" y="305"/>
                      <a:pt x="159" y="305"/>
                    </a:cubicBezTo>
                    <a:moveTo>
                      <a:pt x="159" y="305"/>
                    </a:moveTo>
                    <a:cubicBezTo>
                      <a:pt x="167" y="301"/>
                      <a:pt x="173" y="295"/>
                      <a:pt x="182" y="292"/>
                    </a:cubicBezTo>
                    <a:cubicBezTo>
                      <a:pt x="205" y="258"/>
                      <a:pt x="232" y="227"/>
                      <a:pt x="261" y="198"/>
                    </a:cubicBezTo>
                    <a:moveTo>
                      <a:pt x="261" y="198"/>
                    </a:moveTo>
                    <a:cubicBezTo>
                      <a:pt x="262" y="198"/>
                      <a:pt x="262" y="198"/>
                      <a:pt x="262" y="197"/>
                    </a:cubicBezTo>
                    <a:moveTo>
                      <a:pt x="262" y="197"/>
                    </a:moveTo>
                    <a:cubicBezTo>
                      <a:pt x="263" y="197"/>
                      <a:pt x="263" y="197"/>
                      <a:pt x="263" y="196"/>
                    </a:cubicBezTo>
                    <a:moveTo>
                      <a:pt x="263" y="196"/>
                    </a:moveTo>
                    <a:cubicBezTo>
                      <a:pt x="264" y="196"/>
                      <a:pt x="264" y="196"/>
                      <a:pt x="264" y="195"/>
                    </a:cubicBezTo>
                    <a:moveTo>
                      <a:pt x="264" y="195"/>
                    </a:moveTo>
                    <a:cubicBezTo>
                      <a:pt x="265" y="195"/>
                      <a:pt x="265" y="195"/>
                      <a:pt x="265" y="194"/>
                    </a:cubicBezTo>
                    <a:moveTo>
                      <a:pt x="265" y="194"/>
                    </a:moveTo>
                    <a:cubicBezTo>
                      <a:pt x="266" y="195"/>
                      <a:pt x="266" y="194"/>
                      <a:pt x="266" y="193"/>
                    </a:cubicBezTo>
                    <a:moveTo>
                      <a:pt x="266" y="193"/>
                    </a:moveTo>
                    <a:cubicBezTo>
                      <a:pt x="266" y="194"/>
                      <a:pt x="267" y="193"/>
                      <a:pt x="267" y="192"/>
                    </a:cubicBezTo>
                    <a:moveTo>
                      <a:pt x="267" y="192"/>
                    </a:moveTo>
                    <a:cubicBezTo>
                      <a:pt x="268" y="192"/>
                      <a:pt x="267" y="191"/>
                      <a:pt x="267" y="192"/>
                    </a:cubicBezTo>
                    <a:moveTo>
                      <a:pt x="265" y="261"/>
                    </a:moveTo>
                    <a:cubicBezTo>
                      <a:pt x="263" y="261"/>
                      <a:pt x="265" y="262"/>
                      <a:pt x="265" y="261"/>
                    </a:cubicBezTo>
                    <a:moveTo>
                      <a:pt x="265" y="261"/>
                    </a:moveTo>
                    <a:cubicBezTo>
                      <a:pt x="274" y="259"/>
                      <a:pt x="281" y="256"/>
                      <a:pt x="291" y="255"/>
                    </a:cubicBezTo>
                    <a:cubicBezTo>
                      <a:pt x="305" y="236"/>
                      <a:pt x="324" y="222"/>
                      <a:pt x="340" y="205"/>
                    </a:cubicBezTo>
                    <a:cubicBezTo>
                      <a:pt x="330" y="202"/>
                      <a:pt x="323" y="196"/>
                      <a:pt x="315" y="192"/>
                    </a:cubicBezTo>
                    <a:cubicBezTo>
                      <a:pt x="296" y="214"/>
                      <a:pt x="279" y="236"/>
                      <a:pt x="265" y="261"/>
                    </a:cubicBezTo>
                    <a:moveTo>
                      <a:pt x="1208" y="192"/>
                    </a:moveTo>
                    <a:cubicBezTo>
                      <a:pt x="1198" y="200"/>
                      <a:pt x="1184" y="204"/>
                      <a:pt x="1173" y="211"/>
                    </a:cubicBezTo>
                    <a:cubicBezTo>
                      <a:pt x="1184" y="223"/>
                      <a:pt x="1187" y="240"/>
                      <a:pt x="1203" y="247"/>
                    </a:cubicBezTo>
                    <a:cubicBezTo>
                      <a:pt x="1215" y="253"/>
                      <a:pt x="1231" y="253"/>
                      <a:pt x="1246" y="257"/>
                    </a:cubicBezTo>
                    <a:cubicBezTo>
                      <a:pt x="1260" y="261"/>
                      <a:pt x="1274" y="266"/>
                      <a:pt x="1287" y="269"/>
                    </a:cubicBezTo>
                    <a:cubicBezTo>
                      <a:pt x="1267" y="238"/>
                      <a:pt x="1237" y="216"/>
                      <a:pt x="1208" y="192"/>
                    </a:cubicBezTo>
                    <a:close/>
                    <a:moveTo>
                      <a:pt x="637" y="198"/>
                    </a:moveTo>
                    <a:cubicBezTo>
                      <a:pt x="636" y="202"/>
                      <a:pt x="630" y="210"/>
                      <a:pt x="633" y="212"/>
                    </a:cubicBezTo>
                    <a:cubicBezTo>
                      <a:pt x="638" y="210"/>
                      <a:pt x="636" y="203"/>
                      <a:pt x="637" y="198"/>
                    </a:cubicBezTo>
                    <a:moveTo>
                      <a:pt x="637" y="198"/>
                    </a:moveTo>
                    <a:cubicBezTo>
                      <a:pt x="640" y="198"/>
                      <a:pt x="636" y="194"/>
                      <a:pt x="637" y="198"/>
                    </a:cubicBezTo>
                    <a:moveTo>
                      <a:pt x="1072" y="226"/>
                    </a:moveTo>
                    <a:cubicBezTo>
                      <a:pt x="1076" y="226"/>
                      <a:pt x="1083" y="228"/>
                      <a:pt x="1085" y="227"/>
                    </a:cubicBezTo>
                    <a:cubicBezTo>
                      <a:pt x="1077" y="219"/>
                      <a:pt x="1070" y="209"/>
                      <a:pt x="1062" y="201"/>
                    </a:cubicBezTo>
                    <a:cubicBezTo>
                      <a:pt x="1065" y="210"/>
                      <a:pt x="1069" y="217"/>
                      <a:pt x="1072" y="226"/>
                    </a:cubicBezTo>
                    <a:close/>
                    <a:moveTo>
                      <a:pt x="342" y="207"/>
                    </a:moveTo>
                    <a:cubicBezTo>
                      <a:pt x="327" y="222"/>
                      <a:pt x="310" y="236"/>
                      <a:pt x="296" y="253"/>
                    </a:cubicBezTo>
                    <a:cubicBezTo>
                      <a:pt x="319" y="247"/>
                      <a:pt x="343" y="243"/>
                      <a:pt x="366" y="239"/>
                    </a:cubicBezTo>
                    <a:cubicBezTo>
                      <a:pt x="370" y="231"/>
                      <a:pt x="374" y="225"/>
                      <a:pt x="377" y="217"/>
                    </a:cubicBezTo>
                    <a:cubicBezTo>
                      <a:pt x="364" y="215"/>
                      <a:pt x="354" y="210"/>
                      <a:pt x="342" y="207"/>
                    </a:cubicBezTo>
                    <a:close/>
                    <a:moveTo>
                      <a:pt x="745" y="212"/>
                    </a:moveTo>
                    <a:cubicBezTo>
                      <a:pt x="745" y="226"/>
                      <a:pt x="744" y="240"/>
                      <a:pt x="743" y="254"/>
                    </a:cubicBezTo>
                    <a:cubicBezTo>
                      <a:pt x="757" y="253"/>
                      <a:pt x="774" y="255"/>
                      <a:pt x="786" y="253"/>
                    </a:cubicBezTo>
                    <a:cubicBezTo>
                      <a:pt x="784" y="241"/>
                      <a:pt x="786" y="224"/>
                      <a:pt x="784" y="212"/>
                    </a:cubicBezTo>
                    <a:cubicBezTo>
                      <a:pt x="773" y="210"/>
                      <a:pt x="756" y="210"/>
                      <a:pt x="745" y="212"/>
                    </a:cubicBezTo>
                    <a:close/>
                    <a:moveTo>
                      <a:pt x="1176" y="220"/>
                    </a:moveTo>
                    <a:cubicBezTo>
                      <a:pt x="1176" y="221"/>
                      <a:pt x="1176" y="221"/>
                      <a:pt x="1177" y="221"/>
                    </a:cubicBezTo>
                    <a:moveTo>
                      <a:pt x="1177" y="221"/>
                    </a:moveTo>
                    <a:cubicBezTo>
                      <a:pt x="1177" y="223"/>
                      <a:pt x="1178" y="221"/>
                      <a:pt x="1177" y="221"/>
                    </a:cubicBezTo>
                    <a:moveTo>
                      <a:pt x="1177" y="221"/>
                    </a:moveTo>
                    <a:cubicBezTo>
                      <a:pt x="1177" y="220"/>
                      <a:pt x="1176" y="220"/>
                      <a:pt x="1176" y="220"/>
                    </a:cubicBezTo>
                    <a:moveTo>
                      <a:pt x="1176" y="220"/>
                    </a:moveTo>
                    <a:cubicBezTo>
                      <a:pt x="1174" y="216"/>
                      <a:pt x="1171" y="207"/>
                      <a:pt x="1166" y="213"/>
                    </a:cubicBezTo>
                    <a:cubicBezTo>
                      <a:pt x="1170" y="214"/>
                      <a:pt x="1172" y="218"/>
                      <a:pt x="1176" y="220"/>
                    </a:cubicBezTo>
                    <a:moveTo>
                      <a:pt x="639" y="214"/>
                    </a:moveTo>
                    <a:cubicBezTo>
                      <a:pt x="637" y="225"/>
                      <a:pt x="635" y="238"/>
                      <a:pt x="633" y="251"/>
                    </a:cubicBezTo>
                    <a:cubicBezTo>
                      <a:pt x="669" y="252"/>
                      <a:pt x="704" y="254"/>
                      <a:pt x="741" y="254"/>
                    </a:cubicBezTo>
                    <a:cubicBezTo>
                      <a:pt x="741" y="239"/>
                      <a:pt x="742" y="225"/>
                      <a:pt x="743" y="212"/>
                    </a:cubicBezTo>
                    <a:cubicBezTo>
                      <a:pt x="707" y="211"/>
                      <a:pt x="673" y="213"/>
                      <a:pt x="639" y="214"/>
                    </a:cubicBezTo>
                    <a:close/>
                    <a:moveTo>
                      <a:pt x="787" y="212"/>
                    </a:moveTo>
                    <a:cubicBezTo>
                      <a:pt x="786" y="227"/>
                      <a:pt x="789" y="239"/>
                      <a:pt x="788" y="254"/>
                    </a:cubicBezTo>
                    <a:cubicBezTo>
                      <a:pt x="815" y="254"/>
                      <a:pt x="840" y="252"/>
                      <a:pt x="867" y="252"/>
                    </a:cubicBezTo>
                    <a:cubicBezTo>
                      <a:pt x="863" y="238"/>
                      <a:pt x="860" y="225"/>
                      <a:pt x="856" y="213"/>
                    </a:cubicBezTo>
                    <a:cubicBezTo>
                      <a:pt x="834" y="212"/>
                      <a:pt x="811" y="211"/>
                      <a:pt x="787" y="212"/>
                    </a:cubicBezTo>
                    <a:close/>
                    <a:moveTo>
                      <a:pt x="870" y="251"/>
                    </a:moveTo>
                    <a:cubicBezTo>
                      <a:pt x="891" y="251"/>
                      <a:pt x="917" y="249"/>
                      <a:pt x="938" y="247"/>
                    </a:cubicBezTo>
                    <a:cubicBezTo>
                      <a:pt x="937" y="236"/>
                      <a:pt x="934" y="227"/>
                      <a:pt x="932" y="216"/>
                    </a:cubicBezTo>
                    <a:cubicBezTo>
                      <a:pt x="909" y="214"/>
                      <a:pt x="884" y="214"/>
                      <a:pt x="861" y="213"/>
                    </a:cubicBezTo>
                    <a:cubicBezTo>
                      <a:pt x="864" y="226"/>
                      <a:pt x="868" y="237"/>
                      <a:pt x="870" y="251"/>
                    </a:cubicBezTo>
                    <a:close/>
                    <a:moveTo>
                      <a:pt x="1190" y="244"/>
                    </a:moveTo>
                    <a:cubicBezTo>
                      <a:pt x="1191" y="246"/>
                      <a:pt x="1191" y="244"/>
                      <a:pt x="1190" y="244"/>
                    </a:cubicBezTo>
                    <a:moveTo>
                      <a:pt x="1190" y="244"/>
                    </a:moveTo>
                    <a:cubicBezTo>
                      <a:pt x="1184" y="231"/>
                      <a:pt x="1173" y="222"/>
                      <a:pt x="1162" y="213"/>
                    </a:cubicBezTo>
                    <a:cubicBezTo>
                      <a:pt x="1143" y="221"/>
                      <a:pt x="1120" y="224"/>
                      <a:pt x="1099" y="230"/>
                    </a:cubicBezTo>
                    <a:cubicBezTo>
                      <a:pt x="1131" y="233"/>
                      <a:pt x="1160" y="239"/>
                      <a:pt x="1190" y="244"/>
                    </a:cubicBezTo>
                    <a:moveTo>
                      <a:pt x="632" y="214"/>
                    </a:moveTo>
                    <a:cubicBezTo>
                      <a:pt x="625" y="223"/>
                      <a:pt x="622" y="237"/>
                      <a:pt x="618" y="250"/>
                    </a:cubicBezTo>
                    <a:cubicBezTo>
                      <a:pt x="622" y="250"/>
                      <a:pt x="626" y="250"/>
                      <a:pt x="630" y="250"/>
                    </a:cubicBezTo>
                    <a:cubicBezTo>
                      <a:pt x="631" y="238"/>
                      <a:pt x="633" y="225"/>
                      <a:pt x="635" y="214"/>
                    </a:cubicBezTo>
                    <a:cubicBezTo>
                      <a:pt x="634" y="214"/>
                      <a:pt x="633" y="214"/>
                      <a:pt x="632" y="214"/>
                    </a:cubicBezTo>
                    <a:close/>
                    <a:moveTo>
                      <a:pt x="515" y="222"/>
                    </a:moveTo>
                    <a:cubicBezTo>
                      <a:pt x="512" y="228"/>
                      <a:pt x="507" y="233"/>
                      <a:pt x="505" y="239"/>
                    </a:cubicBezTo>
                    <a:cubicBezTo>
                      <a:pt x="541" y="243"/>
                      <a:pt x="576" y="248"/>
                      <a:pt x="615" y="249"/>
                    </a:cubicBezTo>
                    <a:cubicBezTo>
                      <a:pt x="619" y="237"/>
                      <a:pt x="623" y="226"/>
                      <a:pt x="628" y="215"/>
                    </a:cubicBezTo>
                    <a:cubicBezTo>
                      <a:pt x="589" y="216"/>
                      <a:pt x="552" y="218"/>
                      <a:pt x="515" y="222"/>
                    </a:cubicBezTo>
                    <a:close/>
                    <a:moveTo>
                      <a:pt x="941" y="247"/>
                    </a:moveTo>
                    <a:cubicBezTo>
                      <a:pt x="956" y="246"/>
                      <a:pt x="972" y="245"/>
                      <a:pt x="986" y="242"/>
                    </a:cubicBezTo>
                    <a:cubicBezTo>
                      <a:pt x="980" y="235"/>
                      <a:pt x="978" y="225"/>
                      <a:pt x="971" y="219"/>
                    </a:cubicBezTo>
                    <a:cubicBezTo>
                      <a:pt x="960" y="218"/>
                      <a:pt x="947" y="217"/>
                      <a:pt x="935" y="216"/>
                    </a:cubicBezTo>
                    <a:cubicBezTo>
                      <a:pt x="936" y="227"/>
                      <a:pt x="939" y="236"/>
                      <a:pt x="941" y="247"/>
                    </a:cubicBezTo>
                    <a:close/>
                    <a:moveTo>
                      <a:pt x="370" y="238"/>
                    </a:moveTo>
                    <a:cubicBezTo>
                      <a:pt x="369" y="238"/>
                      <a:pt x="370" y="239"/>
                      <a:pt x="370" y="238"/>
                    </a:cubicBezTo>
                    <a:moveTo>
                      <a:pt x="370" y="238"/>
                    </a:moveTo>
                    <a:cubicBezTo>
                      <a:pt x="384" y="235"/>
                      <a:pt x="401" y="237"/>
                      <a:pt x="406" y="225"/>
                    </a:cubicBezTo>
                    <a:cubicBezTo>
                      <a:pt x="396" y="224"/>
                      <a:pt x="389" y="220"/>
                      <a:pt x="379" y="219"/>
                    </a:cubicBezTo>
                    <a:cubicBezTo>
                      <a:pt x="377" y="226"/>
                      <a:pt x="372" y="230"/>
                      <a:pt x="370" y="238"/>
                    </a:cubicBezTo>
                    <a:moveTo>
                      <a:pt x="989" y="242"/>
                    </a:moveTo>
                    <a:cubicBezTo>
                      <a:pt x="1017" y="239"/>
                      <a:pt x="1047" y="238"/>
                      <a:pt x="1071" y="230"/>
                    </a:cubicBezTo>
                    <a:cubicBezTo>
                      <a:pt x="1042" y="224"/>
                      <a:pt x="1008" y="222"/>
                      <a:pt x="976" y="219"/>
                    </a:cubicBezTo>
                    <a:cubicBezTo>
                      <a:pt x="980" y="227"/>
                      <a:pt x="984" y="235"/>
                      <a:pt x="989" y="242"/>
                    </a:cubicBezTo>
                    <a:close/>
                    <a:moveTo>
                      <a:pt x="497" y="223"/>
                    </a:moveTo>
                    <a:cubicBezTo>
                      <a:pt x="494" y="227"/>
                      <a:pt x="494" y="233"/>
                      <a:pt x="491" y="238"/>
                    </a:cubicBezTo>
                    <a:cubicBezTo>
                      <a:pt x="495" y="237"/>
                      <a:pt x="497" y="239"/>
                      <a:pt x="502" y="239"/>
                    </a:cubicBezTo>
                    <a:cubicBezTo>
                      <a:pt x="504" y="232"/>
                      <a:pt x="509" y="228"/>
                      <a:pt x="511" y="222"/>
                    </a:cubicBezTo>
                    <a:cubicBezTo>
                      <a:pt x="507" y="223"/>
                      <a:pt x="503" y="224"/>
                      <a:pt x="497" y="223"/>
                    </a:cubicBezTo>
                    <a:close/>
                    <a:moveTo>
                      <a:pt x="1178" y="224"/>
                    </a:moveTo>
                    <a:cubicBezTo>
                      <a:pt x="1177" y="224"/>
                      <a:pt x="1178" y="225"/>
                      <a:pt x="1178" y="224"/>
                    </a:cubicBezTo>
                    <a:close/>
                    <a:moveTo>
                      <a:pt x="445" y="231"/>
                    </a:moveTo>
                    <a:cubicBezTo>
                      <a:pt x="460" y="233"/>
                      <a:pt x="475" y="235"/>
                      <a:pt x="489" y="238"/>
                    </a:cubicBezTo>
                    <a:cubicBezTo>
                      <a:pt x="490" y="232"/>
                      <a:pt x="492" y="229"/>
                      <a:pt x="493" y="224"/>
                    </a:cubicBezTo>
                    <a:cubicBezTo>
                      <a:pt x="477" y="226"/>
                      <a:pt x="459" y="226"/>
                      <a:pt x="445" y="231"/>
                    </a:cubicBezTo>
                    <a:close/>
                    <a:moveTo>
                      <a:pt x="421" y="230"/>
                    </a:moveTo>
                    <a:cubicBezTo>
                      <a:pt x="423" y="230"/>
                      <a:pt x="429" y="229"/>
                      <a:pt x="424" y="229"/>
                    </a:cubicBezTo>
                    <a:cubicBezTo>
                      <a:pt x="419" y="228"/>
                      <a:pt x="414" y="227"/>
                      <a:pt x="409" y="226"/>
                    </a:cubicBezTo>
                    <a:cubicBezTo>
                      <a:pt x="407" y="229"/>
                      <a:pt x="404" y="230"/>
                      <a:pt x="403" y="233"/>
                    </a:cubicBezTo>
                    <a:cubicBezTo>
                      <a:pt x="409" y="232"/>
                      <a:pt x="416" y="231"/>
                      <a:pt x="421" y="230"/>
                    </a:cubicBezTo>
                    <a:close/>
                    <a:moveTo>
                      <a:pt x="1079" y="230"/>
                    </a:moveTo>
                    <a:cubicBezTo>
                      <a:pt x="1078" y="229"/>
                      <a:pt x="1073" y="228"/>
                      <a:pt x="1073" y="230"/>
                    </a:cubicBezTo>
                    <a:cubicBezTo>
                      <a:pt x="1074" y="231"/>
                      <a:pt x="1078" y="232"/>
                      <a:pt x="1079" y="230"/>
                    </a:cubicBezTo>
                    <a:close/>
                    <a:moveTo>
                      <a:pt x="309" y="418"/>
                    </a:moveTo>
                    <a:cubicBezTo>
                      <a:pt x="307" y="419"/>
                      <a:pt x="309" y="419"/>
                      <a:pt x="309" y="418"/>
                    </a:cubicBezTo>
                    <a:moveTo>
                      <a:pt x="309" y="418"/>
                    </a:moveTo>
                    <a:cubicBezTo>
                      <a:pt x="345" y="412"/>
                      <a:pt x="381" y="406"/>
                      <a:pt x="418" y="401"/>
                    </a:cubicBezTo>
                    <a:cubicBezTo>
                      <a:pt x="436" y="359"/>
                      <a:pt x="455" y="318"/>
                      <a:pt x="477" y="281"/>
                    </a:cubicBezTo>
                    <a:cubicBezTo>
                      <a:pt x="479" y="266"/>
                      <a:pt x="484" y="253"/>
                      <a:pt x="488" y="239"/>
                    </a:cubicBezTo>
                    <a:cubicBezTo>
                      <a:pt x="458" y="236"/>
                      <a:pt x="431" y="227"/>
                      <a:pt x="401" y="236"/>
                    </a:cubicBezTo>
                    <a:cubicBezTo>
                      <a:pt x="376" y="263"/>
                      <a:pt x="355" y="294"/>
                      <a:pt x="333" y="324"/>
                    </a:cubicBezTo>
                    <a:cubicBezTo>
                      <a:pt x="324" y="355"/>
                      <a:pt x="314" y="384"/>
                      <a:pt x="309" y="418"/>
                    </a:cubicBezTo>
                    <a:moveTo>
                      <a:pt x="1092" y="232"/>
                    </a:moveTo>
                    <a:cubicBezTo>
                      <a:pt x="1137" y="288"/>
                      <a:pt x="1175" y="350"/>
                      <a:pt x="1208" y="417"/>
                    </a:cubicBezTo>
                    <a:cubicBezTo>
                      <a:pt x="1224" y="419"/>
                      <a:pt x="1240" y="426"/>
                      <a:pt x="1256" y="425"/>
                    </a:cubicBezTo>
                    <a:cubicBezTo>
                      <a:pt x="1244" y="360"/>
                      <a:pt x="1220" y="299"/>
                      <a:pt x="1192" y="247"/>
                    </a:cubicBezTo>
                    <a:cubicBezTo>
                      <a:pt x="1159" y="242"/>
                      <a:pt x="1128" y="235"/>
                      <a:pt x="1092" y="232"/>
                    </a:cubicBezTo>
                    <a:moveTo>
                      <a:pt x="1092" y="232"/>
                    </a:moveTo>
                    <a:cubicBezTo>
                      <a:pt x="1092" y="230"/>
                      <a:pt x="1091" y="232"/>
                      <a:pt x="1092" y="232"/>
                    </a:cubicBezTo>
                    <a:moveTo>
                      <a:pt x="1104" y="252"/>
                    </a:moveTo>
                    <a:cubicBezTo>
                      <a:pt x="1096" y="241"/>
                      <a:pt x="1089" y="225"/>
                      <a:pt x="1075" y="235"/>
                    </a:cubicBezTo>
                    <a:cubicBezTo>
                      <a:pt x="1096" y="285"/>
                      <a:pt x="1109" y="342"/>
                      <a:pt x="1119" y="403"/>
                    </a:cubicBezTo>
                    <a:cubicBezTo>
                      <a:pt x="1148" y="406"/>
                      <a:pt x="1178" y="413"/>
                      <a:pt x="1205" y="415"/>
                    </a:cubicBezTo>
                    <a:cubicBezTo>
                      <a:pt x="1178" y="360"/>
                      <a:pt x="1141" y="300"/>
                      <a:pt x="1104" y="252"/>
                    </a:cubicBezTo>
                    <a:close/>
                    <a:moveTo>
                      <a:pt x="990" y="245"/>
                    </a:moveTo>
                    <a:cubicBezTo>
                      <a:pt x="1015" y="293"/>
                      <a:pt x="1038" y="342"/>
                      <a:pt x="1057" y="395"/>
                    </a:cubicBezTo>
                    <a:cubicBezTo>
                      <a:pt x="1077" y="398"/>
                      <a:pt x="1097" y="399"/>
                      <a:pt x="1116" y="403"/>
                    </a:cubicBezTo>
                    <a:cubicBezTo>
                      <a:pt x="1108" y="349"/>
                      <a:pt x="1096" y="297"/>
                      <a:pt x="1080" y="252"/>
                    </a:cubicBezTo>
                    <a:cubicBezTo>
                      <a:pt x="1078" y="246"/>
                      <a:pt x="1076" y="238"/>
                      <a:pt x="1070" y="235"/>
                    </a:cubicBezTo>
                    <a:cubicBezTo>
                      <a:pt x="1044" y="239"/>
                      <a:pt x="1018" y="243"/>
                      <a:pt x="990" y="245"/>
                    </a:cubicBezTo>
                    <a:close/>
                    <a:moveTo>
                      <a:pt x="368" y="240"/>
                    </a:moveTo>
                    <a:cubicBezTo>
                      <a:pt x="357" y="263"/>
                      <a:pt x="345" y="288"/>
                      <a:pt x="339" y="312"/>
                    </a:cubicBezTo>
                    <a:cubicBezTo>
                      <a:pt x="353" y="289"/>
                      <a:pt x="373" y="265"/>
                      <a:pt x="390" y="245"/>
                    </a:cubicBezTo>
                    <a:cubicBezTo>
                      <a:pt x="392" y="243"/>
                      <a:pt x="395" y="239"/>
                      <a:pt x="394" y="237"/>
                    </a:cubicBezTo>
                    <a:cubicBezTo>
                      <a:pt x="386" y="238"/>
                      <a:pt x="378" y="240"/>
                      <a:pt x="368" y="240"/>
                    </a:cubicBezTo>
                    <a:close/>
                    <a:moveTo>
                      <a:pt x="483" y="268"/>
                    </a:moveTo>
                    <a:cubicBezTo>
                      <a:pt x="480" y="268"/>
                      <a:pt x="484" y="272"/>
                      <a:pt x="483" y="268"/>
                    </a:cubicBezTo>
                    <a:moveTo>
                      <a:pt x="483" y="268"/>
                    </a:moveTo>
                    <a:cubicBezTo>
                      <a:pt x="489" y="260"/>
                      <a:pt x="494" y="251"/>
                      <a:pt x="499" y="241"/>
                    </a:cubicBezTo>
                    <a:cubicBezTo>
                      <a:pt x="496" y="241"/>
                      <a:pt x="494" y="240"/>
                      <a:pt x="490" y="240"/>
                    </a:cubicBezTo>
                    <a:cubicBezTo>
                      <a:pt x="488" y="250"/>
                      <a:pt x="484" y="258"/>
                      <a:pt x="483" y="268"/>
                    </a:cubicBezTo>
                    <a:moveTo>
                      <a:pt x="327" y="249"/>
                    </a:moveTo>
                    <a:cubicBezTo>
                      <a:pt x="315" y="252"/>
                      <a:pt x="301" y="252"/>
                      <a:pt x="294" y="256"/>
                    </a:cubicBezTo>
                    <a:cubicBezTo>
                      <a:pt x="288" y="259"/>
                      <a:pt x="279" y="270"/>
                      <a:pt x="273" y="277"/>
                    </a:cubicBezTo>
                    <a:cubicBezTo>
                      <a:pt x="242" y="313"/>
                      <a:pt x="211" y="348"/>
                      <a:pt x="198" y="402"/>
                    </a:cubicBezTo>
                    <a:cubicBezTo>
                      <a:pt x="222" y="411"/>
                      <a:pt x="245" y="420"/>
                      <a:pt x="271" y="426"/>
                    </a:cubicBezTo>
                    <a:cubicBezTo>
                      <a:pt x="285" y="399"/>
                      <a:pt x="300" y="372"/>
                      <a:pt x="316" y="347"/>
                    </a:cubicBezTo>
                    <a:cubicBezTo>
                      <a:pt x="321" y="339"/>
                      <a:pt x="328" y="330"/>
                      <a:pt x="332" y="322"/>
                    </a:cubicBezTo>
                    <a:cubicBezTo>
                      <a:pt x="344" y="296"/>
                      <a:pt x="348" y="268"/>
                      <a:pt x="365" y="243"/>
                    </a:cubicBezTo>
                    <a:cubicBezTo>
                      <a:pt x="364" y="243"/>
                      <a:pt x="365" y="241"/>
                      <a:pt x="364" y="241"/>
                    </a:cubicBezTo>
                    <a:cubicBezTo>
                      <a:pt x="353" y="243"/>
                      <a:pt x="340" y="246"/>
                      <a:pt x="327" y="249"/>
                    </a:cubicBezTo>
                    <a:close/>
                    <a:moveTo>
                      <a:pt x="504" y="242"/>
                    </a:moveTo>
                    <a:cubicBezTo>
                      <a:pt x="472" y="274"/>
                      <a:pt x="465" y="338"/>
                      <a:pt x="457" y="396"/>
                    </a:cubicBezTo>
                    <a:cubicBezTo>
                      <a:pt x="495" y="392"/>
                      <a:pt x="535" y="389"/>
                      <a:pt x="575" y="385"/>
                    </a:cubicBezTo>
                    <a:cubicBezTo>
                      <a:pt x="587" y="340"/>
                      <a:pt x="599" y="294"/>
                      <a:pt x="614" y="252"/>
                    </a:cubicBezTo>
                    <a:cubicBezTo>
                      <a:pt x="576" y="250"/>
                      <a:pt x="540" y="246"/>
                      <a:pt x="504" y="242"/>
                    </a:cubicBezTo>
                    <a:close/>
                    <a:moveTo>
                      <a:pt x="1194" y="244"/>
                    </a:moveTo>
                    <a:cubicBezTo>
                      <a:pt x="1194" y="245"/>
                      <a:pt x="1194" y="245"/>
                      <a:pt x="1195" y="245"/>
                    </a:cubicBezTo>
                    <a:moveTo>
                      <a:pt x="1195" y="245"/>
                    </a:moveTo>
                    <a:cubicBezTo>
                      <a:pt x="1196" y="247"/>
                      <a:pt x="1196" y="245"/>
                      <a:pt x="1195" y="245"/>
                    </a:cubicBezTo>
                    <a:moveTo>
                      <a:pt x="1195" y="245"/>
                    </a:moveTo>
                    <a:cubicBezTo>
                      <a:pt x="1195" y="244"/>
                      <a:pt x="1195" y="244"/>
                      <a:pt x="1194" y="244"/>
                    </a:cubicBezTo>
                    <a:moveTo>
                      <a:pt x="1194" y="244"/>
                    </a:moveTo>
                    <a:cubicBezTo>
                      <a:pt x="1193" y="243"/>
                      <a:pt x="1193" y="244"/>
                      <a:pt x="1194" y="244"/>
                    </a:cubicBezTo>
                    <a:moveTo>
                      <a:pt x="942" y="250"/>
                    </a:moveTo>
                    <a:cubicBezTo>
                      <a:pt x="949" y="294"/>
                      <a:pt x="955" y="339"/>
                      <a:pt x="960" y="386"/>
                    </a:cubicBezTo>
                    <a:cubicBezTo>
                      <a:pt x="991" y="389"/>
                      <a:pt x="1024" y="391"/>
                      <a:pt x="1054" y="395"/>
                    </a:cubicBezTo>
                    <a:cubicBezTo>
                      <a:pt x="1035" y="342"/>
                      <a:pt x="1013" y="293"/>
                      <a:pt x="988" y="246"/>
                    </a:cubicBezTo>
                    <a:cubicBezTo>
                      <a:pt x="972" y="247"/>
                      <a:pt x="957" y="249"/>
                      <a:pt x="942" y="250"/>
                    </a:cubicBezTo>
                    <a:close/>
                    <a:moveTo>
                      <a:pt x="1259" y="424"/>
                    </a:moveTo>
                    <a:cubicBezTo>
                      <a:pt x="1279" y="419"/>
                      <a:pt x="1296" y="412"/>
                      <a:pt x="1314" y="407"/>
                    </a:cubicBezTo>
                    <a:cubicBezTo>
                      <a:pt x="1282" y="347"/>
                      <a:pt x="1242" y="296"/>
                      <a:pt x="1198" y="249"/>
                    </a:cubicBezTo>
                    <a:cubicBezTo>
                      <a:pt x="1197" y="249"/>
                      <a:pt x="1196" y="249"/>
                      <a:pt x="1196" y="250"/>
                    </a:cubicBezTo>
                    <a:cubicBezTo>
                      <a:pt x="1224" y="301"/>
                      <a:pt x="1245" y="359"/>
                      <a:pt x="1259" y="424"/>
                    </a:cubicBezTo>
                    <a:close/>
                    <a:moveTo>
                      <a:pt x="871" y="255"/>
                    </a:moveTo>
                    <a:cubicBezTo>
                      <a:pt x="883" y="296"/>
                      <a:pt x="891" y="339"/>
                      <a:pt x="899" y="383"/>
                    </a:cubicBezTo>
                    <a:cubicBezTo>
                      <a:pt x="918" y="384"/>
                      <a:pt x="938" y="384"/>
                      <a:pt x="957" y="386"/>
                    </a:cubicBezTo>
                    <a:cubicBezTo>
                      <a:pt x="953" y="345"/>
                      <a:pt x="948" y="301"/>
                      <a:pt x="942" y="264"/>
                    </a:cubicBezTo>
                    <a:cubicBezTo>
                      <a:pt x="941" y="260"/>
                      <a:pt x="941" y="252"/>
                      <a:pt x="936" y="250"/>
                    </a:cubicBezTo>
                    <a:cubicBezTo>
                      <a:pt x="915" y="253"/>
                      <a:pt x="892" y="252"/>
                      <a:pt x="871" y="255"/>
                    </a:cubicBezTo>
                    <a:close/>
                    <a:moveTo>
                      <a:pt x="1317" y="405"/>
                    </a:moveTo>
                    <a:cubicBezTo>
                      <a:pt x="1328" y="400"/>
                      <a:pt x="1340" y="395"/>
                      <a:pt x="1350" y="388"/>
                    </a:cubicBezTo>
                    <a:cubicBezTo>
                      <a:pt x="1332" y="347"/>
                      <a:pt x="1314" y="307"/>
                      <a:pt x="1289" y="273"/>
                    </a:cubicBezTo>
                    <a:cubicBezTo>
                      <a:pt x="1263" y="264"/>
                      <a:pt x="1231" y="255"/>
                      <a:pt x="1204" y="251"/>
                    </a:cubicBezTo>
                    <a:cubicBezTo>
                      <a:pt x="1247" y="297"/>
                      <a:pt x="1284" y="348"/>
                      <a:pt x="1317" y="405"/>
                    </a:cubicBezTo>
                    <a:close/>
                    <a:moveTo>
                      <a:pt x="616" y="253"/>
                    </a:moveTo>
                    <a:cubicBezTo>
                      <a:pt x="602" y="296"/>
                      <a:pt x="589" y="340"/>
                      <a:pt x="578" y="385"/>
                    </a:cubicBezTo>
                    <a:cubicBezTo>
                      <a:pt x="591" y="385"/>
                      <a:pt x="603" y="384"/>
                      <a:pt x="617" y="383"/>
                    </a:cubicBezTo>
                    <a:cubicBezTo>
                      <a:pt x="619" y="338"/>
                      <a:pt x="624" y="295"/>
                      <a:pt x="630" y="253"/>
                    </a:cubicBezTo>
                    <a:cubicBezTo>
                      <a:pt x="625" y="254"/>
                      <a:pt x="618" y="252"/>
                      <a:pt x="616" y="253"/>
                    </a:cubicBezTo>
                    <a:close/>
                    <a:moveTo>
                      <a:pt x="632" y="256"/>
                    </a:moveTo>
                    <a:cubicBezTo>
                      <a:pt x="628" y="298"/>
                      <a:pt x="623" y="339"/>
                      <a:pt x="621" y="383"/>
                    </a:cubicBezTo>
                    <a:cubicBezTo>
                      <a:pt x="658" y="381"/>
                      <a:pt x="697" y="381"/>
                      <a:pt x="735" y="380"/>
                    </a:cubicBezTo>
                    <a:cubicBezTo>
                      <a:pt x="737" y="339"/>
                      <a:pt x="739" y="298"/>
                      <a:pt x="740" y="257"/>
                    </a:cubicBezTo>
                    <a:cubicBezTo>
                      <a:pt x="704" y="257"/>
                      <a:pt x="670" y="255"/>
                      <a:pt x="634" y="254"/>
                    </a:cubicBezTo>
                    <a:cubicBezTo>
                      <a:pt x="634" y="252"/>
                      <a:pt x="632" y="254"/>
                      <a:pt x="632" y="256"/>
                    </a:cubicBezTo>
                    <a:close/>
                    <a:moveTo>
                      <a:pt x="788" y="257"/>
                    </a:moveTo>
                    <a:cubicBezTo>
                      <a:pt x="789" y="297"/>
                      <a:pt x="790" y="338"/>
                      <a:pt x="790" y="380"/>
                    </a:cubicBezTo>
                    <a:cubicBezTo>
                      <a:pt x="825" y="380"/>
                      <a:pt x="860" y="381"/>
                      <a:pt x="894" y="383"/>
                    </a:cubicBezTo>
                    <a:cubicBezTo>
                      <a:pt x="888" y="338"/>
                      <a:pt x="878" y="296"/>
                      <a:pt x="868" y="255"/>
                    </a:cubicBezTo>
                    <a:cubicBezTo>
                      <a:pt x="841" y="255"/>
                      <a:pt x="815" y="257"/>
                      <a:pt x="788" y="257"/>
                    </a:cubicBezTo>
                    <a:close/>
                    <a:moveTo>
                      <a:pt x="744" y="257"/>
                    </a:moveTo>
                    <a:cubicBezTo>
                      <a:pt x="740" y="296"/>
                      <a:pt x="740" y="339"/>
                      <a:pt x="738" y="380"/>
                    </a:cubicBezTo>
                    <a:cubicBezTo>
                      <a:pt x="755" y="380"/>
                      <a:pt x="771" y="380"/>
                      <a:pt x="788" y="380"/>
                    </a:cubicBezTo>
                    <a:cubicBezTo>
                      <a:pt x="788" y="338"/>
                      <a:pt x="786" y="298"/>
                      <a:pt x="786" y="257"/>
                    </a:cubicBezTo>
                    <a:cubicBezTo>
                      <a:pt x="772" y="257"/>
                      <a:pt x="758" y="257"/>
                      <a:pt x="744" y="257"/>
                    </a:cubicBezTo>
                    <a:close/>
                    <a:moveTo>
                      <a:pt x="286" y="259"/>
                    </a:moveTo>
                    <a:cubicBezTo>
                      <a:pt x="277" y="260"/>
                      <a:pt x="270" y="263"/>
                      <a:pt x="262" y="264"/>
                    </a:cubicBezTo>
                    <a:cubicBezTo>
                      <a:pt x="249" y="285"/>
                      <a:pt x="237" y="306"/>
                      <a:pt x="227" y="329"/>
                    </a:cubicBezTo>
                    <a:moveTo>
                      <a:pt x="227" y="329"/>
                    </a:moveTo>
                    <a:cubicBezTo>
                      <a:pt x="226" y="329"/>
                      <a:pt x="227" y="330"/>
                      <a:pt x="226" y="331"/>
                    </a:cubicBezTo>
                    <a:moveTo>
                      <a:pt x="226" y="331"/>
                    </a:moveTo>
                    <a:cubicBezTo>
                      <a:pt x="225" y="331"/>
                      <a:pt x="226" y="332"/>
                      <a:pt x="226" y="331"/>
                    </a:cubicBezTo>
                    <a:moveTo>
                      <a:pt x="226" y="331"/>
                    </a:moveTo>
                    <a:cubicBezTo>
                      <a:pt x="227" y="331"/>
                      <a:pt x="227" y="330"/>
                      <a:pt x="227" y="329"/>
                    </a:cubicBezTo>
                    <a:moveTo>
                      <a:pt x="286" y="259"/>
                    </a:moveTo>
                    <a:cubicBezTo>
                      <a:pt x="266" y="281"/>
                      <a:pt x="246" y="305"/>
                      <a:pt x="227" y="329"/>
                    </a:cubicBezTo>
                    <a:moveTo>
                      <a:pt x="286" y="259"/>
                    </a:moveTo>
                    <a:cubicBezTo>
                      <a:pt x="287" y="258"/>
                      <a:pt x="286" y="258"/>
                      <a:pt x="286" y="259"/>
                    </a:cubicBezTo>
                    <a:moveTo>
                      <a:pt x="257" y="266"/>
                    </a:moveTo>
                    <a:cubicBezTo>
                      <a:pt x="237" y="271"/>
                      <a:pt x="219" y="278"/>
                      <a:pt x="201" y="286"/>
                    </a:cubicBezTo>
                    <a:cubicBezTo>
                      <a:pt x="180" y="309"/>
                      <a:pt x="160" y="334"/>
                      <a:pt x="143" y="361"/>
                    </a:cubicBezTo>
                    <a:cubicBezTo>
                      <a:pt x="152" y="377"/>
                      <a:pt x="168" y="386"/>
                      <a:pt x="184" y="394"/>
                    </a:cubicBezTo>
                    <a:cubicBezTo>
                      <a:pt x="194" y="377"/>
                      <a:pt x="205" y="359"/>
                      <a:pt x="218" y="344"/>
                    </a:cubicBezTo>
                    <a:cubicBezTo>
                      <a:pt x="228" y="316"/>
                      <a:pt x="243" y="291"/>
                      <a:pt x="257" y="266"/>
                    </a:cubicBezTo>
                    <a:moveTo>
                      <a:pt x="257" y="266"/>
                    </a:moveTo>
                    <a:cubicBezTo>
                      <a:pt x="258" y="266"/>
                      <a:pt x="257" y="265"/>
                      <a:pt x="257" y="266"/>
                    </a:cubicBezTo>
                    <a:moveTo>
                      <a:pt x="1292" y="270"/>
                    </a:moveTo>
                    <a:cubicBezTo>
                      <a:pt x="1293" y="272"/>
                      <a:pt x="1293" y="270"/>
                      <a:pt x="1292" y="270"/>
                    </a:cubicBezTo>
                    <a:moveTo>
                      <a:pt x="1292" y="270"/>
                    </a:moveTo>
                    <a:cubicBezTo>
                      <a:pt x="1291" y="269"/>
                      <a:pt x="1291" y="270"/>
                      <a:pt x="1292" y="270"/>
                    </a:cubicBezTo>
                    <a:moveTo>
                      <a:pt x="1295" y="275"/>
                    </a:moveTo>
                    <a:cubicBezTo>
                      <a:pt x="1316" y="310"/>
                      <a:pt x="1336" y="347"/>
                      <a:pt x="1351" y="387"/>
                    </a:cubicBezTo>
                    <a:cubicBezTo>
                      <a:pt x="1360" y="383"/>
                      <a:pt x="1368" y="378"/>
                      <a:pt x="1373" y="371"/>
                    </a:cubicBezTo>
                    <a:cubicBezTo>
                      <a:pt x="1349" y="337"/>
                      <a:pt x="1324" y="306"/>
                      <a:pt x="1298" y="275"/>
                    </a:cubicBezTo>
                    <a:cubicBezTo>
                      <a:pt x="1297" y="275"/>
                      <a:pt x="1296" y="275"/>
                      <a:pt x="1295" y="275"/>
                    </a:cubicBezTo>
                    <a:moveTo>
                      <a:pt x="1295" y="275"/>
                    </a:moveTo>
                    <a:cubicBezTo>
                      <a:pt x="1294" y="274"/>
                      <a:pt x="1294" y="275"/>
                      <a:pt x="1295" y="275"/>
                    </a:cubicBezTo>
                    <a:moveTo>
                      <a:pt x="1375" y="370"/>
                    </a:moveTo>
                    <a:cubicBezTo>
                      <a:pt x="1380" y="364"/>
                      <a:pt x="1385" y="359"/>
                      <a:pt x="1387" y="350"/>
                    </a:cubicBezTo>
                    <a:cubicBezTo>
                      <a:pt x="1378" y="334"/>
                      <a:pt x="1367" y="319"/>
                      <a:pt x="1357" y="303"/>
                    </a:cubicBezTo>
                    <a:cubicBezTo>
                      <a:pt x="1341" y="294"/>
                      <a:pt x="1322" y="283"/>
                      <a:pt x="1303" y="279"/>
                    </a:cubicBezTo>
                    <a:cubicBezTo>
                      <a:pt x="1330" y="307"/>
                      <a:pt x="1352" y="339"/>
                      <a:pt x="1375" y="370"/>
                    </a:cubicBezTo>
                    <a:close/>
                    <a:moveTo>
                      <a:pt x="194" y="289"/>
                    </a:moveTo>
                    <a:cubicBezTo>
                      <a:pt x="177" y="295"/>
                      <a:pt x="173" y="313"/>
                      <a:pt x="164" y="326"/>
                    </a:cubicBezTo>
                    <a:moveTo>
                      <a:pt x="164" y="326"/>
                    </a:moveTo>
                    <a:cubicBezTo>
                      <a:pt x="163" y="326"/>
                      <a:pt x="163" y="326"/>
                      <a:pt x="163" y="327"/>
                    </a:cubicBezTo>
                    <a:moveTo>
                      <a:pt x="163" y="327"/>
                    </a:moveTo>
                    <a:cubicBezTo>
                      <a:pt x="162" y="327"/>
                      <a:pt x="162" y="328"/>
                      <a:pt x="162" y="329"/>
                    </a:cubicBezTo>
                    <a:moveTo>
                      <a:pt x="162" y="329"/>
                    </a:moveTo>
                    <a:cubicBezTo>
                      <a:pt x="161" y="329"/>
                      <a:pt x="162" y="330"/>
                      <a:pt x="162" y="329"/>
                    </a:cubicBezTo>
                    <a:moveTo>
                      <a:pt x="162" y="329"/>
                    </a:moveTo>
                    <a:cubicBezTo>
                      <a:pt x="163" y="329"/>
                      <a:pt x="163" y="328"/>
                      <a:pt x="163" y="327"/>
                    </a:cubicBezTo>
                    <a:moveTo>
                      <a:pt x="163" y="327"/>
                    </a:moveTo>
                    <a:cubicBezTo>
                      <a:pt x="164" y="327"/>
                      <a:pt x="164" y="326"/>
                      <a:pt x="164" y="326"/>
                    </a:cubicBezTo>
                    <a:moveTo>
                      <a:pt x="164" y="326"/>
                    </a:moveTo>
                    <a:cubicBezTo>
                      <a:pt x="174" y="314"/>
                      <a:pt x="184" y="302"/>
                      <a:pt x="194" y="289"/>
                    </a:cubicBezTo>
                    <a:moveTo>
                      <a:pt x="194" y="289"/>
                    </a:moveTo>
                    <a:cubicBezTo>
                      <a:pt x="195" y="289"/>
                      <a:pt x="194" y="288"/>
                      <a:pt x="194" y="289"/>
                    </a:cubicBezTo>
                    <a:moveTo>
                      <a:pt x="472" y="295"/>
                    </a:moveTo>
                    <a:cubicBezTo>
                      <a:pt x="472" y="295"/>
                      <a:pt x="471" y="295"/>
                      <a:pt x="471" y="295"/>
                    </a:cubicBezTo>
                    <a:cubicBezTo>
                      <a:pt x="454" y="329"/>
                      <a:pt x="436" y="362"/>
                      <a:pt x="422" y="400"/>
                    </a:cubicBezTo>
                    <a:moveTo>
                      <a:pt x="422" y="400"/>
                    </a:moveTo>
                    <a:cubicBezTo>
                      <a:pt x="421" y="400"/>
                      <a:pt x="422" y="401"/>
                      <a:pt x="422" y="400"/>
                    </a:cubicBezTo>
                    <a:moveTo>
                      <a:pt x="422" y="400"/>
                    </a:moveTo>
                    <a:cubicBezTo>
                      <a:pt x="434" y="400"/>
                      <a:pt x="442" y="397"/>
                      <a:pt x="454" y="397"/>
                    </a:cubicBezTo>
                    <a:cubicBezTo>
                      <a:pt x="458" y="361"/>
                      <a:pt x="466" y="329"/>
                      <a:pt x="472" y="295"/>
                    </a:cubicBezTo>
                    <a:moveTo>
                      <a:pt x="472" y="295"/>
                    </a:moveTo>
                    <a:cubicBezTo>
                      <a:pt x="475" y="295"/>
                      <a:pt x="471" y="291"/>
                      <a:pt x="472" y="295"/>
                    </a:cubicBezTo>
                    <a:moveTo>
                      <a:pt x="178" y="297"/>
                    </a:moveTo>
                    <a:cubicBezTo>
                      <a:pt x="158" y="308"/>
                      <a:pt x="126" y="328"/>
                      <a:pt x="141" y="359"/>
                    </a:cubicBezTo>
                    <a:cubicBezTo>
                      <a:pt x="153" y="338"/>
                      <a:pt x="165" y="317"/>
                      <a:pt x="178" y="297"/>
                    </a:cubicBezTo>
                    <a:moveTo>
                      <a:pt x="178" y="297"/>
                    </a:moveTo>
                    <a:cubicBezTo>
                      <a:pt x="180" y="296"/>
                      <a:pt x="178" y="296"/>
                      <a:pt x="178" y="297"/>
                    </a:cubicBezTo>
                    <a:moveTo>
                      <a:pt x="1364" y="309"/>
                    </a:moveTo>
                    <a:cubicBezTo>
                      <a:pt x="1364" y="309"/>
                      <a:pt x="1364" y="310"/>
                      <a:pt x="1365" y="310"/>
                    </a:cubicBezTo>
                    <a:moveTo>
                      <a:pt x="1365" y="310"/>
                    </a:moveTo>
                    <a:cubicBezTo>
                      <a:pt x="1365" y="310"/>
                      <a:pt x="1365" y="310"/>
                      <a:pt x="1366" y="311"/>
                    </a:cubicBezTo>
                    <a:moveTo>
                      <a:pt x="1366" y="311"/>
                    </a:moveTo>
                    <a:cubicBezTo>
                      <a:pt x="1366" y="312"/>
                      <a:pt x="1366" y="312"/>
                      <a:pt x="1367" y="312"/>
                    </a:cubicBezTo>
                    <a:moveTo>
                      <a:pt x="1367" y="312"/>
                    </a:moveTo>
                    <a:cubicBezTo>
                      <a:pt x="1367" y="313"/>
                      <a:pt x="1367" y="313"/>
                      <a:pt x="1368" y="313"/>
                    </a:cubicBezTo>
                    <a:moveTo>
                      <a:pt x="1368" y="313"/>
                    </a:moveTo>
                    <a:cubicBezTo>
                      <a:pt x="1374" y="324"/>
                      <a:pt x="1380" y="335"/>
                      <a:pt x="1388" y="345"/>
                    </a:cubicBezTo>
                    <a:cubicBezTo>
                      <a:pt x="1386" y="330"/>
                      <a:pt x="1375" y="324"/>
                      <a:pt x="1368" y="313"/>
                    </a:cubicBezTo>
                    <a:moveTo>
                      <a:pt x="1368" y="313"/>
                    </a:moveTo>
                    <a:cubicBezTo>
                      <a:pt x="1368" y="313"/>
                      <a:pt x="1367" y="312"/>
                      <a:pt x="1367" y="312"/>
                    </a:cubicBezTo>
                    <a:moveTo>
                      <a:pt x="1367" y="312"/>
                    </a:moveTo>
                    <a:cubicBezTo>
                      <a:pt x="1367" y="311"/>
                      <a:pt x="1367" y="311"/>
                      <a:pt x="1366" y="311"/>
                    </a:cubicBezTo>
                    <a:moveTo>
                      <a:pt x="1366" y="311"/>
                    </a:moveTo>
                    <a:cubicBezTo>
                      <a:pt x="1366" y="310"/>
                      <a:pt x="1365" y="310"/>
                      <a:pt x="1365" y="310"/>
                    </a:cubicBezTo>
                    <a:moveTo>
                      <a:pt x="1365" y="310"/>
                    </a:moveTo>
                    <a:cubicBezTo>
                      <a:pt x="1365" y="309"/>
                      <a:pt x="1365" y="309"/>
                      <a:pt x="1364" y="309"/>
                    </a:cubicBezTo>
                    <a:moveTo>
                      <a:pt x="1364" y="309"/>
                    </a:moveTo>
                    <a:cubicBezTo>
                      <a:pt x="1363" y="307"/>
                      <a:pt x="1363" y="309"/>
                      <a:pt x="1364" y="309"/>
                    </a:cubicBezTo>
                    <a:moveTo>
                      <a:pt x="1379" y="323"/>
                    </a:moveTo>
                    <a:cubicBezTo>
                      <a:pt x="1380" y="324"/>
                      <a:pt x="1380" y="323"/>
                      <a:pt x="1379" y="323"/>
                    </a:cubicBezTo>
                    <a:moveTo>
                      <a:pt x="1379" y="323"/>
                    </a:moveTo>
                    <a:cubicBezTo>
                      <a:pt x="1379" y="322"/>
                      <a:pt x="1378" y="323"/>
                      <a:pt x="1379" y="323"/>
                    </a:cubicBezTo>
                    <a:moveTo>
                      <a:pt x="160" y="332"/>
                    </a:moveTo>
                    <a:cubicBezTo>
                      <a:pt x="159" y="332"/>
                      <a:pt x="160" y="333"/>
                      <a:pt x="160" y="332"/>
                    </a:cubicBezTo>
                    <a:moveTo>
                      <a:pt x="160" y="332"/>
                    </a:moveTo>
                    <a:cubicBezTo>
                      <a:pt x="161" y="331"/>
                      <a:pt x="160" y="330"/>
                      <a:pt x="160" y="332"/>
                    </a:cubicBezTo>
                    <a:moveTo>
                      <a:pt x="224" y="334"/>
                    </a:moveTo>
                    <a:cubicBezTo>
                      <a:pt x="224" y="333"/>
                      <a:pt x="225" y="334"/>
                      <a:pt x="224" y="334"/>
                    </a:cubicBezTo>
                    <a:close/>
                    <a:moveTo>
                      <a:pt x="326" y="336"/>
                    </a:moveTo>
                    <a:cubicBezTo>
                      <a:pt x="307" y="364"/>
                      <a:pt x="290" y="395"/>
                      <a:pt x="274" y="426"/>
                    </a:cubicBezTo>
                    <a:cubicBezTo>
                      <a:pt x="285" y="423"/>
                      <a:pt x="296" y="421"/>
                      <a:pt x="306" y="419"/>
                    </a:cubicBezTo>
                    <a:cubicBezTo>
                      <a:pt x="311" y="390"/>
                      <a:pt x="319" y="364"/>
                      <a:pt x="326" y="336"/>
                    </a:cubicBezTo>
                    <a:moveTo>
                      <a:pt x="326" y="336"/>
                    </a:moveTo>
                    <a:cubicBezTo>
                      <a:pt x="329" y="336"/>
                      <a:pt x="325" y="332"/>
                      <a:pt x="326" y="336"/>
                    </a:cubicBezTo>
                    <a:moveTo>
                      <a:pt x="44" y="524"/>
                    </a:moveTo>
                    <a:cubicBezTo>
                      <a:pt x="49" y="523"/>
                      <a:pt x="54" y="514"/>
                      <a:pt x="59" y="510"/>
                    </a:cubicBezTo>
                    <a:cubicBezTo>
                      <a:pt x="80" y="455"/>
                      <a:pt x="109" y="407"/>
                      <a:pt x="139" y="360"/>
                    </a:cubicBezTo>
                    <a:cubicBezTo>
                      <a:pt x="134" y="356"/>
                      <a:pt x="135" y="347"/>
                      <a:pt x="133" y="339"/>
                    </a:cubicBezTo>
                    <a:cubicBezTo>
                      <a:pt x="97" y="394"/>
                      <a:pt x="66" y="454"/>
                      <a:pt x="44" y="524"/>
                    </a:cubicBezTo>
                    <a:close/>
                    <a:moveTo>
                      <a:pt x="1483" y="528"/>
                    </a:moveTo>
                    <a:cubicBezTo>
                      <a:pt x="1482" y="532"/>
                      <a:pt x="1486" y="529"/>
                      <a:pt x="1483" y="528"/>
                    </a:cubicBezTo>
                    <a:moveTo>
                      <a:pt x="1483" y="528"/>
                    </a:moveTo>
                    <a:cubicBezTo>
                      <a:pt x="1460" y="465"/>
                      <a:pt x="1432" y="396"/>
                      <a:pt x="1393" y="347"/>
                    </a:cubicBezTo>
                    <a:cubicBezTo>
                      <a:pt x="1393" y="347"/>
                      <a:pt x="1391" y="343"/>
                      <a:pt x="1390" y="345"/>
                    </a:cubicBezTo>
                    <a:cubicBezTo>
                      <a:pt x="1401" y="371"/>
                      <a:pt x="1415" y="395"/>
                      <a:pt x="1425" y="421"/>
                    </a:cubicBezTo>
                    <a:cubicBezTo>
                      <a:pt x="1436" y="447"/>
                      <a:pt x="1448" y="473"/>
                      <a:pt x="1455" y="503"/>
                    </a:cubicBezTo>
                    <a:cubicBezTo>
                      <a:pt x="1466" y="510"/>
                      <a:pt x="1474" y="519"/>
                      <a:pt x="1483" y="528"/>
                    </a:cubicBezTo>
                    <a:moveTo>
                      <a:pt x="1376" y="374"/>
                    </a:moveTo>
                    <a:cubicBezTo>
                      <a:pt x="1396" y="402"/>
                      <a:pt x="1417" y="437"/>
                      <a:pt x="1432" y="470"/>
                    </a:cubicBezTo>
                    <a:cubicBezTo>
                      <a:pt x="1437" y="481"/>
                      <a:pt x="1440" y="496"/>
                      <a:pt x="1452" y="499"/>
                    </a:cubicBezTo>
                    <a:cubicBezTo>
                      <a:pt x="1435" y="446"/>
                      <a:pt x="1415" y="397"/>
                      <a:pt x="1389" y="354"/>
                    </a:cubicBezTo>
                    <a:cubicBezTo>
                      <a:pt x="1386" y="362"/>
                      <a:pt x="1380" y="367"/>
                      <a:pt x="1376" y="374"/>
                    </a:cubicBezTo>
                    <a:close/>
                    <a:moveTo>
                      <a:pt x="212" y="356"/>
                    </a:moveTo>
                    <a:cubicBezTo>
                      <a:pt x="212" y="355"/>
                      <a:pt x="213" y="356"/>
                      <a:pt x="212" y="356"/>
                    </a:cubicBezTo>
                    <a:close/>
                    <a:moveTo>
                      <a:pt x="211" y="358"/>
                    </a:moveTo>
                    <a:cubicBezTo>
                      <a:pt x="202" y="370"/>
                      <a:pt x="193" y="382"/>
                      <a:pt x="186" y="396"/>
                    </a:cubicBezTo>
                    <a:cubicBezTo>
                      <a:pt x="190" y="396"/>
                      <a:pt x="192" y="399"/>
                      <a:pt x="196" y="400"/>
                    </a:cubicBezTo>
                    <a:cubicBezTo>
                      <a:pt x="201" y="386"/>
                      <a:pt x="206" y="372"/>
                      <a:pt x="211" y="358"/>
                    </a:cubicBezTo>
                    <a:moveTo>
                      <a:pt x="211" y="358"/>
                    </a:moveTo>
                    <a:cubicBezTo>
                      <a:pt x="212" y="357"/>
                      <a:pt x="211" y="356"/>
                      <a:pt x="211" y="358"/>
                    </a:cubicBezTo>
                    <a:moveTo>
                      <a:pt x="94" y="487"/>
                    </a:moveTo>
                    <a:cubicBezTo>
                      <a:pt x="109" y="477"/>
                      <a:pt x="127" y="470"/>
                      <a:pt x="146" y="463"/>
                    </a:cubicBezTo>
                    <a:cubicBezTo>
                      <a:pt x="156" y="439"/>
                      <a:pt x="170" y="418"/>
                      <a:pt x="182" y="396"/>
                    </a:cubicBezTo>
                    <a:cubicBezTo>
                      <a:pt x="166" y="389"/>
                      <a:pt x="152" y="378"/>
                      <a:pt x="141" y="365"/>
                    </a:cubicBezTo>
                    <a:cubicBezTo>
                      <a:pt x="123" y="403"/>
                      <a:pt x="103" y="444"/>
                      <a:pt x="94" y="487"/>
                    </a:cubicBezTo>
                    <a:close/>
                    <a:moveTo>
                      <a:pt x="132" y="376"/>
                    </a:moveTo>
                    <a:cubicBezTo>
                      <a:pt x="132" y="375"/>
                      <a:pt x="133" y="376"/>
                      <a:pt x="132" y="376"/>
                    </a:cubicBezTo>
                    <a:close/>
                    <a:moveTo>
                      <a:pt x="1374" y="375"/>
                    </a:moveTo>
                    <a:cubicBezTo>
                      <a:pt x="1368" y="382"/>
                      <a:pt x="1359" y="386"/>
                      <a:pt x="1352" y="391"/>
                    </a:cubicBezTo>
                    <a:cubicBezTo>
                      <a:pt x="1362" y="413"/>
                      <a:pt x="1369" y="437"/>
                      <a:pt x="1375" y="462"/>
                    </a:cubicBezTo>
                    <a:cubicBezTo>
                      <a:pt x="1398" y="469"/>
                      <a:pt x="1420" y="482"/>
                      <a:pt x="1439" y="490"/>
                    </a:cubicBezTo>
                    <a:cubicBezTo>
                      <a:pt x="1419" y="450"/>
                      <a:pt x="1399" y="409"/>
                      <a:pt x="1374" y="375"/>
                    </a:cubicBezTo>
                    <a:close/>
                    <a:moveTo>
                      <a:pt x="131" y="378"/>
                    </a:moveTo>
                    <a:cubicBezTo>
                      <a:pt x="131" y="378"/>
                      <a:pt x="131" y="378"/>
                      <a:pt x="130" y="378"/>
                    </a:cubicBezTo>
                    <a:cubicBezTo>
                      <a:pt x="106" y="418"/>
                      <a:pt x="82" y="459"/>
                      <a:pt x="64" y="505"/>
                    </a:cubicBezTo>
                    <a:moveTo>
                      <a:pt x="64" y="505"/>
                    </a:moveTo>
                    <a:cubicBezTo>
                      <a:pt x="63" y="506"/>
                      <a:pt x="64" y="507"/>
                      <a:pt x="64" y="505"/>
                    </a:cubicBezTo>
                    <a:moveTo>
                      <a:pt x="64" y="505"/>
                    </a:moveTo>
                    <a:cubicBezTo>
                      <a:pt x="73" y="500"/>
                      <a:pt x="80" y="494"/>
                      <a:pt x="90" y="489"/>
                    </a:cubicBezTo>
                    <a:cubicBezTo>
                      <a:pt x="100" y="448"/>
                      <a:pt x="116" y="413"/>
                      <a:pt x="131" y="378"/>
                    </a:cubicBezTo>
                    <a:moveTo>
                      <a:pt x="131" y="378"/>
                    </a:moveTo>
                    <a:cubicBezTo>
                      <a:pt x="133" y="377"/>
                      <a:pt x="131" y="377"/>
                      <a:pt x="131" y="378"/>
                    </a:cubicBezTo>
                    <a:moveTo>
                      <a:pt x="620" y="385"/>
                    </a:moveTo>
                    <a:cubicBezTo>
                      <a:pt x="619" y="415"/>
                      <a:pt x="617" y="444"/>
                      <a:pt x="616" y="473"/>
                    </a:cubicBezTo>
                    <a:cubicBezTo>
                      <a:pt x="654" y="475"/>
                      <a:pt x="693" y="476"/>
                      <a:pt x="732" y="477"/>
                    </a:cubicBezTo>
                    <a:cubicBezTo>
                      <a:pt x="733" y="445"/>
                      <a:pt x="734" y="414"/>
                      <a:pt x="735" y="383"/>
                    </a:cubicBezTo>
                    <a:cubicBezTo>
                      <a:pt x="695" y="382"/>
                      <a:pt x="658" y="384"/>
                      <a:pt x="620" y="385"/>
                    </a:cubicBezTo>
                    <a:close/>
                    <a:moveTo>
                      <a:pt x="739" y="383"/>
                    </a:moveTo>
                    <a:cubicBezTo>
                      <a:pt x="736" y="412"/>
                      <a:pt x="736" y="445"/>
                      <a:pt x="735" y="477"/>
                    </a:cubicBezTo>
                    <a:cubicBezTo>
                      <a:pt x="753" y="477"/>
                      <a:pt x="771" y="477"/>
                      <a:pt x="789" y="477"/>
                    </a:cubicBezTo>
                    <a:cubicBezTo>
                      <a:pt x="789" y="445"/>
                      <a:pt x="787" y="415"/>
                      <a:pt x="788" y="383"/>
                    </a:cubicBezTo>
                    <a:cubicBezTo>
                      <a:pt x="772" y="383"/>
                      <a:pt x="755" y="383"/>
                      <a:pt x="739" y="383"/>
                    </a:cubicBezTo>
                    <a:close/>
                    <a:moveTo>
                      <a:pt x="792" y="383"/>
                    </a:moveTo>
                    <a:cubicBezTo>
                      <a:pt x="790" y="412"/>
                      <a:pt x="791" y="446"/>
                      <a:pt x="791" y="477"/>
                    </a:cubicBezTo>
                    <a:cubicBezTo>
                      <a:pt x="831" y="476"/>
                      <a:pt x="871" y="475"/>
                      <a:pt x="910" y="473"/>
                    </a:cubicBezTo>
                    <a:cubicBezTo>
                      <a:pt x="905" y="443"/>
                      <a:pt x="901" y="414"/>
                      <a:pt x="895" y="385"/>
                    </a:cubicBezTo>
                    <a:cubicBezTo>
                      <a:pt x="862" y="384"/>
                      <a:pt x="827" y="382"/>
                      <a:pt x="792" y="383"/>
                    </a:cubicBezTo>
                    <a:close/>
                    <a:moveTo>
                      <a:pt x="616" y="385"/>
                    </a:moveTo>
                    <a:cubicBezTo>
                      <a:pt x="616" y="385"/>
                      <a:pt x="615" y="385"/>
                      <a:pt x="615" y="385"/>
                    </a:cubicBezTo>
                    <a:cubicBezTo>
                      <a:pt x="603" y="387"/>
                      <a:pt x="589" y="387"/>
                      <a:pt x="577" y="388"/>
                    </a:cubicBezTo>
                    <a:cubicBezTo>
                      <a:pt x="571" y="416"/>
                      <a:pt x="564" y="441"/>
                      <a:pt x="559" y="470"/>
                    </a:cubicBezTo>
                    <a:cubicBezTo>
                      <a:pt x="578" y="470"/>
                      <a:pt x="595" y="472"/>
                      <a:pt x="613" y="473"/>
                    </a:cubicBezTo>
                    <a:cubicBezTo>
                      <a:pt x="612" y="443"/>
                      <a:pt x="617" y="409"/>
                      <a:pt x="616" y="385"/>
                    </a:cubicBezTo>
                    <a:close/>
                    <a:moveTo>
                      <a:pt x="914" y="473"/>
                    </a:moveTo>
                    <a:cubicBezTo>
                      <a:pt x="930" y="472"/>
                      <a:pt x="946" y="470"/>
                      <a:pt x="963" y="470"/>
                    </a:cubicBezTo>
                    <a:cubicBezTo>
                      <a:pt x="960" y="443"/>
                      <a:pt x="960" y="414"/>
                      <a:pt x="957" y="388"/>
                    </a:cubicBezTo>
                    <a:cubicBezTo>
                      <a:pt x="937" y="388"/>
                      <a:pt x="919" y="386"/>
                      <a:pt x="900" y="385"/>
                    </a:cubicBezTo>
                    <a:cubicBezTo>
                      <a:pt x="904" y="415"/>
                      <a:pt x="910" y="442"/>
                      <a:pt x="914" y="473"/>
                    </a:cubicBezTo>
                    <a:close/>
                    <a:moveTo>
                      <a:pt x="456" y="399"/>
                    </a:moveTo>
                    <a:cubicBezTo>
                      <a:pt x="454" y="419"/>
                      <a:pt x="451" y="438"/>
                      <a:pt x="450" y="459"/>
                    </a:cubicBezTo>
                    <a:cubicBezTo>
                      <a:pt x="486" y="462"/>
                      <a:pt x="520" y="467"/>
                      <a:pt x="557" y="469"/>
                    </a:cubicBezTo>
                    <a:cubicBezTo>
                      <a:pt x="561" y="441"/>
                      <a:pt x="569" y="416"/>
                      <a:pt x="574" y="388"/>
                    </a:cubicBezTo>
                    <a:cubicBezTo>
                      <a:pt x="534" y="391"/>
                      <a:pt x="494" y="394"/>
                      <a:pt x="456" y="399"/>
                    </a:cubicBezTo>
                    <a:close/>
                    <a:moveTo>
                      <a:pt x="960" y="389"/>
                    </a:moveTo>
                    <a:cubicBezTo>
                      <a:pt x="962" y="415"/>
                      <a:pt x="964" y="441"/>
                      <a:pt x="965" y="469"/>
                    </a:cubicBezTo>
                    <a:cubicBezTo>
                      <a:pt x="1003" y="467"/>
                      <a:pt x="1042" y="464"/>
                      <a:pt x="1076" y="457"/>
                    </a:cubicBezTo>
                    <a:cubicBezTo>
                      <a:pt x="1068" y="438"/>
                      <a:pt x="1062" y="417"/>
                      <a:pt x="1055" y="397"/>
                    </a:cubicBezTo>
                    <a:cubicBezTo>
                      <a:pt x="1023" y="395"/>
                      <a:pt x="993" y="391"/>
                      <a:pt x="960" y="389"/>
                    </a:cubicBezTo>
                    <a:close/>
                    <a:moveTo>
                      <a:pt x="1349" y="392"/>
                    </a:moveTo>
                    <a:cubicBezTo>
                      <a:pt x="1340" y="398"/>
                      <a:pt x="1329" y="402"/>
                      <a:pt x="1319" y="407"/>
                    </a:cubicBezTo>
                    <a:cubicBezTo>
                      <a:pt x="1327" y="421"/>
                      <a:pt x="1335" y="436"/>
                      <a:pt x="1343" y="451"/>
                    </a:cubicBezTo>
                    <a:cubicBezTo>
                      <a:pt x="1354" y="453"/>
                      <a:pt x="1362" y="458"/>
                      <a:pt x="1373" y="460"/>
                    </a:cubicBezTo>
                    <a:cubicBezTo>
                      <a:pt x="1366" y="439"/>
                      <a:pt x="1359" y="407"/>
                      <a:pt x="1349" y="392"/>
                    </a:cubicBezTo>
                    <a:close/>
                    <a:moveTo>
                      <a:pt x="184" y="398"/>
                    </a:moveTo>
                    <a:cubicBezTo>
                      <a:pt x="173" y="419"/>
                      <a:pt x="160" y="439"/>
                      <a:pt x="150" y="461"/>
                    </a:cubicBezTo>
                    <a:cubicBezTo>
                      <a:pt x="160" y="458"/>
                      <a:pt x="170" y="454"/>
                      <a:pt x="181" y="451"/>
                    </a:cubicBezTo>
                    <a:cubicBezTo>
                      <a:pt x="185" y="434"/>
                      <a:pt x="190" y="419"/>
                      <a:pt x="195" y="403"/>
                    </a:cubicBezTo>
                    <a:cubicBezTo>
                      <a:pt x="191" y="401"/>
                      <a:pt x="188" y="399"/>
                      <a:pt x="184" y="398"/>
                    </a:cubicBezTo>
                    <a:close/>
                    <a:moveTo>
                      <a:pt x="1079" y="458"/>
                    </a:moveTo>
                    <a:cubicBezTo>
                      <a:pt x="1094" y="457"/>
                      <a:pt x="1108" y="454"/>
                      <a:pt x="1123" y="453"/>
                    </a:cubicBezTo>
                    <a:cubicBezTo>
                      <a:pt x="1122" y="436"/>
                      <a:pt x="1119" y="421"/>
                      <a:pt x="1117" y="405"/>
                    </a:cubicBezTo>
                    <a:cubicBezTo>
                      <a:pt x="1097" y="404"/>
                      <a:pt x="1077" y="398"/>
                      <a:pt x="1058" y="399"/>
                    </a:cubicBezTo>
                    <a:cubicBezTo>
                      <a:pt x="1066" y="417"/>
                      <a:pt x="1071" y="439"/>
                      <a:pt x="1079" y="458"/>
                    </a:cubicBezTo>
                    <a:close/>
                    <a:moveTo>
                      <a:pt x="420" y="403"/>
                    </a:moveTo>
                    <a:cubicBezTo>
                      <a:pt x="414" y="419"/>
                      <a:pt x="407" y="435"/>
                      <a:pt x="401" y="453"/>
                    </a:cubicBezTo>
                    <a:cubicBezTo>
                      <a:pt x="417" y="454"/>
                      <a:pt x="431" y="457"/>
                      <a:pt x="447" y="458"/>
                    </a:cubicBezTo>
                    <a:cubicBezTo>
                      <a:pt x="449" y="438"/>
                      <a:pt x="451" y="418"/>
                      <a:pt x="454" y="399"/>
                    </a:cubicBezTo>
                    <a:cubicBezTo>
                      <a:pt x="453" y="399"/>
                      <a:pt x="453" y="399"/>
                      <a:pt x="452" y="399"/>
                    </a:cubicBezTo>
                    <a:cubicBezTo>
                      <a:pt x="442" y="401"/>
                      <a:pt x="431" y="402"/>
                      <a:pt x="420" y="403"/>
                    </a:cubicBezTo>
                    <a:close/>
                    <a:moveTo>
                      <a:pt x="185" y="450"/>
                    </a:moveTo>
                    <a:cubicBezTo>
                      <a:pt x="210" y="440"/>
                      <a:pt x="240" y="435"/>
                      <a:pt x="266" y="427"/>
                    </a:cubicBezTo>
                    <a:cubicBezTo>
                      <a:pt x="241" y="421"/>
                      <a:pt x="219" y="413"/>
                      <a:pt x="198" y="404"/>
                    </a:cubicBezTo>
                    <a:cubicBezTo>
                      <a:pt x="193" y="418"/>
                      <a:pt x="187" y="436"/>
                      <a:pt x="185" y="450"/>
                    </a:cubicBezTo>
                    <a:close/>
                    <a:moveTo>
                      <a:pt x="308" y="421"/>
                    </a:moveTo>
                    <a:cubicBezTo>
                      <a:pt x="307" y="425"/>
                      <a:pt x="307" y="430"/>
                      <a:pt x="305" y="434"/>
                    </a:cubicBezTo>
                    <a:cubicBezTo>
                      <a:pt x="335" y="441"/>
                      <a:pt x="366" y="447"/>
                      <a:pt x="398" y="452"/>
                    </a:cubicBezTo>
                    <a:cubicBezTo>
                      <a:pt x="401" y="444"/>
                      <a:pt x="405" y="436"/>
                      <a:pt x="408" y="428"/>
                    </a:cubicBezTo>
                    <a:cubicBezTo>
                      <a:pt x="411" y="419"/>
                      <a:pt x="416" y="410"/>
                      <a:pt x="414" y="404"/>
                    </a:cubicBezTo>
                    <a:cubicBezTo>
                      <a:pt x="378" y="409"/>
                      <a:pt x="343" y="415"/>
                      <a:pt x="308" y="421"/>
                    </a:cubicBezTo>
                    <a:close/>
                    <a:moveTo>
                      <a:pt x="1126" y="452"/>
                    </a:moveTo>
                    <a:cubicBezTo>
                      <a:pt x="1156" y="447"/>
                      <a:pt x="1185" y="442"/>
                      <a:pt x="1213" y="435"/>
                    </a:cubicBezTo>
                    <a:cubicBezTo>
                      <a:pt x="1212" y="429"/>
                      <a:pt x="1208" y="425"/>
                      <a:pt x="1206" y="419"/>
                    </a:cubicBezTo>
                    <a:cubicBezTo>
                      <a:pt x="1178" y="415"/>
                      <a:pt x="1148" y="407"/>
                      <a:pt x="1119" y="407"/>
                    </a:cubicBezTo>
                    <a:cubicBezTo>
                      <a:pt x="1123" y="420"/>
                      <a:pt x="1123" y="437"/>
                      <a:pt x="1126" y="452"/>
                    </a:cubicBezTo>
                    <a:close/>
                    <a:moveTo>
                      <a:pt x="1317" y="408"/>
                    </a:moveTo>
                    <a:cubicBezTo>
                      <a:pt x="1298" y="416"/>
                      <a:pt x="1277" y="420"/>
                      <a:pt x="1260" y="429"/>
                    </a:cubicBezTo>
                    <a:cubicBezTo>
                      <a:pt x="1288" y="434"/>
                      <a:pt x="1313" y="441"/>
                      <a:pt x="1338" y="449"/>
                    </a:cubicBezTo>
                    <a:cubicBezTo>
                      <a:pt x="1332" y="434"/>
                      <a:pt x="1323" y="423"/>
                      <a:pt x="1317" y="408"/>
                    </a:cubicBezTo>
                    <a:close/>
                    <a:moveTo>
                      <a:pt x="1216" y="434"/>
                    </a:moveTo>
                    <a:cubicBezTo>
                      <a:pt x="1226" y="433"/>
                      <a:pt x="1237" y="431"/>
                      <a:pt x="1245" y="427"/>
                    </a:cubicBezTo>
                    <a:cubicBezTo>
                      <a:pt x="1232" y="426"/>
                      <a:pt x="1220" y="420"/>
                      <a:pt x="1209" y="421"/>
                    </a:cubicBezTo>
                    <a:cubicBezTo>
                      <a:pt x="1213" y="424"/>
                      <a:pt x="1214" y="430"/>
                      <a:pt x="1216" y="434"/>
                    </a:cubicBezTo>
                    <a:close/>
                    <a:moveTo>
                      <a:pt x="279" y="427"/>
                    </a:moveTo>
                    <a:cubicBezTo>
                      <a:pt x="285" y="431"/>
                      <a:pt x="295" y="431"/>
                      <a:pt x="303" y="433"/>
                    </a:cubicBezTo>
                    <a:cubicBezTo>
                      <a:pt x="303" y="429"/>
                      <a:pt x="305" y="426"/>
                      <a:pt x="305" y="422"/>
                    </a:cubicBezTo>
                    <a:cubicBezTo>
                      <a:pt x="296" y="423"/>
                      <a:pt x="289" y="426"/>
                      <a:pt x="279" y="427"/>
                    </a:cubicBezTo>
                    <a:close/>
                    <a:moveTo>
                      <a:pt x="1218" y="437"/>
                    </a:moveTo>
                    <a:cubicBezTo>
                      <a:pt x="1240" y="486"/>
                      <a:pt x="1259" y="538"/>
                      <a:pt x="1277" y="593"/>
                    </a:cubicBezTo>
                    <a:cubicBezTo>
                      <a:pt x="1275" y="533"/>
                      <a:pt x="1270" y="478"/>
                      <a:pt x="1257" y="430"/>
                    </a:cubicBezTo>
                    <a:cubicBezTo>
                      <a:pt x="1244" y="429"/>
                      <a:pt x="1232" y="435"/>
                      <a:pt x="1218" y="437"/>
                    </a:cubicBezTo>
                    <a:close/>
                    <a:moveTo>
                      <a:pt x="183" y="453"/>
                    </a:moveTo>
                    <a:cubicBezTo>
                      <a:pt x="169" y="514"/>
                      <a:pt x="159" y="583"/>
                      <a:pt x="163" y="659"/>
                    </a:cubicBezTo>
                    <a:cubicBezTo>
                      <a:pt x="171" y="655"/>
                      <a:pt x="179" y="652"/>
                      <a:pt x="188" y="650"/>
                    </a:cubicBezTo>
                    <a:cubicBezTo>
                      <a:pt x="208" y="570"/>
                      <a:pt x="235" y="496"/>
                      <a:pt x="270" y="430"/>
                    </a:cubicBezTo>
                    <a:cubicBezTo>
                      <a:pt x="269" y="430"/>
                      <a:pt x="268" y="430"/>
                      <a:pt x="268" y="430"/>
                    </a:cubicBezTo>
                    <a:cubicBezTo>
                      <a:pt x="239" y="437"/>
                      <a:pt x="210" y="444"/>
                      <a:pt x="183" y="453"/>
                    </a:cubicBezTo>
                    <a:close/>
                    <a:moveTo>
                      <a:pt x="192" y="648"/>
                    </a:moveTo>
                    <a:cubicBezTo>
                      <a:pt x="190" y="649"/>
                      <a:pt x="192" y="650"/>
                      <a:pt x="192" y="648"/>
                    </a:cubicBezTo>
                    <a:moveTo>
                      <a:pt x="192" y="648"/>
                    </a:moveTo>
                    <a:cubicBezTo>
                      <a:pt x="223" y="640"/>
                      <a:pt x="254" y="630"/>
                      <a:pt x="289" y="623"/>
                    </a:cubicBezTo>
                    <a:cubicBezTo>
                      <a:pt x="287" y="555"/>
                      <a:pt x="293" y="494"/>
                      <a:pt x="302" y="436"/>
                    </a:cubicBezTo>
                    <a:cubicBezTo>
                      <a:pt x="292" y="434"/>
                      <a:pt x="283" y="431"/>
                      <a:pt x="272" y="430"/>
                    </a:cubicBezTo>
                    <a:cubicBezTo>
                      <a:pt x="239" y="496"/>
                      <a:pt x="211" y="568"/>
                      <a:pt x="192" y="648"/>
                    </a:cubicBezTo>
                    <a:moveTo>
                      <a:pt x="1275" y="515"/>
                    </a:moveTo>
                    <a:cubicBezTo>
                      <a:pt x="1279" y="557"/>
                      <a:pt x="1276" y="605"/>
                      <a:pt x="1288" y="636"/>
                    </a:cubicBezTo>
                    <a:cubicBezTo>
                      <a:pt x="1316" y="643"/>
                      <a:pt x="1341" y="652"/>
                      <a:pt x="1367" y="660"/>
                    </a:cubicBezTo>
                    <a:cubicBezTo>
                      <a:pt x="1377" y="657"/>
                      <a:pt x="1386" y="652"/>
                      <a:pt x="1397" y="648"/>
                    </a:cubicBezTo>
                    <a:cubicBezTo>
                      <a:pt x="1395" y="622"/>
                      <a:pt x="1398" y="600"/>
                      <a:pt x="1394" y="577"/>
                    </a:cubicBezTo>
                    <a:cubicBezTo>
                      <a:pt x="1392" y="567"/>
                      <a:pt x="1386" y="555"/>
                      <a:pt x="1382" y="545"/>
                    </a:cubicBezTo>
                    <a:cubicBezTo>
                      <a:pt x="1370" y="512"/>
                      <a:pt x="1354" y="481"/>
                      <a:pt x="1340" y="452"/>
                    </a:cubicBezTo>
                    <a:cubicBezTo>
                      <a:pt x="1314" y="444"/>
                      <a:pt x="1288" y="437"/>
                      <a:pt x="1261" y="431"/>
                    </a:cubicBezTo>
                    <a:cubicBezTo>
                      <a:pt x="1266" y="456"/>
                      <a:pt x="1272" y="485"/>
                      <a:pt x="1275" y="515"/>
                    </a:cubicBezTo>
                    <a:close/>
                    <a:moveTo>
                      <a:pt x="305" y="437"/>
                    </a:moveTo>
                    <a:cubicBezTo>
                      <a:pt x="295" y="493"/>
                      <a:pt x="288" y="559"/>
                      <a:pt x="293" y="623"/>
                    </a:cubicBezTo>
                    <a:cubicBezTo>
                      <a:pt x="311" y="617"/>
                      <a:pt x="332" y="615"/>
                      <a:pt x="351" y="610"/>
                    </a:cubicBezTo>
                    <a:cubicBezTo>
                      <a:pt x="364" y="556"/>
                      <a:pt x="379" y="504"/>
                      <a:pt x="397" y="455"/>
                    </a:cubicBezTo>
                    <a:cubicBezTo>
                      <a:pt x="366" y="449"/>
                      <a:pt x="335" y="444"/>
                      <a:pt x="305" y="437"/>
                    </a:cubicBezTo>
                    <a:close/>
                    <a:moveTo>
                      <a:pt x="1126" y="455"/>
                    </a:moveTo>
                    <a:cubicBezTo>
                      <a:pt x="1131" y="501"/>
                      <a:pt x="1133" y="551"/>
                      <a:pt x="1133" y="603"/>
                    </a:cubicBezTo>
                    <a:cubicBezTo>
                      <a:pt x="1182" y="612"/>
                      <a:pt x="1231" y="620"/>
                      <a:pt x="1277" y="633"/>
                    </a:cubicBezTo>
                    <a:cubicBezTo>
                      <a:pt x="1279" y="602"/>
                      <a:pt x="1270" y="583"/>
                      <a:pt x="1263" y="561"/>
                    </a:cubicBezTo>
                    <a:cubicBezTo>
                      <a:pt x="1248" y="517"/>
                      <a:pt x="1234" y="477"/>
                      <a:pt x="1215" y="438"/>
                    </a:cubicBezTo>
                    <a:cubicBezTo>
                      <a:pt x="1214" y="438"/>
                      <a:pt x="1214" y="438"/>
                      <a:pt x="1213" y="438"/>
                    </a:cubicBezTo>
                    <a:cubicBezTo>
                      <a:pt x="1185" y="445"/>
                      <a:pt x="1156" y="450"/>
                      <a:pt x="1126" y="455"/>
                    </a:cubicBezTo>
                    <a:close/>
                    <a:moveTo>
                      <a:pt x="179" y="454"/>
                    </a:moveTo>
                    <a:cubicBezTo>
                      <a:pt x="168" y="457"/>
                      <a:pt x="158" y="461"/>
                      <a:pt x="147" y="465"/>
                    </a:cubicBezTo>
                    <a:cubicBezTo>
                      <a:pt x="123" y="516"/>
                      <a:pt x="101" y="568"/>
                      <a:pt x="85" y="627"/>
                    </a:cubicBezTo>
                    <a:cubicBezTo>
                      <a:pt x="108" y="640"/>
                      <a:pt x="131" y="652"/>
                      <a:pt x="159" y="660"/>
                    </a:cubicBezTo>
                    <a:cubicBezTo>
                      <a:pt x="157" y="583"/>
                      <a:pt x="168" y="513"/>
                      <a:pt x="179" y="454"/>
                    </a:cubicBezTo>
                    <a:close/>
                    <a:moveTo>
                      <a:pt x="1392" y="564"/>
                    </a:moveTo>
                    <a:cubicBezTo>
                      <a:pt x="1388" y="528"/>
                      <a:pt x="1381" y="495"/>
                      <a:pt x="1374" y="463"/>
                    </a:cubicBezTo>
                    <a:cubicBezTo>
                      <a:pt x="1363" y="461"/>
                      <a:pt x="1354" y="457"/>
                      <a:pt x="1345" y="454"/>
                    </a:cubicBezTo>
                    <a:cubicBezTo>
                      <a:pt x="1362" y="489"/>
                      <a:pt x="1378" y="525"/>
                      <a:pt x="1392" y="564"/>
                    </a:cubicBezTo>
                    <a:close/>
                    <a:moveTo>
                      <a:pt x="401" y="455"/>
                    </a:moveTo>
                    <a:cubicBezTo>
                      <a:pt x="382" y="503"/>
                      <a:pt x="367" y="556"/>
                      <a:pt x="354" y="610"/>
                    </a:cubicBezTo>
                    <a:cubicBezTo>
                      <a:pt x="383" y="605"/>
                      <a:pt x="412" y="600"/>
                      <a:pt x="442" y="597"/>
                    </a:cubicBezTo>
                    <a:cubicBezTo>
                      <a:pt x="442" y="550"/>
                      <a:pt x="443" y="504"/>
                      <a:pt x="447" y="461"/>
                    </a:cubicBezTo>
                    <a:cubicBezTo>
                      <a:pt x="432" y="459"/>
                      <a:pt x="415" y="458"/>
                      <a:pt x="401" y="455"/>
                    </a:cubicBezTo>
                    <a:close/>
                    <a:moveTo>
                      <a:pt x="1080" y="461"/>
                    </a:moveTo>
                    <a:cubicBezTo>
                      <a:pt x="1093" y="507"/>
                      <a:pt x="1106" y="553"/>
                      <a:pt x="1116" y="601"/>
                    </a:cubicBezTo>
                    <a:cubicBezTo>
                      <a:pt x="1121" y="602"/>
                      <a:pt x="1125" y="602"/>
                      <a:pt x="1130" y="603"/>
                    </a:cubicBezTo>
                    <a:cubicBezTo>
                      <a:pt x="1130" y="551"/>
                      <a:pt x="1129" y="501"/>
                      <a:pt x="1123" y="455"/>
                    </a:cubicBezTo>
                    <a:cubicBezTo>
                      <a:pt x="1108" y="457"/>
                      <a:pt x="1094" y="459"/>
                      <a:pt x="1080" y="461"/>
                    </a:cubicBezTo>
                    <a:close/>
                    <a:moveTo>
                      <a:pt x="445" y="596"/>
                    </a:moveTo>
                    <a:cubicBezTo>
                      <a:pt x="475" y="592"/>
                      <a:pt x="505" y="589"/>
                      <a:pt x="535" y="586"/>
                    </a:cubicBezTo>
                    <a:cubicBezTo>
                      <a:pt x="542" y="548"/>
                      <a:pt x="548" y="509"/>
                      <a:pt x="556" y="472"/>
                    </a:cubicBezTo>
                    <a:cubicBezTo>
                      <a:pt x="519" y="469"/>
                      <a:pt x="483" y="466"/>
                      <a:pt x="449" y="461"/>
                    </a:cubicBezTo>
                    <a:cubicBezTo>
                      <a:pt x="446" y="504"/>
                      <a:pt x="444" y="549"/>
                      <a:pt x="445" y="596"/>
                    </a:cubicBezTo>
                    <a:close/>
                    <a:moveTo>
                      <a:pt x="965" y="472"/>
                    </a:moveTo>
                    <a:cubicBezTo>
                      <a:pt x="967" y="507"/>
                      <a:pt x="966" y="546"/>
                      <a:pt x="966" y="584"/>
                    </a:cubicBezTo>
                    <a:cubicBezTo>
                      <a:pt x="1016" y="589"/>
                      <a:pt x="1065" y="594"/>
                      <a:pt x="1113" y="600"/>
                    </a:cubicBezTo>
                    <a:cubicBezTo>
                      <a:pt x="1102" y="553"/>
                      <a:pt x="1092" y="503"/>
                      <a:pt x="1075" y="461"/>
                    </a:cubicBezTo>
                    <a:cubicBezTo>
                      <a:pt x="1039" y="466"/>
                      <a:pt x="1003" y="470"/>
                      <a:pt x="965" y="472"/>
                    </a:cubicBezTo>
                    <a:close/>
                    <a:moveTo>
                      <a:pt x="1388" y="521"/>
                    </a:moveTo>
                    <a:cubicBezTo>
                      <a:pt x="1391" y="540"/>
                      <a:pt x="1392" y="559"/>
                      <a:pt x="1396" y="577"/>
                    </a:cubicBezTo>
                    <a:cubicBezTo>
                      <a:pt x="1400" y="600"/>
                      <a:pt x="1412" y="620"/>
                      <a:pt x="1416" y="640"/>
                    </a:cubicBezTo>
                    <a:cubicBezTo>
                      <a:pt x="1437" y="628"/>
                      <a:pt x="1459" y="617"/>
                      <a:pt x="1473" y="599"/>
                    </a:cubicBezTo>
                    <a:cubicBezTo>
                      <a:pt x="1470" y="557"/>
                      <a:pt x="1454" y="529"/>
                      <a:pt x="1442" y="496"/>
                    </a:cubicBezTo>
                    <a:cubicBezTo>
                      <a:pt x="1421" y="484"/>
                      <a:pt x="1400" y="473"/>
                      <a:pt x="1376" y="465"/>
                    </a:cubicBezTo>
                    <a:cubicBezTo>
                      <a:pt x="1381" y="483"/>
                      <a:pt x="1385" y="502"/>
                      <a:pt x="1388" y="521"/>
                    </a:cubicBezTo>
                    <a:close/>
                    <a:moveTo>
                      <a:pt x="91" y="491"/>
                    </a:moveTo>
                    <a:cubicBezTo>
                      <a:pt x="82" y="531"/>
                      <a:pt x="72" y="570"/>
                      <a:pt x="69" y="616"/>
                    </a:cubicBezTo>
                    <a:cubicBezTo>
                      <a:pt x="73" y="619"/>
                      <a:pt x="78" y="623"/>
                      <a:pt x="83" y="625"/>
                    </a:cubicBezTo>
                    <a:cubicBezTo>
                      <a:pt x="98" y="568"/>
                      <a:pt x="121" y="515"/>
                      <a:pt x="142" y="467"/>
                    </a:cubicBezTo>
                    <a:cubicBezTo>
                      <a:pt x="124" y="474"/>
                      <a:pt x="107" y="482"/>
                      <a:pt x="91" y="491"/>
                    </a:cubicBezTo>
                    <a:close/>
                    <a:moveTo>
                      <a:pt x="558" y="472"/>
                    </a:moveTo>
                    <a:cubicBezTo>
                      <a:pt x="551" y="509"/>
                      <a:pt x="545" y="548"/>
                      <a:pt x="538" y="586"/>
                    </a:cubicBezTo>
                    <a:cubicBezTo>
                      <a:pt x="562" y="584"/>
                      <a:pt x="586" y="582"/>
                      <a:pt x="611" y="581"/>
                    </a:cubicBezTo>
                    <a:cubicBezTo>
                      <a:pt x="611" y="545"/>
                      <a:pt x="613" y="511"/>
                      <a:pt x="612" y="476"/>
                    </a:cubicBezTo>
                    <a:cubicBezTo>
                      <a:pt x="594" y="474"/>
                      <a:pt x="576" y="474"/>
                      <a:pt x="558" y="472"/>
                    </a:cubicBezTo>
                    <a:close/>
                    <a:moveTo>
                      <a:pt x="915" y="476"/>
                    </a:moveTo>
                    <a:cubicBezTo>
                      <a:pt x="919" y="511"/>
                      <a:pt x="925" y="546"/>
                      <a:pt x="928" y="582"/>
                    </a:cubicBezTo>
                    <a:cubicBezTo>
                      <a:pt x="941" y="582"/>
                      <a:pt x="952" y="584"/>
                      <a:pt x="965" y="584"/>
                    </a:cubicBezTo>
                    <a:cubicBezTo>
                      <a:pt x="965" y="546"/>
                      <a:pt x="963" y="510"/>
                      <a:pt x="963" y="473"/>
                    </a:cubicBezTo>
                    <a:cubicBezTo>
                      <a:pt x="946" y="473"/>
                      <a:pt x="930" y="474"/>
                      <a:pt x="915" y="476"/>
                    </a:cubicBezTo>
                    <a:close/>
                    <a:moveTo>
                      <a:pt x="617" y="476"/>
                    </a:moveTo>
                    <a:cubicBezTo>
                      <a:pt x="614" y="508"/>
                      <a:pt x="615" y="545"/>
                      <a:pt x="615" y="580"/>
                    </a:cubicBezTo>
                    <a:cubicBezTo>
                      <a:pt x="653" y="579"/>
                      <a:pt x="691" y="577"/>
                      <a:pt x="729" y="576"/>
                    </a:cubicBezTo>
                    <a:cubicBezTo>
                      <a:pt x="731" y="545"/>
                      <a:pt x="731" y="511"/>
                      <a:pt x="732" y="479"/>
                    </a:cubicBezTo>
                    <a:cubicBezTo>
                      <a:pt x="693" y="479"/>
                      <a:pt x="654" y="478"/>
                      <a:pt x="617" y="476"/>
                    </a:cubicBezTo>
                    <a:close/>
                    <a:moveTo>
                      <a:pt x="791" y="479"/>
                    </a:moveTo>
                    <a:cubicBezTo>
                      <a:pt x="791" y="513"/>
                      <a:pt x="791" y="544"/>
                      <a:pt x="791" y="576"/>
                    </a:cubicBezTo>
                    <a:cubicBezTo>
                      <a:pt x="836" y="577"/>
                      <a:pt x="881" y="579"/>
                      <a:pt x="924" y="581"/>
                    </a:cubicBezTo>
                    <a:cubicBezTo>
                      <a:pt x="920" y="546"/>
                      <a:pt x="915" y="511"/>
                      <a:pt x="911" y="476"/>
                    </a:cubicBezTo>
                    <a:cubicBezTo>
                      <a:pt x="872" y="478"/>
                      <a:pt x="831" y="479"/>
                      <a:pt x="791" y="479"/>
                    </a:cubicBezTo>
                    <a:close/>
                    <a:moveTo>
                      <a:pt x="736" y="479"/>
                    </a:moveTo>
                    <a:cubicBezTo>
                      <a:pt x="732" y="509"/>
                      <a:pt x="734" y="545"/>
                      <a:pt x="732" y="576"/>
                    </a:cubicBezTo>
                    <a:cubicBezTo>
                      <a:pt x="751" y="576"/>
                      <a:pt x="770" y="576"/>
                      <a:pt x="789" y="576"/>
                    </a:cubicBezTo>
                    <a:cubicBezTo>
                      <a:pt x="789" y="544"/>
                      <a:pt x="789" y="512"/>
                      <a:pt x="789" y="479"/>
                    </a:cubicBezTo>
                    <a:cubicBezTo>
                      <a:pt x="771" y="479"/>
                      <a:pt x="754" y="479"/>
                      <a:pt x="736" y="479"/>
                    </a:cubicBezTo>
                    <a:close/>
                    <a:moveTo>
                      <a:pt x="60" y="512"/>
                    </a:moveTo>
                    <a:cubicBezTo>
                      <a:pt x="53" y="535"/>
                      <a:pt x="44" y="556"/>
                      <a:pt x="37" y="580"/>
                    </a:cubicBezTo>
                    <a:cubicBezTo>
                      <a:pt x="45" y="593"/>
                      <a:pt x="53" y="606"/>
                      <a:pt x="67" y="613"/>
                    </a:cubicBezTo>
                    <a:cubicBezTo>
                      <a:pt x="69" y="569"/>
                      <a:pt x="81" y="529"/>
                      <a:pt x="87" y="493"/>
                    </a:cubicBezTo>
                    <a:cubicBezTo>
                      <a:pt x="78" y="499"/>
                      <a:pt x="69" y="505"/>
                      <a:pt x="60" y="512"/>
                    </a:cubicBezTo>
                    <a:close/>
                    <a:moveTo>
                      <a:pt x="1462" y="539"/>
                    </a:moveTo>
                    <a:cubicBezTo>
                      <a:pt x="1461" y="543"/>
                      <a:pt x="1465" y="539"/>
                      <a:pt x="1462" y="539"/>
                    </a:cubicBezTo>
                    <a:moveTo>
                      <a:pt x="1462" y="539"/>
                    </a:moveTo>
                    <a:cubicBezTo>
                      <a:pt x="1458" y="526"/>
                      <a:pt x="1458" y="502"/>
                      <a:pt x="1446" y="501"/>
                    </a:cubicBezTo>
                    <a:cubicBezTo>
                      <a:pt x="1452" y="512"/>
                      <a:pt x="1456" y="526"/>
                      <a:pt x="1462" y="539"/>
                    </a:cubicBezTo>
                    <a:moveTo>
                      <a:pt x="1480" y="592"/>
                    </a:moveTo>
                    <a:cubicBezTo>
                      <a:pt x="1504" y="563"/>
                      <a:pt x="1482" y="521"/>
                      <a:pt x="1457" y="507"/>
                    </a:cubicBezTo>
                    <a:cubicBezTo>
                      <a:pt x="1465" y="535"/>
                      <a:pt x="1469" y="567"/>
                      <a:pt x="1480" y="592"/>
                    </a:cubicBezTo>
                    <a:close/>
                    <a:moveTo>
                      <a:pt x="36" y="575"/>
                    </a:moveTo>
                    <a:cubicBezTo>
                      <a:pt x="40" y="555"/>
                      <a:pt x="51" y="536"/>
                      <a:pt x="54" y="517"/>
                    </a:cubicBezTo>
                    <a:cubicBezTo>
                      <a:pt x="42" y="529"/>
                      <a:pt x="28" y="553"/>
                      <a:pt x="36" y="575"/>
                    </a:cubicBezTo>
                    <a:close/>
                    <a:moveTo>
                      <a:pt x="1463" y="544"/>
                    </a:moveTo>
                    <a:cubicBezTo>
                      <a:pt x="1462" y="543"/>
                      <a:pt x="1463" y="544"/>
                      <a:pt x="1463" y="544"/>
                    </a:cubicBezTo>
                    <a:close/>
                    <a:moveTo>
                      <a:pt x="1480" y="597"/>
                    </a:moveTo>
                    <a:cubicBezTo>
                      <a:pt x="1494" y="642"/>
                      <a:pt x="1503" y="692"/>
                      <a:pt x="1508" y="747"/>
                    </a:cubicBezTo>
                    <a:cubicBezTo>
                      <a:pt x="1512" y="753"/>
                      <a:pt x="1516" y="760"/>
                      <a:pt x="1519" y="767"/>
                    </a:cubicBezTo>
                    <a:cubicBezTo>
                      <a:pt x="1521" y="690"/>
                      <a:pt x="1511" y="622"/>
                      <a:pt x="1494" y="563"/>
                    </a:cubicBezTo>
                    <a:cubicBezTo>
                      <a:pt x="1493" y="578"/>
                      <a:pt x="1486" y="587"/>
                      <a:pt x="1480" y="597"/>
                    </a:cubicBezTo>
                    <a:close/>
                    <a:moveTo>
                      <a:pt x="17" y="654"/>
                    </a:moveTo>
                    <a:cubicBezTo>
                      <a:pt x="21" y="628"/>
                      <a:pt x="28" y="604"/>
                      <a:pt x="34" y="580"/>
                    </a:cubicBezTo>
                    <a:cubicBezTo>
                      <a:pt x="33" y="577"/>
                      <a:pt x="32" y="573"/>
                      <a:pt x="30" y="570"/>
                    </a:cubicBezTo>
                    <a:cubicBezTo>
                      <a:pt x="26" y="597"/>
                      <a:pt x="18" y="626"/>
                      <a:pt x="17" y="654"/>
                    </a:cubicBezTo>
                    <a:close/>
                    <a:moveTo>
                      <a:pt x="615" y="583"/>
                    </a:moveTo>
                    <a:cubicBezTo>
                      <a:pt x="616" y="635"/>
                      <a:pt x="617" y="686"/>
                      <a:pt x="620" y="736"/>
                    </a:cubicBezTo>
                    <a:cubicBezTo>
                      <a:pt x="655" y="737"/>
                      <a:pt x="690" y="739"/>
                      <a:pt x="726" y="739"/>
                    </a:cubicBezTo>
                    <a:cubicBezTo>
                      <a:pt x="728" y="686"/>
                      <a:pt x="729" y="633"/>
                      <a:pt x="729" y="579"/>
                    </a:cubicBezTo>
                    <a:cubicBezTo>
                      <a:pt x="690" y="580"/>
                      <a:pt x="652" y="581"/>
                      <a:pt x="615" y="583"/>
                    </a:cubicBezTo>
                    <a:close/>
                    <a:moveTo>
                      <a:pt x="729" y="739"/>
                    </a:moveTo>
                    <a:cubicBezTo>
                      <a:pt x="750" y="738"/>
                      <a:pt x="769" y="740"/>
                      <a:pt x="788" y="739"/>
                    </a:cubicBezTo>
                    <a:cubicBezTo>
                      <a:pt x="788" y="685"/>
                      <a:pt x="790" y="633"/>
                      <a:pt x="789" y="579"/>
                    </a:cubicBezTo>
                    <a:cubicBezTo>
                      <a:pt x="770" y="579"/>
                      <a:pt x="752" y="579"/>
                      <a:pt x="733" y="579"/>
                    </a:cubicBezTo>
                    <a:cubicBezTo>
                      <a:pt x="730" y="630"/>
                      <a:pt x="731" y="686"/>
                      <a:pt x="729" y="739"/>
                    </a:cubicBezTo>
                    <a:close/>
                    <a:moveTo>
                      <a:pt x="791" y="582"/>
                    </a:moveTo>
                    <a:cubicBezTo>
                      <a:pt x="791" y="634"/>
                      <a:pt x="791" y="687"/>
                      <a:pt x="791" y="739"/>
                    </a:cubicBezTo>
                    <a:cubicBezTo>
                      <a:pt x="842" y="739"/>
                      <a:pt x="890" y="736"/>
                      <a:pt x="938" y="734"/>
                    </a:cubicBezTo>
                    <a:cubicBezTo>
                      <a:pt x="934" y="683"/>
                      <a:pt x="930" y="633"/>
                      <a:pt x="924" y="584"/>
                    </a:cubicBezTo>
                    <a:cubicBezTo>
                      <a:pt x="881" y="581"/>
                      <a:pt x="837" y="580"/>
                      <a:pt x="792" y="579"/>
                    </a:cubicBezTo>
                    <a:cubicBezTo>
                      <a:pt x="791" y="579"/>
                      <a:pt x="791" y="581"/>
                      <a:pt x="791" y="582"/>
                    </a:cubicBezTo>
                    <a:close/>
                    <a:moveTo>
                      <a:pt x="538" y="588"/>
                    </a:moveTo>
                    <a:cubicBezTo>
                      <a:pt x="531" y="634"/>
                      <a:pt x="526" y="681"/>
                      <a:pt x="521" y="729"/>
                    </a:cubicBezTo>
                    <a:cubicBezTo>
                      <a:pt x="552" y="732"/>
                      <a:pt x="584" y="734"/>
                      <a:pt x="616" y="736"/>
                    </a:cubicBezTo>
                    <a:cubicBezTo>
                      <a:pt x="612" y="686"/>
                      <a:pt x="615" y="630"/>
                      <a:pt x="609" y="583"/>
                    </a:cubicBezTo>
                    <a:cubicBezTo>
                      <a:pt x="586" y="585"/>
                      <a:pt x="562" y="587"/>
                      <a:pt x="538" y="588"/>
                    </a:cubicBezTo>
                    <a:close/>
                    <a:moveTo>
                      <a:pt x="929" y="584"/>
                    </a:moveTo>
                    <a:cubicBezTo>
                      <a:pt x="933" y="634"/>
                      <a:pt x="939" y="682"/>
                      <a:pt x="942" y="734"/>
                    </a:cubicBezTo>
                    <a:cubicBezTo>
                      <a:pt x="946" y="733"/>
                      <a:pt x="953" y="733"/>
                      <a:pt x="959" y="733"/>
                    </a:cubicBezTo>
                    <a:cubicBezTo>
                      <a:pt x="962" y="685"/>
                      <a:pt x="963" y="636"/>
                      <a:pt x="965" y="587"/>
                    </a:cubicBezTo>
                    <a:cubicBezTo>
                      <a:pt x="953" y="585"/>
                      <a:pt x="941" y="585"/>
                      <a:pt x="929" y="584"/>
                    </a:cubicBezTo>
                    <a:close/>
                    <a:moveTo>
                      <a:pt x="13" y="752"/>
                    </a:moveTo>
                    <a:cubicBezTo>
                      <a:pt x="25" y="732"/>
                      <a:pt x="46" y="719"/>
                      <a:pt x="63" y="704"/>
                    </a:cubicBezTo>
                    <a:cubicBezTo>
                      <a:pt x="63" y="674"/>
                      <a:pt x="63" y="645"/>
                      <a:pt x="66" y="618"/>
                    </a:cubicBezTo>
                    <a:cubicBezTo>
                      <a:pt x="54" y="609"/>
                      <a:pt x="45" y="597"/>
                      <a:pt x="35" y="585"/>
                    </a:cubicBezTo>
                    <a:cubicBezTo>
                      <a:pt x="23" y="635"/>
                      <a:pt x="7" y="690"/>
                      <a:pt x="13" y="752"/>
                    </a:cubicBezTo>
                    <a:close/>
                    <a:moveTo>
                      <a:pt x="967" y="587"/>
                    </a:moveTo>
                    <a:cubicBezTo>
                      <a:pt x="965" y="635"/>
                      <a:pt x="965" y="686"/>
                      <a:pt x="961" y="732"/>
                    </a:cubicBezTo>
                    <a:cubicBezTo>
                      <a:pt x="1017" y="729"/>
                      <a:pt x="1071" y="723"/>
                      <a:pt x="1123" y="716"/>
                    </a:cubicBezTo>
                    <a:cubicBezTo>
                      <a:pt x="1132" y="675"/>
                      <a:pt x="1121" y="639"/>
                      <a:pt x="1114" y="603"/>
                    </a:cubicBezTo>
                    <a:cubicBezTo>
                      <a:pt x="1067" y="597"/>
                      <a:pt x="1018" y="591"/>
                      <a:pt x="967" y="587"/>
                    </a:cubicBezTo>
                    <a:close/>
                    <a:moveTo>
                      <a:pt x="1476" y="597"/>
                    </a:moveTo>
                    <a:cubicBezTo>
                      <a:pt x="1478" y="594"/>
                      <a:pt x="1476" y="589"/>
                      <a:pt x="1474" y="587"/>
                    </a:cubicBezTo>
                    <a:cubicBezTo>
                      <a:pt x="1475" y="590"/>
                      <a:pt x="1475" y="594"/>
                      <a:pt x="1476" y="597"/>
                    </a:cubicBezTo>
                    <a:close/>
                    <a:moveTo>
                      <a:pt x="445" y="599"/>
                    </a:moveTo>
                    <a:cubicBezTo>
                      <a:pt x="446" y="641"/>
                      <a:pt x="448" y="683"/>
                      <a:pt x="452" y="722"/>
                    </a:cubicBezTo>
                    <a:cubicBezTo>
                      <a:pt x="474" y="725"/>
                      <a:pt x="496" y="727"/>
                      <a:pt x="518" y="729"/>
                    </a:cubicBezTo>
                    <a:cubicBezTo>
                      <a:pt x="523" y="682"/>
                      <a:pt x="528" y="634"/>
                      <a:pt x="535" y="589"/>
                    </a:cubicBezTo>
                    <a:cubicBezTo>
                      <a:pt x="504" y="591"/>
                      <a:pt x="475" y="595"/>
                      <a:pt x="445" y="599"/>
                    </a:cubicBezTo>
                    <a:close/>
                    <a:moveTo>
                      <a:pt x="1398" y="592"/>
                    </a:moveTo>
                    <a:cubicBezTo>
                      <a:pt x="1398" y="610"/>
                      <a:pt x="1399" y="628"/>
                      <a:pt x="1399" y="647"/>
                    </a:cubicBezTo>
                    <a:cubicBezTo>
                      <a:pt x="1404" y="644"/>
                      <a:pt x="1410" y="644"/>
                      <a:pt x="1412" y="640"/>
                    </a:cubicBezTo>
                    <a:cubicBezTo>
                      <a:pt x="1407" y="624"/>
                      <a:pt x="1403" y="607"/>
                      <a:pt x="1398" y="592"/>
                    </a:cubicBezTo>
                    <a:moveTo>
                      <a:pt x="1398" y="592"/>
                    </a:moveTo>
                    <a:cubicBezTo>
                      <a:pt x="1399" y="587"/>
                      <a:pt x="1395" y="591"/>
                      <a:pt x="1398" y="592"/>
                    </a:cubicBezTo>
                    <a:moveTo>
                      <a:pt x="354" y="612"/>
                    </a:moveTo>
                    <a:cubicBezTo>
                      <a:pt x="346" y="641"/>
                      <a:pt x="341" y="673"/>
                      <a:pt x="335" y="705"/>
                    </a:cubicBezTo>
                    <a:cubicBezTo>
                      <a:pt x="372" y="712"/>
                      <a:pt x="409" y="718"/>
                      <a:pt x="449" y="721"/>
                    </a:cubicBezTo>
                    <a:cubicBezTo>
                      <a:pt x="445" y="682"/>
                      <a:pt x="445" y="639"/>
                      <a:pt x="441" y="599"/>
                    </a:cubicBezTo>
                    <a:cubicBezTo>
                      <a:pt x="412" y="603"/>
                      <a:pt x="383" y="607"/>
                      <a:pt x="354" y="612"/>
                    </a:cubicBezTo>
                    <a:close/>
                    <a:moveTo>
                      <a:pt x="1483" y="721"/>
                    </a:moveTo>
                    <a:cubicBezTo>
                      <a:pt x="1487" y="724"/>
                      <a:pt x="1490" y="729"/>
                      <a:pt x="1494" y="733"/>
                    </a:cubicBezTo>
                    <a:cubicBezTo>
                      <a:pt x="1498" y="736"/>
                      <a:pt x="1504" y="743"/>
                      <a:pt x="1505" y="742"/>
                    </a:cubicBezTo>
                    <a:cubicBezTo>
                      <a:pt x="1499" y="690"/>
                      <a:pt x="1492" y="641"/>
                      <a:pt x="1477" y="599"/>
                    </a:cubicBezTo>
                    <a:cubicBezTo>
                      <a:pt x="1480" y="635"/>
                      <a:pt x="1484" y="678"/>
                      <a:pt x="1483" y="721"/>
                    </a:cubicBezTo>
                    <a:close/>
                    <a:moveTo>
                      <a:pt x="1416" y="642"/>
                    </a:moveTo>
                    <a:cubicBezTo>
                      <a:pt x="1419" y="657"/>
                      <a:pt x="1423" y="671"/>
                      <a:pt x="1425" y="686"/>
                    </a:cubicBezTo>
                    <a:cubicBezTo>
                      <a:pt x="1441" y="692"/>
                      <a:pt x="1456" y="703"/>
                      <a:pt x="1468" y="711"/>
                    </a:cubicBezTo>
                    <a:cubicBezTo>
                      <a:pt x="1472" y="714"/>
                      <a:pt x="1478" y="718"/>
                      <a:pt x="1480" y="718"/>
                    </a:cubicBezTo>
                    <a:cubicBezTo>
                      <a:pt x="1480" y="677"/>
                      <a:pt x="1480" y="637"/>
                      <a:pt x="1473" y="603"/>
                    </a:cubicBezTo>
                    <a:cubicBezTo>
                      <a:pt x="1457" y="619"/>
                      <a:pt x="1438" y="632"/>
                      <a:pt x="1416" y="642"/>
                    </a:cubicBezTo>
                    <a:close/>
                    <a:moveTo>
                      <a:pt x="1128" y="658"/>
                    </a:moveTo>
                    <a:cubicBezTo>
                      <a:pt x="1128" y="640"/>
                      <a:pt x="1129" y="623"/>
                      <a:pt x="1130" y="605"/>
                    </a:cubicBezTo>
                    <a:cubicBezTo>
                      <a:pt x="1124" y="606"/>
                      <a:pt x="1122" y="604"/>
                      <a:pt x="1117" y="604"/>
                    </a:cubicBezTo>
                    <a:cubicBezTo>
                      <a:pt x="1120" y="623"/>
                      <a:pt x="1124" y="640"/>
                      <a:pt x="1128" y="658"/>
                    </a:cubicBezTo>
                    <a:close/>
                    <a:moveTo>
                      <a:pt x="1134" y="606"/>
                    </a:moveTo>
                    <a:cubicBezTo>
                      <a:pt x="1132" y="607"/>
                      <a:pt x="1132" y="607"/>
                      <a:pt x="1132" y="609"/>
                    </a:cubicBezTo>
                    <a:cubicBezTo>
                      <a:pt x="1131" y="648"/>
                      <a:pt x="1128" y="682"/>
                      <a:pt x="1136" y="714"/>
                    </a:cubicBezTo>
                    <a:cubicBezTo>
                      <a:pt x="1184" y="707"/>
                      <a:pt x="1230" y="698"/>
                      <a:pt x="1274" y="688"/>
                    </a:cubicBezTo>
                    <a:cubicBezTo>
                      <a:pt x="1276" y="671"/>
                      <a:pt x="1276" y="653"/>
                      <a:pt x="1277" y="635"/>
                    </a:cubicBezTo>
                    <a:cubicBezTo>
                      <a:pt x="1230" y="624"/>
                      <a:pt x="1183" y="614"/>
                      <a:pt x="1134" y="606"/>
                    </a:cubicBezTo>
                    <a:close/>
                    <a:moveTo>
                      <a:pt x="349" y="613"/>
                    </a:moveTo>
                    <a:cubicBezTo>
                      <a:pt x="330" y="617"/>
                      <a:pt x="311" y="621"/>
                      <a:pt x="292" y="624"/>
                    </a:cubicBezTo>
                    <a:cubicBezTo>
                      <a:pt x="292" y="650"/>
                      <a:pt x="293" y="674"/>
                      <a:pt x="295" y="697"/>
                    </a:cubicBezTo>
                    <a:cubicBezTo>
                      <a:pt x="307" y="700"/>
                      <a:pt x="319" y="703"/>
                      <a:pt x="332" y="704"/>
                    </a:cubicBezTo>
                    <a:cubicBezTo>
                      <a:pt x="337" y="674"/>
                      <a:pt x="345" y="641"/>
                      <a:pt x="349" y="613"/>
                    </a:cubicBezTo>
                    <a:close/>
                    <a:moveTo>
                      <a:pt x="1279" y="634"/>
                    </a:moveTo>
                    <a:cubicBezTo>
                      <a:pt x="1282" y="634"/>
                      <a:pt x="1283" y="634"/>
                      <a:pt x="1284" y="635"/>
                    </a:cubicBezTo>
                    <a:cubicBezTo>
                      <a:pt x="1283" y="628"/>
                      <a:pt x="1282" y="622"/>
                      <a:pt x="1279" y="617"/>
                    </a:cubicBezTo>
                    <a:cubicBezTo>
                      <a:pt x="1279" y="623"/>
                      <a:pt x="1279" y="628"/>
                      <a:pt x="1279" y="634"/>
                    </a:cubicBezTo>
                    <a:close/>
                    <a:moveTo>
                      <a:pt x="67" y="699"/>
                    </a:moveTo>
                    <a:cubicBezTo>
                      <a:pt x="70" y="674"/>
                      <a:pt x="76" y="651"/>
                      <a:pt x="82" y="628"/>
                    </a:cubicBezTo>
                    <a:cubicBezTo>
                      <a:pt x="77" y="626"/>
                      <a:pt x="74" y="621"/>
                      <a:pt x="68" y="620"/>
                    </a:cubicBezTo>
                    <a:cubicBezTo>
                      <a:pt x="67" y="645"/>
                      <a:pt x="64" y="674"/>
                      <a:pt x="67" y="699"/>
                    </a:cubicBezTo>
                    <a:close/>
                    <a:moveTo>
                      <a:pt x="288" y="625"/>
                    </a:moveTo>
                    <a:cubicBezTo>
                      <a:pt x="255" y="634"/>
                      <a:pt x="221" y="642"/>
                      <a:pt x="190" y="652"/>
                    </a:cubicBezTo>
                    <a:cubicBezTo>
                      <a:pt x="189" y="659"/>
                      <a:pt x="188" y="664"/>
                      <a:pt x="186" y="670"/>
                    </a:cubicBezTo>
                    <a:cubicBezTo>
                      <a:pt x="220" y="680"/>
                      <a:pt x="255" y="690"/>
                      <a:pt x="293" y="696"/>
                    </a:cubicBezTo>
                    <a:cubicBezTo>
                      <a:pt x="290" y="673"/>
                      <a:pt x="291" y="648"/>
                      <a:pt x="288" y="625"/>
                    </a:cubicBezTo>
                    <a:close/>
                    <a:moveTo>
                      <a:pt x="69" y="701"/>
                    </a:moveTo>
                    <a:cubicBezTo>
                      <a:pt x="95" y="687"/>
                      <a:pt x="122" y="673"/>
                      <a:pt x="152" y="663"/>
                    </a:cubicBezTo>
                    <a:cubicBezTo>
                      <a:pt x="130" y="651"/>
                      <a:pt x="104" y="643"/>
                      <a:pt x="84" y="629"/>
                    </a:cubicBezTo>
                    <a:cubicBezTo>
                      <a:pt x="79" y="653"/>
                      <a:pt x="73" y="676"/>
                      <a:pt x="69" y="701"/>
                    </a:cubicBezTo>
                    <a:close/>
                    <a:moveTo>
                      <a:pt x="1277" y="687"/>
                    </a:moveTo>
                    <a:cubicBezTo>
                      <a:pt x="1283" y="685"/>
                      <a:pt x="1289" y="684"/>
                      <a:pt x="1296" y="682"/>
                    </a:cubicBezTo>
                    <a:cubicBezTo>
                      <a:pt x="1292" y="667"/>
                      <a:pt x="1290" y="652"/>
                      <a:pt x="1285" y="638"/>
                    </a:cubicBezTo>
                    <a:cubicBezTo>
                      <a:pt x="1284" y="637"/>
                      <a:pt x="1281" y="637"/>
                      <a:pt x="1279" y="636"/>
                    </a:cubicBezTo>
                    <a:cubicBezTo>
                      <a:pt x="1278" y="652"/>
                      <a:pt x="1278" y="670"/>
                      <a:pt x="1277" y="687"/>
                    </a:cubicBezTo>
                    <a:close/>
                    <a:moveTo>
                      <a:pt x="1298" y="681"/>
                    </a:moveTo>
                    <a:cubicBezTo>
                      <a:pt x="1320" y="675"/>
                      <a:pt x="1342" y="670"/>
                      <a:pt x="1362" y="661"/>
                    </a:cubicBezTo>
                    <a:cubicBezTo>
                      <a:pt x="1338" y="654"/>
                      <a:pt x="1315" y="645"/>
                      <a:pt x="1289" y="639"/>
                    </a:cubicBezTo>
                    <a:cubicBezTo>
                      <a:pt x="1291" y="653"/>
                      <a:pt x="1296" y="666"/>
                      <a:pt x="1298" y="681"/>
                    </a:cubicBezTo>
                    <a:close/>
                    <a:moveTo>
                      <a:pt x="1399" y="649"/>
                    </a:moveTo>
                    <a:cubicBezTo>
                      <a:pt x="1399" y="657"/>
                      <a:pt x="1399" y="665"/>
                      <a:pt x="1399" y="673"/>
                    </a:cubicBezTo>
                    <a:cubicBezTo>
                      <a:pt x="1407" y="677"/>
                      <a:pt x="1415" y="680"/>
                      <a:pt x="1422" y="684"/>
                    </a:cubicBezTo>
                    <a:cubicBezTo>
                      <a:pt x="1419" y="671"/>
                      <a:pt x="1418" y="655"/>
                      <a:pt x="1412" y="644"/>
                    </a:cubicBezTo>
                    <a:cubicBezTo>
                      <a:pt x="1409" y="646"/>
                      <a:pt x="1404" y="648"/>
                      <a:pt x="1399" y="649"/>
                    </a:cubicBezTo>
                    <a:close/>
                    <a:moveTo>
                      <a:pt x="1371" y="662"/>
                    </a:moveTo>
                    <a:cubicBezTo>
                      <a:pt x="1379" y="665"/>
                      <a:pt x="1388" y="668"/>
                      <a:pt x="1397" y="672"/>
                    </a:cubicBezTo>
                    <a:cubicBezTo>
                      <a:pt x="1396" y="666"/>
                      <a:pt x="1398" y="656"/>
                      <a:pt x="1396" y="651"/>
                    </a:cubicBezTo>
                    <a:cubicBezTo>
                      <a:pt x="1388" y="655"/>
                      <a:pt x="1379" y="658"/>
                      <a:pt x="1371" y="662"/>
                    </a:cubicBezTo>
                    <a:close/>
                    <a:moveTo>
                      <a:pt x="162" y="662"/>
                    </a:moveTo>
                    <a:cubicBezTo>
                      <a:pt x="169" y="664"/>
                      <a:pt x="175" y="668"/>
                      <a:pt x="184" y="669"/>
                    </a:cubicBezTo>
                    <a:cubicBezTo>
                      <a:pt x="184" y="663"/>
                      <a:pt x="187" y="659"/>
                      <a:pt x="187" y="653"/>
                    </a:cubicBezTo>
                    <a:cubicBezTo>
                      <a:pt x="178" y="656"/>
                      <a:pt x="170" y="658"/>
                      <a:pt x="162" y="662"/>
                    </a:cubicBezTo>
                    <a:close/>
                    <a:moveTo>
                      <a:pt x="109" y="683"/>
                    </a:moveTo>
                    <a:cubicBezTo>
                      <a:pt x="98" y="688"/>
                      <a:pt x="72" y="698"/>
                      <a:pt x="68" y="707"/>
                    </a:cubicBezTo>
                    <a:cubicBezTo>
                      <a:pt x="63" y="717"/>
                      <a:pt x="68" y="742"/>
                      <a:pt x="70" y="755"/>
                    </a:cubicBezTo>
                    <a:cubicBezTo>
                      <a:pt x="76" y="807"/>
                      <a:pt x="83" y="853"/>
                      <a:pt x="96" y="893"/>
                    </a:cubicBezTo>
                    <a:cubicBezTo>
                      <a:pt x="107" y="898"/>
                      <a:pt x="117" y="903"/>
                      <a:pt x="127" y="908"/>
                    </a:cubicBezTo>
                    <a:cubicBezTo>
                      <a:pt x="138" y="901"/>
                      <a:pt x="150" y="898"/>
                      <a:pt x="158" y="889"/>
                    </a:cubicBezTo>
                    <a:cubicBezTo>
                      <a:pt x="157" y="859"/>
                      <a:pt x="160" y="834"/>
                      <a:pt x="162" y="808"/>
                    </a:cubicBezTo>
                    <a:cubicBezTo>
                      <a:pt x="163" y="790"/>
                      <a:pt x="168" y="772"/>
                      <a:pt x="168" y="756"/>
                    </a:cubicBezTo>
                    <a:cubicBezTo>
                      <a:pt x="168" y="741"/>
                      <a:pt x="163" y="727"/>
                      <a:pt x="162" y="712"/>
                    </a:cubicBezTo>
                    <a:cubicBezTo>
                      <a:pt x="161" y="696"/>
                      <a:pt x="161" y="681"/>
                      <a:pt x="159" y="665"/>
                    </a:cubicBezTo>
                    <a:cubicBezTo>
                      <a:pt x="159" y="664"/>
                      <a:pt x="159" y="664"/>
                      <a:pt x="158" y="664"/>
                    </a:cubicBezTo>
                    <a:cubicBezTo>
                      <a:pt x="145" y="667"/>
                      <a:pt x="128" y="674"/>
                      <a:pt x="109" y="683"/>
                    </a:cubicBezTo>
                    <a:close/>
                    <a:moveTo>
                      <a:pt x="1367" y="664"/>
                    </a:moveTo>
                    <a:cubicBezTo>
                      <a:pt x="1347" y="670"/>
                      <a:pt x="1321" y="678"/>
                      <a:pt x="1299" y="685"/>
                    </a:cubicBezTo>
                    <a:cubicBezTo>
                      <a:pt x="1311" y="742"/>
                      <a:pt x="1319" y="805"/>
                      <a:pt x="1322" y="872"/>
                    </a:cubicBezTo>
                    <a:cubicBezTo>
                      <a:pt x="1336" y="877"/>
                      <a:pt x="1347" y="884"/>
                      <a:pt x="1362" y="888"/>
                    </a:cubicBezTo>
                    <a:cubicBezTo>
                      <a:pt x="1380" y="824"/>
                      <a:pt x="1394" y="754"/>
                      <a:pt x="1397" y="674"/>
                    </a:cubicBezTo>
                    <a:cubicBezTo>
                      <a:pt x="1386" y="672"/>
                      <a:pt x="1378" y="666"/>
                      <a:pt x="1367" y="664"/>
                    </a:cubicBezTo>
                    <a:close/>
                    <a:moveTo>
                      <a:pt x="170" y="745"/>
                    </a:moveTo>
                    <a:cubicBezTo>
                      <a:pt x="172" y="719"/>
                      <a:pt x="178" y="695"/>
                      <a:pt x="183" y="671"/>
                    </a:cubicBezTo>
                    <a:cubicBezTo>
                      <a:pt x="175" y="670"/>
                      <a:pt x="169" y="667"/>
                      <a:pt x="162" y="665"/>
                    </a:cubicBezTo>
                    <a:cubicBezTo>
                      <a:pt x="164" y="692"/>
                      <a:pt x="164" y="722"/>
                      <a:pt x="170" y="745"/>
                    </a:cubicBezTo>
                    <a:close/>
                    <a:moveTo>
                      <a:pt x="185" y="672"/>
                    </a:moveTo>
                    <a:cubicBezTo>
                      <a:pt x="185" y="673"/>
                      <a:pt x="185" y="674"/>
                      <a:pt x="185" y="675"/>
                    </a:cubicBezTo>
                    <a:cubicBezTo>
                      <a:pt x="182" y="704"/>
                      <a:pt x="169" y="731"/>
                      <a:pt x="171" y="761"/>
                    </a:cubicBezTo>
                    <a:cubicBezTo>
                      <a:pt x="172" y="801"/>
                      <a:pt x="188" y="839"/>
                      <a:pt x="195" y="875"/>
                    </a:cubicBezTo>
                    <a:cubicBezTo>
                      <a:pt x="232" y="860"/>
                      <a:pt x="272" y="848"/>
                      <a:pt x="314" y="837"/>
                    </a:cubicBezTo>
                    <a:cubicBezTo>
                      <a:pt x="306" y="792"/>
                      <a:pt x="297" y="749"/>
                      <a:pt x="294" y="700"/>
                    </a:cubicBezTo>
                    <a:cubicBezTo>
                      <a:pt x="256" y="692"/>
                      <a:pt x="219" y="683"/>
                      <a:pt x="185" y="672"/>
                    </a:cubicBezTo>
                    <a:close/>
                    <a:moveTo>
                      <a:pt x="1364" y="890"/>
                    </a:moveTo>
                    <a:cubicBezTo>
                      <a:pt x="1375" y="896"/>
                      <a:pt x="1385" y="902"/>
                      <a:pt x="1397" y="908"/>
                    </a:cubicBezTo>
                    <a:cubicBezTo>
                      <a:pt x="1411" y="900"/>
                      <a:pt x="1428" y="894"/>
                      <a:pt x="1441" y="885"/>
                    </a:cubicBezTo>
                    <a:cubicBezTo>
                      <a:pt x="1442" y="811"/>
                      <a:pt x="1435" y="747"/>
                      <a:pt x="1423" y="687"/>
                    </a:cubicBezTo>
                    <a:cubicBezTo>
                      <a:pt x="1415" y="684"/>
                      <a:pt x="1408" y="679"/>
                      <a:pt x="1398" y="676"/>
                    </a:cubicBezTo>
                    <a:cubicBezTo>
                      <a:pt x="1397" y="757"/>
                      <a:pt x="1382" y="826"/>
                      <a:pt x="1364" y="890"/>
                    </a:cubicBezTo>
                    <a:close/>
                    <a:moveTo>
                      <a:pt x="1127" y="716"/>
                    </a:moveTo>
                    <a:cubicBezTo>
                      <a:pt x="1127" y="713"/>
                      <a:pt x="1132" y="715"/>
                      <a:pt x="1134" y="715"/>
                    </a:cubicBezTo>
                    <a:cubicBezTo>
                      <a:pt x="1132" y="705"/>
                      <a:pt x="1131" y="694"/>
                      <a:pt x="1129" y="685"/>
                    </a:cubicBezTo>
                    <a:cubicBezTo>
                      <a:pt x="1128" y="694"/>
                      <a:pt x="1125" y="707"/>
                      <a:pt x="1127" y="716"/>
                    </a:cubicBezTo>
                    <a:close/>
                    <a:moveTo>
                      <a:pt x="1277" y="690"/>
                    </a:moveTo>
                    <a:cubicBezTo>
                      <a:pt x="1272" y="746"/>
                      <a:pt x="1263" y="798"/>
                      <a:pt x="1252" y="848"/>
                    </a:cubicBezTo>
                    <a:cubicBezTo>
                      <a:pt x="1275" y="855"/>
                      <a:pt x="1298" y="862"/>
                      <a:pt x="1319" y="871"/>
                    </a:cubicBezTo>
                    <a:cubicBezTo>
                      <a:pt x="1316" y="804"/>
                      <a:pt x="1310" y="740"/>
                      <a:pt x="1295" y="685"/>
                    </a:cubicBezTo>
                    <a:cubicBezTo>
                      <a:pt x="1289" y="687"/>
                      <a:pt x="1283" y="688"/>
                      <a:pt x="1277" y="690"/>
                    </a:cubicBezTo>
                    <a:close/>
                    <a:moveTo>
                      <a:pt x="1443" y="884"/>
                    </a:moveTo>
                    <a:cubicBezTo>
                      <a:pt x="1447" y="884"/>
                      <a:pt x="1454" y="877"/>
                      <a:pt x="1459" y="875"/>
                    </a:cubicBezTo>
                    <a:cubicBezTo>
                      <a:pt x="1470" y="828"/>
                      <a:pt x="1478" y="779"/>
                      <a:pt x="1480" y="723"/>
                    </a:cubicBezTo>
                    <a:cubicBezTo>
                      <a:pt x="1465" y="709"/>
                      <a:pt x="1446" y="699"/>
                      <a:pt x="1426" y="689"/>
                    </a:cubicBezTo>
                    <a:cubicBezTo>
                      <a:pt x="1437" y="748"/>
                      <a:pt x="1446" y="814"/>
                      <a:pt x="1443" y="884"/>
                    </a:cubicBezTo>
                    <a:close/>
                    <a:moveTo>
                      <a:pt x="1136" y="718"/>
                    </a:moveTo>
                    <a:cubicBezTo>
                      <a:pt x="1142" y="751"/>
                      <a:pt x="1146" y="785"/>
                      <a:pt x="1148" y="822"/>
                    </a:cubicBezTo>
                    <a:cubicBezTo>
                      <a:pt x="1182" y="830"/>
                      <a:pt x="1216" y="838"/>
                      <a:pt x="1249" y="847"/>
                    </a:cubicBezTo>
                    <a:cubicBezTo>
                      <a:pt x="1260" y="798"/>
                      <a:pt x="1269" y="747"/>
                      <a:pt x="1274" y="691"/>
                    </a:cubicBezTo>
                    <a:cubicBezTo>
                      <a:pt x="1273" y="691"/>
                      <a:pt x="1272" y="691"/>
                      <a:pt x="1272" y="691"/>
                    </a:cubicBezTo>
                    <a:cubicBezTo>
                      <a:pt x="1229" y="702"/>
                      <a:pt x="1181" y="708"/>
                      <a:pt x="1136" y="718"/>
                    </a:cubicBezTo>
                    <a:close/>
                    <a:moveTo>
                      <a:pt x="317" y="834"/>
                    </a:moveTo>
                    <a:cubicBezTo>
                      <a:pt x="320" y="790"/>
                      <a:pt x="325" y="747"/>
                      <a:pt x="332" y="707"/>
                    </a:cubicBezTo>
                    <a:cubicBezTo>
                      <a:pt x="319" y="706"/>
                      <a:pt x="307" y="703"/>
                      <a:pt x="295" y="700"/>
                    </a:cubicBezTo>
                    <a:cubicBezTo>
                      <a:pt x="301" y="747"/>
                      <a:pt x="306" y="792"/>
                      <a:pt x="317" y="834"/>
                    </a:cubicBezTo>
                    <a:close/>
                    <a:moveTo>
                      <a:pt x="334" y="708"/>
                    </a:moveTo>
                    <a:cubicBezTo>
                      <a:pt x="329" y="749"/>
                      <a:pt x="320" y="792"/>
                      <a:pt x="320" y="836"/>
                    </a:cubicBezTo>
                    <a:cubicBezTo>
                      <a:pt x="364" y="824"/>
                      <a:pt x="411" y="815"/>
                      <a:pt x="460" y="809"/>
                    </a:cubicBezTo>
                    <a:cubicBezTo>
                      <a:pt x="456" y="781"/>
                      <a:pt x="452" y="754"/>
                      <a:pt x="450" y="724"/>
                    </a:cubicBezTo>
                    <a:cubicBezTo>
                      <a:pt x="410" y="721"/>
                      <a:pt x="372" y="714"/>
                      <a:pt x="334" y="708"/>
                    </a:cubicBezTo>
                    <a:close/>
                    <a:moveTo>
                      <a:pt x="12" y="759"/>
                    </a:moveTo>
                    <a:cubicBezTo>
                      <a:pt x="10" y="769"/>
                      <a:pt x="13" y="784"/>
                      <a:pt x="14" y="796"/>
                    </a:cubicBezTo>
                    <a:cubicBezTo>
                      <a:pt x="15" y="809"/>
                      <a:pt x="15" y="823"/>
                      <a:pt x="18" y="833"/>
                    </a:cubicBezTo>
                    <a:cubicBezTo>
                      <a:pt x="21" y="843"/>
                      <a:pt x="38" y="854"/>
                      <a:pt x="45" y="860"/>
                    </a:cubicBezTo>
                    <a:cubicBezTo>
                      <a:pt x="48" y="862"/>
                      <a:pt x="50" y="867"/>
                      <a:pt x="54" y="865"/>
                    </a:cubicBezTo>
                    <a:cubicBezTo>
                      <a:pt x="52" y="809"/>
                      <a:pt x="59" y="757"/>
                      <a:pt x="63" y="710"/>
                    </a:cubicBezTo>
                    <a:cubicBezTo>
                      <a:pt x="63" y="709"/>
                      <a:pt x="63" y="709"/>
                      <a:pt x="62" y="709"/>
                    </a:cubicBezTo>
                    <a:cubicBezTo>
                      <a:pt x="50" y="719"/>
                      <a:pt x="16" y="741"/>
                      <a:pt x="12" y="759"/>
                    </a:cubicBezTo>
                    <a:close/>
                    <a:moveTo>
                      <a:pt x="1134" y="718"/>
                    </a:moveTo>
                    <a:cubicBezTo>
                      <a:pt x="1133" y="716"/>
                      <a:pt x="1129" y="719"/>
                      <a:pt x="1126" y="718"/>
                    </a:cubicBezTo>
                    <a:cubicBezTo>
                      <a:pt x="1122" y="751"/>
                      <a:pt x="1118" y="785"/>
                      <a:pt x="1112" y="816"/>
                    </a:cubicBezTo>
                    <a:cubicBezTo>
                      <a:pt x="1124" y="818"/>
                      <a:pt x="1134" y="821"/>
                      <a:pt x="1146" y="822"/>
                    </a:cubicBezTo>
                    <a:cubicBezTo>
                      <a:pt x="1143" y="787"/>
                      <a:pt x="1139" y="752"/>
                      <a:pt x="1134" y="718"/>
                    </a:cubicBezTo>
                    <a:close/>
                    <a:moveTo>
                      <a:pt x="961" y="735"/>
                    </a:moveTo>
                    <a:cubicBezTo>
                      <a:pt x="960" y="755"/>
                      <a:pt x="958" y="775"/>
                      <a:pt x="956" y="795"/>
                    </a:cubicBezTo>
                    <a:cubicBezTo>
                      <a:pt x="1009" y="801"/>
                      <a:pt x="1060" y="807"/>
                      <a:pt x="1110" y="815"/>
                    </a:cubicBezTo>
                    <a:cubicBezTo>
                      <a:pt x="1113" y="784"/>
                      <a:pt x="1123" y="748"/>
                      <a:pt x="1121" y="719"/>
                    </a:cubicBezTo>
                    <a:cubicBezTo>
                      <a:pt x="1070" y="726"/>
                      <a:pt x="1016" y="732"/>
                      <a:pt x="961" y="735"/>
                    </a:cubicBezTo>
                    <a:close/>
                    <a:moveTo>
                      <a:pt x="1462" y="872"/>
                    </a:moveTo>
                    <a:cubicBezTo>
                      <a:pt x="1480" y="862"/>
                      <a:pt x="1495" y="848"/>
                      <a:pt x="1507" y="832"/>
                    </a:cubicBezTo>
                    <a:cubicBezTo>
                      <a:pt x="1507" y="814"/>
                      <a:pt x="1508" y="802"/>
                      <a:pt x="1507" y="786"/>
                    </a:cubicBezTo>
                    <a:cubicBezTo>
                      <a:pt x="1506" y="773"/>
                      <a:pt x="1508" y="759"/>
                      <a:pt x="1506" y="750"/>
                    </a:cubicBezTo>
                    <a:cubicBezTo>
                      <a:pt x="1503" y="738"/>
                      <a:pt x="1488" y="733"/>
                      <a:pt x="1482" y="724"/>
                    </a:cubicBezTo>
                    <a:cubicBezTo>
                      <a:pt x="1481" y="779"/>
                      <a:pt x="1472" y="827"/>
                      <a:pt x="1462" y="872"/>
                    </a:cubicBezTo>
                    <a:close/>
                    <a:moveTo>
                      <a:pt x="462" y="808"/>
                    </a:moveTo>
                    <a:cubicBezTo>
                      <a:pt x="479" y="806"/>
                      <a:pt x="496" y="804"/>
                      <a:pt x="512" y="801"/>
                    </a:cubicBezTo>
                    <a:cubicBezTo>
                      <a:pt x="515" y="778"/>
                      <a:pt x="516" y="755"/>
                      <a:pt x="518" y="732"/>
                    </a:cubicBezTo>
                    <a:cubicBezTo>
                      <a:pt x="496" y="729"/>
                      <a:pt x="474" y="727"/>
                      <a:pt x="452" y="725"/>
                    </a:cubicBezTo>
                    <a:cubicBezTo>
                      <a:pt x="455" y="753"/>
                      <a:pt x="458" y="780"/>
                      <a:pt x="462" y="808"/>
                    </a:cubicBezTo>
                    <a:close/>
                    <a:moveTo>
                      <a:pt x="56" y="868"/>
                    </a:moveTo>
                    <a:cubicBezTo>
                      <a:pt x="66" y="877"/>
                      <a:pt x="79" y="884"/>
                      <a:pt x="92" y="890"/>
                    </a:cubicBezTo>
                    <a:cubicBezTo>
                      <a:pt x="79" y="840"/>
                      <a:pt x="69" y="787"/>
                      <a:pt x="64" y="728"/>
                    </a:cubicBezTo>
                    <a:cubicBezTo>
                      <a:pt x="58" y="772"/>
                      <a:pt x="55" y="818"/>
                      <a:pt x="56" y="868"/>
                    </a:cubicBezTo>
                    <a:close/>
                    <a:moveTo>
                      <a:pt x="522" y="732"/>
                    </a:moveTo>
                    <a:cubicBezTo>
                      <a:pt x="518" y="753"/>
                      <a:pt x="518" y="778"/>
                      <a:pt x="515" y="801"/>
                    </a:cubicBezTo>
                    <a:cubicBezTo>
                      <a:pt x="549" y="797"/>
                      <a:pt x="584" y="794"/>
                      <a:pt x="619" y="791"/>
                    </a:cubicBezTo>
                    <a:cubicBezTo>
                      <a:pt x="619" y="773"/>
                      <a:pt x="617" y="756"/>
                      <a:pt x="616" y="739"/>
                    </a:cubicBezTo>
                    <a:cubicBezTo>
                      <a:pt x="585" y="736"/>
                      <a:pt x="553" y="735"/>
                      <a:pt x="522" y="732"/>
                    </a:cubicBezTo>
                    <a:close/>
                    <a:moveTo>
                      <a:pt x="8" y="761"/>
                    </a:moveTo>
                    <a:cubicBezTo>
                      <a:pt x="10" y="754"/>
                      <a:pt x="10" y="740"/>
                      <a:pt x="8" y="733"/>
                    </a:cubicBezTo>
                    <a:cubicBezTo>
                      <a:pt x="10" y="743"/>
                      <a:pt x="6" y="753"/>
                      <a:pt x="8" y="761"/>
                    </a:cubicBezTo>
                    <a:close/>
                    <a:moveTo>
                      <a:pt x="942" y="737"/>
                    </a:moveTo>
                    <a:cubicBezTo>
                      <a:pt x="943" y="757"/>
                      <a:pt x="945" y="775"/>
                      <a:pt x="945" y="795"/>
                    </a:cubicBezTo>
                    <a:cubicBezTo>
                      <a:pt x="948" y="795"/>
                      <a:pt x="950" y="795"/>
                      <a:pt x="953" y="795"/>
                    </a:cubicBezTo>
                    <a:cubicBezTo>
                      <a:pt x="956" y="776"/>
                      <a:pt x="957" y="756"/>
                      <a:pt x="958" y="736"/>
                    </a:cubicBezTo>
                    <a:cubicBezTo>
                      <a:pt x="953" y="736"/>
                      <a:pt x="946" y="735"/>
                      <a:pt x="942" y="737"/>
                    </a:cubicBezTo>
                    <a:close/>
                    <a:moveTo>
                      <a:pt x="790" y="742"/>
                    </a:moveTo>
                    <a:cubicBezTo>
                      <a:pt x="790" y="757"/>
                      <a:pt x="790" y="772"/>
                      <a:pt x="790" y="788"/>
                    </a:cubicBezTo>
                    <a:cubicBezTo>
                      <a:pt x="843" y="788"/>
                      <a:pt x="892" y="791"/>
                      <a:pt x="942" y="794"/>
                    </a:cubicBezTo>
                    <a:cubicBezTo>
                      <a:pt x="940" y="776"/>
                      <a:pt x="940" y="755"/>
                      <a:pt x="938" y="737"/>
                    </a:cubicBezTo>
                    <a:cubicBezTo>
                      <a:pt x="889" y="739"/>
                      <a:pt x="841" y="742"/>
                      <a:pt x="790" y="742"/>
                    </a:cubicBezTo>
                    <a:close/>
                    <a:moveTo>
                      <a:pt x="621" y="739"/>
                    </a:moveTo>
                    <a:cubicBezTo>
                      <a:pt x="619" y="755"/>
                      <a:pt x="623" y="774"/>
                      <a:pt x="623" y="791"/>
                    </a:cubicBezTo>
                    <a:cubicBezTo>
                      <a:pt x="657" y="790"/>
                      <a:pt x="691" y="788"/>
                      <a:pt x="726" y="788"/>
                    </a:cubicBezTo>
                    <a:cubicBezTo>
                      <a:pt x="726" y="772"/>
                      <a:pt x="726" y="757"/>
                      <a:pt x="726" y="742"/>
                    </a:cubicBezTo>
                    <a:cubicBezTo>
                      <a:pt x="690" y="742"/>
                      <a:pt x="656" y="740"/>
                      <a:pt x="621" y="739"/>
                    </a:cubicBezTo>
                    <a:close/>
                    <a:moveTo>
                      <a:pt x="729" y="742"/>
                    </a:moveTo>
                    <a:cubicBezTo>
                      <a:pt x="729" y="757"/>
                      <a:pt x="729" y="772"/>
                      <a:pt x="729" y="788"/>
                    </a:cubicBezTo>
                    <a:cubicBezTo>
                      <a:pt x="749" y="788"/>
                      <a:pt x="768" y="788"/>
                      <a:pt x="787" y="788"/>
                    </a:cubicBezTo>
                    <a:cubicBezTo>
                      <a:pt x="788" y="773"/>
                      <a:pt x="788" y="757"/>
                      <a:pt x="788" y="742"/>
                    </a:cubicBezTo>
                    <a:cubicBezTo>
                      <a:pt x="768" y="742"/>
                      <a:pt x="749" y="742"/>
                      <a:pt x="729" y="742"/>
                    </a:cubicBezTo>
                    <a:close/>
                    <a:moveTo>
                      <a:pt x="1508" y="753"/>
                    </a:moveTo>
                    <a:cubicBezTo>
                      <a:pt x="1508" y="753"/>
                      <a:pt x="1509" y="754"/>
                      <a:pt x="1508" y="753"/>
                    </a:cubicBezTo>
                    <a:close/>
                    <a:moveTo>
                      <a:pt x="1511" y="827"/>
                    </a:moveTo>
                    <a:cubicBezTo>
                      <a:pt x="1520" y="808"/>
                      <a:pt x="1524" y="768"/>
                      <a:pt x="1509" y="754"/>
                    </a:cubicBezTo>
                    <a:cubicBezTo>
                      <a:pt x="1510" y="778"/>
                      <a:pt x="1509" y="804"/>
                      <a:pt x="1511" y="827"/>
                    </a:cubicBezTo>
                    <a:close/>
                    <a:moveTo>
                      <a:pt x="15" y="828"/>
                    </a:moveTo>
                    <a:cubicBezTo>
                      <a:pt x="12" y="808"/>
                      <a:pt x="12" y="784"/>
                      <a:pt x="8" y="765"/>
                    </a:cubicBezTo>
                    <a:cubicBezTo>
                      <a:pt x="6" y="784"/>
                      <a:pt x="4" y="816"/>
                      <a:pt x="15" y="828"/>
                    </a:cubicBezTo>
                    <a:close/>
                    <a:moveTo>
                      <a:pt x="162" y="890"/>
                    </a:moveTo>
                    <a:cubicBezTo>
                      <a:pt x="171" y="884"/>
                      <a:pt x="184" y="881"/>
                      <a:pt x="193" y="875"/>
                    </a:cubicBezTo>
                    <a:cubicBezTo>
                      <a:pt x="182" y="842"/>
                      <a:pt x="176" y="805"/>
                      <a:pt x="169" y="768"/>
                    </a:cubicBezTo>
                    <a:cubicBezTo>
                      <a:pt x="165" y="806"/>
                      <a:pt x="159" y="852"/>
                      <a:pt x="162" y="890"/>
                    </a:cubicBezTo>
                    <a:close/>
                    <a:moveTo>
                      <a:pt x="5" y="797"/>
                    </a:moveTo>
                    <a:cubicBezTo>
                      <a:pt x="5" y="793"/>
                      <a:pt x="5" y="784"/>
                      <a:pt x="4" y="780"/>
                    </a:cubicBezTo>
                    <a:cubicBezTo>
                      <a:pt x="2" y="787"/>
                      <a:pt x="4" y="811"/>
                      <a:pt x="5" y="797"/>
                    </a:cubicBezTo>
                    <a:close/>
                    <a:moveTo>
                      <a:pt x="624" y="794"/>
                    </a:moveTo>
                    <a:cubicBezTo>
                      <a:pt x="627" y="863"/>
                      <a:pt x="635" y="934"/>
                      <a:pt x="643" y="1001"/>
                    </a:cubicBezTo>
                    <a:cubicBezTo>
                      <a:pt x="670" y="999"/>
                      <a:pt x="698" y="998"/>
                      <a:pt x="726" y="997"/>
                    </a:cubicBezTo>
                    <a:cubicBezTo>
                      <a:pt x="726" y="928"/>
                      <a:pt x="725" y="858"/>
                      <a:pt x="726" y="791"/>
                    </a:cubicBezTo>
                    <a:cubicBezTo>
                      <a:pt x="694" y="790"/>
                      <a:pt x="656" y="792"/>
                      <a:pt x="624" y="794"/>
                    </a:cubicBezTo>
                    <a:close/>
                    <a:moveTo>
                      <a:pt x="729" y="792"/>
                    </a:moveTo>
                    <a:cubicBezTo>
                      <a:pt x="727" y="859"/>
                      <a:pt x="729" y="929"/>
                      <a:pt x="728" y="997"/>
                    </a:cubicBezTo>
                    <a:cubicBezTo>
                      <a:pt x="747" y="997"/>
                      <a:pt x="765" y="997"/>
                      <a:pt x="783" y="997"/>
                    </a:cubicBezTo>
                    <a:cubicBezTo>
                      <a:pt x="785" y="929"/>
                      <a:pt x="787" y="860"/>
                      <a:pt x="787" y="790"/>
                    </a:cubicBezTo>
                    <a:cubicBezTo>
                      <a:pt x="768" y="790"/>
                      <a:pt x="749" y="790"/>
                      <a:pt x="730" y="790"/>
                    </a:cubicBezTo>
                    <a:cubicBezTo>
                      <a:pt x="729" y="790"/>
                      <a:pt x="729" y="791"/>
                      <a:pt x="729" y="792"/>
                    </a:cubicBezTo>
                    <a:close/>
                    <a:moveTo>
                      <a:pt x="790" y="792"/>
                    </a:moveTo>
                    <a:cubicBezTo>
                      <a:pt x="789" y="861"/>
                      <a:pt x="788" y="929"/>
                      <a:pt x="786" y="997"/>
                    </a:cubicBezTo>
                    <a:cubicBezTo>
                      <a:pt x="834" y="997"/>
                      <a:pt x="881" y="1003"/>
                      <a:pt x="927" y="998"/>
                    </a:cubicBezTo>
                    <a:cubicBezTo>
                      <a:pt x="937" y="935"/>
                      <a:pt x="950" y="870"/>
                      <a:pt x="942" y="797"/>
                    </a:cubicBezTo>
                    <a:cubicBezTo>
                      <a:pt x="894" y="792"/>
                      <a:pt x="842" y="791"/>
                      <a:pt x="791" y="790"/>
                    </a:cubicBezTo>
                    <a:cubicBezTo>
                      <a:pt x="790" y="790"/>
                      <a:pt x="790" y="791"/>
                      <a:pt x="790" y="792"/>
                    </a:cubicBezTo>
                    <a:close/>
                    <a:moveTo>
                      <a:pt x="1521" y="796"/>
                    </a:moveTo>
                    <a:cubicBezTo>
                      <a:pt x="1521" y="795"/>
                      <a:pt x="1522" y="788"/>
                      <a:pt x="1520" y="791"/>
                    </a:cubicBezTo>
                    <a:cubicBezTo>
                      <a:pt x="1520" y="793"/>
                      <a:pt x="1520" y="799"/>
                      <a:pt x="1521" y="796"/>
                    </a:cubicBezTo>
                    <a:close/>
                    <a:moveTo>
                      <a:pt x="515" y="804"/>
                    </a:moveTo>
                    <a:cubicBezTo>
                      <a:pt x="511" y="864"/>
                      <a:pt x="510" y="926"/>
                      <a:pt x="510" y="991"/>
                    </a:cubicBezTo>
                    <a:cubicBezTo>
                      <a:pt x="552" y="995"/>
                      <a:pt x="598" y="999"/>
                      <a:pt x="640" y="1000"/>
                    </a:cubicBezTo>
                    <a:cubicBezTo>
                      <a:pt x="631" y="934"/>
                      <a:pt x="624" y="865"/>
                      <a:pt x="620" y="794"/>
                    </a:cubicBezTo>
                    <a:cubicBezTo>
                      <a:pt x="584" y="797"/>
                      <a:pt x="549" y="799"/>
                      <a:pt x="515" y="804"/>
                    </a:cubicBezTo>
                    <a:close/>
                    <a:moveTo>
                      <a:pt x="948" y="845"/>
                    </a:moveTo>
                    <a:cubicBezTo>
                      <a:pt x="950" y="830"/>
                      <a:pt x="952" y="814"/>
                      <a:pt x="953" y="798"/>
                    </a:cubicBezTo>
                    <a:cubicBezTo>
                      <a:pt x="950" y="798"/>
                      <a:pt x="949" y="797"/>
                      <a:pt x="945" y="797"/>
                    </a:cubicBezTo>
                    <a:cubicBezTo>
                      <a:pt x="947" y="812"/>
                      <a:pt x="946" y="830"/>
                      <a:pt x="948" y="845"/>
                    </a:cubicBezTo>
                    <a:close/>
                    <a:moveTo>
                      <a:pt x="950" y="997"/>
                    </a:moveTo>
                    <a:cubicBezTo>
                      <a:pt x="991" y="993"/>
                      <a:pt x="1030" y="989"/>
                      <a:pt x="1070" y="985"/>
                    </a:cubicBezTo>
                    <a:cubicBezTo>
                      <a:pt x="1087" y="933"/>
                      <a:pt x="1099" y="877"/>
                      <a:pt x="1110" y="818"/>
                    </a:cubicBezTo>
                    <a:cubicBezTo>
                      <a:pt x="1061" y="809"/>
                      <a:pt x="1009" y="803"/>
                      <a:pt x="957" y="798"/>
                    </a:cubicBezTo>
                    <a:cubicBezTo>
                      <a:pt x="944" y="857"/>
                      <a:pt x="952" y="927"/>
                      <a:pt x="950" y="997"/>
                    </a:cubicBezTo>
                    <a:close/>
                    <a:moveTo>
                      <a:pt x="462" y="811"/>
                    </a:moveTo>
                    <a:cubicBezTo>
                      <a:pt x="470" y="866"/>
                      <a:pt x="483" y="925"/>
                      <a:pt x="495" y="975"/>
                    </a:cubicBezTo>
                    <a:cubicBezTo>
                      <a:pt x="497" y="982"/>
                      <a:pt x="496" y="993"/>
                      <a:pt x="508" y="991"/>
                    </a:cubicBezTo>
                    <a:cubicBezTo>
                      <a:pt x="507" y="935"/>
                      <a:pt x="508" y="873"/>
                      <a:pt x="511" y="820"/>
                    </a:cubicBezTo>
                    <a:cubicBezTo>
                      <a:pt x="512" y="816"/>
                      <a:pt x="515" y="807"/>
                      <a:pt x="510" y="804"/>
                    </a:cubicBezTo>
                    <a:cubicBezTo>
                      <a:pt x="494" y="807"/>
                      <a:pt x="477" y="808"/>
                      <a:pt x="462" y="811"/>
                    </a:cubicBezTo>
                    <a:close/>
                    <a:moveTo>
                      <a:pt x="318" y="839"/>
                    </a:moveTo>
                    <a:cubicBezTo>
                      <a:pt x="326" y="887"/>
                      <a:pt x="341" y="928"/>
                      <a:pt x="354" y="970"/>
                    </a:cubicBezTo>
                    <a:cubicBezTo>
                      <a:pt x="400" y="977"/>
                      <a:pt x="448" y="987"/>
                      <a:pt x="496" y="988"/>
                    </a:cubicBezTo>
                    <a:cubicBezTo>
                      <a:pt x="480" y="933"/>
                      <a:pt x="470" y="871"/>
                      <a:pt x="459" y="811"/>
                    </a:cubicBezTo>
                    <a:cubicBezTo>
                      <a:pt x="411" y="819"/>
                      <a:pt x="363" y="827"/>
                      <a:pt x="318" y="839"/>
                    </a:cubicBezTo>
                    <a:close/>
                    <a:moveTo>
                      <a:pt x="1113" y="819"/>
                    </a:moveTo>
                    <a:cubicBezTo>
                      <a:pt x="1113" y="819"/>
                      <a:pt x="1113" y="818"/>
                      <a:pt x="1112" y="818"/>
                    </a:cubicBezTo>
                    <a:cubicBezTo>
                      <a:pt x="1102" y="876"/>
                      <a:pt x="1089" y="932"/>
                      <a:pt x="1074" y="984"/>
                    </a:cubicBezTo>
                    <a:cubicBezTo>
                      <a:pt x="1100" y="981"/>
                      <a:pt x="1126" y="978"/>
                      <a:pt x="1151" y="973"/>
                    </a:cubicBezTo>
                    <a:cubicBezTo>
                      <a:pt x="1151" y="922"/>
                      <a:pt x="1149" y="873"/>
                      <a:pt x="1146" y="825"/>
                    </a:cubicBezTo>
                    <a:cubicBezTo>
                      <a:pt x="1135" y="823"/>
                      <a:pt x="1125" y="820"/>
                      <a:pt x="1113" y="819"/>
                    </a:cubicBezTo>
                    <a:close/>
                    <a:moveTo>
                      <a:pt x="46" y="1018"/>
                    </a:moveTo>
                    <a:cubicBezTo>
                      <a:pt x="45" y="1002"/>
                      <a:pt x="48" y="990"/>
                      <a:pt x="54" y="980"/>
                    </a:cubicBezTo>
                    <a:cubicBezTo>
                      <a:pt x="37" y="936"/>
                      <a:pt x="24" y="889"/>
                      <a:pt x="17" y="837"/>
                    </a:cubicBezTo>
                    <a:cubicBezTo>
                      <a:pt x="13" y="832"/>
                      <a:pt x="11" y="826"/>
                      <a:pt x="7" y="821"/>
                    </a:cubicBezTo>
                    <a:cubicBezTo>
                      <a:pt x="12" y="895"/>
                      <a:pt x="24" y="961"/>
                      <a:pt x="46" y="1018"/>
                    </a:cubicBezTo>
                    <a:close/>
                    <a:moveTo>
                      <a:pt x="1507" y="887"/>
                    </a:moveTo>
                    <a:cubicBezTo>
                      <a:pt x="1509" y="865"/>
                      <a:pt x="1516" y="844"/>
                      <a:pt x="1515" y="823"/>
                    </a:cubicBezTo>
                    <a:cubicBezTo>
                      <a:pt x="1506" y="838"/>
                      <a:pt x="1508" y="868"/>
                      <a:pt x="1507" y="887"/>
                    </a:cubicBezTo>
                    <a:close/>
                    <a:moveTo>
                      <a:pt x="1149" y="826"/>
                    </a:moveTo>
                    <a:cubicBezTo>
                      <a:pt x="1152" y="873"/>
                      <a:pt x="1154" y="922"/>
                      <a:pt x="1154" y="973"/>
                    </a:cubicBezTo>
                    <a:cubicBezTo>
                      <a:pt x="1174" y="969"/>
                      <a:pt x="1195" y="965"/>
                      <a:pt x="1215" y="961"/>
                    </a:cubicBezTo>
                    <a:cubicBezTo>
                      <a:pt x="1227" y="925"/>
                      <a:pt x="1240" y="889"/>
                      <a:pt x="1248" y="849"/>
                    </a:cubicBezTo>
                    <a:cubicBezTo>
                      <a:pt x="1215" y="841"/>
                      <a:pt x="1184" y="832"/>
                      <a:pt x="1149" y="826"/>
                    </a:cubicBezTo>
                    <a:close/>
                    <a:moveTo>
                      <a:pt x="1461" y="878"/>
                    </a:moveTo>
                    <a:cubicBezTo>
                      <a:pt x="1455" y="899"/>
                      <a:pt x="1449" y="921"/>
                      <a:pt x="1442" y="941"/>
                    </a:cubicBezTo>
                    <a:cubicBezTo>
                      <a:pt x="1456" y="956"/>
                      <a:pt x="1469" y="972"/>
                      <a:pt x="1476" y="993"/>
                    </a:cubicBezTo>
                    <a:cubicBezTo>
                      <a:pt x="1493" y="949"/>
                      <a:pt x="1507" y="896"/>
                      <a:pt x="1506" y="837"/>
                    </a:cubicBezTo>
                    <a:cubicBezTo>
                      <a:pt x="1495" y="854"/>
                      <a:pt x="1476" y="865"/>
                      <a:pt x="1461" y="878"/>
                    </a:cubicBezTo>
                    <a:close/>
                    <a:moveTo>
                      <a:pt x="196" y="877"/>
                    </a:moveTo>
                    <a:cubicBezTo>
                      <a:pt x="201" y="898"/>
                      <a:pt x="208" y="918"/>
                      <a:pt x="215" y="938"/>
                    </a:cubicBezTo>
                    <a:cubicBezTo>
                      <a:pt x="247" y="946"/>
                      <a:pt x="278" y="956"/>
                      <a:pt x="313" y="961"/>
                    </a:cubicBezTo>
                    <a:cubicBezTo>
                      <a:pt x="311" y="919"/>
                      <a:pt x="316" y="878"/>
                      <a:pt x="315" y="839"/>
                    </a:cubicBezTo>
                    <a:cubicBezTo>
                      <a:pt x="314" y="839"/>
                      <a:pt x="313" y="839"/>
                      <a:pt x="313" y="839"/>
                    </a:cubicBezTo>
                    <a:cubicBezTo>
                      <a:pt x="272" y="850"/>
                      <a:pt x="233" y="863"/>
                      <a:pt x="196" y="877"/>
                    </a:cubicBezTo>
                    <a:close/>
                    <a:moveTo>
                      <a:pt x="55" y="977"/>
                    </a:moveTo>
                    <a:cubicBezTo>
                      <a:pt x="56" y="970"/>
                      <a:pt x="61" y="968"/>
                      <a:pt x="63" y="962"/>
                    </a:cubicBezTo>
                    <a:cubicBezTo>
                      <a:pt x="57" y="935"/>
                      <a:pt x="56" y="902"/>
                      <a:pt x="54" y="871"/>
                    </a:cubicBezTo>
                    <a:cubicBezTo>
                      <a:pt x="42" y="861"/>
                      <a:pt x="30" y="852"/>
                      <a:pt x="20" y="840"/>
                    </a:cubicBezTo>
                    <a:cubicBezTo>
                      <a:pt x="27" y="890"/>
                      <a:pt x="39" y="936"/>
                      <a:pt x="55" y="977"/>
                    </a:cubicBezTo>
                    <a:close/>
                    <a:moveTo>
                      <a:pt x="1251" y="851"/>
                    </a:moveTo>
                    <a:cubicBezTo>
                      <a:pt x="1241" y="889"/>
                      <a:pt x="1230" y="925"/>
                      <a:pt x="1218" y="960"/>
                    </a:cubicBezTo>
                    <a:cubicBezTo>
                      <a:pt x="1253" y="953"/>
                      <a:pt x="1288" y="945"/>
                      <a:pt x="1320" y="935"/>
                    </a:cubicBezTo>
                    <a:cubicBezTo>
                      <a:pt x="1320" y="914"/>
                      <a:pt x="1320" y="893"/>
                      <a:pt x="1319" y="873"/>
                    </a:cubicBezTo>
                    <a:cubicBezTo>
                      <a:pt x="1296" y="866"/>
                      <a:pt x="1275" y="857"/>
                      <a:pt x="1251" y="851"/>
                    </a:cubicBezTo>
                    <a:close/>
                    <a:moveTo>
                      <a:pt x="316" y="962"/>
                    </a:moveTo>
                    <a:cubicBezTo>
                      <a:pt x="327" y="965"/>
                      <a:pt x="339" y="967"/>
                      <a:pt x="351" y="969"/>
                    </a:cubicBezTo>
                    <a:cubicBezTo>
                      <a:pt x="338" y="932"/>
                      <a:pt x="328" y="893"/>
                      <a:pt x="318" y="853"/>
                    </a:cubicBezTo>
                    <a:cubicBezTo>
                      <a:pt x="316" y="889"/>
                      <a:pt x="315" y="925"/>
                      <a:pt x="316" y="962"/>
                    </a:cubicBezTo>
                    <a:close/>
                    <a:moveTo>
                      <a:pt x="65" y="959"/>
                    </a:moveTo>
                    <a:cubicBezTo>
                      <a:pt x="75" y="948"/>
                      <a:pt x="90" y="935"/>
                      <a:pt x="102" y="923"/>
                    </a:cubicBezTo>
                    <a:cubicBezTo>
                      <a:pt x="99" y="914"/>
                      <a:pt x="96" y="904"/>
                      <a:pt x="94" y="894"/>
                    </a:cubicBezTo>
                    <a:cubicBezTo>
                      <a:pt x="80" y="889"/>
                      <a:pt x="69" y="880"/>
                      <a:pt x="56" y="873"/>
                    </a:cubicBezTo>
                    <a:cubicBezTo>
                      <a:pt x="59" y="902"/>
                      <a:pt x="60" y="932"/>
                      <a:pt x="65" y="959"/>
                    </a:cubicBezTo>
                    <a:close/>
                    <a:moveTo>
                      <a:pt x="1322" y="934"/>
                    </a:moveTo>
                    <a:cubicBezTo>
                      <a:pt x="1332" y="932"/>
                      <a:pt x="1340" y="928"/>
                      <a:pt x="1350" y="925"/>
                    </a:cubicBezTo>
                    <a:cubicBezTo>
                      <a:pt x="1354" y="914"/>
                      <a:pt x="1357" y="903"/>
                      <a:pt x="1360" y="891"/>
                    </a:cubicBezTo>
                    <a:cubicBezTo>
                      <a:pt x="1347" y="886"/>
                      <a:pt x="1335" y="880"/>
                      <a:pt x="1322" y="875"/>
                    </a:cubicBezTo>
                    <a:cubicBezTo>
                      <a:pt x="1323" y="895"/>
                      <a:pt x="1323" y="913"/>
                      <a:pt x="1322" y="934"/>
                    </a:cubicBezTo>
                    <a:close/>
                    <a:moveTo>
                      <a:pt x="194" y="879"/>
                    </a:moveTo>
                    <a:cubicBezTo>
                      <a:pt x="181" y="882"/>
                      <a:pt x="173" y="889"/>
                      <a:pt x="161" y="892"/>
                    </a:cubicBezTo>
                    <a:cubicBezTo>
                      <a:pt x="161" y="902"/>
                      <a:pt x="161" y="911"/>
                      <a:pt x="161" y="921"/>
                    </a:cubicBezTo>
                    <a:cubicBezTo>
                      <a:pt x="179" y="925"/>
                      <a:pt x="195" y="935"/>
                      <a:pt x="212" y="935"/>
                    </a:cubicBezTo>
                    <a:cubicBezTo>
                      <a:pt x="205" y="917"/>
                      <a:pt x="199" y="899"/>
                      <a:pt x="194" y="879"/>
                    </a:cubicBezTo>
                    <a:close/>
                    <a:moveTo>
                      <a:pt x="1457" y="881"/>
                    </a:moveTo>
                    <a:cubicBezTo>
                      <a:pt x="1457" y="880"/>
                      <a:pt x="1456" y="880"/>
                      <a:pt x="1455" y="880"/>
                    </a:cubicBezTo>
                    <a:cubicBezTo>
                      <a:pt x="1452" y="883"/>
                      <a:pt x="1447" y="885"/>
                      <a:pt x="1443" y="887"/>
                    </a:cubicBezTo>
                    <a:cubicBezTo>
                      <a:pt x="1443" y="905"/>
                      <a:pt x="1440" y="923"/>
                      <a:pt x="1441" y="937"/>
                    </a:cubicBezTo>
                    <a:cubicBezTo>
                      <a:pt x="1443" y="919"/>
                      <a:pt x="1456" y="899"/>
                      <a:pt x="1457" y="881"/>
                    </a:cubicBezTo>
                    <a:close/>
                    <a:moveTo>
                      <a:pt x="1505" y="889"/>
                    </a:moveTo>
                    <a:cubicBezTo>
                      <a:pt x="1506" y="893"/>
                      <a:pt x="1506" y="886"/>
                      <a:pt x="1505" y="889"/>
                    </a:cubicBezTo>
                    <a:close/>
                    <a:moveTo>
                      <a:pt x="1399" y="909"/>
                    </a:moveTo>
                    <a:cubicBezTo>
                      <a:pt x="1411" y="918"/>
                      <a:pt x="1425" y="927"/>
                      <a:pt x="1437" y="936"/>
                    </a:cubicBezTo>
                    <a:cubicBezTo>
                      <a:pt x="1438" y="922"/>
                      <a:pt x="1441" y="904"/>
                      <a:pt x="1439" y="889"/>
                    </a:cubicBezTo>
                    <a:cubicBezTo>
                      <a:pt x="1427" y="897"/>
                      <a:pt x="1413" y="903"/>
                      <a:pt x="1399" y="909"/>
                    </a:cubicBezTo>
                    <a:close/>
                    <a:moveTo>
                      <a:pt x="1354" y="924"/>
                    </a:moveTo>
                    <a:cubicBezTo>
                      <a:pt x="1366" y="919"/>
                      <a:pt x="1379" y="914"/>
                      <a:pt x="1392" y="910"/>
                    </a:cubicBezTo>
                    <a:cubicBezTo>
                      <a:pt x="1384" y="902"/>
                      <a:pt x="1373" y="898"/>
                      <a:pt x="1363" y="893"/>
                    </a:cubicBezTo>
                    <a:cubicBezTo>
                      <a:pt x="1360" y="903"/>
                      <a:pt x="1354" y="915"/>
                      <a:pt x="1354" y="924"/>
                    </a:cubicBezTo>
                    <a:close/>
                    <a:moveTo>
                      <a:pt x="131" y="910"/>
                    </a:moveTo>
                    <a:cubicBezTo>
                      <a:pt x="141" y="912"/>
                      <a:pt x="148" y="917"/>
                      <a:pt x="158" y="919"/>
                    </a:cubicBezTo>
                    <a:cubicBezTo>
                      <a:pt x="158" y="911"/>
                      <a:pt x="159" y="901"/>
                      <a:pt x="157" y="894"/>
                    </a:cubicBezTo>
                    <a:cubicBezTo>
                      <a:pt x="149" y="900"/>
                      <a:pt x="139" y="903"/>
                      <a:pt x="131" y="910"/>
                    </a:cubicBezTo>
                    <a:close/>
                    <a:moveTo>
                      <a:pt x="929" y="998"/>
                    </a:moveTo>
                    <a:cubicBezTo>
                      <a:pt x="936" y="999"/>
                      <a:pt x="939" y="996"/>
                      <a:pt x="945" y="997"/>
                    </a:cubicBezTo>
                    <a:cubicBezTo>
                      <a:pt x="947" y="964"/>
                      <a:pt x="945" y="928"/>
                      <a:pt x="944" y="895"/>
                    </a:cubicBezTo>
                    <a:cubicBezTo>
                      <a:pt x="941" y="931"/>
                      <a:pt x="935" y="964"/>
                      <a:pt x="929" y="998"/>
                    </a:cubicBezTo>
                    <a:close/>
                    <a:moveTo>
                      <a:pt x="98" y="897"/>
                    </a:moveTo>
                    <a:cubicBezTo>
                      <a:pt x="99" y="906"/>
                      <a:pt x="103" y="913"/>
                      <a:pt x="104" y="922"/>
                    </a:cubicBezTo>
                    <a:cubicBezTo>
                      <a:pt x="112" y="918"/>
                      <a:pt x="119" y="915"/>
                      <a:pt x="125" y="909"/>
                    </a:cubicBezTo>
                    <a:cubicBezTo>
                      <a:pt x="115" y="906"/>
                      <a:pt x="107" y="900"/>
                      <a:pt x="98" y="897"/>
                    </a:cubicBezTo>
                    <a:moveTo>
                      <a:pt x="98" y="897"/>
                    </a:moveTo>
                    <a:cubicBezTo>
                      <a:pt x="97" y="896"/>
                      <a:pt x="97" y="897"/>
                      <a:pt x="98" y="897"/>
                    </a:cubicBezTo>
                    <a:moveTo>
                      <a:pt x="128" y="911"/>
                    </a:moveTo>
                    <a:cubicBezTo>
                      <a:pt x="121" y="916"/>
                      <a:pt x="111" y="919"/>
                      <a:pt x="106" y="927"/>
                    </a:cubicBezTo>
                    <a:cubicBezTo>
                      <a:pt x="126" y="981"/>
                      <a:pt x="148" y="1032"/>
                      <a:pt x="176" y="1078"/>
                    </a:cubicBezTo>
                    <a:cubicBezTo>
                      <a:pt x="166" y="1030"/>
                      <a:pt x="160" y="978"/>
                      <a:pt x="158" y="922"/>
                    </a:cubicBezTo>
                    <a:cubicBezTo>
                      <a:pt x="148" y="919"/>
                      <a:pt x="138" y="915"/>
                      <a:pt x="128" y="911"/>
                    </a:cubicBezTo>
                    <a:close/>
                    <a:moveTo>
                      <a:pt x="1396" y="911"/>
                    </a:moveTo>
                    <a:cubicBezTo>
                      <a:pt x="1381" y="916"/>
                      <a:pt x="1367" y="923"/>
                      <a:pt x="1351" y="927"/>
                    </a:cubicBezTo>
                    <a:cubicBezTo>
                      <a:pt x="1341" y="957"/>
                      <a:pt x="1330" y="985"/>
                      <a:pt x="1317" y="1011"/>
                    </a:cubicBezTo>
                    <a:cubicBezTo>
                      <a:pt x="1313" y="1047"/>
                      <a:pt x="1308" y="1080"/>
                      <a:pt x="1301" y="1111"/>
                    </a:cubicBezTo>
                    <a:cubicBezTo>
                      <a:pt x="1314" y="1119"/>
                      <a:pt x="1324" y="1130"/>
                      <a:pt x="1336" y="1139"/>
                    </a:cubicBezTo>
                    <a:cubicBezTo>
                      <a:pt x="1376" y="1079"/>
                      <a:pt x="1414" y="1018"/>
                      <a:pt x="1437" y="941"/>
                    </a:cubicBezTo>
                    <a:cubicBezTo>
                      <a:pt x="1425" y="929"/>
                      <a:pt x="1410" y="920"/>
                      <a:pt x="1396" y="911"/>
                    </a:cubicBezTo>
                    <a:close/>
                    <a:moveTo>
                      <a:pt x="161" y="927"/>
                    </a:moveTo>
                    <a:cubicBezTo>
                      <a:pt x="163" y="985"/>
                      <a:pt x="170" y="1038"/>
                      <a:pt x="181" y="1087"/>
                    </a:cubicBezTo>
                    <a:cubicBezTo>
                      <a:pt x="190" y="1099"/>
                      <a:pt x="197" y="1113"/>
                      <a:pt x="206" y="1125"/>
                    </a:cubicBezTo>
                    <a:cubicBezTo>
                      <a:pt x="227" y="1107"/>
                      <a:pt x="251" y="1093"/>
                      <a:pt x="277" y="1081"/>
                    </a:cubicBezTo>
                    <a:cubicBezTo>
                      <a:pt x="255" y="1036"/>
                      <a:pt x="231" y="992"/>
                      <a:pt x="214" y="940"/>
                    </a:cubicBezTo>
                    <a:cubicBezTo>
                      <a:pt x="195" y="936"/>
                      <a:pt x="179" y="929"/>
                      <a:pt x="161" y="924"/>
                    </a:cubicBezTo>
                    <a:cubicBezTo>
                      <a:pt x="161" y="925"/>
                      <a:pt x="161" y="926"/>
                      <a:pt x="161" y="927"/>
                    </a:cubicBezTo>
                    <a:close/>
                    <a:moveTo>
                      <a:pt x="66" y="965"/>
                    </a:moveTo>
                    <a:cubicBezTo>
                      <a:pt x="64" y="977"/>
                      <a:pt x="71" y="992"/>
                      <a:pt x="74" y="1005"/>
                    </a:cubicBezTo>
                    <a:cubicBezTo>
                      <a:pt x="77" y="1019"/>
                      <a:pt x="78" y="1032"/>
                      <a:pt x="82" y="1043"/>
                    </a:cubicBezTo>
                    <a:cubicBezTo>
                      <a:pt x="93" y="1070"/>
                      <a:pt x="112" y="1092"/>
                      <a:pt x="122" y="1112"/>
                    </a:cubicBezTo>
                    <a:cubicBezTo>
                      <a:pt x="142" y="1123"/>
                      <a:pt x="164" y="1137"/>
                      <a:pt x="186" y="1144"/>
                    </a:cubicBezTo>
                    <a:cubicBezTo>
                      <a:pt x="195" y="1137"/>
                      <a:pt x="189" y="1127"/>
                      <a:pt x="186" y="1118"/>
                    </a:cubicBezTo>
                    <a:cubicBezTo>
                      <a:pt x="183" y="1108"/>
                      <a:pt x="181" y="1097"/>
                      <a:pt x="179" y="1087"/>
                    </a:cubicBezTo>
                    <a:cubicBezTo>
                      <a:pt x="149" y="1039"/>
                      <a:pt x="124" y="986"/>
                      <a:pt x="104" y="928"/>
                    </a:cubicBezTo>
                    <a:cubicBezTo>
                      <a:pt x="104" y="927"/>
                      <a:pt x="104" y="927"/>
                      <a:pt x="103" y="927"/>
                    </a:cubicBezTo>
                    <a:cubicBezTo>
                      <a:pt x="95" y="937"/>
                      <a:pt x="68" y="952"/>
                      <a:pt x="66" y="965"/>
                    </a:cubicBezTo>
                    <a:close/>
                    <a:moveTo>
                      <a:pt x="1322" y="936"/>
                    </a:moveTo>
                    <a:cubicBezTo>
                      <a:pt x="1322" y="959"/>
                      <a:pt x="1319" y="983"/>
                      <a:pt x="1319" y="1003"/>
                    </a:cubicBezTo>
                    <a:cubicBezTo>
                      <a:pt x="1329" y="979"/>
                      <a:pt x="1339" y="954"/>
                      <a:pt x="1349" y="929"/>
                    </a:cubicBezTo>
                    <a:cubicBezTo>
                      <a:pt x="1339" y="930"/>
                      <a:pt x="1332" y="935"/>
                      <a:pt x="1322" y="936"/>
                    </a:cubicBezTo>
                    <a:close/>
                    <a:moveTo>
                      <a:pt x="1216" y="963"/>
                    </a:moveTo>
                    <a:cubicBezTo>
                      <a:pt x="1206" y="996"/>
                      <a:pt x="1192" y="1025"/>
                      <a:pt x="1179" y="1055"/>
                    </a:cubicBezTo>
                    <a:cubicBezTo>
                      <a:pt x="1212" y="1065"/>
                      <a:pt x="1242" y="1078"/>
                      <a:pt x="1271" y="1093"/>
                    </a:cubicBezTo>
                    <a:cubicBezTo>
                      <a:pt x="1278" y="1080"/>
                      <a:pt x="1286" y="1067"/>
                      <a:pt x="1294" y="1053"/>
                    </a:cubicBezTo>
                    <a:cubicBezTo>
                      <a:pt x="1300" y="1041"/>
                      <a:pt x="1312" y="1023"/>
                      <a:pt x="1315" y="1010"/>
                    </a:cubicBezTo>
                    <a:cubicBezTo>
                      <a:pt x="1320" y="988"/>
                      <a:pt x="1316" y="966"/>
                      <a:pt x="1319" y="938"/>
                    </a:cubicBezTo>
                    <a:cubicBezTo>
                      <a:pt x="1318" y="938"/>
                      <a:pt x="1318" y="938"/>
                      <a:pt x="1317" y="938"/>
                    </a:cubicBezTo>
                    <a:cubicBezTo>
                      <a:pt x="1285" y="948"/>
                      <a:pt x="1252" y="957"/>
                      <a:pt x="1216" y="963"/>
                    </a:cubicBezTo>
                    <a:close/>
                    <a:moveTo>
                      <a:pt x="280" y="1079"/>
                    </a:moveTo>
                    <a:cubicBezTo>
                      <a:pt x="293" y="1075"/>
                      <a:pt x="305" y="1068"/>
                      <a:pt x="319" y="1064"/>
                    </a:cubicBezTo>
                    <a:cubicBezTo>
                      <a:pt x="315" y="1033"/>
                      <a:pt x="314" y="998"/>
                      <a:pt x="313" y="964"/>
                    </a:cubicBezTo>
                    <a:cubicBezTo>
                      <a:pt x="279" y="958"/>
                      <a:pt x="248" y="950"/>
                      <a:pt x="217" y="941"/>
                    </a:cubicBezTo>
                    <a:cubicBezTo>
                      <a:pt x="234" y="991"/>
                      <a:pt x="256" y="1036"/>
                      <a:pt x="280" y="1079"/>
                    </a:cubicBezTo>
                    <a:close/>
                    <a:moveTo>
                      <a:pt x="1403" y="1111"/>
                    </a:moveTo>
                    <a:cubicBezTo>
                      <a:pt x="1431" y="1098"/>
                      <a:pt x="1442" y="1073"/>
                      <a:pt x="1454" y="1045"/>
                    </a:cubicBezTo>
                    <a:cubicBezTo>
                      <a:pt x="1461" y="1029"/>
                      <a:pt x="1470" y="1013"/>
                      <a:pt x="1474" y="997"/>
                    </a:cubicBezTo>
                    <a:cubicBezTo>
                      <a:pt x="1468" y="975"/>
                      <a:pt x="1455" y="958"/>
                      <a:pt x="1440" y="944"/>
                    </a:cubicBezTo>
                    <a:cubicBezTo>
                      <a:pt x="1433" y="1004"/>
                      <a:pt x="1418" y="1062"/>
                      <a:pt x="1403" y="1111"/>
                    </a:cubicBezTo>
                    <a:close/>
                    <a:moveTo>
                      <a:pt x="1491" y="959"/>
                    </a:moveTo>
                    <a:cubicBezTo>
                      <a:pt x="1492" y="962"/>
                      <a:pt x="1492" y="955"/>
                      <a:pt x="1491" y="959"/>
                    </a:cubicBezTo>
                    <a:close/>
                    <a:moveTo>
                      <a:pt x="1434" y="961"/>
                    </a:moveTo>
                    <a:cubicBezTo>
                      <a:pt x="1434" y="961"/>
                      <a:pt x="1435" y="962"/>
                      <a:pt x="1434" y="961"/>
                    </a:cubicBezTo>
                    <a:close/>
                    <a:moveTo>
                      <a:pt x="1490" y="963"/>
                    </a:moveTo>
                    <a:cubicBezTo>
                      <a:pt x="1489" y="963"/>
                      <a:pt x="1489" y="963"/>
                      <a:pt x="1489" y="963"/>
                    </a:cubicBezTo>
                    <a:cubicBezTo>
                      <a:pt x="1487" y="979"/>
                      <a:pt x="1474" y="992"/>
                      <a:pt x="1479" y="1008"/>
                    </a:cubicBezTo>
                    <a:cubicBezTo>
                      <a:pt x="1482" y="992"/>
                      <a:pt x="1488" y="980"/>
                      <a:pt x="1490" y="963"/>
                    </a:cubicBezTo>
                    <a:moveTo>
                      <a:pt x="1490" y="963"/>
                    </a:moveTo>
                    <a:cubicBezTo>
                      <a:pt x="1493" y="962"/>
                      <a:pt x="1489" y="958"/>
                      <a:pt x="1490" y="963"/>
                    </a:cubicBezTo>
                    <a:moveTo>
                      <a:pt x="1350" y="1123"/>
                    </a:moveTo>
                    <a:cubicBezTo>
                      <a:pt x="1346" y="1129"/>
                      <a:pt x="1339" y="1135"/>
                      <a:pt x="1338" y="1144"/>
                    </a:cubicBezTo>
                    <a:cubicBezTo>
                      <a:pt x="1361" y="1136"/>
                      <a:pt x="1379" y="1125"/>
                      <a:pt x="1398" y="1114"/>
                    </a:cubicBezTo>
                    <a:cubicBezTo>
                      <a:pt x="1414" y="1068"/>
                      <a:pt x="1429" y="1017"/>
                      <a:pt x="1433" y="963"/>
                    </a:cubicBezTo>
                    <a:cubicBezTo>
                      <a:pt x="1411" y="1021"/>
                      <a:pt x="1383" y="1076"/>
                      <a:pt x="1350" y="1123"/>
                    </a:cubicBezTo>
                    <a:close/>
                    <a:moveTo>
                      <a:pt x="1213" y="965"/>
                    </a:moveTo>
                    <a:cubicBezTo>
                      <a:pt x="1195" y="967"/>
                      <a:pt x="1173" y="973"/>
                      <a:pt x="1153" y="976"/>
                    </a:cubicBezTo>
                    <a:cubicBezTo>
                      <a:pt x="1153" y="1000"/>
                      <a:pt x="1152" y="1023"/>
                      <a:pt x="1150" y="1046"/>
                    </a:cubicBezTo>
                    <a:cubicBezTo>
                      <a:pt x="1160" y="1048"/>
                      <a:pt x="1167" y="1052"/>
                      <a:pt x="1177" y="1054"/>
                    </a:cubicBezTo>
                    <a:cubicBezTo>
                      <a:pt x="1190" y="1025"/>
                      <a:pt x="1202" y="996"/>
                      <a:pt x="1213" y="965"/>
                    </a:cubicBezTo>
                    <a:close/>
                    <a:moveTo>
                      <a:pt x="321" y="1062"/>
                    </a:moveTo>
                    <a:cubicBezTo>
                      <a:pt x="341" y="1057"/>
                      <a:pt x="360" y="1049"/>
                      <a:pt x="380" y="1044"/>
                    </a:cubicBezTo>
                    <a:cubicBezTo>
                      <a:pt x="370" y="1020"/>
                      <a:pt x="361" y="996"/>
                      <a:pt x="352" y="972"/>
                    </a:cubicBezTo>
                    <a:cubicBezTo>
                      <a:pt x="339" y="970"/>
                      <a:pt x="328" y="967"/>
                      <a:pt x="316" y="965"/>
                    </a:cubicBezTo>
                    <a:cubicBezTo>
                      <a:pt x="316" y="999"/>
                      <a:pt x="319" y="1030"/>
                      <a:pt x="321" y="1062"/>
                    </a:cubicBezTo>
                    <a:close/>
                    <a:moveTo>
                      <a:pt x="75" y="1024"/>
                    </a:moveTo>
                    <a:cubicBezTo>
                      <a:pt x="70" y="1006"/>
                      <a:pt x="68" y="985"/>
                      <a:pt x="62" y="968"/>
                    </a:cubicBezTo>
                    <a:cubicBezTo>
                      <a:pt x="50" y="986"/>
                      <a:pt x="69" y="1007"/>
                      <a:pt x="75" y="1024"/>
                    </a:cubicBezTo>
                    <a:close/>
                    <a:moveTo>
                      <a:pt x="382" y="1043"/>
                    </a:moveTo>
                    <a:cubicBezTo>
                      <a:pt x="421" y="1032"/>
                      <a:pt x="463" y="1025"/>
                      <a:pt x="504" y="1016"/>
                    </a:cubicBezTo>
                    <a:cubicBezTo>
                      <a:pt x="501" y="1009"/>
                      <a:pt x="499" y="1001"/>
                      <a:pt x="497" y="992"/>
                    </a:cubicBezTo>
                    <a:cubicBezTo>
                      <a:pt x="448" y="988"/>
                      <a:pt x="402" y="981"/>
                      <a:pt x="356" y="973"/>
                    </a:cubicBezTo>
                    <a:cubicBezTo>
                      <a:pt x="363" y="998"/>
                      <a:pt x="374" y="1019"/>
                      <a:pt x="382" y="1043"/>
                    </a:cubicBezTo>
                    <a:close/>
                    <a:moveTo>
                      <a:pt x="1150" y="976"/>
                    </a:moveTo>
                    <a:cubicBezTo>
                      <a:pt x="1125" y="981"/>
                      <a:pt x="1099" y="984"/>
                      <a:pt x="1073" y="987"/>
                    </a:cubicBezTo>
                    <a:cubicBezTo>
                      <a:pt x="1069" y="1000"/>
                      <a:pt x="1065" y="1012"/>
                      <a:pt x="1062" y="1025"/>
                    </a:cubicBezTo>
                    <a:cubicBezTo>
                      <a:pt x="1092" y="1029"/>
                      <a:pt x="1121" y="1039"/>
                      <a:pt x="1148" y="1044"/>
                    </a:cubicBezTo>
                    <a:cubicBezTo>
                      <a:pt x="1148" y="1021"/>
                      <a:pt x="1151" y="996"/>
                      <a:pt x="1150" y="976"/>
                    </a:cubicBezTo>
                    <a:close/>
                    <a:moveTo>
                      <a:pt x="95" y="1092"/>
                    </a:moveTo>
                    <a:cubicBezTo>
                      <a:pt x="95" y="1093"/>
                      <a:pt x="96" y="1092"/>
                      <a:pt x="95" y="1092"/>
                    </a:cubicBezTo>
                    <a:moveTo>
                      <a:pt x="95" y="1092"/>
                    </a:moveTo>
                    <a:cubicBezTo>
                      <a:pt x="84" y="1053"/>
                      <a:pt x="70" y="1017"/>
                      <a:pt x="54" y="984"/>
                    </a:cubicBezTo>
                    <a:cubicBezTo>
                      <a:pt x="36" y="1032"/>
                      <a:pt x="67" y="1071"/>
                      <a:pt x="95" y="1092"/>
                    </a:cubicBezTo>
                    <a:moveTo>
                      <a:pt x="950" y="1000"/>
                    </a:moveTo>
                    <a:cubicBezTo>
                      <a:pt x="950" y="1002"/>
                      <a:pt x="950" y="1004"/>
                      <a:pt x="950" y="1007"/>
                    </a:cubicBezTo>
                    <a:cubicBezTo>
                      <a:pt x="986" y="1013"/>
                      <a:pt x="1024" y="1017"/>
                      <a:pt x="1059" y="1024"/>
                    </a:cubicBezTo>
                    <a:cubicBezTo>
                      <a:pt x="1063" y="1013"/>
                      <a:pt x="1066" y="1000"/>
                      <a:pt x="1070" y="988"/>
                    </a:cubicBezTo>
                    <a:cubicBezTo>
                      <a:pt x="1030" y="992"/>
                      <a:pt x="990" y="996"/>
                      <a:pt x="950" y="1000"/>
                    </a:cubicBezTo>
                    <a:close/>
                    <a:moveTo>
                      <a:pt x="508" y="1016"/>
                    </a:moveTo>
                    <a:cubicBezTo>
                      <a:pt x="508" y="1009"/>
                      <a:pt x="508" y="1001"/>
                      <a:pt x="508" y="994"/>
                    </a:cubicBezTo>
                    <a:cubicBezTo>
                      <a:pt x="506" y="993"/>
                      <a:pt x="503" y="993"/>
                      <a:pt x="500" y="993"/>
                    </a:cubicBezTo>
                    <a:cubicBezTo>
                      <a:pt x="502" y="1001"/>
                      <a:pt x="502" y="1011"/>
                      <a:pt x="508" y="1016"/>
                    </a:cubicBezTo>
                    <a:close/>
                    <a:moveTo>
                      <a:pt x="510" y="994"/>
                    </a:moveTo>
                    <a:cubicBezTo>
                      <a:pt x="511" y="1001"/>
                      <a:pt x="509" y="1011"/>
                      <a:pt x="511" y="1016"/>
                    </a:cubicBezTo>
                    <a:cubicBezTo>
                      <a:pt x="545" y="1009"/>
                      <a:pt x="584" y="1008"/>
                      <a:pt x="619" y="1002"/>
                    </a:cubicBezTo>
                    <a:cubicBezTo>
                      <a:pt x="581" y="1001"/>
                      <a:pt x="546" y="997"/>
                      <a:pt x="510" y="994"/>
                    </a:cubicBezTo>
                    <a:close/>
                    <a:moveTo>
                      <a:pt x="684" y="1002"/>
                    </a:moveTo>
                    <a:cubicBezTo>
                      <a:pt x="696" y="1003"/>
                      <a:pt x="716" y="1005"/>
                      <a:pt x="726" y="1001"/>
                    </a:cubicBezTo>
                    <a:cubicBezTo>
                      <a:pt x="714" y="999"/>
                      <a:pt x="697" y="1001"/>
                      <a:pt x="684" y="1002"/>
                    </a:cubicBezTo>
                    <a:close/>
                    <a:moveTo>
                      <a:pt x="728" y="1002"/>
                    </a:moveTo>
                    <a:cubicBezTo>
                      <a:pt x="729" y="1002"/>
                      <a:pt x="729" y="1003"/>
                      <a:pt x="730" y="1003"/>
                    </a:cubicBezTo>
                    <a:cubicBezTo>
                      <a:pt x="740" y="1004"/>
                      <a:pt x="752" y="1004"/>
                      <a:pt x="763" y="1004"/>
                    </a:cubicBezTo>
                    <a:cubicBezTo>
                      <a:pt x="770" y="1004"/>
                      <a:pt x="780" y="1006"/>
                      <a:pt x="783" y="1001"/>
                    </a:cubicBezTo>
                    <a:cubicBezTo>
                      <a:pt x="767" y="1000"/>
                      <a:pt x="743" y="998"/>
                      <a:pt x="728" y="1002"/>
                    </a:cubicBezTo>
                    <a:close/>
                    <a:moveTo>
                      <a:pt x="786" y="1002"/>
                    </a:moveTo>
                    <a:cubicBezTo>
                      <a:pt x="802" y="1003"/>
                      <a:pt x="826" y="1004"/>
                      <a:pt x="840" y="1001"/>
                    </a:cubicBezTo>
                    <a:cubicBezTo>
                      <a:pt x="822" y="1003"/>
                      <a:pt x="801" y="997"/>
                      <a:pt x="786" y="1002"/>
                    </a:cubicBezTo>
                    <a:close/>
                    <a:moveTo>
                      <a:pt x="928" y="1005"/>
                    </a:moveTo>
                    <a:cubicBezTo>
                      <a:pt x="933" y="1006"/>
                      <a:pt x="939" y="1006"/>
                      <a:pt x="945" y="1007"/>
                    </a:cubicBezTo>
                    <a:cubicBezTo>
                      <a:pt x="945" y="1004"/>
                      <a:pt x="945" y="1002"/>
                      <a:pt x="945" y="1000"/>
                    </a:cubicBezTo>
                    <a:cubicBezTo>
                      <a:pt x="939" y="1001"/>
                      <a:pt x="929" y="998"/>
                      <a:pt x="928" y="1005"/>
                    </a:cubicBezTo>
                    <a:close/>
                    <a:moveTo>
                      <a:pt x="905" y="1003"/>
                    </a:moveTo>
                    <a:cubicBezTo>
                      <a:pt x="911" y="1002"/>
                      <a:pt x="924" y="1008"/>
                      <a:pt x="926" y="1002"/>
                    </a:cubicBezTo>
                    <a:cubicBezTo>
                      <a:pt x="921" y="1001"/>
                      <a:pt x="911" y="1002"/>
                      <a:pt x="905" y="1003"/>
                    </a:cubicBezTo>
                    <a:close/>
                    <a:moveTo>
                      <a:pt x="510" y="1018"/>
                    </a:moveTo>
                    <a:cubicBezTo>
                      <a:pt x="512" y="1043"/>
                      <a:pt x="518" y="1061"/>
                      <a:pt x="525" y="1080"/>
                    </a:cubicBezTo>
                    <a:cubicBezTo>
                      <a:pt x="539" y="1124"/>
                      <a:pt x="556" y="1165"/>
                      <a:pt x="573" y="1204"/>
                    </a:cubicBezTo>
                    <a:cubicBezTo>
                      <a:pt x="605" y="1200"/>
                      <a:pt x="636" y="1195"/>
                      <a:pt x="671" y="1193"/>
                    </a:cubicBezTo>
                    <a:cubicBezTo>
                      <a:pt x="658" y="1137"/>
                      <a:pt x="651" y="1072"/>
                      <a:pt x="641" y="1014"/>
                    </a:cubicBezTo>
                    <a:cubicBezTo>
                      <a:pt x="641" y="1011"/>
                      <a:pt x="643" y="1004"/>
                      <a:pt x="637" y="1004"/>
                    </a:cubicBezTo>
                    <a:cubicBezTo>
                      <a:pt x="594" y="1007"/>
                      <a:pt x="552" y="1012"/>
                      <a:pt x="510" y="1018"/>
                    </a:cubicBezTo>
                    <a:close/>
                    <a:moveTo>
                      <a:pt x="675" y="1192"/>
                    </a:moveTo>
                    <a:cubicBezTo>
                      <a:pt x="693" y="1192"/>
                      <a:pt x="708" y="1189"/>
                      <a:pt x="726" y="1190"/>
                    </a:cubicBezTo>
                    <a:cubicBezTo>
                      <a:pt x="727" y="1128"/>
                      <a:pt x="725" y="1068"/>
                      <a:pt x="726" y="1006"/>
                    </a:cubicBezTo>
                    <a:cubicBezTo>
                      <a:pt x="697" y="1006"/>
                      <a:pt x="672" y="1004"/>
                      <a:pt x="645" y="1004"/>
                    </a:cubicBezTo>
                    <a:cubicBezTo>
                      <a:pt x="650" y="1067"/>
                      <a:pt x="663" y="1131"/>
                      <a:pt x="675" y="1192"/>
                    </a:cubicBezTo>
                    <a:close/>
                    <a:moveTo>
                      <a:pt x="786" y="1006"/>
                    </a:moveTo>
                    <a:cubicBezTo>
                      <a:pt x="784" y="1067"/>
                      <a:pt x="782" y="1128"/>
                      <a:pt x="780" y="1189"/>
                    </a:cubicBezTo>
                    <a:cubicBezTo>
                      <a:pt x="815" y="1190"/>
                      <a:pt x="851" y="1191"/>
                      <a:pt x="883" y="1196"/>
                    </a:cubicBezTo>
                    <a:cubicBezTo>
                      <a:pt x="899" y="1135"/>
                      <a:pt x="913" y="1072"/>
                      <a:pt x="925" y="1007"/>
                    </a:cubicBezTo>
                    <a:cubicBezTo>
                      <a:pt x="882" y="1000"/>
                      <a:pt x="834" y="1007"/>
                      <a:pt x="786" y="1006"/>
                    </a:cubicBezTo>
                    <a:close/>
                    <a:moveTo>
                      <a:pt x="1439" y="1083"/>
                    </a:moveTo>
                    <a:cubicBezTo>
                      <a:pt x="1437" y="1084"/>
                      <a:pt x="1439" y="1084"/>
                      <a:pt x="1439" y="1083"/>
                    </a:cubicBezTo>
                    <a:moveTo>
                      <a:pt x="1439" y="1083"/>
                    </a:moveTo>
                    <a:cubicBezTo>
                      <a:pt x="1439" y="1083"/>
                      <a:pt x="1440" y="1083"/>
                      <a:pt x="1440" y="1083"/>
                    </a:cubicBezTo>
                    <a:cubicBezTo>
                      <a:pt x="1458" y="1065"/>
                      <a:pt x="1478" y="1037"/>
                      <a:pt x="1474" y="1004"/>
                    </a:cubicBezTo>
                    <a:cubicBezTo>
                      <a:pt x="1465" y="1033"/>
                      <a:pt x="1451" y="1057"/>
                      <a:pt x="1439" y="1083"/>
                    </a:cubicBezTo>
                    <a:moveTo>
                      <a:pt x="729" y="1190"/>
                    </a:moveTo>
                    <a:cubicBezTo>
                      <a:pt x="744" y="1188"/>
                      <a:pt x="762" y="1189"/>
                      <a:pt x="777" y="1189"/>
                    </a:cubicBezTo>
                    <a:cubicBezTo>
                      <a:pt x="780" y="1129"/>
                      <a:pt x="782" y="1067"/>
                      <a:pt x="783" y="1006"/>
                    </a:cubicBezTo>
                    <a:cubicBezTo>
                      <a:pt x="765" y="1006"/>
                      <a:pt x="747" y="1006"/>
                      <a:pt x="729" y="1006"/>
                    </a:cubicBezTo>
                    <a:cubicBezTo>
                      <a:pt x="727" y="1066"/>
                      <a:pt x="729" y="1129"/>
                      <a:pt x="729" y="1190"/>
                    </a:cubicBezTo>
                    <a:close/>
                    <a:moveTo>
                      <a:pt x="928" y="1007"/>
                    </a:moveTo>
                    <a:cubicBezTo>
                      <a:pt x="915" y="1072"/>
                      <a:pt x="903" y="1136"/>
                      <a:pt x="885" y="1196"/>
                    </a:cubicBezTo>
                    <a:cubicBezTo>
                      <a:pt x="903" y="1197"/>
                      <a:pt x="920" y="1200"/>
                      <a:pt x="937" y="1202"/>
                    </a:cubicBezTo>
                    <a:cubicBezTo>
                      <a:pt x="941" y="1140"/>
                      <a:pt x="945" y="1077"/>
                      <a:pt x="945" y="1009"/>
                    </a:cubicBezTo>
                    <a:cubicBezTo>
                      <a:pt x="940" y="1009"/>
                      <a:pt x="934" y="1008"/>
                      <a:pt x="928" y="1007"/>
                    </a:cubicBezTo>
                    <a:close/>
                    <a:moveTo>
                      <a:pt x="951" y="1010"/>
                    </a:moveTo>
                    <a:cubicBezTo>
                      <a:pt x="947" y="1074"/>
                      <a:pt x="947" y="1142"/>
                      <a:pt x="941" y="1203"/>
                    </a:cubicBezTo>
                    <a:cubicBezTo>
                      <a:pt x="955" y="1205"/>
                      <a:pt x="968" y="1208"/>
                      <a:pt x="981" y="1211"/>
                    </a:cubicBezTo>
                    <a:cubicBezTo>
                      <a:pt x="1010" y="1153"/>
                      <a:pt x="1037" y="1093"/>
                      <a:pt x="1058" y="1026"/>
                    </a:cubicBezTo>
                    <a:cubicBezTo>
                      <a:pt x="1022" y="1020"/>
                      <a:pt x="989" y="1013"/>
                      <a:pt x="951" y="1010"/>
                    </a:cubicBezTo>
                    <a:close/>
                    <a:moveTo>
                      <a:pt x="507" y="1020"/>
                    </a:moveTo>
                    <a:cubicBezTo>
                      <a:pt x="508" y="1024"/>
                      <a:pt x="508" y="1016"/>
                      <a:pt x="507" y="1020"/>
                    </a:cubicBezTo>
                    <a:close/>
                    <a:moveTo>
                      <a:pt x="384" y="1045"/>
                    </a:moveTo>
                    <a:cubicBezTo>
                      <a:pt x="411" y="1107"/>
                      <a:pt x="441" y="1167"/>
                      <a:pt x="479" y="1218"/>
                    </a:cubicBezTo>
                    <a:cubicBezTo>
                      <a:pt x="493" y="1223"/>
                      <a:pt x="508" y="1219"/>
                      <a:pt x="522" y="1216"/>
                    </a:cubicBezTo>
                    <a:cubicBezTo>
                      <a:pt x="517" y="1173"/>
                      <a:pt x="513" y="1126"/>
                      <a:pt x="510" y="1081"/>
                    </a:cubicBezTo>
                    <a:cubicBezTo>
                      <a:pt x="509" y="1066"/>
                      <a:pt x="511" y="1049"/>
                      <a:pt x="509" y="1034"/>
                    </a:cubicBezTo>
                    <a:cubicBezTo>
                      <a:pt x="508" y="1030"/>
                      <a:pt x="506" y="1023"/>
                      <a:pt x="502" y="1020"/>
                    </a:cubicBezTo>
                    <a:cubicBezTo>
                      <a:pt x="460" y="1026"/>
                      <a:pt x="422" y="1036"/>
                      <a:pt x="384" y="1045"/>
                    </a:cubicBezTo>
                    <a:close/>
                    <a:moveTo>
                      <a:pt x="1274" y="1095"/>
                    </a:moveTo>
                    <a:cubicBezTo>
                      <a:pt x="1283" y="1099"/>
                      <a:pt x="1290" y="1105"/>
                      <a:pt x="1299" y="1109"/>
                    </a:cubicBezTo>
                    <a:cubicBezTo>
                      <a:pt x="1304" y="1081"/>
                      <a:pt x="1312" y="1050"/>
                      <a:pt x="1312" y="1021"/>
                    </a:cubicBezTo>
                    <a:cubicBezTo>
                      <a:pt x="1301" y="1047"/>
                      <a:pt x="1286" y="1070"/>
                      <a:pt x="1274" y="1095"/>
                    </a:cubicBezTo>
                    <a:close/>
                    <a:moveTo>
                      <a:pt x="508" y="1025"/>
                    </a:moveTo>
                    <a:cubicBezTo>
                      <a:pt x="507" y="1024"/>
                      <a:pt x="508" y="1025"/>
                      <a:pt x="508" y="1025"/>
                    </a:cubicBezTo>
                    <a:close/>
                    <a:moveTo>
                      <a:pt x="75" y="1026"/>
                    </a:moveTo>
                    <a:cubicBezTo>
                      <a:pt x="75" y="1026"/>
                      <a:pt x="74" y="1025"/>
                      <a:pt x="75" y="1026"/>
                    </a:cubicBezTo>
                    <a:close/>
                    <a:moveTo>
                      <a:pt x="1062" y="1027"/>
                    </a:moveTo>
                    <a:cubicBezTo>
                      <a:pt x="1038" y="1091"/>
                      <a:pt x="1014" y="1154"/>
                      <a:pt x="984" y="1211"/>
                    </a:cubicBezTo>
                    <a:cubicBezTo>
                      <a:pt x="1013" y="1223"/>
                      <a:pt x="1049" y="1219"/>
                      <a:pt x="1083" y="1213"/>
                    </a:cubicBezTo>
                    <a:cubicBezTo>
                      <a:pt x="1092" y="1199"/>
                      <a:pt x="1103" y="1185"/>
                      <a:pt x="1112" y="1170"/>
                    </a:cubicBezTo>
                    <a:cubicBezTo>
                      <a:pt x="1121" y="1156"/>
                      <a:pt x="1134" y="1140"/>
                      <a:pt x="1139" y="1124"/>
                    </a:cubicBezTo>
                    <a:cubicBezTo>
                      <a:pt x="1146" y="1101"/>
                      <a:pt x="1143" y="1075"/>
                      <a:pt x="1147" y="1047"/>
                    </a:cubicBezTo>
                    <a:cubicBezTo>
                      <a:pt x="1119" y="1040"/>
                      <a:pt x="1091" y="1033"/>
                      <a:pt x="1062" y="1027"/>
                    </a:cubicBezTo>
                    <a:close/>
                    <a:moveTo>
                      <a:pt x="526" y="1215"/>
                    </a:moveTo>
                    <a:cubicBezTo>
                      <a:pt x="539" y="1211"/>
                      <a:pt x="555" y="1208"/>
                      <a:pt x="570" y="1205"/>
                    </a:cubicBezTo>
                    <a:cubicBezTo>
                      <a:pt x="548" y="1154"/>
                      <a:pt x="529" y="1101"/>
                      <a:pt x="511" y="1046"/>
                    </a:cubicBezTo>
                    <a:cubicBezTo>
                      <a:pt x="514" y="1104"/>
                      <a:pt x="518" y="1162"/>
                      <a:pt x="526" y="1215"/>
                    </a:cubicBezTo>
                    <a:close/>
                    <a:moveTo>
                      <a:pt x="322" y="1065"/>
                    </a:moveTo>
                    <a:cubicBezTo>
                      <a:pt x="325" y="1103"/>
                      <a:pt x="332" y="1137"/>
                      <a:pt x="339" y="1171"/>
                    </a:cubicBezTo>
                    <a:cubicBezTo>
                      <a:pt x="345" y="1180"/>
                      <a:pt x="353" y="1188"/>
                      <a:pt x="359" y="1198"/>
                    </a:cubicBezTo>
                    <a:cubicBezTo>
                      <a:pt x="396" y="1205"/>
                      <a:pt x="436" y="1213"/>
                      <a:pt x="474" y="1217"/>
                    </a:cubicBezTo>
                    <a:cubicBezTo>
                      <a:pt x="441" y="1168"/>
                      <a:pt x="410" y="1113"/>
                      <a:pt x="386" y="1057"/>
                    </a:cubicBezTo>
                    <a:cubicBezTo>
                      <a:pt x="384" y="1054"/>
                      <a:pt x="384" y="1048"/>
                      <a:pt x="379" y="1047"/>
                    </a:cubicBezTo>
                    <a:cubicBezTo>
                      <a:pt x="359" y="1052"/>
                      <a:pt x="341" y="1059"/>
                      <a:pt x="322" y="1065"/>
                    </a:cubicBezTo>
                    <a:close/>
                    <a:moveTo>
                      <a:pt x="1144" y="1118"/>
                    </a:moveTo>
                    <a:cubicBezTo>
                      <a:pt x="1154" y="1097"/>
                      <a:pt x="1166" y="1078"/>
                      <a:pt x="1175" y="1055"/>
                    </a:cubicBezTo>
                    <a:cubicBezTo>
                      <a:pt x="1166" y="1054"/>
                      <a:pt x="1159" y="1050"/>
                      <a:pt x="1150" y="1049"/>
                    </a:cubicBezTo>
                    <a:cubicBezTo>
                      <a:pt x="1149" y="1072"/>
                      <a:pt x="1144" y="1097"/>
                      <a:pt x="1144" y="1118"/>
                    </a:cubicBezTo>
                    <a:close/>
                    <a:moveTo>
                      <a:pt x="87" y="1057"/>
                    </a:moveTo>
                    <a:cubicBezTo>
                      <a:pt x="94" y="1077"/>
                      <a:pt x="96" y="1100"/>
                      <a:pt x="115" y="1107"/>
                    </a:cubicBezTo>
                    <a:cubicBezTo>
                      <a:pt x="106" y="1091"/>
                      <a:pt x="96" y="1074"/>
                      <a:pt x="87" y="1057"/>
                    </a:cubicBezTo>
                    <a:moveTo>
                      <a:pt x="87" y="1057"/>
                    </a:moveTo>
                    <a:cubicBezTo>
                      <a:pt x="88" y="1053"/>
                      <a:pt x="84" y="1057"/>
                      <a:pt x="87" y="1057"/>
                    </a:cubicBezTo>
                    <a:moveTo>
                      <a:pt x="1177" y="1057"/>
                    </a:moveTo>
                    <a:cubicBezTo>
                      <a:pt x="1172" y="1069"/>
                      <a:pt x="1167" y="1081"/>
                      <a:pt x="1160" y="1093"/>
                    </a:cubicBezTo>
                    <a:cubicBezTo>
                      <a:pt x="1155" y="1103"/>
                      <a:pt x="1146" y="1113"/>
                      <a:pt x="1142" y="1125"/>
                    </a:cubicBezTo>
                    <a:cubicBezTo>
                      <a:pt x="1138" y="1137"/>
                      <a:pt x="1139" y="1152"/>
                      <a:pt x="1136" y="1165"/>
                    </a:cubicBezTo>
                    <a:cubicBezTo>
                      <a:pt x="1134" y="1178"/>
                      <a:pt x="1131" y="1190"/>
                      <a:pt x="1129" y="1204"/>
                    </a:cubicBezTo>
                    <a:cubicBezTo>
                      <a:pt x="1155" y="1201"/>
                      <a:pt x="1179" y="1194"/>
                      <a:pt x="1204" y="1189"/>
                    </a:cubicBezTo>
                    <a:cubicBezTo>
                      <a:pt x="1227" y="1159"/>
                      <a:pt x="1250" y="1129"/>
                      <a:pt x="1269" y="1095"/>
                    </a:cubicBezTo>
                    <a:cubicBezTo>
                      <a:pt x="1240" y="1080"/>
                      <a:pt x="1211" y="1066"/>
                      <a:pt x="1177" y="1057"/>
                    </a:cubicBezTo>
                    <a:close/>
                    <a:moveTo>
                      <a:pt x="64" y="1065"/>
                    </a:moveTo>
                    <a:cubicBezTo>
                      <a:pt x="88" y="1121"/>
                      <a:pt x="118" y="1171"/>
                      <a:pt x="154" y="1215"/>
                    </a:cubicBezTo>
                    <a:moveTo>
                      <a:pt x="154" y="1215"/>
                    </a:moveTo>
                    <a:cubicBezTo>
                      <a:pt x="154" y="1216"/>
                      <a:pt x="155" y="1216"/>
                      <a:pt x="155" y="1216"/>
                    </a:cubicBezTo>
                    <a:moveTo>
                      <a:pt x="155" y="1216"/>
                    </a:moveTo>
                    <a:cubicBezTo>
                      <a:pt x="155" y="1217"/>
                      <a:pt x="155" y="1218"/>
                      <a:pt x="156" y="1218"/>
                    </a:cubicBezTo>
                    <a:moveTo>
                      <a:pt x="156" y="1218"/>
                    </a:moveTo>
                    <a:cubicBezTo>
                      <a:pt x="156" y="1219"/>
                      <a:pt x="157" y="1219"/>
                      <a:pt x="157" y="1219"/>
                    </a:cubicBezTo>
                    <a:moveTo>
                      <a:pt x="157" y="1219"/>
                    </a:moveTo>
                    <a:cubicBezTo>
                      <a:pt x="158" y="1220"/>
                      <a:pt x="158" y="1219"/>
                      <a:pt x="157" y="1219"/>
                    </a:cubicBezTo>
                    <a:moveTo>
                      <a:pt x="157" y="1219"/>
                    </a:moveTo>
                    <a:cubicBezTo>
                      <a:pt x="157" y="1218"/>
                      <a:pt x="157" y="1218"/>
                      <a:pt x="156" y="1218"/>
                    </a:cubicBezTo>
                    <a:moveTo>
                      <a:pt x="156" y="1218"/>
                    </a:moveTo>
                    <a:cubicBezTo>
                      <a:pt x="156" y="1217"/>
                      <a:pt x="156" y="1216"/>
                      <a:pt x="155" y="1216"/>
                    </a:cubicBezTo>
                    <a:moveTo>
                      <a:pt x="155" y="1216"/>
                    </a:moveTo>
                    <a:cubicBezTo>
                      <a:pt x="155" y="1215"/>
                      <a:pt x="155" y="1215"/>
                      <a:pt x="154" y="1215"/>
                    </a:cubicBezTo>
                    <a:moveTo>
                      <a:pt x="154" y="1215"/>
                    </a:moveTo>
                    <a:cubicBezTo>
                      <a:pt x="134" y="1178"/>
                      <a:pt x="113" y="1142"/>
                      <a:pt x="99" y="1099"/>
                    </a:cubicBezTo>
                    <a:cubicBezTo>
                      <a:pt x="85" y="1089"/>
                      <a:pt x="75" y="1077"/>
                      <a:pt x="64" y="1065"/>
                    </a:cubicBezTo>
                    <a:moveTo>
                      <a:pt x="64" y="1065"/>
                    </a:moveTo>
                    <a:cubicBezTo>
                      <a:pt x="63" y="1064"/>
                      <a:pt x="63" y="1065"/>
                      <a:pt x="64" y="1065"/>
                    </a:cubicBezTo>
                    <a:moveTo>
                      <a:pt x="282" y="1081"/>
                    </a:moveTo>
                    <a:cubicBezTo>
                      <a:pt x="297" y="1111"/>
                      <a:pt x="315" y="1138"/>
                      <a:pt x="335" y="1164"/>
                    </a:cubicBezTo>
                    <a:cubicBezTo>
                      <a:pt x="327" y="1133"/>
                      <a:pt x="324" y="1098"/>
                      <a:pt x="318" y="1066"/>
                    </a:cubicBezTo>
                    <a:cubicBezTo>
                      <a:pt x="307" y="1072"/>
                      <a:pt x="294" y="1076"/>
                      <a:pt x="282" y="1081"/>
                    </a:cubicBezTo>
                    <a:close/>
                    <a:moveTo>
                      <a:pt x="1457" y="1068"/>
                    </a:moveTo>
                    <a:cubicBezTo>
                      <a:pt x="1458" y="1069"/>
                      <a:pt x="1457" y="1068"/>
                      <a:pt x="1457" y="1068"/>
                    </a:cubicBezTo>
                    <a:close/>
                    <a:moveTo>
                      <a:pt x="1361" y="1232"/>
                    </a:moveTo>
                    <a:cubicBezTo>
                      <a:pt x="1360" y="1233"/>
                      <a:pt x="1361" y="1233"/>
                      <a:pt x="1361" y="1232"/>
                    </a:cubicBezTo>
                    <a:moveTo>
                      <a:pt x="1361" y="1232"/>
                    </a:moveTo>
                    <a:cubicBezTo>
                      <a:pt x="1399" y="1185"/>
                      <a:pt x="1434" y="1129"/>
                      <a:pt x="1456" y="1069"/>
                    </a:cubicBezTo>
                    <a:cubicBezTo>
                      <a:pt x="1450" y="1078"/>
                      <a:pt x="1442" y="1085"/>
                      <a:pt x="1433" y="1092"/>
                    </a:cubicBezTo>
                    <a:cubicBezTo>
                      <a:pt x="1414" y="1130"/>
                      <a:pt x="1388" y="1162"/>
                      <a:pt x="1365" y="1196"/>
                    </a:cubicBezTo>
                    <a:cubicBezTo>
                      <a:pt x="1367" y="1209"/>
                      <a:pt x="1364" y="1221"/>
                      <a:pt x="1361" y="1232"/>
                    </a:cubicBezTo>
                    <a:moveTo>
                      <a:pt x="341" y="1193"/>
                    </a:moveTo>
                    <a:cubicBezTo>
                      <a:pt x="341" y="1194"/>
                      <a:pt x="342" y="1193"/>
                      <a:pt x="341" y="1193"/>
                    </a:cubicBezTo>
                    <a:moveTo>
                      <a:pt x="341" y="1193"/>
                    </a:moveTo>
                    <a:cubicBezTo>
                      <a:pt x="340" y="1185"/>
                      <a:pt x="337" y="1179"/>
                      <a:pt x="337" y="1172"/>
                    </a:cubicBezTo>
                    <a:cubicBezTo>
                      <a:pt x="315" y="1144"/>
                      <a:pt x="298" y="1113"/>
                      <a:pt x="278" y="1083"/>
                    </a:cubicBezTo>
                    <a:cubicBezTo>
                      <a:pt x="261" y="1092"/>
                      <a:pt x="240" y="1102"/>
                      <a:pt x="222" y="1114"/>
                    </a:cubicBezTo>
                    <a:cubicBezTo>
                      <a:pt x="220" y="1116"/>
                      <a:pt x="207" y="1125"/>
                      <a:pt x="207" y="1127"/>
                    </a:cubicBezTo>
                    <a:cubicBezTo>
                      <a:pt x="207" y="1129"/>
                      <a:pt x="219" y="1144"/>
                      <a:pt x="221" y="1146"/>
                    </a:cubicBezTo>
                    <a:cubicBezTo>
                      <a:pt x="226" y="1153"/>
                      <a:pt x="230" y="1157"/>
                      <a:pt x="234" y="1164"/>
                    </a:cubicBezTo>
                    <a:cubicBezTo>
                      <a:pt x="269" y="1174"/>
                      <a:pt x="303" y="1186"/>
                      <a:pt x="341" y="1193"/>
                    </a:cubicBezTo>
                    <a:moveTo>
                      <a:pt x="183" y="1096"/>
                    </a:moveTo>
                    <a:cubicBezTo>
                      <a:pt x="183" y="1095"/>
                      <a:pt x="184" y="1096"/>
                      <a:pt x="183" y="1096"/>
                    </a:cubicBezTo>
                    <a:close/>
                    <a:moveTo>
                      <a:pt x="195" y="1134"/>
                    </a:moveTo>
                    <a:cubicBezTo>
                      <a:pt x="197" y="1130"/>
                      <a:pt x="202" y="1130"/>
                      <a:pt x="203" y="1125"/>
                    </a:cubicBezTo>
                    <a:cubicBezTo>
                      <a:pt x="196" y="1116"/>
                      <a:pt x="191" y="1106"/>
                      <a:pt x="184" y="1097"/>
                    </a:cubicBezTo>
                    <a:cubicBezTo>
                      <a:pt x="187" y="1110"/>
                      <a:pt x="190" y="1123"/>
                      <a:pt x="195" y="1134"/>
                    </a:cubicBezTo>
                    <a:close/>
                    <a:moveTo>
                      <a:pt x="1271" y="1097"/>
                    </a:moveTo>
                    <a:cubicBezTo>
                      <a:pt x="1271" y="1098"/>
                      <a:pt x="1270" y="1099"/>
                      <a:pt x="1270" y="1100"/>
                    </a:cubicBezTo>
                    <a:cubicBezTo>
                      <a:pt x="1254" y="1126"/>
                      <a:pt x="1234" y="1154"/>
                      <a:pt x="1216" y="1177"/>
                    </a:cubicBezTo>
                    <a:cubicBezTo>
                      <a:pt x="1214" y="1180"/>
                      <a:pt x="1210" y="1183"/>
                      <a:pt x="1210" y="1187"/>
                    </a:cubicBezTo>
                    <a:cubicBezTo>
                      <a:pt x="1235" y="1180"/>
                      <a:pt x="1261" y="1174"/>
                      <a:pt x="1284" y="1165"/>
                    </a:cubicBezTo>
                    <a:cubicBezTo>
                      <a:pt x="1289" y="1147"/>
                      <a:pt x="1294" y="1131"/>
                      <a:pt x="1298" y="1112"/>
                    </a:cubicBezTo>
                    <a:cubicBezTo>
                      <a:pt x="1289" y="1107"/>
                      <a:pt x="1281" y="1100"/>
                      <a:pt x="1271" y="1097"/>
                    </a:cubicBezTo>
                    <a:close/>
                    <a:moveTo>
                      <a:pt x="1426" y="1099"/>
                    </a:moveTo>
                    <a:cubicBezTo>
                      <a:pt x="1417" y="1104"/>
                      <a:pt x="1408" y="1111"/>
                      <a:pt x="1399" y="1117"/>
                    </a:cubicBezTo>
                    <a:cubicBezTo>
                      <a:pt x="1394" y="1137"/>
                      <a:pt x="1385" y="1154"/>
                      <a:pt x="1377" y="1173"/>
                    </a:cubicBezTo>
                    <a:moveTo>
                      <a:pt x="1377" y="1173"/>
                    </a:moveTo>
                    <a:cubicBezTo>
                      <a:pt x="1376" y="1173"/>
                      <a:pt x="1377" y="1174"/>
                      <a:pt x="1376" y="1175"/>
                    </a:cubicBezTo>
                    <a:moveTo>
                      <a:pt x="1376" y="1175"/>
                    </a:moveTo>
                    <a:cubicBezTo>
                      <a:pt x="1375" y="1175"/>
                      <a:pt x="1377" y="1176"/>
                      <a:pt x="1376" y="1175"/>
                    </a:cubicBezTo>
                    <a:moveTo>
                      <a:pt x="1376" y="1175"/>
                    </a:moveTo>
                    <a:cubicBezTo>
                      <a:pt x="1377" y="1174"/>
                      <a:pt x="1377" y="1173"/>
                      <a:pt x="1377" y="1173"/>
                    </a:cubicBezTo>
                    <a:moveTo>
                      <a:pt x="1377" y="1173"/>
                    </a:moveTo>
                    <a:cubicBezTo>
                      <a:pt x="1396" y="1150"/>
                      <a:pt x="1412" y="1125"/>
                      <a:pt x="1426" y="1099"/>
                    </a:cubicBezTo>
                    <a:moveTo>
                      <a:pt x="1426" y="1099"/>
                    </a:moveTo>
                    <a:cubicBezTo>
                      <a:pt x="1428" y="1098"/>
                      <a:pt x="1426" y="1098"/>
                      <a:pt x="1426" y="1099"/>
                    </a:cubicBezTo>
                    <a:moveTo>
                      <a:pt x="159" y="1216"/>
                    </a:moveTo>
                    <a:cubicBezTo>
                      <a:pt x="156" y="1201"/>
                      <a:pt x="160" y="1188"/>
                      <a:pt x="164" y="1176"/>
                    </a:cubicBezTo>
                    <a:cubicBezTo>
                      <a:pt x="148" y="1157"/>
                      <a:pt x="133" y="1136"/>
                      <a:pt x="120" y="1113"/>
                    </a:cubicBezTo>
                    <a:cubicBezTo>
                      <a:pt x="113" y="1111"/>
                      <a:pt x="109" y="1105"/>
                      <a:pt x="102" y="1103"/>
                    </a:cubicBezTo>
                    <a:cubicBezTo>
                      <a:pt x="118" y="1144"/>
                      <a:pt x="137" y="1181"/>
                      <a:pt x="159" y="1216"/>
                    </a:cubicBezTo>
                    <a:close/>
                    <a:moveTo>
                      <a:pt x="1287" y="1164"/>
                    </a:moveTo>
                    <a:cubicBezTo>
                      <a:pt x="1303" y="1157"/>
                      <a:pt x="1323" y="1155"/>
                      <a:pt x="1333" y="1143"/>
                    </a:cubicBezTo>
                    <a:cubicBezTo>
                      <a:pt x="1325" y="1131"/>
                      <a:pt x="1312" y="1123"/>
                      <a:pt x="1301" y="1114"/>
                    </a:cubicBezTo>
                    <a:cubicBezTo>
                      <a:pt x="1296" y="1131"/>
                      <a:pt x="1292" y="1148"/>
                      <a:pt x="1287" y="1164"/>
                    </a:cubicBezTo>
                    <a:close/>
                    <a:moveTo>
                      <a:pt x="126" y="1118"/>
                    </a:moveTo>
                    <a:cubicBezTo>
                      <a:pt x="138" y="1138"/>
                      <a:pt x="150" y="1157"/>
                      <a:pt x="166" y="1174"/>
                    </a:cubicBezTo>
                    <a:cubicBezTo>
                      <a:pt x="169" y="1162"/>
                      <a:pt x="177" y="1155"/>
                      <a:pt x="182" y="1146"/>
                    </a:cubicBezTo>
                    <a:cubicBezTo>
                      <a:pt x="161" y="1138"/>
                      <a:pt x="144" y="1127"/>
                      <a:pt x="126" y="1118"/>
                    </a:cubicBezTo>
                    <a:moveTo>
                      <a:pt x="126" y="1118"/>
                    </a:moveTo>
                    <a:cubicBezTo>
                      <a:pt x="125" y="1116"/>
                      <a:pt x="124" y="1118"/>
                      <a:pt x="126" y="1118"/>
                    </a:cubicBezTo>
                    <a:moveTo>
                      <a:pt x="1342" y="1146"/>
                    </a:moveTo>
                    <a:cubicBezTo>
                      <a:pt x="1351" y="1159"/>
                      <a:pt x="1360" y="1173"/>
                      <a:pt x="1365" y="1190"/>
                    </a:cubicBezTo>
                    <a:cubicBezTo>
                      <a:pt x="1377" y="1168"/>
                      <a:pt x="1387" y="1145"/>
                      <a:pt x="1396" y="1120"/>
                    </a:cubicBezTo>
                    <a:cubicBezTo>
                      <a:pt x="1397" y="1120"/>
                      <a:pt x="1396" y="1119"/>
                      <a:pt x="1395" y="1119"/>
                    </a:cubicBezTo>
                    <a:cubicBezTo>
                      <a:pt x="1379" y="1129"/>
                      <a:pt x="1361" y="1138"/>
                      <a:pt x="1342" y="1146"/>
                    </a:cubicBezTo>
                    <a:close/>
                    <a:moveTo>
                      <a:pt x="204" y="1128"/>
                    </a:moveTo>
                    <a:cubicBezTo>
                      <a:pt x="202" y="1133"/>
                      <a:pt x="196" y="1134"/>
                      <a:pt x="195" y="1139"/>
                    </a:cubicBezTo>
                    <a:cubicBezTo>
                      <a:pt x="197" y="1142"/>
                      <a:pt x="198" y="1146"/>
                      <a:pt x="198" y="1151"/>
                    </a:cubicBezTo>
                    <a:cubicBezTo>
                      <a:pt x="209" y="1153"/>
                      <a:pt x="219" y="1160"/>
                      <a:pt x="229" y="1160"/>
                    </a:cubicBezTo>
                    <a:cubicBezTo>
                      <a:pt x="220" y="1151"/>
                      <a:pt x="214" y="1138"/>
                      <a:pt x="204" y="1128"/>
                    </a:cubicBezTo>
                    <a:close/>
                    <a:moveTo>
                      <a:pt x="1100" y="1194"/>
                    </a:moveTo>
                    <a:cubicBezTo>
                      <a:pt x="1095" y="1200"/>
                      <a:pt x="1088" y="1206"/>
                      <a:pt x="1088" y="1212"/>
                    </a:cubicBezTo>
                    <a:cubicBezTo>
                      <a:pt x="1101" y="1209"/>
                      <a:pt x="1114" y="1208"/>
                      <a:pt x="1126" y="1205"/>
                    </a:cubicBezTo>
                    <a:cubicBezTo>
                      <a:pt x="1129" y="1181"/>
                      <a:pt x="1137" y="1156"/>
                      <a:pt x="1137" y="1132"/>
                    </a:cubicBezTo>
                    <a:cubicBezTo>
                      <a:pt x="1126" y="1153"/>
                      <a:pt x="1113" y="1175"/>
                      <a:pt x="1100" y="1194"/>
                    </a:cubicBezTo>
                    <a:close/>
                    <a:moveTo>
                      <a:pt x="187" y="1146"/>
                    </a:moveTo>
                    <a:cubicBezTo>
                      <a:pt x="190" y="1145"/>
                      <a:pt x="194" y="1150"/>
                      <a:pt x="196" y="1148"/>
                    </a:cubicBezTo>
                    <a:cubicBezTo>
                      <a:pt x="193" y="1146"/>
                      <a:pt x="194" y="1141"/>
                      <a:pt x="192" y="1140"/>
                    </a:cubicBezTo>
                    <a:cubicBezTo>
                      <a:pt x="191" y="1142"/>
                      <a:pt x="188" y="1143"/>
                      <a:pt x="187" y="1146"/>
                    </a:cubicBezTo>
                    <a:close/>
                    <a:moveTo>
                      <a:pt x="1333" y="1147"/>
                    </a:moveTo>
                    <a:cubicBezTo>
                      <a:pt x="1335" y="1147"/>
                      <a:pt x="1336" y="1146"/>
                      <a:pt x="1337" y="1145"/>
                    </a:cubicBezTo>
                    <a:cubicBezTo>
                      <a:pt x="1335" y="1143"/>
                      <a:pt x="1334" y="1145"/>
                      <a:pt x="1333" y="1147"/>
                    </a:cubicBezTo>
                    <a:close/>
                    <a:moveTo>
                      <a:pt x="241" y="1257"/>
                    </a:moveTo>
                    <a:cubicBezTo>
                      <a:pt x="241" y="1258"/>
                      <a:pt x="242" y="1257"/>
                      <a:pt x="241" y="1257"/>
                    </a:cubicBezTo>
                    <a:moveTo>
                      <a:pt x="241" y="1257"/>
                    </a:moveTo>
                    <a:cubicBezTo>
                      <a:pt x="224" y="1224"/>
                      <a:pt x="209" y="1190"/>
                      <a:pt x="197" y="1152"/>
                    </a:cubicBezTo>
                    <a:cubicBezTo>
                      <a:pt x="194" y="1150"/>
                      <a:pt x="189" y="1150"/>
                      <a:pt x="187" y="1148"/>
                    </a:cubicBezTo>
                    <a:cubicBezTo>
                      <a:pt x="177" y="1154"/>
                      <a:pt x="173" y="1166"/>
                      <a:pt x="167" y="1175"/>
                    </a:cubicBezTo>
                    <a:cubicBezTo>
                      <a:pt x="189" y="1205"/>
                      <a:pt x="214" y="1232"/>
                      <a:pt x="241" y="1257"/>
                    </a:cubicBezTo>
                    <a:moveTo>
                      <a:pt x="1207" y="1335"/>
                    </a:moveTo>
                    <a:cubicBezTo>
                      <a:pt x="1206" y="1335"/>
                      <a:pt x="1208" y="1336"/>
                      <a:pt x="1207" y="1335"/>
                    </a:cubicBezTo>
                    <a:moveTo>
                      <a:pt x="1207" y="1335"/>
                    </a:moveTo>
                    <a:cubicBezTo>
                      <a:pt x="1267" y="1295"/>
                      <a:pt x="1319" y="1248"/>
                      <a:pt x="1362" y="1192"/>
                    </a:cubicBezTo>
                    <a:cubicBezTo>
                      <a:pt x="1357" y="1174"/>
                      <a:pt x="1350" y="1158"/>
                      <a:pt x="1337" y="1148"/>
                    </a:cubicBezTo>
                    <a:cubicBezTo>
                      <a:pt x="1322" y="1158"/>
                      <a:pt x="1312" y="1174"/>
                      <a:pt x="1300" y="1189"/>
                    </a:cubicBezTo>
                    <a:cubicBezTo>
                      <a:pt x="1294" y="1196"/>
                      <a:pt x="1288" y="1203"/>
                      <a:pt x="1281" y="1210"/>
                    </a:cubicBezTo>
                    <a:cubicBezTo>
                      <a:pt x="1275" y="1217"/>
                      <a:pt x="1267" y="1223"/>
                      <a:pt x="1263" y="1230"/>
                    </a:cubicBezTo>
                    <a:cubicBezTo>
                      <a:pt x="1258" y="1239"/>
                      <a:pt x="1255" y="1249"/>
                      <a:pt x="1251" y="1258"/>
                    </a:cubicBezTo>
                    <a:cubicBezTo>
                      <a:pt x="1237" y="1285"/>
                      <a:pt x="1225" y="1311"/>
                      <a:pt x="1207" y="1335"/>
                    </a:cubicBezTo>
                    <a:moveTo>
                      <a:pt x="1324" y="1154"/>
                    </a:moveTo>
                    <a:cubicBezTo>
                      <a:pt x="1310" y="1158"/>
                      <a:pt x="1300" y="1164"/>
                      <a:pt x="1286" y="1167"/>
                    </a:cubicBezTo>
                    <a:cubicBezTo>
                      <a:pt x="1282" y="1186"/>
                      <a:pt x="1272" y="1204"/>
                      <a:pt x="1269" y="1221"/>
                    </a:cubicBezTo>
                    <a:cubicBezTo>
                      <a:pt x="1287" y="1199"/>
                      <a:pt x="1307" y="1178"/>
                      <a:pt x="1324" y="1154"/>
                    </a:cubicBezTo>
                    <a:moveTo>
                      <a:pt x="1324" y="1154"/>
                    </a:moveTo>
                    <a:cubicBezTo>
                      <a:pt x="1325" y="1154"/>
                      <a:pt x="1324" y="1153"/>
                      <a:pt x="1324" y="1154"/>
                    </a:cubicBezTo>
                    <a:moveTo>
                      <a:pt x="222" y="1212"/>
                    </a:moveTo>
                    <a:cubicBezTo>
                      <a:pt x="231" y="1230"/>
                      <a:pt x="237" y="1251"/>
                      <a:pt x="247" y="1264"/>
                    </a:cubicBezTo>
                    <a:cubicBezTo>
                      <a:pt x="252" y="1270"/>
                      <a:pt x="260" y="1275"/>
                      <a:pt x="267" y="1280"/>
                    </a:cubicBezTo>
                    <a:cubicBezTo>
                      <a:pt x="287" y="1297"/>
                      <a:pt x="306" y="1314"/>
                      <a:pt x="328" y="1328"/>
                    </a:cubicBezTo>
                    <a:cubicBezTo>
                      <a:pt x="334" y="1313"/>
                      <a:pt x="344" y="1302"/>
                      <a:pt x="354" y="1291"/>
                    </a:cubicBezTo>
                    <a:cubicBezTo>
                      <a:pt x="308" y="1254"/>
                      <a:pt x="269" y="1211"/>
                      <a:pt x="232" y="1165"/>
                    </a:cubicBezTo>
                    <a:cubicBezTo>
                      <a:pt x="220" y="1162"/>
                      <a:pt x="212" y="1157"/>
                      <a:pt x="200" y="1154"/>
                    </a:cubicBezTo>
                    <a:cubicBezTo>
                      <a:pt x="206" y="1174"/>
                      <a:pt x="214" y="1193"/>
                      <a:pt x="222" y="1212"/>
                    </a:cubicBezTo>
                    <a:close/>
                    <a:moveTo>
                      <a:pt x="356" y="1290"/>
                    </a:moveTo>
                    <a:cubicBezTo>
                      <a:pt x="359" y="1285"/>
                      <a:pt x="365" y="1284"/>
                      <a:pt x="367" y="1278"/>
                    </a:cubicBezTo>
                    <a:cubicBezTo>
                      <a:pt x="358" y="1252"/>
                      <a:pt x="349" y="1226"/>
                      <a:pt x="342" y="1197"/>
                    </a:cubicBezTo>
                    <a:cubicBezTo>
                      <a:pt x="306" y="1189"/>
                      <a:pt x="270" y="1177"/>
                      <a:pt x="238" y="1169"/>
                    </a:cubicBezTo>
                    <a:cubicBezTo>
                      <a:pt x="274" y="1212"/>
                      <a:pt x="312" y="1254"/>
                      <a:pt x="356" y="1290"/>
                    </a:cubicBezTo>
                    <a:close/>
                    <a:moveTo>
                      <a:pt x="1223" y="1265"/>
                    </a:moveTo>
                    <a:cubicBezTo>
                      <a:pt x="1235" y="1254"/>
                      <a:pt x="1255" y="1239"/>
                      <a:pt x="1263" y="1225"/>
                    </a:cubicBezTo>
                    <a:cubicBezTo>
                      <a:pt x="1273" y="1209"/>
                      <a:pt x="1274" y="1190"/>
                      <a:pt x="1282" y="1170"/>
                    </a:cubicBezTo>
                    <a:cubicBezTo>
                      <a:pt x="1282" y="1169"/>
                      <a:pt x="1282" y="1169"/>
                      <a:pt x="1281" y="1169"/>
                    </a:cubicBezTo>
                    <a:cubicBezTo>
                      <a:pt x="1257" y="1177"/>
                      <a:pt x="1232" y="1184"/>
                      <a:pt x="1206" y="1191"/>
                    </a:cubicBezTo>
                    <a:cubicBezTo>
                      <a:pt x="1184" y="1218"/>
                      <a:pt x="1160" y="1242"/>
                      <a:pt x="1137" y="1268"/>
                    </a:cubicBezTo>
                    <a:cubicBezTo>
                      <a:pt x="1155" y="1276"/>
                      <a:pt x="1167" y="1289"/>
                      <a:pt x="1181" y="1301"/>
                    </a:cubicBezTo>
                    <a:cubicBezTo>
                      <a:pt x="1195" y="1290"/>
                      <a:pt x="1208" y="1278"/>
                      <a:pt x="1223" y="1265"/>
                    </a:cubicBezTo>
                    <a:close/>
                    <a:moveTo>
                      <a:pt x="344" y="1195"/>
                    </a:moveTo>
                    <a:cubicBezTo>
                      <a:pt x="349" y="1194"/>
                      <a:pt x="353" y="1198"/>
                      <a:pt x="355" y="1196"/>
                    </a:cubicBezTo>
                    <a:cubicBezTo>
                      <a:pt x="350" y="1190"/>
                      <a:pt x="346" y="1183"/>
                      <a:pt x="341" y="1178"/>
                    </a:cubicBezTo>
                    <a:cubicBezTo>
                      <a:pt x="342" y="1184"/>
                      <a:pt x="343" y="1189"/>
                      <a:pt x="344" y="1195"/>
                    </a:cubicBezTo>
                    <a:close/>
                    <a:moveTo>
                      <a:pt x="289" y="1331"/>
                    </a:moveTo>
                    <a:cubicBezTo>
                      <a:pt x="289" y="1332"/>
                      <a:pt x="290" y="1331"/>
                      <a:pt x="289" y="1331"/>
                    </a:cubicBezTo>
                    <a:moveTo>
                      <a:pt x="289" y="1331"/>
                    </a:moveTo>
                    <a:cubicBezTo>
                      <a:pt x="274" y="1310"/>
                      <a:pt x="258" y="1290"/>
                      <a:pt x="246" y="1266"/>
                    </a:cubicBezTo>
                    <a:cubicBezTo>
                      <a:pt x="216" y="1240"/>
                      <a:pt x="192" y="1209"/>
                      <a:pt x="165" y="1180"/>
                    </a:cubicBezTo>
                    <a:cubicBezTo>
                      <a:pt x="163" y="1194"/>
                      <a:pt x="158" y="1209"/>
                      <a:pt x="163" y="1223"/>
                    </a:cubicBezTo>
                    <a:cubicBezTo>
                      <a:pt x="169" y="1238"/>
                      <a:pt x="189" y="1257"/>
                      <a:pt x="203" y="1271"/>
                    </a:cubicBezTo>
                    <a:cubicBezTo>
                      <a:pt x="217" y="1284"/>
                      <a:pt x="236" y="1304"/>
                      <a:pt x="249" y="1313"/>
                    </a:cubicBezTo>
                    <a:cubicBezTo>
                      <a:pt x="261" y="1321"/>
                      <a:pt x="278" y="1326"/>
                      <a:pt x="289" y="1331"/>
                    </a:cubicBezTo>
                    <a:moveTo>
                      <a:pt x="676" y="1195"/>
                    </a:moveTo>
                    <a:cubicBezTo>
                      <a:pt x="677" y="1209"/>
                      <a:pt x="682" y="1221"/>
                      <a:pt x="683" y="1235"/>
                    </a:cubicBezTo>
                    <a:cubicBezTo>
                      <a:pt x="697" y="1236"/>
                      <a:pt x="712" y="1236"/>
                      <a:pt x="727" y="1236"/>
                    </a:cubicBezTo>
                    <a:cubicBezTo>
                      <a:pt x="726" y="1222"/>
                      <a:pt x="730" y="1202"/>
                      <a:pt x="725" y="1192"/>
                    </a:cubicBezTo>
                    <a:cubicBezTo>
                      <a:pt x="709" y="1193"/>
                      <a:pt x="691" y="1193"/>
                      <a:pt x="676" y="1195"/>
                    </a:cubicBezTo>
                    <a:close/>
                    <a:moveTo>
                      <a:pt x="729" y="1192"/>
                    </a:moveTo>
                    <a:cubicBezTo>
                      <a:pt x="729" y="1207"/>
                      <a:pt x="731" y="1220"/>
                      <a:pt x="730" y="1236"/>
                    </a:cubicBezTo>
                    <a:cubicBezTo>
                      <a:pt x="744" y="1238"/>
                      <a:pt x="761" y="1236"/>
                      <a:pt x="775" y="1237"/>
                    </a:cubicBezTo>
                    <a:cubicBezTo>
                      <a:pt x="777" y="1222"/>
                      <a:pt x="777" y="1207"/>
                      <a:pt x="777" y="1192"/>
                    </a:cubicBezTo>
                    <a:cubicBezTo>
                      <a:pt x="761" y="1192"/>
                      <a:pt x="745" y="1192"/>
                      <a:pt x="729" y="1192"/>
                    </a:cubicBezTo>
                    <a:close/>
                    <a:moveTo>
                      <a:pt x="780" y="1192"/>
                    </a:moveTo>
                    <a:cubicBezTo>
                      <a:pt x="779" y="1206"/>
                      <a:pt x="779" y="1222"/>
                      <a:pt x="778" y="1237"/>
                    </a:cubicBezTo>
                    <a:cubicBezTo>
                      <a:pt x="809" y="1235"/>
                      <a:pt x="841" y="1236"/>
                      <a:pt x="871" y="1234"/>
                    </a:cubicBezTo>
                    <a:cubicBezTo>
                      <a:pt x="875" y="1222"/>
                      <a:pt x="879" y="1210"/>
                      <a:pt x="882" y="1198"/>
                    </a:cubicBezTo>
                    <a:cubicBezTo>
                      <a:pt x="849" y="1195"/>
                      <a:pt x="816" y="1192"/>
                      <a:pt x="780" y="1192"/>
                    </a:cubicBezTo>
                    <a:close/>
                    <a:moveTo>
                      <a:pt x="1200" y="1193"/>
                    </a:moveTo>
                    <a:cubicBezTo>
                      <a:pt x="1176" y="1197"/>
                      <a:pt x="1153" y="1204"/>
                      <a:pt x="1128" y="1207"/>
                    </a:cubicBezTo>
                    <a:cubicBezTo>
                      <a:pt x="1124" y="1224"/>
                      <a:pt x="1120" y="1239"/>
                      <a:pt x="1116" y="1255"/>
                    </a:cubicBezTo>
                    <a:cubicBezTo>
                      <a:pt x="1122" y="1258"/>
                      <a:pt x="1128" y="1262"/>
                      <a:pt x="1134" y="1265"/>
                    </a:cubicBezTo>
                    <a:cubicBezTo>
                      <a:pt x="1158" y="1242"/>
                      <a:pt x="1180" y="1219"/>
                      <a:pt x="1200" y="1193"/>
                    </a:cubicBezTo>
                    <a:moveTo>
                      <a:pt x="1200" y="1193"/>
                    </a:moveTo>
                    <a:cubicBezTo>
                      <a:pt x="1201" y="1192"/>
                      <a:pt x="1200" y="1192"/>
                      <a:pt x="1200" y="1193"/>
                    </a:cubicBezTo>
                    <a:moveTo>
                      <a:pt x="671" y="1195"/>
                    </a:moveTo>
                    <a:cubicBezTo>
                      <a:pt x="638" y="1198"/>
                      <a:pt x="605" y="1201"/>
                      <a:pt x="575" y="1207"/>
                    </a:cubicBezTo>
                    <a:cubicBezTo>
                      <a:pt x="578" y="1215"/>
                      <a:pt x="580" y="1224"/>
                      <a:pt x="586" y="1229"/>
                    </a:cubicBezTo>
                    <a:cubicBezTo>
                      <a:pt x="616" y="1232"/>
                      <a:pt x="650" y="1235"/>
                      <a:pt x="680" y="1234"/>
                    </a:cubicBezTo>
                    <a:cubicBezTo>
                      <a:pt x="676" y="1222"/>
                      <a:pt x="675" y="1207"/>
                      <a:pt x="671" y="1195"/>
                    </a:cubicBezTo>
                    <a:close/>
                    <a:moveTo>
                      <a:pt x="369" y="1277"/>
                    </a:moveTo>
                    <a:cubicBezTo>
                      <a:pt x="382" y="1271"/>
                      <a:pt x="394" y="1263"/>
                      <a:pt x="406" y="1255"/>
                    </a:cubicBezTo>
                    <a:cubicBezTo>
                      <a:pt x="389" y="1237"/>
                      <a:pt x="373" y="1219"/>
                      <a:pt x="358" y="1199"/>
                    </a:cubicBezTo>
                    <a:cubicBezTo>
                      <a:pt x="353" y="1200"/>
                      <a:pt x="350" y="1197"/>
                      <a:pt x="345" y="1198"/>
                    </a:cubicBezTo>
                    <a:cubicBezTo>
                      <a:pt x="352" y="1226"/>
                      <a:pt x="361" y="1251"/>
                      <a:pt x="369" y="1277"/>
                    </a:cubicBezTo>
                    <a:close/>
                    <a:moveTo>
                      <a:pt x="884" y="1199"/>
                    </a:moveTo>
                    <a:cubicBezTo>
                      <a:pt x="882" y="1211"/>
                      <a:pt x="877" y="1221"/>
                      <a:pt x="874" y="1234"/>
                    </a:cubicBezTo>
                    <a:cubicBezTo>
                      <a:pt x="894" y="1233"/>
                      <a:pt x="914" y="1231"/>
                      <a:pt x="934" y="1230"/>
                    </a:cubicBezTo>
                    <a:cubicBezTo>
                      <a:pt x="934" y="1221"/>
                      <a:pt x="936" y="1215"/>
                      <a:pt x="936" y="1205"/>
                    </a:cubicBezTo>
                    <a:cubicBezTo>
                      <a:pt x="919" y="1202"/>
                      <a:pt x="903" y="1199"/>
                      <a:pt x="884" y="1199"/>
                    </a:cubicBezTo>
                    <a:close/>
                    <a:moveTo>
                      <a:pt x="1360" y="1199"/>
                    </a:moveTo>
                    <a:cubicBezTo>
                      <a:pt x="1360" y="1199"/>
                      <a:pt x="1361" y="1200"/>
                      <a:pt x="1360" y="1199"/>
                    </a:cubicBezTo>
                    <a:close/>
                    <a:moveTo>
                      <a:pt x="363" y="1201"/>
                    </a:moveTo>
                    <a:cubicBezTo>
                      <a:pt x="378" y="1220"/>
                      <a:pt x="392" y="1239"/>
                      <a:pt x="410" y="1254"/>
                    </a:cubicBezTo>
                    <a:cubicBezTo>
                      <a:pt x="432" y="1244"/>
                      <a:pt x="454" y="1234"/>
                      <a:pt x="480" y="1227"/>
                    </a:cubicBezTo>
                    <a:cubicBezTo>
                      <a:pt x="477" y="1217"/>
                      <a:pt x="463" y="1219"/>
                      <a:pt x="454" y="1218"/>
                    </a:cubicBezTo>
                    <a:cubicBezTo>
                      <a:pt x="424" y="1213"/>
                      <a:pt x="391" y="1206"/>
                      <a:pt x="363" y="1201"/>
                    </a:cubicBezTo>
                    <a:moveTo>
                      <a:pt x="363" y="1201"/>
                    </a:moveTo>
                    <a:cubicBezTo>
                      <a:pt x="362" y="1200"/>
                      <a:pt x="361" y="1201"/>
                      <a:pt x="363" y="1201"/>
                    </a:cubicBezTo>
                    <a:moveTo>
                      <a:pt x="1359" y="1201"/>
                    </a:moveTo>
                    <a:cubicBezTo>
                      <a:pt x="1318" y="1253"/>
                      <a:pt x="1263" y="1298"/>
                      <a:pt x="1208" y="1338"/>
                    </a:cubicBezTo>
                    <a:cubicBezTo>
                      <a:pt x="1206" y="1339"/>
                      <a:pt x="1201" y="1341"/>
                      <a:pt x="1202" y="1345"/>
                    </a:cubicBezTo>
                    <a:cubicBezTo>
                      <a:pt x="1217" y="1339"/>
                      <a:pt x="1232" y="1333"/>
                      <a:pt x="1247" y="1326"/>
                    </a:cubicBezTo>
                    <a:cubicBezTo>
                      <a:pt x="1261" y="1320"/>
                      <a:pt x="1277" y="1313"/>
                      <a:pt x="1289" y="1304"/>
                    </a:cubicBezTo>
                    <a:cubicBezTo>
                      <a:pt x="1303" y="1293"/>
                      <a:pt x="1316" y="1270"/>
                      <a:pt x="1326" y="1255"/>
                    </a:cubicBezTo>
                    <a:cubicBezTo>
                      <a:pt x="1338" y="1238"/>
                      <a:pt x="1350" y="1220"/>
                      <a:pt x="1359" y="1201"/>
                    </a:cubicBezTo>
                    <a:moveTo>
                      <a:pt x="1359" y="1201"/>
                    </a:moveTo>
                    <a:cubicBezTo>
                      <a:pt x="1361" y="1201"/>
                      <a:pt x="1359" y="1200"/>
                      <a:pt x="1359" y="1201"/>
                    </a:cubicBezTo>
                    <a:moveTo>
                      <a:pt x="1301" y="1295"/>
                    </a:moveTo>
                    <a:cubicBezTo>
                      <a:pt x="1299" y="1296"/>
                      <a:pt x="1301" y="1297"/>
                      <a:pt x="1301" y="1295"/>
                    </a:cubicBezTo>
                    <a:moveTo>
                      <a:pt x="1301" y="1295"/>
                    </a:moveTo>
                    <a:cubicBezTo>
                      <a:pt x="1315" y="1282"/>
                      <a:pt x="1343" y="1260"/>
                      <a:pt x="1354" y="1241"/>
                    </a:cubicBezTo>
                    <a:cubicBezTo>
                      <a:pt x="1360" y="1231"/>
                      <a:pt x="1364" y="1215"/>
                      <a:pt x="1362" y="1201"/>
                    </a:cubicBezTo>
                    <a:cubicBezTo>
                      <a:pt x="1345" y="1236"/>
                      <a:pt x="1323" y="1266"/>
                      <a:pt x="1301" y="1295"/>
                    </a:cubicBezTo>
                    <a:moveTo>
                      <a:pt x="938" y="1229"/>
                    </a:moveTo>
                    <a:cubicBezTo>
                      <a:pt x="950" y="1230"/>
                      <a:pt x="958" y="1227"/>
                      <a:pt x="970" y="1227"/>
                    </a:cubicBezTo>
                    <a:cubicBezTo>
                      <a:pt x="975" y="1224"/>
                      <a:pt x="977" y="1218"/>
                      <a:pt x="979" y="1213"/>
                    </a:cubicBezTo>
                    <a:cubicBezTo>
                      <a:pt x="967" y="1210"/>
                      <a:pt x="953" y="1208"/>
                      <a:pt x="941" y="1205"/>
                    </a:cubicBezTo>
                    <a:cubicBezTo>
                      <a:pt x="939" y="1212"/>
                      <a:pt x="940" y="1222"/>
                      <a:pt x="938" y="1229"/>
                    </a:cubicBezTo>
                    <a:close/>
                    <a:moveTo>
                      <a:pt x="526" y="1219"/>
                    </a:moveTo>
                    <a:cubicBezTo>
                      <a:pt x="526" y="1221"/>
                      <a:pt x="526" y="1222"/>
                      <a:pt x="527" y="1223"/>
                    </a:cubicBezTo>
                    <a:cubicBezTo>
                      <a:pt x="544" y="1226"/>
                      <a:pt x="565" y="1229"/>
                      <a:pt x="582" y="1228"/>
                    </a:cubicBezTo>
                    <a:cubicBezTo>
                      <a:pt x="577" y="1222"/>
                      <a:pt x="575" y="1213"/>
                      <a:pt x="571" y="1207"/>
                    </a:cubicBezTo>
                    <a:cubicBezTo>
                      <a:pt x="557" y="1212"/>
                      <a:pt x="538" y="1212"/>
                      <a:pt x="526" y="1219"/>
                    </a:cubicBezTo>
                    <a:close/>
                    <a:moveTo>
                      <a:pt x="1084" y="1215"/>
                    </a:moveTo>
                    <a:cubicBezTo>
                      <a:pt x="1080" y="1223"/>
                      <a:pt x="1071" y="1229"/>
                      <a:pt x="1070" y="1236"/>
                    </a:cubicBezTo>
                    <a:cubicBezTo>
                      <a:pt x="1086" y="1240"/>
                      <a:pt x="1099" y="1248"/>
                      <a:pt x="1113" y="1253"/>
                    </a:cubicBezTo>
                    <a:cubicBezTo>
                      <a:pt x="1118" y="1240"/>
                      <a:pt x="1120" y="1224"/>
                      <a:pt x="1125" y="1210"/>
                    </a:cubicBezTo>
                    <a:cubicBezTo>
                      <a:pt x="1125" y="1209"/>
                      <a:pt x="1125" y="1208"/>
                      <a:pt x="1123" y="1208"/>
                    </a:cubicBezTo>
                    <a:cubicBezTo>
                      <a:pt x="1111" y="1211"/>
                      <a:pt x="1097" y="1213"/>
                      <a:pt x="1084" y="1215"/>
                    </a:cubicBezTo>
                    <a:close/>
                    <a:moveTo>
                      <a:pt x="982" y="1214"/>
                    </a:moveTo>
                    <a:cubicBezTo>
                      <a:pt x="980" y="1218"/>
                      <a:pt x="977" y="1222"/>
                      <a:pt x="975" y="1226"/>
                    </a:cubicBezTo>
                    <a:cubicBezTo>
                      <a:pt x="988" y="1225"/>
                      <a:pt x="1003" y="1224"/>
                      <a:pt x="1015" y="1222"/>
                    </a:cubicBezTo>
                    <a:cubicBezTo>
                      <a:pt x="1005" y="1219"/>
                      <a:pt x="994" y="1216"/>
                      <a:pt x="982" y="1214"/>
                    </a:cubicBezTo>
                    <a:close/>
                    <a:moveTo>
                      <a:pt x="1031" y="1223"/>
                    </a:moveTo>
                    <a:cubicBezTo>
                      <a:pt x="1044" y="1226"/>
                      <a:pt x="1054" y="1231"/>
                      <a:pt x="1066" y="1234"/>
                    </a:cubicBezTo>
                    <a:cubicBezTo>
                      <a:pt x="1070" y="1229"/>
                      <a:pt x="1080" y="1220"/>
                      <a:pt x="1078" y="1216"/>
                    </a:cubicBezTo>
                    <a:cubicBezTo>
                      <a:pt x="1063" y="1219"/>
                      <a:pt x="1045" y="1220"/>
                      <a:pt x="1031" y="1223"/>
                    </a:cubicBezTo>
                    <a:close/>
                    <a:moveTo>
                      <a:pt x="509" y="1223"/>
                    </a:moveTo>
                    <a:cubicBezTo>
                      <a:pt x="515" y="1222"/>
                      <a:pt x="518" y="1224"/>
                      <a:pt x="524" y="1223"/>
                    </a:cubicBezTo>
                    <a:cubicBezTo>
                      <a:pt x="523" y="1222"/>
                      <a:pt x="524" y="1217"/>
                      <a:pt x="521" y="1218"/>
                    </a:cubicBezTo>
                    <a:cubicBezTo>
                      <a:pt x="518" y="1220"/>
                      <a:pt x="511" y="1219"/>
                      <a:pt x="509" y="1223"/>
                    </a:cubicBezTo>
                    <a:close/>
                    <a:moveTo>
                      <a:pt x="482" y="1225"/>
                    </a:moveTo>
                    <a:cubicBezTo>
                      <a:pt x="487" y="1226"/>
                      <a:pt x="490" y="1224"/>
                      <a:pt x="493" y="1223"/>
                    </a:cubicBezTo>
                    <a:cubicBezTo>
                      <a:pt x="488" y="1223"/>
                      <a:pt x="483" y="1220"/>
                      <a:pt x="480" y="1223"/>
                    </a:cubicBezTo>
                    <a:cubicBezTo>
                      <a:pt x="481" y="1223"/>
                      <a:pt x="482" y="1224"/>
                      <a:pt x="482" y="1225"/>
                    </a:cubicBezTo>
                    <a:close/>
                    <a:moveTo>
                      <a:pt x="535" y="1295"/>
                    </a:moveTo>
                    <a:cubicBezTo>
                      <a:pt x="536" y="1296"/>
                      <a:pt x="537" y="1294"/>
                      <a:pt x="535" y="1295"/>
                    </a:cubicBezTo>
                    <a:moveTo>
                      <a:pt x="535" y="1295"/>
                    </a:moveTo>
                    <a:cubicBezTo>
                      <a:pt x="532" y="1272"/>
                      <a:pt x="527" y="1251"/>
                      <a:pt x="525" y="1227"/>
                    </a:cubicBezTo>
                    <a:cubicBezTo>
                      <a:pt x="512" y="1224"/>
                      <a:pt x="497" y="1223"/>
                      <a:pt x="486" y="1227"/>
                    </a:cubicBezTo>
                    <a:cubicBezTo>
                      <a:pt x="498" y="1250"/>
                      <a:pt x="518" y="1273"/>
                      <a:pt x="535" y="1295"/>
                    </a:cubicBezTo>
                    <a:moveTo>
                      <a:pt x="1022" y="1223"/>
                    </a:moveTo>
                    <a:cubicBezTo>
                      <a:pt x="1007" y="1223"/>
                      <a:pt x="991" y="1230"/>
                      <a:pt x="973" y="1229"/>
                    </a:cubicBezTo>
                    <a:cubicBezTo>
                      <a:pt x="960" y="1255"/>
                      <a:pt x="945" y="1280"/>
                      <a:pt x="928" y="1303"/>
                    </a:cubicBezTo>
                    <a:cubicBezTo>
                      <a:pt x="927" y="1316"/>
                      <a:pt x="925" y="1329"/>
                      <a:pt x="922" y="1342"/>
                    </a:cubicBezTo>
                    <a:cubicBezTo>
                      <a:pt x="920" y="1353"/>
                      <a:pt x="915" y="1367"/>
                      <a:pt x="917" y="1376"/>
                    </a:cubicBezTo>
                    <a:cubicBezTo>
                      <a:pt x="925" y="1381"/>
                      <a:pt x="933" y="1372"/>
                      <a:pt x="939" y="1367"/>
                    </a:cubicBezTo>
                    <a:cubicBezTo>
                      <a:pt x="986" y="1330"/>
                      <a:pt x="1029" y="1283"/>
                      <a:pt x="1064" y="1236"/>
                    </a:cubicBezTo>
                    <a:cubicBezTo>
                      <a:pt x="1050" y="1234"/>
                      <a:pt x="1038" y="1224"/>
                      <a:pt x="1022" y="1223"/>
                    </a:cubicBezTo>
                    <a:close/>
                    <a:moveTo>
                      <a:pt x="539" y="1299"/>
                    </a:moveTo>
                    <a:cubicBezTo>
                      <a:pt x="563" y="1325"/>
                      <a:pt x="587" y="1352"/>
                      <a:pt x="615" y="1374"/>
                    </a:cubicBezTo>
                    <a:cubicBezTo>
                      <a:pt x="628" y="1368"/>
                      <a:pt x="645" y="1367"/>
                      <a:pt x="658" y="1362"/>
                    </a:cubicBezTo>
                    <a:cubicBezTo>
                      <a:pt x="630" y="1322"/>
                      <a:pt x="605" y="1279"/>
                      <a:pt x="583" y="1232"/>
                    </a:cubicBezTo>
                    <a:cubicBezTo>
                      <a:pt x="564" y="1230"/>
                      <a:pt x="545" y="1229"/>
                      <a:pt x="527" y="1226"/>
                    </a:cubicBezTo>
                    <a:cubicBezTo>
                      <a:pt x="530" y="1251"/>
                      <a:pt x="535" y="1275"/>
                      <a:pt x="539" y="1299"/>
                    </a:cubicBezTo>
                    <a:close/>
                    <a:moveTo>
                      <a:pt x="537" y="1300"/>
                    </a:moveTo>
                    <a:cubicBezTo>
                      <a:pt x="517" y="1278"/>
                      <a:pt x="500" y="1252"/>
                      <a:pt x="481" y="1229"/>
                    </a:cubicBezTo>
                    <a:cubicBezTo>
                      <a:pt x="456" y="1237"/>
                      <a:pt x="433" y="1246"/>
                      <a:pt x="412" y="1256"/>
                    </a:cubicBezTo>
                    <a:cubicBezTo>
                      <a:pt x="452" y="1302"/>
                      <a:pt x="504" y="1344"/>
                      <a:pt x="558" y="1379"/>
                    </a:cubicBezTo>
                    <a:cubicBezTo>
                      <a:pt x="550" y="1354"/>
                      <a:pt x="543" y="1328"/>
                      <a:pt x="537" y="1300"/>
                    </a:cubicBezTo>
                    <a:close/>
                    <a:moveTo>
                      <a:pt x="938" y="1232"/>
                    </a:moveTo>
                    <a:cubicBezTo>
                      <a:pt x="936" y="1253"/>
                      <a:pt x="931" y="1276"/>
                      <a:pt x="931" y="1295"/>
                    </a:cubicBezTo>
                    <a:cubicBezTo>
                      <a:pt x="945" y="1275"/>
                      <a:pt x="957" y="1253"/>
                      <a:pt x="970" y="1231"/>
                    </a:cubicBezTo>
                    <a:cubicBezTo>
                      <a:pt x="970" y="1230"/>
                      <a:pt x="970" y="1229"/>
                      <a:pt x="968" y="1229"/>
                    </a:cubicBezTo>
                    <a:cubicBezTo>
                      <a:pt x="959" y="1231"/>
                      <a:pt x="948" y="1232"/>
                      <a:pt x="938" y="1232"/>
                    </a:cubicBezTo>
                    <a:close/>
                    <a:moveTo>
                      <a:pt x="663" y="1362"/>
                    </a:moveTo>
                    <a:cubicBezTo>
                      <a:pt x="679" y="1359"/>
                      <a:pt x="696" y="1357"/>
                      <a:pt x="712" y="1355"/>
                    </a:cubicBezTo>
                    <a:cubicBezTo>
                      <a:pt x="700" y="1317"/>
                      <a:pt x="690" y="1278"/>
                      <a:pt x="680" y="1238"/>
                    </a:cubicBezTo>
                    <a:cubicBezTo>
                      <a:pt x="649" y="1236"/>
                      <a:pt x="616" y="1235"/>
                      <a:pt x="586" y="1232"/>
                    </a:cubicBezTo>
                    <a:cubicBezTo>
                      <a:pt x="608" y="1279"/>
                      <a:pt x="632" y="1324"/>
                      <a:pt x="663" y="1362"/>
                    </a:cubicBezTo>
                    <a:close/>
                    <a:moveTo>
                      <a:pt x="872" y="1237"/>
                    </a:moveTo>
                    <a:cubicBezTo>
                      <a:pt x="861" y="1280"/>
                      <a:pt x="845" y="1318"/>
                      <a:pt x="829" y="1357"/>
                    </a:cubicBezTo>
                    <a:cubicBezTo>
                      <a:pt x="845" y="1360"/>
                      <a:pt x="862" y="1361"/>
                      <a:pt x="876" y="1366"/>
                    </a:cubicBezTo>
                    <a:cubicBezTo>
                      <a:pt x="895" y="1349"/>
                      <a:pt x="908" y="1326"/>
                      <a:pt x="924" y="1306"/>
                    </a:cubicBezTo>
                    <a:cubicBezTo>
                      <a:pt x="927" y="1282"/>
                      <a:pt x="932" y="1259"/>
                      <a:pt x="933" y="1233"/>
                    </a:cubicBezTo>
                    <a:cubicBezTo>
                      <a:pt x="912" y="1234"/>
                      <a:pt x="892" y="1235"/>
                      <a:pt x="872" y="1237"/>
                    </a:cubicBezTo>
                    <a:close/>
                    <a:moveTo>
                      <a:pt x="1182" y="1304"/>
                    </a:moveTo>
                    <a:cubicBezTo>
                      <a:pt x="1190" y="1314"/>
                      <a:pt x="1196" y="1326"/>
                      <a:pt x="1200" y="1341"/>
                    </a:cubicBezTo>
                    <a:cubicBezTo>
                      <a:pt x="1222" y="1309"/>
                      <a:pt x="1244" y="1273"/>
                      <a:pt x="1257" y="1235"/>
                    </a:cubicBezTo>
                    <a:cubicBezTo>
                      <a:pt x="1234" y="1260"/>
                      <a:pt x="1208" y="1282"/>
                      <a:pt x="1182" y="1304"/>
                    </a:cubicBezTo>
                    <a:close/>
                    <a:moveTo>
                      <a:pt x="778" y="1239"/>
                    </a:moveTo>
                    <a:cubicBezTo>
                      <a:pt x="776" y="1277"/>
                      <a:pt x="774" y="1315"/>
                      <a:pt x="773" y="1353"/>
                    </a:cubicBezTo>
                    <a:cubicBezTo>
                      <a:pt x="791" y="1354"/>
                      <a:pt x="810" y="1355"/>
                      <a:pt x="826" y="1357"/>
                    </a:cubicBezTo>
                    <a:cubicBezTo>
                      <a:pt x="843" y="1319"/>
                      <a:pt x="857" y="1279"/>
                      <a:pt x="870" y="1237"/>
                    </a:cubicBezTo>
                    <a:cubicBezTo>
                      <a:pt x="840" y="1238"/>
                      <a:pt x="810" y="1239"/>
                      <a:pt x="778" y="1239"/>
                    </a:cubicBezTo>
                    <a:close/>
                    <a:moveTo>
                      <a:pt x="170" y="1239"/>
                    </a:moveTo>
                    <a:cubicBezTo>
                      <a:pt x="177" y="1254"/>
                      <a:pt x="187" y="1266"/>
                      <a:pt x="198" y="1276"/>
                    </a:cubicBezTo>
                    <a:moveTo>
                      <a:pt x="198" y="1276"/>
                    </a:moveTo>
                    <a:cubicBezTo>
                      <a:pt x="199" y="1278"/>
                      <a:pt x="200" y="1276"/>
                      <a:pt x="198" y="1276"/>
                    </a:cubicBezTo>
                    <a:moveTo>
                      <a:pt x="198" y="1276"/>
                    </a:moveTo>
                    <a:cubicBezTo>
                      <a:pt x="189" y="1264"/>
                      <a:pt x="180" y="1250"/>
                      <a:pt x="170" y="1239"/>
                    </a:cubicBezTo>
                    <a:moveTo>
                      <a:pt x="170" y="1239"/>
                    </a:moveTo>
                    <a:cubicBezTo>
                      <a:pt x="169" y="1237"/>
                      <a:pt x="169" y="1239"/>
                      <a:pt x="170" y="1239"/>
                    </a:cubicBezTo>
                    <a:moveTo>
                      <a:pt x="716" y="1355"/>
                    </a:moveTo>
                    <a:cubicBezTo>
                      <a:pt x="722" y="1356"/>
                      <a:pt x="725" y="1353"/>
                      <a:pt x="731" y="1354"/>
                    </a:cubicBezTo>
                    <a:cubicBezTo>
                      <a:pt x="729" y="1317"/>
                      <a:pt x="729" y="1277"/>
                      <a:pt x="727" y="1239"/>
                    </a:cubicBezTo>
                    <a:cubicBezTo>
                      <a:pt x="713" y="1240"/>
                      <a:pt x="696" y="1237"/>
                      <a:pt x="684" y="1239"/>
                    </a:cubicBezTo>
                    <a:cubicBezTo>
                      <a:pt x="694" y="1278"/>
                      <a:pt x="704" y="1318"/>
                      <a:pt x="716" y="1355"/>
                    </a:cubicBezTo>
                    <a:close/>
                    <a:moveTo>
                      <a:pt x="1067" y="1238"/>
                    </a:moveTo>
                    <a:cubicBezTo>
                      <a:pt x="1026" y="1291"/>
                      <a:pt x="978" y="1338"/>
                      <a:pt x="927" y="1381"/>
                    </a:cubicBezTo>
                    <a:cubicBezTo>
                      <a:pt x="939" y="1385"/>
                      <a:pt x="948" y="1391"/>
                      <a:pt x="959" y="1396"/>
                    </a:cubicBezTo>
                    <a:cubicBezTo>
                      <a:pt x="1011" y="1367"/>
                      <a:pt x="1058" y="1334"/>
                      <a:pt x="1101" y="1296"/>
                    </a:cubicBezTo>
                    <a:cubicBezTo>
                      <a:pt x="1104" y="1282"/>
                      <a:pt x="1110" y="1271"/>
                      <a:pt x="1112" y="1256"/>
                    </a:cubicBezTo>
                    <a:cubicBezTo>
                      <a:pt x="1098" y="1249"/>
                      <a:pt x="1084" y="1242"/>
                      <a:pt x="1067" y="1238"/>
                    </a:cubicBezTo>
                    <a:close/>
                    <a:moveTo>
                      <a:pt x="731" y="1239"/>
                    </a:moveTo>
                    <a:cubicBezTo>
                      <a:pt x="730" y="1276"/>
                      <a:pt x="733" y="1316"/>
                      <a:pt x="733" y="1354"/>
                    </a:cubicBezTo>
                    <a:cubicBezTo>
                      <a:pt x="745" y="1354"/>
                      <a:pt x="757" y="1353"/>
                      <a:pt x="770" y="1353"/>
                    </a:cubicBezTo>
                    <a:cubicBezTo>
                      <a:pt x="772" y="1316"/>
                      <a:pt x="774" y="1278"/>
                      <a:pt x="775" y="1240"/>
                    </a:cubicBezTo>
                    <a:cubicBezTo>
                      <a:pt x="761" y="1239"/>
                      <a:pt x="747" y="1238"/>
                      <a:pt x="731" y="1239"/>
                    </a:cubicBezTo>
                    <a:close/>
                    <a:moveTo>
                      <a:pt x="559" y="1383"/>
                    </a:moveTo>
                    <a:cubicBezTo>
                      <a:pt x="502" y="1348"/>
                      <a:pt x="454" y="1304"/>
                      <a:pt x="408" y="1258"/>
                    </a:cubicBezTo>
                    <a:cubicBezTo>
                      <a:pt x="395" y="1265"/>
                      <a:pt x="383" y="1272"/>
                      <a:pt x="371" y="1280"/>
                    </a:cubicBezTo>
                    <a:cubicBezTo>
                      <a:pt x="377" y="1308"/>
                      <a:pt x="393" y="1320"/>
                      <a:pt x="414" y="1334"/>
                    </a:cubicBezTo>
                    <a:cubicBezTo>
                      <a:pt x="445" y="1356"/>
                      <a:pt x="480" y="1376"/>
                      <a:pt x="511" y="1392"/>
                    </a:cubicBezTo>
                    <a:cubicBezTo>
                      <a:pt x="529" y="1393"/>
                      <a:pt x="548" y="1399"/>
                      <a:pt x="564" y="1398"/>
                    </a:cubicBezTo>
                    <a:cubicBezTo>
                      <a:pt x="563" y="1393"/>
                      <a:pt x="560" y="1389"/>
                      <a:pt x="559" y="1383"/>
                    </a:cubicBezTo>
                    <a:close/>
                    <a:moveTo>
                      <a:pt x="1106" y="1293"/>
                    </a:moveTo>
                    <a:cubicBezTo>
                      <a:pt x="1114" y="1284"/>
                      <a:pt x="1124" y="1276"/>
                      <a:pt x="1133" y="1267"/>
                    </a:cubicBezTo>
                    <a:cubicBezTo>
                      <a:pt x="1126" y="1264"/>
                      <a:pt x="1122" y="1260"/>
                      <a:pt x="1115" y="1258"/>
                    </a:cubicBezTo>
                    <a:cubicBezTo>
                      <a:pt x="1112" y="1269"/>
                      <a:pt x="1106" y="1282"/>
                      <a:pt x="1106" y="1293"/>
                    </a:cubicBezTo>
                    <a:close/>
                    <a:moveTo>
                      <a:pt x="193" y="1264"/>
                    </a:moveTo>
                    <a:cubicBezTo>
                      <a:pt x="193" y="1265"/>
                      <a:pt x="193" y="1265"/>
                      <a:pt x="194" y="1265"/>
                    </a:cubicBezTo>
                    <a:moveTo>
                      <a:pt x="194" y="1265"/>
                    </a:moveTo>
                    <a:cubicBezTo>
                      <a:pt x="194" y="1266"/>
                      <a:pt x="194" y="1266"/>
                      <a:pt x="195" y="1266"/>
                    </a:cubicBezTo>
                    <a:moveTo>
                      <a:pt x="195" y="1266"/>
                    </a:moveTo>
                    <a:cubicBezTo>
                      <a:pt x="205" y="1280"/>
                      <a:pt x="216" y="1293"/>
                      <a:pt x="232" y="1301"/>
                    </a:cubicBezTo>
                    <a:moveTo>
                      <a:pt x="232" y="1301"/>
                    </a:moveTo>
                    <a:cubicBezTo>
                      <a:pt x="232" y="1302"/>
                      <a:pt x="232" y="1302"/>
                      <a:pt x="233" y="1302"/>
                    </a:cubicBezTo>
                    <a:moveTo>
                      <a:pt x="233" y="1302"/>
                    </a:moveTo>
                    <a:cubicBezTo>
                      <a:pt x="234" y="1304"/>
                      <a:pt x="234" y="1302"/>
                      <a:pt x="233" y="1302"/>
                    </a:cubicBezTo>
                    <a:moveTo>
                      <a:pt x="233" y="1302"/>
                    </a:moveTo>
                    <a:cubicBezTo>
                      <a:pt x="233" y="1301"/>
                      <a:pt x="233" y="1301"/>
                      <a:pt x="232" y="1301"/>
                    </a:cubicBezTo>
                    <a:moveTo>
                      <a:pt x="195" y="1266"/>
                    </a:moveTo>
                    <a:cubicBezTo>
                      <a:pt x="207" y="1278"/>
                      <a:pt x="219" y="1290"/>
                      <a:pt x="232" y="1301"/>
                    </a:cubicBezTo>
                    <a:moveTo>
                      <a:pt x="195" y="1266"/>
                    </a:moveTo>
                    <a:cubicBezTo>
                      <a:pt x="195" y="1265"/>
                      <a:pt x="194" y="1265"/>
                      <a:pt x="194" y="1265"/>
                    </a:cubicBezTo>
                    <a:moveTo>
                      <a:pt x="194" y="1265"/>
                    </a:moveTo>
                    <a:cubicBezTo>
                      <a:pt x="194" y="1264"/>
                      <a:pt x="193" y="1264"/>
                      <a:pt x="193" y="1264"/>
                    </a:cubicBezTo>
                    <a:moveTo>
                      <a:pt x="193" y="1264"/>
                    </a:moveTo>
                    <a:cubicBezTo>
                      <a:pt x="192" y="1262"/>
                      <a:pt x="192" y="1264"/>
                      <a:pt x="193" y="1264"/>
                    </a:cubicBezTo>
                    <a:moveTo>
                      <a:pt x="1071" y="1373"/>
                    </a:moveTo>
                    <a:cubicBezTo>
                      <a:pt x="1070" y="1374"/>
                      <a:pt x="1071" y="1374"/>
                      <a:pt x="1071" y="1373"/>
                    </a:cubicBezTo>
                    <a:moveTo>
                      <a:pt x="1071" y="1373"/>
                    </a:moveTo>
                    <a:cubicBezTo>
                      <a:pt x="1096" y="1361"/>
                      <a:pt x="1127" y="1341"/>
                      <a:pt x="1154" y="1321"/>
                    </a:cubicBezTo>
                    <a:cubicBezTo>
                      <a:pt x="1159" y="1318"/>
                      <a:pt x="1178" y="1306"/>
                      <a:pt x="1178" y="1302"/>
                    </a:cubicBezTo>
                    <a:cubicBezTo>
                      <a:pt x="1178" y="1299"/>
                      <a:pt x="1160" y="1286"/>
                      <a:pt x="1158" y="1284"/>
                    </a:cubicBezTo>
                    <a:cubicBezTo>
                      <a:pt x="1149" y="1277"/>
                      <a:pt x="1143" y="1273"/>
                      <a:pt x="1134" y="1269"/>
                    </a:cubicBezTo>
                    <a:cubicBezTo>
                      <a:pt x="1124" y="1279"/>
                      <a:pt x="1114" y="1289"/>
                      <a:pt x="1102" y="1298"/>
                    </a:cubicBezTo>
                    <a:cubicBezTo>
                      <a:pt x="1094" y="1326"/>
                      <a:pt x="1082" y="1349"/>
                      <a:pt x="1071" y="1373"/>
                    </a:cubicBezTo>
                    <a:moveTo>
                      <a:pt x="253" y="1272"/>
                    </a:moveTo>
                    <a:cubicBezTo>
                      <a:pt x="253" y="1273"/>
                      <a:pt x="254" y="1273"/>
                      <a:pt x="254" y="1273"/>
                    </a:cubicBezTo>
                    <a:moveTo>
                      <a:pt x="254" y="1273"/>
                    </a:moveTo>
                    <a:cubicBezTo>
                      <a:pt x="266" y="1296"/>
                      <a:pt x="280" y="1316"/>
                      <a:pt x="295" y="1335"/>
                    </a:cubicBezTo>
                    <a:cubicBezTo>
                      <a:pt x="305" y="1338"/>
                      <a:pt x="314" y="1343"/>
                      <a:pt x="324" y="1345"/>
                    </a:cubicBezTo>
                    <a:cubicBezTo>
                      <a:pt x="324" y="1340"/>
                      <a:pt x="326" y="1335"/>
                      <a:pt x="327" y="1331"/>
                    </a:cubicBezTo>
                    <a:cubicBezTo>
                      <a:pt x="302" y="1313"/>
                      <a:pt x="277" y="1294"/>
                      <a:pt x="254" y="1273"/>
                    </a:cubicBezTo>
                    <a:moveTo>
                      <a:pt x="254" y="1273"/>
                    </a:moveTo>
                    <a:cubicBezTo>
                      <a:pt x="254" y="1273"/>
                      <a:pt x="254" y="1272"/>
                      <a:pt x="253" y="1272"/>
                    </a:cubicBezTo>
                    <a:moveTo>
                      <a:pt x="253" y="1272"/>
                    </a:moveTo>
                    <a:cubicBezTo>
                      <a:pt x="253" y="1271"/>
                      <a:pt x="252" y="1273"/>
                      <a:pt x="253" y="1272"/>
                    </a:cubicBezTo>
                    <a:moveTo>
                      <a:pt x="379" y="1308"/>
                    </a:moveTo>
                    <a:cubicBezTo>
                      <a:pt x="380" y="1309"/>
                      <a:pt x="380" y="1308"/>
                      <a:pt x="379" y="1308"/>
                    </a:cubicBezTo>
                    <a:moveTo>
                      <a:pt x="379" y="1308"/>
                    </a:moveTo>
                    <a:cubicBezTo>
                      <a:pt x="376" y="1299"/>
                      <a:pt x="372" y="1290"/>
                      <a:pt x="368" y="1282"/>
                    </a:cubicBezTo>
                    <a:cubicBezTo>
                      <a:pt x="365" y="1285"/>
                      <a:pt x="361" y="1288"/>
                      <a:pt x="358" y="1292"/>
                    </a:cubicBezTo>
                    <a:cubicBezTo>
                      <a:pt x="365" y="1297"/>
                      <a:pt x="371" y="1303"/>
                      <a:pt x="379" y="1308"/>
                    </a:cubicBezTo>
                    <a:moveTo>
                      <a:pt x="383" y="1315"/>
                    </a:moveTo>
                    <a:cubicBezTo>
                      <a:pt x="373" y="1308"/>
                      <a:pt x="366" y="1299"/>
                      <a:pt x="355" y="1294"/>
                    </a:cubicBezTo>
                    <a:cubicBezTo>
                      <a:pt x="345" y="1304"/>
                      <a:pt x="335" y="1315"/>
                      <a:pt x="330" y="1330"/>
                    </a:cubicBezTo>
                    <a:cubicBezTo>
                      <a:pt x="356" y="1345"/>
                      <a:pt x="378" y="1368"/>
                      <a:pt x="413" y="1371"/>
                    </a:cubicBezTo>
                    <a:cubicBezTo>
                      <a:pt x="401" y="1354"/>
                      <a:pt x="391" y="1335"/>
                      <a:pt x="383" y="1315"/>
                    </a:cubicBezTo>
                    <a:close/>
                    <a:moveTo>
                      <a:pt x="929" y="1297"/>
                    </a:moveTo>
                    <a:cubicBezTo>
                      <a:pt x="929" y="1297"/>
                      <a:pt x="930" y="1298"/>
                      <a:pt x="929" y="1297"/>
                    </a:cubicBezTo>
                    <a:close/>
                    <a:moveTo>
                      <a:pt x="224" y="1300"/>
                    </a:moveTo>
                    <a:cubicBezTo>
                      <a:pt x="224" y="1301"/>
                      <a:pt x="225" y="1301"/>
                      <a:pt x="225" y="1301"/>
                    </a:cubicBezTo>
                    <a:moveTo>
                      <a:pt x="225" y="1301"/>
                    </a:moveTo>
                    <a:cubicBezTo>
                      <a:pt x="259" y="1340"/>
                      <a:pt x="299" y="1371"/>
                      <a:pt x="343" y="1399"/>
                    </a:cubicBezTo>
                    <a:cubicBezTo>
                      <a:pt x="340" y="1392"/>
                      <a:pt x="333" y="1387"/>
                      <a:pt x="331" y="1378"/>
                    </a:cubicBezTo>
                    <a:cubicBezTo>
                      <a:pt x="326" y="1374"/>
                      <a:pt x="321" y="1369"/>
                      <a:pt x="317" y="1364"/>
                    </a:cubicBezTo>
                    <a:cubicBezTo>
                      <a:pt x="283" y="1346"/>
                      <a:pt x="259" y="1319"/>
                      <a:pt x="225" y="1301"/>
                    </a:cubicBezTo>
                    <a:moveTo>
                      <a:pt x="225" y="1301"/>
                    </a:moveTo>
                    <a:cubicBezTo>
                      <a:pt x="226" y="1300"/>
                      <a:pt x="225" y="1300"/>
                      <a:pt x="224" y="1300"/>
                    </a:cubicBezTo>
                    <a:moveTo>
                      <a:pt x="224" y="1300"/>
                    </a:moveTo>
                    <a:cubicBezTo>
                      <a:pt x="224" y="1299"/>
                      <a:pt x="223" y="1300"/>
                      <a:pt x="224" y="1300"/>
                    </a:cubicBezTo>
                    <a:moveTo>
                      <a:pt x="961" y="1398"/>
                    </a:moveTo>
                    <a:cubicBezTo>
                      <a:pt x="996" y="1395"/>
                      <a:pt x="1039" y="1392"/>
                      <a:pt x="1066" y="1377"/>
                    </a:cubicBezTo>
                    <a:cubicBezTo>
                      <a:pt x="1077" y="1353"/>
                      <a:pt x="1091" y="1328"/>
                      <a:pt x="1097" y="1302"/>
                    </a:cubicBezTo>
                    <a:cubicBezTo>
                      <a:pt x="1057" y="1339"/>
                      <a:pt x="1010" y="1370"/>
                      <a:pt x="961" y="1398"/>
                    </a:cubicBezTo>
                    <a:close/>
                    <a:moveTo>
                      <a:pt x="1294" y="1304"/>
                    </a:moveTo>
                    <a:cubicBezTo>
                      <a:pt x="1293" y="1304"/>
                      <a:pt x="1294" y="1305"/>
                      <a:pt x="1294" y="1304"/>
                    </a:cubicBezTo>
                    <a:close/>
                    <a:moveTo>
                      <a:pt x="1292" y="1305"/>
                    </a:moveTo>
                    <a:cubicBezTo>
                      <a:pt x="1292" y="1305"/>
                      <a:pt x="1293" y="1306"/>
                      <a:pt x="1292" y="1305"/>
                    </a:cubicBezTo>
                    <a:close/>
                    <a:moveTo>
                      <a:pt x="561" y="1382"/>
                    </a:moveTo>
                    <a:cubicBezTo>
                      <a:pt x="567" y="1384"/>
                      <a:pt x="571" y="1388"/>
                      <a:pt x="577" y="1391"/>
                    </a:cubicBezTo>
                    <a:cubicBezTo>
                      <a:pt x="587" y="1385"/>
                      <a:pt x="597" y="1379"/>
                      <a:pt x="610" y="1376"/>
                    </a:cubicBezTo>
                    <a:cubicBezTo>
                      <a:pt x="587" y="1352"/>
                      <a:pt x="562" y="1331"/>
                      <a:pt x="541" y="1305"/>
                    </a:cubicBezTo>
                    <a:cubicBezTo>
                      <a:pt x="546" y="1332"/>
                      <a:pt x="554" y="1357"/>
                      <a:pt x="561" y="1382"/>
                    </a:cubicBezTo>
                    <a:close/>
                    <a:moveTo>
                      <a:pt x="1179" y="1305"/>
                    </a:moveTo>
                    <a:cubicBezTo>
                      <a:pt x="1162" y="1320"/>
                      <a:pt x="1142" y="1333"/>
                      <a:pt x="1122" y="1345"/>
                    </a:cubicBezTo>
                    <a:cubicBezTo>
                      <a:pt x="1103" y="1357"/>
                      <a:pt x="1083" y="1369"/>
                      <a:pt x="1066" y="1382"/>
                    </a:cubicBezTo>
                    <a:cubicBezTo>
                      <a:pt x="1112" y="1371"/>
                      <a:pt x="1168" y="1364"/>
                      <a:pt x="1197" y="1341"/>
                    </a:cubicBezTo>
                    <a:cubicBezTo>
                      <a:pt x="1194" y="1326"/>
                      <a:pt x="1188" y="1314"/>
                      <a:pt x="1179" y="1305"/>
                    </a:cubicBezTo>
                    <a:close/>
                    <a:moveTo>
                      <a:pt x="1283" y="1311"/>
                    </a:moveTo>
                    <a:cubicBezTo>
                      <a:pt x="1257" y="1325"/>
                      <a:pt x="1230" y="1338"/>
                      <a:pt x="1200" y="1348"/>
                    </a:cubicBezTo>
                    <a:cubicBezTo>
                      <a:pt x="1201" y="1361"/>
                      <a:pt x="1197" y="1369"/>
                      <a:pt x="1194" y="1378"/>
                    </a:cubicBezTo>
                    <a:moveTo>
                      <a:pt x="1194" y="1378"/>
                    </a:moveTo>
                    <a:cubicBezTo>
                      <a:pt x="1193" y="1379"/>
                      <a:pt x="1194" y="1379"/>
                      <a:pt x="1194" y="1378"/>
                    </a:cubicBezTo>
                    <a:moveTo>
                      <a:pt x="1194" y="1378"/>
                    </a:moveTo>
                    <a:cubicBezTo>
                      <a:pt x="1227" y="1358"/>
                      <a:pt x="1258" y="1338"/>
                      <a:pt x="1283" y="1311"/>
                    </a:cubicBezTo>
                    <a:moveTo>
                      <a:pt x="1283" y="1311"/>
                    </a:moveTo>
                    <a:cubicBezTo>
                      <a:pt x="1285" y="1310"/>
                      <a:pt x="1283" y="1310"/>
                      <a:pt x="1283" y="1311"/>
                    </a:cubicBezTo>
                    <a:moveTo>
                      <a:pt x="881" y="1367"/>
                    </a:moveTo>
                    <a:cubicBezTo>
                      <a:pt x="892" y="1368"/>
                      <a:pt x="901" y="1372"/>
                      <a:pt x="911" y="1374"/>
                    </a:cubicBezTo>
                    <a:cubicBezTo>
                      <a:pt x="916" y="1355"/>
                      <a:pt x="921" y="1331"/>
                      <a:pt x="922" y="1312"/>
                    </a:cubicBezTo>
                    <a:cubicBezTo>
                      <a:pt x="910" y="1331"/>
                      <a:pt x="895" y="1349"/>
                      <a:pt x="881" y="1367"/>
                    </a:cubicBezTo>
                    <a:close/>
                    <a:moveTo>
                      <a:pt x="388" y="1319"/>
                    </a:moveTo>
                    <a:cubicBezTo>
                      <a:pt x="395" y="1338"/>
                      <a:pt x="406" y="1356"/>
                      <a:pt x="416" y="1373"/>
                    </a:cubicBezTo>
                    <a:cubicBezTo>
                      <a:pt x="444" y="1379"/>
                      <a:pt x="470" y="1386"/>
                      <a:pt x="500" y="1390"/>
                    </a:cubicBezTo>
                    <a:moveTo>
                      <a:pt x="500" y="1390"/>
                    </a:moveTo>
                    <a:cubicBezTo>
                      <a:pt x="500" y="1392"/>
                      <a:pt x="504" y="1389"/>
                      <a:pt x="500" y="1390"/>
                    </a:cubicBezTo>
                    <a:moveTo>
                      <a:pt x="388" y="1319"/>
                    </a:moveTo>
                    <a:cubicBezTo>
                      <a:pt x="423" y="1344"/>
                      <a:pt x="460" y="1368"/>
                      <a:pt x="500" y="1390"/>
                    </a:cubicBezTo>
                    <a:moveTo>
                      <a:pt x="388" y="1319"/>
                    </a:moveTo>
                    <a:cubicBezTo>
                      <a:pt x="387" y="1317"/>
                      <a:pt x="386" y="1319"/>
                      <a:pt x="388" y="1319"/>
                    </a:cubicBezTo>
                    <a:moveTo>
                      <a:pt x="261" y="1322"/>
                    </a:moveTo>
                    <a:cubicBezTo>
                      <a:pt x="260" y="1322"/>
                      <a:pt x="262" y="1323"/>
                      <a:pt x="261" y="1322"/>
                    </a:cubicBezTo>
                    <a:close/>
                    <a:moveTo>
                      <a:pt x="264" y="1323"/>
                    </a:moveTo>
                    <a:cubicBezTo>
                      <a:pt x="264" y="1324"/>
                      <a:pt x="264" y="1324"/>
                      <a:pt x="264" y="1324"/>
                    </a:cubicBezTo>
                    <a:cubicBezTo>
                      <a:pt x="279" y="1334"/>
                      <a:pt x="292" y="1346"/>
                      <a:pt x="308" y="1355"/>
                    </a:cubicBezTo>
                    <a:moveTo>
                      <a:pt x="308" y="1355"/>
                    </a:moveTo>
                    <a:cubicBezTo>
                      <a:pt x="308" y="1356"/>
                      <a:pt x="308" y="1356"/>
                      <a:pt x="309" y="1356"/>
                    </a:cubicBezTo>
                    <a:moveTo>
                      <a:pt x="309" y="1356"/>
                    </a:moveTo>
                    <a:cubicBezTo>
                      <a:pt x="309" y="1357"/>
                      <a:pt x="310" y="1356"/>
                      <a:pt x="309" y="1356"/>
                    </a:cubicBezTo>
                    <a:moveTo>
                      <a:pt x="309" y="1356"/>
                    </a:moveTo>
                    <a:cubicBezTo>
                      <a:pt x="309" y="1355"/>
                      <a:pt x="309" y="1355"/>
                      <a:pt x="308" y="1355"/>
                    </a:cubicBezTo>
                    <a:moveTo>
                      <a:pt x="308" y="1355"/>
                    </a:moveTo>
                    <a:cubicBezTo>
                      <a:pt x="299" y="1338"/>
                      <a:pt x="282" y="1330"/>
                      <a:pt x="264" y="1323"/>
                    </a:cubicBezTo>
                    <a:moveTo>
                      <a:pt x="264" y="1323"/>
                    </a:moveTo>
                    <a:cubicBezTo>
                      <a:pt x="263" y="1322"/>
                      <a:pt x="263" y="1323"/>
                      <a:pt x="264" y="1323"/>
                    </a:cubicBezTo>
                    <a:moveTo>
                      <a:pt x="327" y="1347"/>
                    </a:moveTo>
                    <a:cubicBezTo>
                      <a:pt x="343" y="1351"/>
                      <a:pt x="359" y="1360"/>
                      <a:pt x="374" y="1361"/>
                    </a:cubicBezTo>
                    <a:cubicBezTo>
                      <a:pt x="358" y="1353"/>
                      <a:pt x="345" y="1342"/>
                      <a:pt x="329" y="1333"/>
                    </a:cubicBezTo>
                    <a:cubicBezTo>
                      <a:pt x="328" y="1337"/>
                      <a:pt x="327" y="1341"/>
                      <a:pt x="327" y="1347"/>
                    </a:cubicBezTo>
                    <a:close/>
                    <a:moveTo>
                      <a:pt x="299" y="1340"/>
                    </a:moveTo>
                    <a:cubicBezTo>
                      <a:pt x="308" y="1349"/>
                      <a:pt x="314" y="1361"/>
                      <a:pt x="326" y="1367"/>
                    </a:cubicBezTo>
                    <a:cubicBezTo>
                      <a:pt x="325" y="1362"/>
                      <a:pt x="324" y="1356"/>
                      <a:pt x="324" y="1348"/>
                    </a:cubicBezTo>
                    <a:cubicBezTo>
                      <a:pt x="315" y="1346"/>
                      <a:pt x="309" y="1342"/>
                      <a:pt x="299" y="1340"/>
                    </a:cubicBezTo>
                    <a:moveTo>
                      <a:pt x="299" y="1340"/>
                    </a:moveTo>
                    <a:cubicBezTo>
                      <a:pt x="299" y="1338"/>
                      <a:pt x="298" y="1340"/>
                      <a:pt x="299" y="1340"/>
                    </a:cubicBezTo>
                    <a:moveTo>
                      <a:pt x="1254" y="1341"/>
                    </a:moveTo>
                    <a:cubicBezTo>
                      <a:pt x="1254" y="1340"/>
                      <a:pt x="1254" y="1341"/>
                      <a:pt x="1254" y="1342"/>
                    </a:cubicBezTo>
                    <a:moveTo>
                      <a:pt x="1254" y="1342"/>
                    </a:moveTo>
                    <a:cubicBezTo>
                      <a:pt x="1253" y="1341"/>
                      <a:pt x="1253" y="1342"/>
                      <a:pt x="1253" y="1343"/>
                    </a:cubicBezTo>
                    <a:moveTo>
                      <a:pt x="1253" y="1343"/>
                    </a:moveTo>
                    <a:cubicBezTo>
                      <a:pt x="1252" y="1342"/>
                      <a:pt x="1252" y="1343"/>
                      <a:pt x="1252" y="1343"/>
                    </a:cubicBezTo>
                    <a:moveTo>
                      <a:pt x="1252" y="1343"/>
                    </a:moveTo>
                    <a:cubicBezTo>
                      <a:pt x="1231" y="1356"/>
                      <a:pt x="1213" y="1372"/>
                      <a:pt x="1191" y="1383"/>
                    </a:cubicBezTo>
                    <a:cubicBezTo>
                      <a:pt x="1188" y="1390"/>
                      <a:pt x="1182" y="1395"/>
                      <a:pt x="1178" y="1402"/>
                    </a:cubicBezTo>
                    <a:moveTo>
                      <a:pt x="1178" y="1402"/>
                    </a:moveTo>
                    <a:cubicBezTo>
                      <a:pt x="1177" y="1402"/>
                      <a:pt x="1177" y="1402"/>
                      <a:pt x="1177" y="1403"/>
                    </a:cubicBezTo>
                    <a:moveTo>
                      <a:pt x="1177" y="1403"/>
                    </a:moveTo>
                    <a:cubicBezTo>
                      <a:pt x="1175" y="1404"/>
                      <a:pt x="1177" y="1404"/>
                      <a:pt x="1177" y="1403"/>
                    </a:cubicBezTo>
                    <a:moveTo>
                      <a:pt x="1177" y="1403"/>
                    </a:moveTo>
                    <a:cubicBezTo>
                      <a:pt x="1178" y="1403"/>
                      <a:pt x="1178" y="1403"/>
                      <a:pt x="1178" y="1402"/>
                    </a:cubicBezTo>
                    <a:moveTo>
                      <a:pt x="1178" y="1402"/>
                    </a:moveTo>
                    <a:cubicBezTo>
                      <a:pt x="1205" y="1385"/>
                      <a:pt x="1229" y="1365"/>
                      <a:pt x="1252" y="1343"/>
                    </a:cubicBezTo>
                    <a:moveTo>
                      <a:pt x="1252" y="1343"/>
                    </a:moveTo>
                    <a:cubicBezTo>
                      <a:pt x="1252" y="1344"/>
                      <a:pt x="1253" y="1343"/>
                      <a:pt x="1253" y="1343"/>
                    </a:cubicBezTo>
                    <a:moveTo>
                      <a:pt x="1253" y="1343"/>
                    </a:moveTo>
                    <a:cubicBezTo>
                      <a:pt x="1253" y="1343"/>
                      <a:pt x="1253" y="1342"/>
                      <a:pt x="1254" y="1342"/>
                    </a:cubicBezTo>
                    <a:moveTo>
                      <a:pt x="1254" y="1342"/>
                    </a:moveTo>
                    <a:cubicBezTo>
                      <a:pt x="1254" y="1342"/>
                      <a:pt x="1254" y="1341"/>
                      <a:pt x="1254" y="1341"/>
                    </a:cubicBezTo>
                    <a:moveTo>
                      <a:pt x="1254" y="1341"/>
                    </a:moveTo>
                    <a:cubicBezTo>
                      <a:pt x="1256" y="1340"/>
                      <a:pt x="1254" y="1339"/>
                      <a:pt x="1254" y="1341"/>
                    </a:cubicBezTo>
                    <a:moveTo>
                      <a:pt x="1193" y="1348"/>
                    </a:moveTo>
                    <a:cubicBezTo>
                      <a:pt x="1193" y="1348"/>
                      <a:pt x="1194" y="1349"/>
                      <a:pt x="1193" y="1348"/>
                    </a:cubicBezTo>
                    <a:close/>
                    <a:moveTo>
                      <a:pt x="330" y="1369"/>
                    </a:moveTo>
                    <a:cubicBezTo>
                      <a:pt x="368" y="1393"/>
                      <a:pt x="409" y="1413"/>
                      <a:pt x="454" y="1429"/>
                    </a:cubicBezTo>
                    <a:cubicBezTo>
                      <a:pt x="444" y="1415"/>
                      <a:pt x="432" y="1403"/>
                      <a:pt x="423" y="1388"/>
                    </a:cubicBezTo>
                    <a:cubicBezTo>
                      <a:pt x="395" y="1370"/>
                      <a:pt x="360" y="1360"/>
                      <a:pt x="326" y="1349"/>
                    </a:cubicBezTo>
                    <a:cubicBezTo>
                      <a:pt x="327" y="1357"/>
                      <a:pt x="327" y="1364"/>
                      <a:pt x="330" y="1369"/>
                    </a:cubicBezTo>
                    <a:close/>
                    <a:moveTo>
                      <a:pt x="1151" y="1402"/>
                    </a:moveTo>
                    <a:cubicBezTo>
                      <a:pt x="1149" y="1403"/>
                      <a:pt x="1151" y="1403"/>
                      <a:pt x="1151" y="1402"/>
                    </a:cubicBezTo>
                    <a:moveTo>
                      <a:pt x="1151" y="1402"/>
                    </a:moveTo>
                    <a:cubicBezTo>
                      <a:pt x="1165" y="1397"/>
                      <a:pt x="1176" y="1388"/>
                      <a:pt x="1189" y="1382"/>
                    </a:cubicBezTo>
                    <a:cubicBezTo>
                      <a:pt x="1193" y="1373"/>
                      <a:pt x="1197" y="1363"/>
                      <a:pt x="1198" y="1350"/>
                    </a:cubicBezTo>
                    <a:cubicBezTo>
                      <a:pt x="1183" y="1365"/>
                      <a:pt x="1168" y="1386"/>
                      <a:pt x="1151" y="1402"/>
                    </a:cubicBezTo>
                    <a:moveTo>
                      <a:pt x="1191" y="1352"/>
                    </a:moveTo>
                    <a:cubicBezTo>
                      <a:pt x="1142" y="1377"/>
                      <a:pt x="1096" y="1406"/>
                      <a:pt x="1039" y="1424"/>
                    </a:cubicBezTo>
                    <a:cubicBezTo>
                      <a:pt x="1033" y="1434"/>
                      <a:pt x="1025" y="1443"/>
                      <a:pt x="1017" y="1452"/>
                    </a:cubicBezTo>
                    <a:moveTo>
                      <a:pt x="1017" y="1452"/>
                    </a:moveTo>
                    <a:cubicBezTo>
                      <a:pt x="1016" y="1453"/>
                      <a:pt x="1017" y="1453"/>
                      <a:pt x="1017" y="1452"/>
                    </a:cubicBezTo>
                    <a:moveTo>
                      <a:pt x="1017" y="1452"/>
                    </a:moveTo>
                    <a:cubicBezTo>
                      <a:pt x="1063" y="1442"/>
                      <a:pt x="1102" y="1425"/>
                      <a:pt x="1141" y="1408"/>
                    </a:cubicBezTo>
                    <a:cubicBezTo>
                      <a:pt x="1159" y="1390"/>
                      <a:pt x="1176" y="1372"/>
                      <a:pt x="1191" y="1352"/>
                    </a:cubicBezTo>
                    <a:moveTo>
                      <a:pt x="1191" y="1352"/>
                    </a:moveTo>
                    <a:cubicBezTo>
                      <a:pt x="1193" y="1352"/>
                      <a:pt x="1191" y="1351"/>
                      <a:pt x="1191" y="1352"/>
                    </a:cubicBezTo>
                    <a:moveTo>
                      <a:pt x="735" y="1356"/>
                    </a:moveTo>
                    <a:cubicBezTo>
                      <a:pt x="733" y="1373"/>
                      <a:pt x="736" y="1393"/>
                      <a:pt x="736" y="1411"/>
                    </a:cubicBezTo>
                    <a:cubicBezTo>
                      <a:pt x="746" y="1411"/>
                      <a:pt x="756" y="1411"/>
                      <a:pt x="766" y="1411"/>
                    </a:cubicBezTo>
                    <a:cubicBezTo>
                      <a:pt x="768" y="1393"/>
                      <a:pt x="768" y="1374"/>
                      <a:pt x="770" y="1356"/>
                    </a:cubicBezTo>
                    <a:cubicBezTo>
                      <a:pt x="758" y="1356"/>
                      <a:pt x="747" y="1356"/>
                      <a:pt x="735" y="1356"/>
                    </a:cubicBezTo>
                    <a:close/>
                    <a:moveTo>
                      <a:pt x="773" y="1356"/>
                    </a:moveTo>
                    <a:cubicBezTo>
                      <a:pt x="771" y="1374"/>
                      <a:pt x="770" y="1392"/>
                      <a:pt x="769" y="1411"/>
                    </a:cubicBezTo>
                    <a:cubicBezTo>
                      <a:pt x="779" y="1411"/>
                      <a:pt x="789" y="1411"/>
                      <a:pt x="799" y="1411"/>
                    </a:cubicBezTo>
                    <a:cubicBezTo>
                      <a:pt x="809" y="1394"/>
                      <a:pt x="817" y="1376"/>
                      <a:pt x="825" y="1359"/>
                    </a:cubicBezTo>
                    <a:cubicBezTo>
                      <a:pt x="807" y="1358"/>
                      <a:pt x="791" y="1356"/>
                      <a:pt x="773" y="1356"/>
                    </a:cubicBezTo>
                    <a:close/>
                    <a:moveTo>
                      <a:pt x="718" y="1358"/>
                    </a:moveTo>
                    <a:cubicBezTo>
                      <a:pt x="721" y="1371"/>
                      <a:pt x="728" y="1389"/>
                      <a:pt x="733" y="1403"/>
                    </a:cubicBezTo>
                    <a:cubicBezTo>
                      <a:pt x="732" y="1388"/>
                      <a:pt x="731" y="1373"/>
                      <a:pt x="731" y="1357"/>
                    </a:cubicBezTo>
                    <a:cubicBezTo>
                      <a:pt x="727" y="1357"/>
                      <a:pt x="721" y="1356"/>
                      <a:pt x="718" y="1358"/>
                    </a:cubicBezTo>
                    <a:close/>
                    <a:moveTo>
                      <a:pt x="664" y="1365"/>
                    </a:moveTo>
                    <a:cubicBezTo>
                      <a:pt x="673" y="1379"/>
                      <a:pt x="687" y="1397"/>
                      <a:pt x="701" y="1410"/>
                    </a:cubicBezTo>
                    <a:cubicBezTo>
                      <a:pt x="712" y="1408"/>
                      <a:pt x="723" y="1413"/>
                      <a:pt x="732" y="1410"/>
                    </a:cubicBezTo>
                    <a:cubicBezTo>
                      <a:pt x="724" y="1394"/>
                      <a:pt x="719" y="1376"/>
                      <a:pt x="713" y="1358"/>
                    </a:cubicBezTo>
                    <a:cubicBezTo>
                      <a:pt x="696" y="1359"/>
                      <a:pt x="679" y="1361"/>
                      <a:pt x="664" y="1365"/>
                    </a:cubicBezTo>
                    <a:close/>
                    <a:moveTo>
                      <a:pt x="1171" y="1359"/>
                    </a:moveTo>
                    <a:cubicBezTo>
                      <a:pt x="1137" y="1369"/>
                      <a:pt x="1101" y="1378"/>
                      <a:pt x="1064" y="1386"/>
                    </a:cubicBezTo>
                    <a:cubicBezTo>
                      <a:pt x="1058" y="1397"/>
                      <a:pt x="1050" y="1409"/>
                      <a:pt x="1043" y="1420"/>
                    </a:cubicBezTo>
                    <a:cubicBezTo>
                      <a:pt x="1090" y="1404"/>
                      <a:pt x="1132" y="1383"/>
                      <a:pt x="1171" y="1359"/>
                    </a:cubicBezTo>
                    <a:moveTo>
                      <a:pt x="1171" y="1359"/>
                    </a:moveTo>
                    <a:cubicBezTo>
                      <a:pt x="1172" y="1358"/>
                      <a:pt x="1171" y="1358"/>
                      <a:pt x="1171" y="1359"/>
                    </a:cubicBezTo>
                    <a:moveTo>
                      <a:pt x="827" y="1360"/>
                    </a:moveTo>
                    <a:cubicBezTo>
                      <a:pt x="820" y="1378"/>
                      <a:pt x="811" y="1394"/>
                      <a:pt x="802" y="1411"/>
                    </a:cubicBezTo>
                    <a:cubicBezTo>
                      <a:pt x="813" y="1409"/>
                      <a:pt x="828" y="1411"/>
                      <a:pt x="838" y="1409"/>
                    </a:cubicBezTo>
                    <a:cubicBezTo>
                      <a:pt x="847" y="1399"/>
                      <a:pt x="859" y="1388"/>
                      <a:pt x="868" y="1378"/>
                    </a:cubicBezTo>
                    <a:cubicBezTo>
                      <a:pt x="871" y="1375"/>
                      <a:pt x="876" y="1371"/>
                      <a:pt x="874" y="1367"/>
                    </a:cubicBezTo>
                    <a:cubicBezTo>
                      <a:pt x="860" y="1364"/>
                      <a:pt x="844" y="1361"/>
                      <a:pt x="827" y="1360"/>
                    </a:cubicBezTo>
                    <a:close/>
                    <a:moveTo>
                      <a:pt x="375" y="1363"/>
                    </a:moveTo>
                    <a:cubicBezTo>
                      <a:pt x="375" y="1362"/>
                      <a:pt x="376" y="1363"/>
                      <a:pt x="375" y="1363"/>
                    </a:cubicBezTo>
                    <a:close/>
                    <a:moveTo>
                      <a:pt x="618" y="1375"/>
                    </a:moveTo>
                    <a:cubicBezTo>
                      <a:pt x="621" y="1381"/>
                      <a:pt x="628" y="1387"/>
                      <a:pt x="635" y="1392"/>
                    </a:cubicBezTo>
                    <a:cubicBezTo>
                      <a:pt x="641" y="1397"/>
                      <a:pt x="650" y="1406"/>
                      <a:pt x="657" y="1408"/>
                    </a:cubicBezTo>
                    <a:cubicBezTo>
                      <a:pt x="669" y="1411"/>
                      <a:pt x="681" y="1407"/>
                      <a:pt x="695" y="1410"/>
                    </a:cubicBezTo>
                    <a:cubicBezTo>
                      <a:pt x="685" y="1397"/>
                      <a:pt x="672" y="1379"/>
                      <a:pt x="659" y="1366"/>
                    </a:cubicBezTo>
                    <a:cubicBezTo>
                      <a:pt x="644" y="1368"/>
                      <a:pt x="632" y="1372"/>
                      <a:pt x="618" y="1375"/>
                    </a:cubicBezTo>
                    <a:close/>
                    <a:moveTo>
                      <a:pt x="879" y="1368"/>
                    </a:moveTo>
                    <a:cubicBezTo>
                      <a:pt x="870" y="1379"/>
                      <a:pt x="860" y="1391"/>
                      <a:pt x="850" y="1400"/>
                    </a:cubicBezTo>
                    <a:cubicBezTo>
                      <a:pt x="848" y="1403"/>
                      <a:pt x="842" y="1405"/>
                      <a:pt x="844" y="1409"/>
                    </a:cubicBezTo>
                    <a:cubicBezTo>
                      <a:pt x="857" y="1409"/>
                      <a:pt x="870" y="1407"/>
                      <a:pt x="884" y="1407"/>
                    </a:cubicBezTo>
                    <a:cubicBezTo>
                      <a:pt x="892" y="1402"/>
                      <a:pt x="900" y="1396"/>
                      <a:pt x="908" y="1391"/>
                    </a:cubicBezTo>
                    <a:cubicBezTo>
                      <a:pt x="908" y="1385"/>
                      <a:pt x="910" y="1381"/>
                      <a:pt x="911" y="1377"/>
                    </a:cubicBezTo>
                    <a:cubicBezTo>
                      <a:pt x="900" y="1374"/>
                      <a:pt x="890" y="1371"/>
                      <a:pt x="879" y="1368"/>
                    </a:cubicBezTo>
                    <a:close/>
                    <a:moveTo>
                      <a:pt x="419" y="1382"/>
                    </a:moveTo>
                    <a:cubicBezTo>
                      <a:pt x="416" y="1375"/>
                      <a:pt x="405" y="1372"/>
                      <a:pt x="398" y="1372"/>
                    </a:cubicBezTo>
                    <a:cubicBezTo>
                      <a:pt x="405" y="1375"/>
                      <a:pt x="413" y="1382"/>
                      <a:pt x="419" y="1382"/>
                    </a:cubicBezTo>
                    <a:close/>
                    <a:moveTo>
                      <a:pt x="332" y="1374"/>
                    </a:moveTo>
                    <a:cubicBezTo>
                      <a:pt x="368" y="1419"/>
                      <a:pt x="423" y="1445"/>
                      <a:pt x="487" y="1461"/>
                    </a:cubicBezTo>
                    <a:moveTo>
                      <a:pt x="487" y="1461"/>
                    </a:moveTo>
                    <a:cubicBezTo>
                      <a:pt x="488" y="1462"/>
                      <a:pt x="489" y="1461"/>
                      <a:pt x="487" y="1461"/>
                    </a:cubicBezTo>
                    <a:moveTo>
                      <a:pt x="487" y="1461"/>
                    </a:moveTo>
                    <a:cubicBezTo>
                      <a:pt x="476" y="1454"/>
                      <a:pt x="470" y="1441"/>
                      <a:pt x="458" y="1434"/>
                    </a:cubicBezTo>
                    <a:cubicBezTo>
                      <a:pt x="438" y="1423"/>
                      <a:pt x="414" y="1417"/>
                      <a:pt x="392" y="1407"/>
                    </a:cubicBezTo>
                    <a:cubicBezTo>
                      <a:pt x="371" y="1397"/>
                      <a:pt x="351" y="1384"/>
                      <a:pt x="332" y="1374"/>
                    </a:cubicBezTo>
                    <a:moveTo>
                      <a:pt x="332" y="1374"/>
                    </a:moveTo>
                    <a:cubicBezTo>
                      <a:pt x="331" y="1373"/>
                      <a:pt x="331" y="1374"/>
                      <a:pt x="332" y="1374"/>
                    </a:cubicBezTo>
                    <a:moveTo>
                      <a:pt x="419" y="1377"/>
                    </a:moveTo>
                    <a:cubicBezTo>
                      <a:pt x="420" y="1381"/>
                      <a:pt x="424" y="1383"/>
                      <a:pt x="425" y="1387"/>
                    </a:cubicBezTo>
                    <a:cubicBezTo>
                      <a:pt x="461" y="1403"/>
                      <a:pt x="496" y="1420"/>
                      <a:pt x="536" y="1431"/>
                    </a:cubicBezTo>
                    <a:cubicBezTo>
                      <a:pt x="537" y="1422"/>
                      <a:pt x="546" y="1417"/>
                      <a:pt x="546" y="1411"/>
                    </a:cubicBezTo>
                    <a:cubicBezTo>
                      <a:pt x="533" y="1406"/>
                      <a:pt x="522" y="1401"/>
                      <a:pt x="511" y="1394"/>
                    </a:cubicBezTo>
                    <a:cubicBezTo>
                      <a:pt x="479" y="1390"/>
                      <a:pt x="450" y="1383"/>
                      <a:pt x="419" y="1377"/>
                    </a:cubicBezTo>
                    <a:moveTo>
                      <a:pt x="419" y="1377"/>
                    </a:moveTo>
                    <a:cubicBezTo>
                      <a:pt x="419" y="1376"/>
                      <a:pt x="418" y="1377"/>
                      <a:pt x="419" y="1377"/>
                    </a:cubicBezTo>
                    <a:moveTo>
                      <a:pt x="612" y="1377"/>
                    </a:moveTo>
                    <a:cubicBezTo>
                      <a:pt x="601" y="1382"/>
                      <a:pt x="588" y="1386"/>
                      <a:pt x="579" y="1392"/>
                    </a:cubicBezTo>
                    <a:cubicBezTo>
                      <a:pt x="593" y="1405"/>
                      <a:pt x="625" y="1407"/>
                      <a:pt x="650" y="1406"/>
                    </a:cubicBezTo>
                    <a:cubicBezTo>
                      <a:pt x="636" y="1397"/>
                      <a:pt x="626" y="1386"/>
                      <a:pt x="612" y="1377"/>
                    </a:cubicBezTo>
                    <a:close/>
                    <a:moveTo>
                      <a:pt x="914" y="1387"/>
                    </a:moveTo>
                    <a:cubicBezTo>
                      <a:pt x="915" y="1384"/>
                      <a:pt x="920" y="1384"/>
                      <a:pt x="920" y="1380"/>
                    </a:cubicBezTo>
                    <a:cubicBezTo>
                      <a:pt x="917" y="1380"/>
                      <a:pt x="917" y="1378"/>
                      <a:pt x="914" y="1379"/>
                    </a:cubicBezTo>
                    <a:cubicBezTo>
                      <a:pt x="915" y="1382"/>
                      <a:pt x="911" y="1385"/>
                      <a:pt x="914" y="1387"/>
                    </a:cubicBezTo>
                    <a:close/>
                    <a:moveTo>
                      <a:pt x="1062" y="1382"/>
                    </a:moveTo>
                    <a:cubicBezTo>
                      <a:pt x="1061" y="1382"/>
                      <a:pt x="1059" y="1383"/>
                      <a:pt x="1059" y="1384"/>
                    </a:cubicBezTo>
                    <a:cubicBezTo>
                      <a:pt x="1061" y="1384"/>
                      <a:pt x="1062" y="1384"/>
                      <a:pt x="1062" y="1382"/>
                    </a:cubicBezTo>
                    <a:moveTo>
                      <a:pt x="1062" y="1382"/>
                    </a:moveTo>
                    <a:cubicBezTo>
                      <a:pt x="1064" y="1381"/>
                      <a:pt x="1062" y="1381"/>
                      <a:pt x="1062" y="1382"/>
                    </a:cubicBezTo>
                    <a:moveTo>
                      <a:pt x="911" y="1391"/>
                    </a:moveTo>
                    <a:cubicBezTo>
                      <a:pt x="911" y="1397"/>
                      <a:pt x="908" y="1400"/>
                      <a:pt x="908" y="1405"/>
                    </a:cubicBezTo>
                    <a:cubicBezTo>
                      <a:pt x="923" y="1401"/>
                      <a:pt x="944" y="1404"/>
                      <a:pt x="956" y="1397"/>
                    </a:cubicBezTo>
                    <a:cubicBezTo>
                      <a:pt x="941" y="1391"/>
                      <a:pt x="923" y="1374"/>
                      <a:pt x="911" y="1391"/>
                    </a:cubicBezTo>
                    <a:close/>
                    <a:moveTo>
                      <a:pt x="339" y="1387"/>
                    </a:moveTo>
                    <a:cubicBezTo>
                      <a:pt x="338" y="1387"/>
                      <a:pt x="339" y="1388"/>
                      <a:pt x="340" y="1388"/>
                    </a:cubicBezTo>
                    <a:moveTo>
                      <a:pt x="340" y="1388"/>
                    </a:moveTo>
                    <a:cubicBezTo>
                      <a:pt x="346" y="1400"/>
                      <a:pt x="356" y="1408"/>
                      <a:pt x="369" y="1414"/>
                    </a:cubicBezTo>
                    <a:moveTo>
                      <a:pt x="369" y="1414"/>
                    </a:moveTo>
                    <a:cubicBezTo>
                      <a:pt x="369" y="1414"/>
                      <a:pt x="371" y="1414"/>
                      <a:pt x="371" y="1415"/>
                    </a:cubicBezTo>
                    <a:moveTo>
                      <a:pt x="371" y="1415"/>
                    </a:moveTo>
                    <a:cubicBezTo>
                      <a:pt x="372" y="1416"/>
                      <a:pt x="372" y="1414"/>
                      <a:pt x="371" y="1415"/>
                    </a:cubicBezTo>
                    <a:moveTo>
                      <a:pt x="371" y="1415"/>
                    </a:moveTo>
                    <a:cubicBezTo>
                      <a:pt x="371" y="1414"/>
                      <a:pt x="370" y="1414"/>
                      <a:pt x="369" y="1414"/>
                    </a:cubicBezTo>
                    <a:moveTo>
                      <a:pt x="369" y="1414"/>
                    </a:moveTo>
                    <a:cubicBezTo>
                      <a:pt x="360" y="1405"/>
                      <a:pt x="349" y="1396"/>
                      <a:pt x="340" y="1388"/>
                    </a:cubicBezTo>
                    <a:moveTo>
                      <a:pt x="340" y="1388"/>
                    </a:moveTo>
                    <a:cubicBezTo>
                      <a:pt x="340" y="1387"/>
                      <a:pt x="339" y="1387"/>
                      <a:pt x="339" y="1387"/>
                    </a:cubicBezTo>
                    <a:moveTo>
                      <a:pt x="339" y="1387"/>
                    </a:moveTo>
                    <a:cubicBezTo>
                      <a:pt x="338" y="1385"/>
                      <a:pt x="337" y="1387"/>
                      <a:pt x="339" y="1387"/>
                    </a:cubicBezTo>
                    <a:moveTo>
                      <a:pt x="567" y="1396"/>
                    </a:moveTo>
                    <a:cubicBezTo>
                      <a:pt x="568" y="1393"/>
                      <a:pt x="572" y="1394"/>
                      <a:pt x="573" y="1391"/>
                    </a:cubicBezTo>
                    <a:cubicBezTo>
                      <a:pt x="570" y="1390"/>
                      <a:pt x="566" y="1388"/>
                      <a:pt x="563" y="1386"/>
                    </a:cubicBezTo>
                    <a:cubicBezTo>
                      <a:pt x="564" y="1390"/>
                      <a:pt x="565" y="1394"/>
                      <a:pt x="567" y="1396"/>
                    </a:cubicBezTo>
                    <a:close/>
                    <a:moveTo>
                      <a:pt x="982" y="1419"/>
                    </a:moveTo>
                    <a:cubicBezTo>
                      <a:pt x="986" y="1424"/>
                      <a:pt x="989" y="1430"/>
                      <a:pt x="989" y="1439"/>
                    </a:cubicBezTo>
                    <a:cubicBezTo>
                      <a:pt x="1006" y="1434"/>
                      <a:pt x="1021" y="1428"/>
                      <a:pt x="1038" y="1423"/>
                    </a:cubicBezTo>
                    <a:cubicBezTo>
                      <a:pt x="1040" y="1417"/>
                      <a:pt x="1046" y="1411"/>
                      <a:pt x="1050" y="1405"/>
                    </a:cubicBezTo>
                    <a:cubicBezTo>
                      <a:pt x="1054" y="1399"/>
                      <a:pt x="1059" y="1390"/>
                      <a:pt x="1059" y="1387"/>
                    </a:cubicBezTo>
                    <a:cubicBezTo>
                      <a:pt x="1030" y="1395"/>
                      <a:pt x="1008" y="1409"/>
                      <a:pt x="982" y="1419"/>
                    </a:cubicBezTo>
                    <a:close/>
                    <a:moveTo>
                      <a:pt x="1184" y="1388"/>
                    </a:moveTo>
                    <a:cubicBezTo>
                      <a:pt x="1153" y="1402"/>
                      <a:pt x="1127" y="1421"/>
                      <a:pt x="1103" y="1442"/>
                    </a:cubicBezTo>
                    <a:moveTo>
                      <a:pt x="1103" y="1442"/>
                    </a:moveTo>
                    <a:cubicBezTo>
                      <a:pt x="1102" y="1442"/>
                      <a:pt x="1101" y="1443"/>
                      <a:pt x="1101" y="1443"/>
                    </a:cubicBezTo>
                    <a:moveTo>
                      <a:pt x="1101" y="1443"/>
                    </a:moveTo>
                    <a:cubicBezTo>
                      <a:pt x="1099" y="1444"/>
                      <a:pt x="1101" y="1444"/>
                      <a:pt x="1101" y="1443"/>
                    </a:cubicBezTo>
                    <a:moveTo>
                      <a:pt x="1101" y="1443"/>
                    </a:moveTo>
                    <a:cubicBezTo>
                      <a:pt x="1102" y="1443"/>
                      <a:pt x="1103" y="1443"/>
                      <a:pt x="1103" y="1442"/>
                    </a:cubicBezTo>
                    <a:moveTo>
                      <a:pt x="1103" y="1442"/>
                    </a:moveTo>
                    <a:cubicBezTo>
                      <a:pt x="1134" y="1428"/>
                      <a:pt x="1167" y="1416"/>
                      <a:pt x="1184" y="1388"/>
                    </a:cubicBezTo>
                    <a:moveTo>
                      <a:pt x="1184" y="1388"/>
                    </a:moveTo>
                    <a:cubicBezTo>
                      <a:pt x="1186" y="1387"/>
                      <a:pt x="1184" y="1386"/>
                      <a:pt x="1184" y="1388"/>
                    </a:cubicBezTo>
                    <a:moveTo>
                      <a:pt x="429" y="1391"/>
                    </a:moveTo>
                    <a:cubicBezTo>
                      <a:pt x="438" y="1406"/>
                      <a:pt x="450" y="1419"/>
                      <a:pt x="461" y="1432"/>
                    </a:cubicBezTo>
                    <a:cubicBezTo>
                      <a:pt x="485" y="1439"/>
                      <a:pt x="511" y="1450"/>
                      <a:pt x="537" y="1452"/>
                    </a:cubicBezTo>
                    <a:cubicBezTo>
                      <a:pt x="534" y="1448"/>
                      <a:pt x="536" y="1440"/>
                      <a:pt x="535" y="1434"/>
                    </a:cubicBezTo>
                    <a:cubicBezTo>
                      <a:pt x="497" y="1422"/>
                      <a:pt x="463" y="1407"/>
                      <a:pt x="429" y="1391"/>
                    </a:cubicBezTo>
                    <a:moveTo>
                      <a:pt x="429" y="1391"/>
                    </a:moveTo>
                    <a:cubicBezTo>
                      <a:pt x="428" y="1390"/>
                      <a:pt x="428" y="1392"/>
                      <a:pt x="429" y="1391"/>
                    </a:cubicBezTo>
                    <a:moveTo>
                      <a:pt x="966" y="1402"/>
                    </a:moveTo>
                    <a:cubicBezTo>
                      <a:pt x="971" y="1406"/>
                      <a:pt x="976" y="1410"/>
                      <a:pt x="980" y="1416"/>
                    </a:cubicBezTo>
                    <a:cubicBezTo>
                      <a:pt x="1001" y="1409"/>
                      <a:pt x="1020" y="1400"/>
                      <a:pt x="1038" y="1391"/>
                    </a:cubicBezTo>
                    <a:cubicBezTo>
                      <a:pt x="1015" y="1395"/>
                      <a:pt x="989" y="1397"/>
                      <a:pt x="966" y="1402"/>
                    </a:cubicBezTo>
                    <a:close/>
                    <a:moveTo>
                      <a:pt x="567" y="1399"/>
                    </a:moveTo>
                    <a:cubicBezTo>
                      <a:pt x="573" y="1400"/>
                      <a:pt x="584" y="1403"/>
                      <a:pt x="589" y="1401"/>
                    </a:cubicBezTo>
                    <a:cubicBezTo>
                      <a:pt x="581" y="1397"/>
                      <a:pt x="574" y="1390"/>
                      <a:pt x="567" y="1399"/>
                    </a:cubicBezTo>
                    <a:close/>
                    <a:moveTo>
                      <a:pt x="891" y="1406"/>
                    </a:moveTo>
                    <a:cubicBezTo>
                      <a:pt x="896" y="1407"/>
                      <a:pt x="899" y="1404"/>
                      <a:pt x="904" y="1405"/>
                    </a:cubicBezTo>
                    <a:cubicBezTo>
                      <a:pt x="903" y="1401"/>
                      <a:pt x="907" y="1397"/>
                      <a:pt x="905" y="1395"/>
                    </a:cubicBezTo>
                    <a:cubicBezTo>
                      <a:pt x="901" y="1399"/>
                      <a:pt x="895" y="1402"/>
                      <a:pt x="891" y="1406"/>
                    </a:cubicBezTo>
                    <a:close/>
                    <a:moveTo>
                      <a:pt x="548" y="1410"/>
                    </a:moveTo>
                    <a:cubicBezTo>
                      <a:pt x="552" y="1408"/>
                      <a:pt x="555" y="1404"/>
                      <a:pt x="558" y="1401"/>
                    </a:cubicBezTo>
                    <a:cubicBezTo>
                      <a:pt x="546" y="1401"/>
                      <a:pt x="532" y="1396"/>
                      <a:pt x="521" y="1397"/>
                    </a:cubicBezTo>
                    <a:cubicBezTo>
                      <a:pt x="530" y="1401"/>
                      <a:pt x="539" y="1405"/>
                      <a:pt x="548" y="1410"/>
                    </a:cubicBezTo>
                    <a:close/>
                    <a:moveTo>
                      <a:pt x="552" y="1412"/>
                    </a:moveTo>
                    <a:cubicBezTo>
                      <a:pt x="559" y="1414"/>
                      <a:pt x="565" y="1417"/>
                      <a:pt x="572" y="1419"/>
                    </a:cubicBezTo>
                    <a:cubicBezTo>
                      <a:pt x="571" y="1413"/>
                      <a:pt x="567" y="1409"/>
                      <a:pt x="566" y="1402"/>
                    </a:cubicBezTo>
                    <a:cubicBezTo>
                      <a:pt x="558" y="1402"/>
                      <a:pt x="556" y="1408"/>
                      <a:pt x="552" y="1412"/>
                    </a:cubicBezTo>
                    <a:close/>
                    <a:moveTo>
                      <a:pt x="950" y="1403"/>
                    </a:moveTo>
                    <a:cubicBezTo>
                      <a:pt x="936" y="1407"/>
                      <a:pt x="915" y="1424"/>
                      <a:pt x="901" y="1427"/>
                    </a:cubicBezTo>
                    <a:cubicBezTo>
                      <a:pt x="899" y="1433"/>
                      <a:pt x="898" y="1439"/>
                      <a:pt x="895" y="1444"/>
                    </a:cubicBezTo>
                    <a:cubicBezTo>
                      <a:pt x="925" y="1438"/>
                      <a:pt x="950" y="1427"/>
                      <a:pt x="977" y="1418"/>
                    </a:cubicBezTo>
                    <a:cubicBezTo>
                      <a:pt x="971" y="1409"/>
                      <a:pt x="964" y="1399"/>
                      <a:pt x="950" y="1403"/>
                    </a:cubicBezTo>
                    <a:close/>
                    <a:moveTo>
                      <a:pt x="576" y="1421"/>
                    </a:moveTo>
                    <a:cubicBezTo>
                      <a:pt x="625" y="1439"/>
                      <a:pt x="678" y="1457"/>
                      <a:pt x="736" y="1463"/>
                    </a:cubicBezTo>
                    <a:cubicBezTo>
                      <a:pt x="684" y="1449"/>
                      <a:pt x="638" y="1429"/>
                      <a:pt x="596" y="1405"/>
                    </a:cubicBezTo>
                    <a:cubicBezTo>
                      <a:pt x="586" y="1405"/>
                      <a:pt x="579" y="1403"/>
                      <a:pt x="569" y="1403"/>
                    </a:cubicBezTo>
                    <a:cubicBezTo>
                      <a:pt x="571" y="1409"/>
                      <a:pt x="574" y="1415"/>
                      <a:pt x="576" y="1421"/>
                    </a:cubicBezTo>
                    <a:close/>
                    <a:moveTo>
                      <a:pt x="908" y="1407"/>
                    </a:moveTo>
                    <a:cubicBezTo>
                      <a:pt x="905" y="1412"/>
                      <a:pt x="905" y="1418"/>
                      <a:pt x="902" y="1423"/>
                    </a:cubicBezTo>
                    <a:cubicBezTo>
                      <a:pt x="917" y="1418"/>
                      <a:pt x="930" y="1411"/>
                      <a:pt x="942" y="1404"/>
                    </a:cubicBezTo>
                    <a:cubicBezTo>
                      <a:pt x="931" y="1405"/>
                      <a:pt x="920" y="1407"/>
                      <a:pt x="908" y="1407"/>
                    </a:cubicBezTo>
                    <a:close/>
                    <a:moveTo>
                      <a:pt x="606" y="1407"/>
                    </a:moveTo>
                    <a:cubicBezTo>
                      <a:pt x="645" y="1429"/>
                      <a:pt x="691" y="1449"/>
                      <a:pt x="737" y="1461"/>
                    </a:cubicBezTo>
                    <a:cubicBezTo>
                      <a:pt x="716" y="1449"/>
                      <a:pt x="695" y="1437"/>
                      <a:pt x="674" y="1423"/>
                    </a:cubicBezTo>
                    <a:cubicBezTo>
                      <a:pt x="667" y="1419"/>
                      <a:pt x="660" y="1411"/>
                      <a:pt x="654" y="1410"/>
                    </a:cubicBezTo>
                    <a:cubicBezTo>
                      <a:pt x="638" y="1406"/>
                      <a:pt x="624" y="1410"/>
                      <a:pt x="606" y="1407"/>
                    </a:cubicBezTo>
                    <a:moveTo>
                      <a:pt x="606" y="1407"/>
                    </a:moveTo>
                    <a:cubicBezTo>
                      <a:pt x="605" y="1404"/>
                      <a:pt x="602" y="1408"/>
                      <a:pt x="606" y="1407"/>
                    </a:cubicBezTo>
                    <a:moveTo>
                      <a:pt x="886" y="1409"/>
                    </a:moveTo>
                    <a:cubicBezTo>
                      <a:pt x="854" y="1430"/>
                      <a:pt x="820" y="1448"/>
                      <a:pt x="783" y="1463"/>
                    </a:cubicBezTo>
                    <a:cubicBezTo>
                      <a:pt x="824" y="1454"/>
                      <a:pt x="862" y="1441"/>
                      <a:pt x="897" y="1426"/>
                    </a:cubicBezTo>
                    <a:cubicBezTo>
                      <a:pt x="899" y="1420"/>
                      <a:pt x="901" y="1413"/>
                      <a:pt x="903" y="1408"/>
                    </a:cubicBezTo>
                    <a:cubicBezTo>
                      <a:pt x="897" y="1407"/>
                      <a:pt x="893" y="1410"/>
                      <a:pt x="886" y="1409"/>
                    </a:cubicBezTo>
                    <a:close/>
                    <a:moveTo>
                      <a:pt x="839" y="1412"/>
                    </a:moveTo>
                    <a:cubicBezTo>
                      <a:pt x="819" y="1430"/>
                      <a:pt x="798" y="1447"/>
                      <a:pt x="776" y="1463"/>
                    </a:cubicBezTo>
                    <a:cubicBezTo>
                      <a:pt x="814" y="1448"/>
                      <a:pt x="848" y="1430"/>
                      <a:pt x="879" y="1410"/>
                    </a:cubicBezTo>
                    <a:cubicBezTo>
                      <a:pt x="865" y="1410"/>
                      <a:pt x="853" y="1412"/>
                      <a:pt x="839" y="1412"/>
                    </a:cubicBezTo>
                    <a:close/>
                    <a:moveTo>
                      <a:pt x="736" y="1456"/>
                    </a:moveTo>
                    <a:cubicBezTo>
                      <a:pt x="735" y="1447"/>
                      <a:pt x="725" y="1440"/>
                      <a:pt x="718" y="1433"/>
                    </a:cubicBezTo>
                    <a:cubicBezTo>
                      <a:pt x="712" y="1427"/>
                      <a:pt x="704" y="1415"/>
                      <a:pt x="697" y="1413"/>
                    </a:cubicBezTo>
                    <a:cubicBezTo>
                      <a:pt x="687" y="1409"/>
                      <a:pt x="674" y="1412"/>
                      <a:pt x="661" y="1412"/>
                    </a:cubicBezTo>
                    <a:cubicBezTo>
                      <a:pt x="685" y="1428"/>
                      <a:pt x="708" y="1444"/>
                      <a:pt x="736" y="1456"/>
                    </a:cubicBezTo>
                    <a:close/>
                    <a:moveTo>
                      <a:pt x="770" y="1463"/>
                    </a:moveTo>
                    <a:cubicBezTo>
                      <a:pt x="769" y="1462"/>
                      <a:pt x="769" y="1463"/>
                      <a:pt x="769" y="1463"/>
                    </a:cubicBezTo>
                    <a:moveTo>
                      <a:pt x="769" y="1463"/>
                    </a:moveTo>
                    <a:cubicBezTo>
                      <a:pt x="767" y="1464"/>
                      <a:pt x="769" y="1465"/>
                      <a:pt x="769" y="1463"/>
                    </a:cubicBezTo>
                    <a:moveTo>
                      <a:pt x="769" y="1463"/>
                    </a:moveTo>
                    <a:cubicBezTo>
                      <a:pt x="770" y="1464"/>
                      <a:pt x="770" y="1463"/>
                      <a:pt x="770" y="1463"/>
                    </a:cubicBezTo>
                    <a:moveTo>
                      <a:pt x="770" y="1463"/>
                    </a:moveTo>
                    <a:cubicBezTo>
                      <a:pt x="789" y="1450"/>
                      <a:pt x="811" y="1435"/>
                      <a:pt x="828" y="1418"/>
                    </a:cubicBezTo>
                    <a:cubicBezTo>
                      <a:pt x="830" y="1417"/>
                      <a:pt x="834" y="1414"/>
                      <a:pt x="832" y="1412"/>
                    </a:cubicBezTo>
                    <a:cubicBezTo>
                      <a:pt x="824" y="1414"/>
                      <a:pt x="811" y="1412"/>
                      <a:pt x="801" y="1413"/>
                    </a:cubicBezTo>
                    <a:cubicBezTo>
                      <a:pt x="792" y="1430"/>
                      <a:pt x="781" y="1446"/>
                      <a:pt x="770" y="1463"/>
                    </a:cubicBezTo>
                    <a:moveTo>
                      <a:pt x="735" y="1445"/>
                    </a:moveTo>
                    <a:cubicBezTo>
                      <a:pt x="735" y="1434"/>
                      <a:pt x="734" y="1424"/>
                      <a:pt x="733" y="1414"/>
                    </a:cubicBezTo>
                    <a:cubicBezTo>
                      <a:pt x="724" y="1414"/>
                      <a:pt x="712" y="1411"/>
                      <a:pt x="702" y="1414"/>
                    </a:cubicBezTo>
                    <a:cubicBezTo>
                      <a:pt x="713" y="1424"/>
                      <a:pt x="723" y="1436"/>
                      <a:pt x="735" y="1445"/>
                    </a:cubicBezTo>
                    <a:close/>
                    <a:moveTo>
                      <a:pt x="574" y="1423"/>
                    </a:moveTo>
                    <a:cubicBezTo>
                      <a:pt x="566" y="1420"/>
                      <a:pt x="558" y="1416"/>
                      <a:pt x="549" y="1414"/>
                    </a:cubicBezTo>
                    <a:cubicBezTo>
                      <a:pt x="545" y="1420"/>
                      <a:pt x="540" y="1423"/>
                      <a:pt x="539" y="1433"/>
                    </a:cubicBezTo>
                    <a:cubicBezTo>
                      <a:pt x="554" y="1436"/>
                      <a:pt x="571" y="1443"/>
                      <a:pt x="584" y="1444"/>
                    </a:cubicBezTo>
                    <a:cubicBezTo>
                      <a:pt x="580" y="1438"/>
                      <a:pt x="578" y="1430"/>
                      <a:pt x="574" y="1423"/>
                    </a:cubicBezTo>
                    <a:close/>
                    <a:moveTo>
                      <a:pt x="761" y="1463"/>
                    </a:moveTo>
                    <a:cubicBezTo>
                      <a:pt x="763" y="1448"/>
                      <a:pt x="764" y="1430"/>
                      <a:pt x="766" y="1414"/>
                    </a:cubicBezTo>
                    <a:cubicBezTo>
                      <a:pt x="757" y="1414"/>
                      <a:pt x="745" y="1412"/>
                      <a:pt x="737" y="1415"/>
                    </a:cubicBezTo>
                    <a:cubicBezTo>
                      <a:pt x="745" y="1431"/>
                      <a:pt x="752" y="1449"/>
                      <a:pt x="761" y="1463"/>
                    </a:cubicBezTo>
                    <a:close/>
                    <a:moveTo>
                      <a:pt x="765" y="1464"/>
                    </a:moveTo>
                    <a:cubicBezTo>
                      <a:pt x="776" y="1448"/>
                      <a:pt x="788" y="1432"/>
                      <a:pt x="798" y="1414"/>
                    </a:cubicBezTo>
                    <a:cubicBezTo>
                      <a:pt x="788" y="1414"/>
                      <a:pt x="778" y="1414"/>
                      <a:pt x="768" y="1414"/>
                    </a:cubicBezTo>
                    <a:cubicBezTo>
                      <a:pt x="768" y="1431"/>
                      <a:pt x="764" y="1449"/>
                      <a:pt x="765" y="1464"/>
                    </a:cubicBezTo>
                    <a:close/>
                    <a:moveTo>
                      <a:pt x="366" y="1415"/>
                    </a:moveTo>
                    <a:cubicBezTo>
                      <a:pt x="366" y="1416"/>
                      <a:pt x="367" y="1416"/>
                      <a:pt x="367" y="1416"/>
                    </a:cubicBezTo>
                    <a:moveTo>
                      <a:pt x="367" y="1416"/>
                    </a:moveTo>
                    <a:cubicBezTo>
                      <a:pt x="382" y="1430"/>
                      <a:pt x="403" y="1442"/>
                      <a:pt x="422" y="1448"/>
                    </a:cubicBezTo>
                    <a:cubicBezTo>
                      <a:pt x="403" y="1438"/>
                      <a:pt x="388" y="1425"/>
                      <a:pt x="367" y="1416"/>
                    </a:cubicBezTo>
                    <a:moveTo>
                      <a:pt x="367" y="1416"/>
                    </a:moveTo>
                    <a:cubicBezTo>
                      <a:pt x="367" y="1416"/>
                      <a:pt x="366" y="1416"/>
                      <a:pt x="366" y="1415"/>
                    </a:cubicBezTo>
                    <a:moveTo>
                      <a:pt x="366" y="1415"/>
                    </a:moveTo>
                    <a:cubicBezTo>
                      <a:pt x="365" y="1414"/>
                      <a:pt x="364" y="1416"/>
                      <a:pt x="366" y="1415"/>
                    </a:cubicBezTo>
                    <a:moveTo>
                      <a:pt x="1132" y="1415"/>
                    </a:moveTo>
                    <a:cubicBezTo>
                      <a:pt x="1094" y="1431"/>
                      <a:pt x="1057" y="1446"/>
                      <a:pt x="1014" y="1456"/>
                    </a:cubicBezTo>
                    <a:cubicBezTo>
                      <a:pt x="1007" y="1463"/>
                      <a:pt x="999" y="1470"/>
                      <a:pt x="991" y="1477"/>
                    </a:cubicBezTo>
                    <a:cubicBezTo>
                      <a:pt x="1048" y="1467"/>
                      <a:pt x="1099" y="1450"/>
                      <a:pt x="1132" y="1415"/>
                    </a:cubicBezTo>
                    <a:moveTo>
                      <a:pt x="1132" y="1415"/>
                    </a:moveTo>
                    <a:cubicBezTo>
                      <a:pt x="1133" y="1415"/>
                      <a:pt x="1132" y="1414"/>
                      <a:pt x="1132" y="1415"/>
                    </a:cubicBezTo>
                    <a:moveTo>
                      <a:pt x="979" y="1419"/>
                    </a:moveTo>
                    <a:cubicBezTo>
                      <a:pt x="953" y="1430"/>
                      <a:pt x="925" y="1440"/>
                      <a:pt x="894" y="1447"/>
                    </a:cubicBezTo>
                    <a:cubicBezTo>
                      <a:pt x="893" y="1451"/>
                      <a:pt x="891" y="1455"/>
                      <a:pt x="890" y="1460"/>
                    </a:cubicBezTo>
                    <a:cubicBezTo>
                      <a:pt x="924" y="1455"/>
                      <a:pt x="955" y="1447"/>
                      <a:pt x="987" y="1439"/>
                    </a:cubicBezTo>
                    <a:cubicBezTo>
                      <a:pt x="986" y="1431"/>
                      <a:pt x="983" y="1424"/>
                      <a:pt x="979" y="1419"/>
                    </a:cubicBezTo>
                    <a:close/>
                    <a:moveTo>
                      <a:pt x="755" y="1463"/>
                    </a:moveTo>
                    <a:cubicBezTo>
                      <a:pt x="756" y="1464"/>
                      <a:pt x="756" y="1462"/>
                      <a:pt x="755" y="1463"/>
                    </a:cubicBezTo>
                    <a:moveTo>
                      <a:pt x="755" y="1463"/>
                    </a:moveTo>
                    <a:cubicBezTo>
                      <a:pt x="749" y="1449"/>
                      <a:pt x="743" y="1437"/>
                      <a:pt x="737" y="1424"/>
                    </a:cubicBezTo>
                    <a:cubicBezTo>
                      <a:pt x="736" y="1433"/>
                      <a:pt x="739" y="1439"/>
                      <a:pt x="738" y="1448"/>
                    </a:cubicBezTo>
                    <a:cubicBezTo>
                      <a:pt x="743" y="1453"/>
                      <a:pt x="749" y="1458"/>
                      <a:pt x="755" y="1463"/>
                    </a:cubicBezTo>
                    <a:moveTo>
                      <a:pt x="587" y="1446"/>
                    </a:moveTo>
                    <a:cubicBezTo>
                      <a:pt x="632" y="1456"/>
                      <a:pt x="682" y="1466"/>
                      <a:pt x="733" y="1466"/>
                    </a:cubicBezTo>
                    <a:cubicBezTo>
                      <a:pt x="676" y="1459"/>
                      <a:pt x="625" y="1440"/>
                      <a:pt x="578" y="1426"/>
                    </a:cubicBezTo>
                    <a:cubicBezTo>
                      <a:pt x="582" y="1432"/>
                      <a:pt x="584" y="1439"/>
                      <a:pt x="587" y="1446"/>
                    </a:cubicBezTo>
                    <a:close/>
                    <a:moveTo>
                      <a:pt x="1034" y="1427"/>
                    </a:moveTo>
                    <a:cubicBezTo>
                      <a:pt x="1019" y="1432"/>
                      <a:pt x="1004" y="1437"/>
                      <a:pt x="989" y="1441"/>
                    </a:cubicBezTo>
                    <a:cubicBezTo>
                      <a:pt x="989" y="1450"/>
                      <a:pt x="986" y="1454"/>
                      <a:pt x="984" y="1460"/>
                    </a:cubicBezTo>
                    <a:moveTo>
                      <a:pt x="984" y="1460"/>
                    </a:moveTo>
                    <a:cubicBezTo>
                      <a:pt x="982" y="1460"/>
                      <a:pt x="984" y="1461"/>
                      <a:pt x="984" y="1460"/>
                    </a:cubicBezTo>
                    <a:moveTo>
                      <a:pt x="984" y="1460"/>
                    </a:moveTo>
                    <a:cubicBezTo>
                      <a:pt x="994" y="1459"/>
                      <a:pt x="1001" y="1456"/>
                      <a:pt x="1011" y="1455"/>
                    </a:cubicBezTo>
                    <a:cubicBezTo>
                      <a:pt x="1019" y="1446"/>
                      <a:pt x="1027" y="1437"/>
                      <a:pt x="1034" y="1427"/>
                    </a:cubicBezTo>
                    <a:moveTo>
                      <a:pt x="1034" y="1427"/>
                    </a:moveTo>
                    <a:cubicBezTo>
                      <a:pt x="1035" y="1426"/>
                      <a:pt x="1034" y="1426"/>
                      <a:pt x="1034" y="1427"/>
                    </a:cubicBezTo>
                    <a:moveTo>
                      <a:pt x="1141" y="1428"/>
                    </a:moveTo>
                    <a:cubicBezTo>
                      <a:pt x="1141" y="1428"/>
                      <a:pt x="1142" y="1429"/>
                      <a:pt x="1141" y="1428"/>
                    </a:cubicBezTo>
                    <a:close/>
                    <a:moveTo>
                      <a:pt x="1139" y="1429"/>
                    </a:moveTo>
                    <a:cubicBezTo>
                      <a:pt x="1138" y="1429"/>
                      <a:pt x="1138" y="1429"/>
                      <a:pt x="1137" y="1430"/>
                    </a:cubicBezTo>
                    <a:moveTo>
                      <a:pt x="1137" y="1430"/>
                    </a:moveTo>
                    <a:cubicBezTo>
                      <a:pt x="1136" y="1430"/>
                      <a:pt x="1136" y="1430"/>
                      <a:pt x="1135" y="1431"/>
                    </a:cubicBezTo>
                    <a:moveTo>
                      <a:pt x="1135" y="1431"/>
                    </a:moveTo>
                    <a:cubicBezTo>
                      <a:pt x="1116" y="1441"/>
                      <a:pt x="1092" y="1448"/>
                      <a:pt x="1074" y="1461"/>
                    </a:cubicBezTo>
                    <a:cubicBezTo>
                      <a:pt x="1096" y="1452"/>
                      <a:pt x="1118" y="1443"/>
                      <a:pt x="1135" y="1431"/>
                    </a:cubicBezTo>
                    <a:moveTo>
                      <a:pt x="1135" y="1431"/>
                    </a:moveTo>
                    <a:cubicBezTo>
                      <a:pt x="1137" y="1431"/>
                      <a:pt x="1137" y="1431"/>
                      <a:pt x="1137" y="1430"/>
                    </a:cubicBezTo>
                    <a:moveTo>
                      <a:pt x="1137" y="1430"/>
                    </a:moveTo>
                    <a:cubicBezTo>
                      <a:pt x="1138" y="1430"/>
                      <a:pt x="1139" y="1430"/>
                      <a:pt x="1139" y="1429"/>
                    </a:cubicBezTo>
                    <a:moveTo>
                      <a:pt x="1139" y="1429"/>
                    </a:moveTo>
                    <a:cubicBezTo>
                      <a:pt x="1141" y="1428"/>
                      <a:pt x="1139" y="1428"/>
                      <a:pt x="1139" y="1429"/>
                    </a:cubicBezTo>
                    <a:moveTo>
                      <a:pt x="789" y="1465"/>
                    </a:moveTo>
                    <a:cubicBezTo>
                      <a:pt x="825" y="1461"/>
                      <a:pt x="858" y="1454"/>
                      <a:pt x="891" y="1446"/>
                    </a:cubicBezTo>
                    <a:cubicBezTo>
                      <a:pt x="892" y="1440"/>
                      <a:pt x="897" y="1434"/>
                      <a:pt x="895" y="1429"/>
                    </a:cubicBezTo>
                    <a:cubicBezTo>
                      <a:pt x="863" y="1444"/>
                      <a:pt x="826" y="1455"/>
                      <a:pt x="789" y="1465"/>
                    </a:cubicBezTo>
                    <a:close/>
                    <a:moveTo>
                      <a:pt x="404" y="1435"/>
                    </a:moveTo>
                    <a:cubicBezTo>
                      <a:pt x="404" y="1434"/>
                      <a:pt x="405" y="1435"/>
                      <a:pt x="404" y="1435"/>
                    </a:cubicBezTo>
                    <a:close/>
                    <a:moveTo>
                      <a:pt x="407" y="1436"/>
                    </a:moveTo>
                    <a:cubicBezTo>
                      <a:pt x="407" y="1437"/>
                      <a:pt x="408" y="1436"/>
                      <a:pt x="409" y="1437"/>
                    </a:cubicBezTo>
                    <a:moveTo>
                      <a:pt x="409" y="1437"/>
                    </a:moveTo>
                    <a:cubicBezTo>
                      <a:pt x="409" y="1437"/>
                      <a:pt x="409" y="1437"/>
                      <a:pt x="409" y="1438"/>
                    </a:cubicBezTo>
                    <a:cubicBezTo>
                      <a:pt x="439" y="1456"/>
                      <a:pt x="472" y="1472"/>
                      <a:pt x="513" y="1480"/>
                    </a:cubicBezTo>
                    <a:moveTo>
                      <a:pt x="513" y="1480"/>
                    </a:moveTo>
                    <a:cubicBezTo>
                      <a:pt x="514" y="1483"/>
                      <a:pt x="517" y="1479"/>
                      <a:pt x="513" y="1480"/>
                    </a:cubicBezTo>
                    <a:moveTo>
                      <a:pt x="513" y="1480"/>
                    </a:moveTo>
                    <a:cubicBezTo>
                      <a:pt x="487" y="1457"/>
                      <a:pt x="441" y="1454"/>
                      <a:pt x="409" y="1437"/>
                    </a:cubicBezTo>
                    <a:moveTo>
                      <a:pt x="409" y="1437"/>
                    </a:moveTo>
                    <a:cubicBezTo>
                      <a:pt x="409" y="1436"/>
                      <a:pt x="408" y="1436"/>
                      <a:pt x="407" y="1436"/>
                    </a:cubicBezTo>
                    <a:moveTo>
                      <a:pt x="407" y="1436"/>
                    </a:moveTo>
                    <a:cubicBezTo>
                      <a:pt x="406" y="1434"/>
                      <a:pt x="406" y="1436"/>
                      <a:pt x="407" y="1436"/>
                    </a:cubicBezTo>
                    <a:moveTo>
                      <a:pt x="541" y="1455"/>
                    </a:moveTo>
                    <a:cubicBezTo>
                      <a:pt x="559" y="1457"/>
                      <a:pt x="575" y="1462"/>
                      <a:pt x="594" y="1463"/>
                    </a:cubicBezTo>
                    <a:cubicBezTo>
                      <a:pt x="592" y="1458"/>
                      <a:pt x="588" y="1454"/>
                      <a:pt x="586" y="1448"/>
                    </a:cubicBezTo>
                    <a:cubicBezTo>
                      <a:pt x="570" y="1444"/>
                      <a:pt x="554" y="1440"/>
                      <a:pt x="538" y="1435"/>
                    </a:cubicBezTo>
                    <a:cubicBezTo>
                      <a:pt x="536" y="1441"/>
                      <a:pt x="539" y="1450"/>
                      <a:pt x="541" y="1455"/>
                    </a:cubicBezTo>
                    <a:close/>
                    <a:moveTo>
                      <a:pt x="466" y="1437"/>
                    </a:moveTo>
                    <a:cubicBezTo>
                      <a:pt x="466" y="1437"/>
                      <a:pt x="466" y="1437"/>
                      <a:pt x="466" y="1438"/>
                    </a:cubicBezTo>
                    <a:cubicBezTo>
                      <a:pt x="476" y="1446"/>
                      <a:pt x="485" y="1455"/>
                      <a:pt x="495" y="1463"/>
                    </a:cubicBezTo>
                    <a:cubicBezTo>
                      <a:pt x="514" y="1467"/>
                      <a:pt x="531" y="1473"/>
                      <a:pt x="552" y="1474"/>
                    </a:cubicBezTo>
                    <a:moveTo>
                      <a:pt x="552" y="1474"/>
                    </a:moveTo>
                    <a:cubicBezTo>
                      <a:pt x="552" y="1475"/>
                      <a:pt x="553" y="1474"/>
                      <a:pt x="552" y="1474"/>
                    </a:cubicBezTo>
                    <a:moveTo>
                      <a:pt x="552" y="1474"/>
                    </a:moveTo>
                    <a:cubicBezTo>
                      <a:pt x="547" y="1468"/>
                      <a:pt x="542" y="1463"/>
                      <a:pt x="538" y="1456"/>
                    </a:cubicBezTo>
                    <a:cubicBezTo>
                      <a:pt x="512" y="1451"/>
                      <a:pt x="490" y="1443"/>
                      <a:pt x="466" y="1437"/>
                    </a:cubicBezTo>
                    <a:moveTo>
                      <a:pt x="466" y="1437"/>
                    </a:moveTo>
                    <a:cubicBezTo>
                      <a:pt x="466" y="1435"/>
                      <a:pt x="465" y="1437"/>
                      <a:pt x="466" y="1437"/>
                    </a:cubicBezTo>
                    <a:moveTo>
                      <a:pt x="888" y="1463"/>
                    </a:moveTo>
                    <a:cubicBezTo>
                      <a:pt x="888" y="1467"/>
                      <a:pt x="885" y="1469"/>
                      <a:pt x="884" y="1472"/>
                    </a:cubicBezTo>
                    <a:cubicBezTo>
                      <a:pt x="919" y="1472"/>
                      <a:pt x="949" y="1466"/>
                      <a:pt x="980" y="1462"/>
                    </a:cubicBezTo>
                    <a:cubicBezTo>
                      <a:pt x="982" y="1456"/>
                      <a:pt x="988" y="1448"/>
                      <a:pt x="986" y="1441"/>
                    </a:cubicBezTo>
                    <a:cubicBezTo>
                      <a:pt x="956" y="1451"/>
                      <a:pt x="922" y="1458"/>
                      <a:pt x="888" y="1463"/>
                    </a:cubicBezTo>
                    <a:close/>
                    <a:moveTo>
                      <a:pt x="1098" y="1445"/>
                    </a:moveTo>
                    <a:cubicBezTo>
                      <a:pt x="1098" y="1445"/>
                      <a:pt x="1099" y="1446"/>
                      <a:pt x="1098" y="1445"/>
                    </a:cubicBezTo>
                    <a:close/>
                    <a:moveTo>
                      <a:pt x="423" y="1450"/>
                    </a:moveTo>
                    <a:cubicBezTo>
                      <a:pt x="423" y="1450"/>
                      <a:pt x="424" y="1451"/>
                      <a:pt x="423" y="1450"/>
                    </a:cubicBezTo>
                    <a:close/>
                    <a:moveTo>
                      <a:pt x="600" y="1464"/>
                    </a:moveTo>
                    <a:cubicBezTo>
                      <a:pt x="639" y="1469"/>
                      <a:pt x="688" y="1474"/>
                      <a:pt x="730" y="1469"/>
                    </a:cubicBezTo>
                    <a:cubicBezTo>
                      <a:pt x="679" y="1467"/>
                      <a:pt x="633" y="1459"/>
                      <a:pt x="590" y="1449"/>
                    </a:cubicBezTo>
                    <a:cubicBezTo>
                      <a:pt x="593" y="1455"/>
                      <a:pt x="595" y="1461"/>
                      <a:pt x="600" y="1464"/>
                    </a:cubicBezTo>
                    <a:close/>
                    <a:moveTo>
                      <a:pt x="888" y="1449"/>
                    </a:moveTo>
                    <a:cubicBezTo>
                      <a:pt x="859" y="1457"/>
                      <a:pt x="828" y="1462"/>
                      <a:pt x="797" y="1467"/>
                    </a:cubicBezTo>
                    <a:cubicBezTo>
                      <a:pt x="795" y="1467"/>
                      <a:pt x="793" y="1467"/>
                      <a:pt x="792" y="1467"/>
                    </a:cubicBezTo>
                    <a:cubicBezTo>
                      <a:pt x="790" y="1468"/>
                      <a:pt x="792" y="1469"/>
                      <a:pt x="794" y="1468"/>
                    </a:cubicBezTo>
                    <a:cubicBezTo>
                      <a:pt x="826" y="1467"/>
                      <a:pt x="856" y="1465"/>
                      <a:pt x="885" y="1461"/>
                    </a:cubicBezTo>
                    <a:cubicBezTo>
                      <a:pt x="887" y="1457"/>
                      <a:pt x="888" y="1453"/>
                      <a:pt x="890" y="1449"/>
                    </a:cubicBezTo>
                    <a:cubicBezTo>
                      <a:pt x="889" y="1449"/>
                      <a:pt x="888" y="1449"/>
                      <a:pt x="888" y="1449"/>
                    </a:cubicBezTo>
                    <a:close/>
                    <a:moveTo>
                      <a:pt x="425" y="1451"/>
                    </a:moveTo>
                    <a:cubicBezTo>
                      <a:pt x="425" y="1451"/>
                      <a:pt x="426" y="1452"/>
                      <a:pt x="425" y="1451"/>
                    </a:cubicBezTo>
                    <a:close/>
                    <a:moveTo>
                      <a:pt x="427" y="1452"/>
                    </a:moveTo>
                    <a:cubicBezTo>
                      <a:pt x="427" y="1452"/>
                      <a:pt x="428" y="1453"/>
                      <a:pt x="427" y="1452"/>
                    </a:cubicBezTo>
                    <a:close/>
                    <a:moveTo>
                      <a:pt x="429" y="1453"/>
                    </a:moveTo>
                    <a:cubicBezTo>
                      <a:pt x="428" y="1453"/>
                      <a:pt x="430" y="1454"/>
                      <a:pt x="429" y="1453"/>
                    </a:cubicBezTo>
                    <a:close/>
                    <a:moveTo>
                      <a:pt x="749" y="1462"/>
                    </a:moveTo>
                    <a:cubicBezTo>
                      <a:pt x="749" y="1462"/>
                      <a:pt x="750" y="1462"/>
                      <a:pt x="750" y="1463"/>
                    </a:cubicBezTo>
                    <a:moveTo>
                      <a:pt x="750" y="1463"/>
                    </a:moveTo>
                    <a:cubicBezTo>
                      <a:pt x="751" y="1464"/>
                      <a:pt x="752" y="1462"/>
                      <a:pt x="750" y="1463"/>
                    </a:cubicBezTo>
                    <a:moveTo>
                      <a:pt x="750" y="1463"/>
                    </a:moveTo>
                    <a:cubicBezTo>
                      <a:pt x="750" y="1462"/>
                      <a:pt x="749" y="1462"/>
                      <a:pt x="749" y="1462"/>
                    </a:cubicBezTo>
                    <a:moveTo>
                      <a:pt x="749" y="1462"/>
                    </a:moveTo>
                    <a:cubicBezTo>
                      <a:pt x="746" y="1458"/>
                      <a:pt x="742" y="1456"/>
                      <a:pt x="739" y="1453"/>
                    </a:cubicBezTo>
                    <a:cubicBezTo>
                      <a:pt x="738" y="1460"/>
                      <a:pt x="744" y="1460"/>
                      <a:pt x="749" y="1462"/>
                    </a:cubicBezTo>
                    <a:moveTo>
                      <a:pt x="559" y="1476"/>
                    </a:moveTo>
                    <a:cubicBezTo>
                      <a:pt x="572" y="1480"/>
                      <a:pt x="590" y="1477"/>
                      <a:pt x="605" y="1480"/>
                    </a:cubicBezTo>
                    <a:cubicBezTo>
                      <a:pt x="605" y="1476"/>
                      <a:pt x="598" y="1472"/>
                      <a:pt x="597" y="1466"/>
                    </a:cubicBezTo>
                    <a:cubicBezTo>
                      <a:pt x="577" y="1465"/>
                      <a:pt x="561" y="1460"/>
                      <a:pt x="543" y="1458"/>
                    </a:cubicBezTo>
                    <a:cubicBezTo>
                      <a:pt x="547" y="1464"/>
                      <a:pt x="551" y="1473"/>
                      <a:pt x="559" y="1476"/>
                    </a:cubicBezTo>
                    <a:close/>
                    <a:moveTo>
                      <a:pt x="981" y="1463"/>
                    </a:moveTo>
                    <a:cubicBezTo>
                      <a:pt x="976" y="1471"/>
                      <a:pt x="970" y="1476"/>
                      <a:pt x="964" y="1481"/>
                    </a:cubicBezTo>
                    <a:cubicBezTo>
                      <a:pt x="972" y="1480"/>
                      <a:pt x="978" y="1479"/>
                      <a:pt x="986" y="1478"/>
                    </a:cubicBezTo>
                    <a:cubicBezTo>
                      <a:pt x="993" y="1472"/>
                      <a:pt x="1000" y="1466"/>
                      <a:pt x="1007" y="1460"/>
                    </a:cubicBezTo>
                    <a:cubicBezTo>
                      <a:pt x="1007" y="1458"/>
                      <a:pt x="1008" y="1458"/>
                      <a:pt x="1006" y="1458"/>
                    </a:cubicBezTo>
                    <a:cubicBezTo>
                      <a:pt x="998" y="1460"/>
                      <a:pt x="989" y="1461"/>
                      <a:pt x="981" y="1463"/>
                    </a:cubicBezTo>
                    <a:close/>
                    <a:moveTo>
                      <a:pt x="1069" y="1460"/>
                    </a:moveTo>
                    <a:cubicBezTo>
                      <a:pt x="1069" y="1459"/>
                      <a:pt x="1070" y="1460"/>
                      <a:pt x="1069" y="1460"/>
                    </a:cubicBezTo>
                    <a:close/>
                    <a:moveTo>
                      <a:pt x="1066" y="1461"/>
                    </a:moveTo>
                    <a:cubicBezTo>
                      <a:pt x="1041" y="1468"/>
                      <a:pt x="1016" y="1476"/>
                      <a:pt x="987" y="1480"/>
                    </a:cubicBezTo>
                    <a:cubicBezTo>
                      <a:pt x="984" y="1484"/>
                      <a:pt x="979" y="1485"/>
                      <a:pt x="976" y="1488"/>
                    </a:cubicBezTo>
                    <a:cubicBezTo>
                      <a:pt x="1008" y="1481"/>
                      <a:pt x="1042" y="1475"/>
                      <a:pt x="1066" y="1461"/>
                    </a:cubicBezTo>
                    <a:moveTo>
                      <a:pt x="1066" y="1461"/>
                    </a:moveTo>
                    <a:cubicBezTo>
                      <a:pt x="1070" y="1462"/>
                      <a:pt x="1067" y="1458"/>
                      <a:pt x="1066" y="1461"/>
                    </a:cubicBezTo>
                    <a:moveTo>
                      <a:pt x="742" y="1463"/>
                    </a:moveTo>
                    <a:cubicBezTo>
                      <a:pt x="742" y="1465"/>
                      <a:pt x="746" y="1462"/>
                      <a:pt x="742" y="1463"/>
                    </a:cubicBezTo>
                    <a:moveTo>
                      <a:pt x="742" y="1463"/>
                    </a:moveTo>
                    <a:cubicBezTo>
                      <a:pt x="741" y="1462"/>
                      <a:pt x="740" y="1461"/>
                      <a:pt x="739" y="1461"/>
                    </a:cubicBezTo>
                    <a:cubicBezTo>
                      <a:pt x="739" y="1463"/>
                      <a:pt x="740" y="1462"/>
                      <a:pt x="742" y="1463"/>
                    </a:cubicBezTo>
                    <a:moveTo>
                      <a:pt x="1072" y="1462"/>
                    </a:moveTo>
                    <a:cubicBezTo>
                      <a:pt x="1072" y="1461"/>
                      <a:pt x="1073" y="1462"/>
                      <a:pt x="1072" y="1462"/>
                    </a:cubicBezTo>
                    <a:close/>
                    <a:moveTo>
                      <a:pt x="774" y="1463"/>
                    </a:moveTo>
                    <a:cubicBezTo>
                      <a:pt x="774" y="1463"/>
                      <a:pt x="775" y="1464"/>
                      <a:pt x="774" y="1463"/>
                    </a:cubicBezTo>
                    <a:close/>
                    <a:moveTo>
                      <a:pt x="746" y="1464"/>
                    </a:moveTo>
                    <a:cubicBezTo>
                      <a:pt x="745" y="1464"/>
                      <a:pt x="746" y="1465"/>
                      <a:pt x="746" y="1464"/>
                    </a:cubicBezTo>
                    <a:close/>
                    <a:moveTo>
                      <a:pt x="780" y="1464"/>
                    </a:moveTo>
                    <a:cubicBezTo>
                      <a:pt x="780" y="1464"/>
                      <a:pt x="781" y="1465"/>
                      <a:pt x="780" y="1464"/>
                    </a:cubicBezTo>
                    <a:close/>
                    <a:moveTo>
                      <a:pt x="796" y="1472"/>
                    </a:moveTo>
                    <a:cubicBezTo>
                      <a:pt x="823" y="1473"/>
                      <a:pt x="851" y="1473"/>
                      <a:pt x="879" y="1473"/>
                    </a:cubicBezTo>
                    <a:cubicBezTo>
                      <a:pt x="879" y="1470"/>
                      <a:pt x="886" y="1464"/>
                      <a:pt x="882" y="1463"/>
                    </a:cubicBezTo>
                    <a:cubicBezTo>
                      <a:pt x="855" y="1469"/>
                      <a:pt x="823" y="1468"/>
                      <a:pt x="796" y="1472"/>
                    </a:cubicBezTo>
                    <a:close/>
                    <a:moveTo>
                      <a:pt x="882" y="1475"/>
                    </a:moveTo>
                    <a:cubicBezTo>
                      <a:pt x="882" y="1479"/>
                      <a:pt x="879" y="1481"/>
                      <a:pt x="878" y="1485"/>
                    </a:cubicBezTo>
                    <a:cubicBezTo>
                      <a:pt x="901" y="1482"/>
                      <a:pt x="937" y="1489"/>
                      <a:pt x="958" y="1482"/>
                    </a:cubicBezTo>
                    <a:cubicBezTo>
                      <a:pt x="961" y="1480"/>
                      <a:pt x="965" y="1476"/>
                      <a:pt x="968" y="1473"/>
                    </a:cubicBezTo>
                    <a:cubicBezTo>
                      <a:pt x="971" y="1470"/>
                      <a:pt x="977" y="1467"/>
                      <a:pt x="975" y="1464"/>
                    </a:cubicBezTo>
                    <a:cubicBezTo>
                      <a:pt x="946" y="1470"/>
                      <a:pt x="916" y="1474"/>
                      <a:pt x="882" y="1475"/>
                    </a:cubicBezTo>
                    <a:close/>
                    <a:moveTo>
                      <a:pt x="784" y="1466"/>
                    </a:moveTo>
                    <a:cubicBezTo>
                      <a:pt x="784" y="1466"/>
                      <a:pt x="785" y="1467"/>
                      <a:pt x="784" y="1466"/>
                    </a:cubicBezTo>
                    <a:close/>
                    <a:moveTo>
                      <a:pt x="503" y="1468"/>
                    </a:moveTo>
                    <a:cubicBezTo>
                      <a:pt x="520" y="1486"/>
                      <a:pt x="554" y="1491"/>
                      <a:pt x="582" y="1493"/>
                    </a:cubicBezTo>
                    <a:cubicBezTo>
                      <a:pt x="572" y="1490"/>
                      <a:pt x="565" y="1483"/>
                      <a:pt x="556" y="1478"/>
                    </a:cubicBezTo>
                    <a:cubicBezTo>
                      <a:pt x="537" y="1475"/>
                      <a:pt x="521" y="1471"/>
                      <a:pt x="503" y="1468"/>
                    </a:cubicBezTo>
                    <a:moveTo>
                      <a:pt x="503" y="1468"/>
                    </a:moveTo>
                    <a:cubicBezTo>
                      <a:pt x="502" y="1467"/>
                      <a:pt x="502" y="1468"/>
                      <a:pt x="503" y="1468"/>
                    </a:cubicBezTo>
                    <a:moveTo>
                      <a:pt x="611" y="1480"/>
                    </a:moveTo>
                    <a:cubicBezTo>
                      <a:pt x="653" y="1483"/>
                      <a:pt x="697" y="1480"/>
                      <a:pt x="732" y="1473"/>
                    </a:cubicBezTo>
                    <a:cubicBezTo>
                      <a:pt x="687" y="1475"/>
                      <a:pt x="642" y="1473"/>
                      <a:pt x="601" y="1467"/>
                    </a:cubicBezTo>
                    <a:cubicBezTo>
                      <a:pt x="604" y="1472"/>
                      <a:pt x="605" y="1478"/>
                      <a:pt x="611" y="1480"/>
                    </a:cubicBezTo>
                    <a:close/>
                    <a:moveTo>
                      <a:pt x="738" y="1472"/>
                    </a:moveTo>
                    <a:cubicBezTo>
                      <a:pt x="737" y="1472"/>
                      <a:pt x="736" y="1472"/>
                      <a:pt x="736" y="1473"/>
                    </a:cubicBezTo>
                    <a:cubicBezTo>
                      <a:pt x="737" y="1473"/>
                      <a:pt x="738" y="1473"/>
                      <a:pt x="738" y="1472"/>
                    </a:cubicBezTo>
                    <a:close/>
                    <a:moveTo>
                      <a:pt x="789" y="1473"/>
                    </a:moveTo>
                    <a:cubicBezTo>
                      <a:pt x="788" y="1473"/>
                      <a:pt x="786" y="1473"/>
                      <a:pt x="786" y="1474"/>
                    </a:cubicBezTo>
                    <a:cubicBezTo>
                      <a:pt x="787" y="1474"/>
                      <a:pt x="789" y="1474"/>
                      <a:pt x="789" y="1473"/>
                    </a:cubicBezTo>
                    <a:close/>
                    <a:moveTo>
                      <a:pt x="742" y="1475"/>
                    </a:moveTo>
                    <a:cubicBezTo>
                      <a:pt x="741" y="1475"/>
                      <a:pt x="742" y="1476"/>
                      <a:pt x="742" y="1475"/>
                    </a:cubicBezTo>
                    <a:close/>
                    <a:moveTo>
                      <a:pt x="745" y="1509"/>
                    </a:moveTo>
                    <a:cubicBezTo>
                      <a:pt x="748" y="1509"/>
                      <a:pt x="752" y="1509"/>
                      <a:pt x="755" y="1509"/>
                    </a:cubicBezTo>
                    <a:cubicBezTo>
                      <a:pt x="757" y="1498"/>
                      <a:pt x="761" y="1484"/>
                      <a:pt x="759" y="1474"/>
                    </a:cubicBezTo>
                    <a:cubicBezTo>
                      <a:pt x="754" y="1485"/>
                      <a:pt x="737" y="1490"/>
                      <a:pt x="745" y="1509"/>
                    </a:cubicBezTo>
                    <a:close/>
                    <a:moveTo>
                      <a:pt x="877" y="1476"/>
                    </a:moveTo>
                    <a:cubicBezTo>
                      <a:pt x="879" y="1475"/>
                      <a:pt x="877" y="1475"/>
                      <a:pt x="877" y="1476"/>
                    </a:cubicBezTo>
                    <a:moveTo>
                      <a:pt x="877" y="1476"/>
                    </a:moveTo>
                    <a:cubicBezTo>
                      <a:pt x="848" y="1477"/>
                      <a:pt x="817" y="1475"/>
                      <a:pt x="791" y="1475"/>
                    </a:cubicBezTo>
                    <a:cubicBezTo>
                      <a:pt x="817" y="1479"/>
                      <a:pt x="844" y="1483"/>
                      <a:pt x="873" y="1485"/>
                    </a:cubicBezTo>
                    <a:cubicBezTo>
                      <a:pt x="875" y="1482"/>
                      <a:pt x="877" y="1480"/>
                      <a:pt x="877" y="1476"/>
                    </a:cubicBezTo>
                    <a:moveTo>
                      <a:pt x="655" y="1493"/>
                    </a:moveTo>
                    <a:cubicBezTo>
                      <a:pt x="685" y="1490"/>
                      <a:pt x="715" y="1482"/>
                      <a:pt x="737" y="1477"/>
                    </a:cubicBezTo>
                    <a:cubicBezTo>
                      <a:pt x="737" y="1476"/>
                      <a:pt x="739" y="1475"/>
                      <a:pt x="736" y="1475"/>
                    </a:cubicBezTo>
                    <a:cubicBezTo>
                      <a:pt x="700" y="1482"/>
                      <a:pt x="655" y="1485"/>
                      <a:pt x="612" y="1483"/>
                    </a:cubicBezTo>
                    <a:cubicBezTo>
                      <a:pt x="615" y="1498"/>
                      <a:pt x="635" y="1496"/>
                      <a:pt x="655" y="1493"/>
                    </a:cubicBezTo>
                    <a:close/>
                    <a:moveTo>
                      <a:pt x="749" y="1476"/>
                    </a:moveTo>
                    <a:cubicBezTo>
                      <a:pt x="748" y="1476"/>
                      <a:pt x="749" y="1477"/>
                      <a:pt x="749" y="1476"/>
                    </a:cubicBezTo>
                    <a:close/>
                    <a:moveTo>
                      <a:pt x="754" y="1476"/>
                    </a:moveTo>
                    <a:cubicBezTo>
                      <a:pt x="749" y="1477"/>
                      <a:pt x="746" y="1481"/>
                      <a:pt x="741" y="1483"/>
                    </a:cubicBezTo>
                    <a:cubicBezTo>
                      <a:pt x="742" y="1484"/>
                      <a:pt x="741" y="1488"/>
                      <a:pt x="743" y="1489"/>
                    </a:cubicBezTo>
                    <a:cubicBezTo>
                      <a:pt x="746" y="1485"/>
                      <a:pt x="752" y="1481"/>
                      <a:pt x="754" y="1476"/>
                    </a:cubicBezTo>
                    <a:moveTo>
                      <a:pt x="754" y="1476"/>
                    </a:moveTo>
                    <a:cubicBezTo>
                      <a:pt x="756" y="1475"/>
                      <a:pt x="754" y="1475"/>
                      <a:pt x="754" y="1476"/>
                    </a:cubicBezTo>
                    <a:moveTo>
                      <a:pt x="773" y="1476"/>
                    </a:moveTo>
                    <a:cubicBezTo>
                      <a:pt x="772" y="1476"/>
                      <a:pt x="773" y="1477"/>
                      <a:pt x="773" y="1476"/>
                    </a:cubicBezTo>
                    <a:close/>
                    <a:moveTo>
                      <a:pt x="782" y="1475"/>
                    </a:moveTo>
                    <a:cubicBezTo>
                      <a:pt x="781" y="1475"/>
                      <a:pt x="780" y="1475"/>
                      <a:pt x="780" y="1476"/>
                    </a:cubicBezTo>
                    <a:cubicBezTo>
                      <a:pt x="781" y="1476"/>
                      <a:pt x="782" y="1476"/>
                      <a:pt x="782" y="1475"/>
                    </a:cubicBezTo>
                    <a:close/>
                    <a:moveTo>
                      <a:pt x="746" y="1477"/>
                    </a:moveTo>
                    <a:cubicBezTo>
                      <a:pt x="743" y="1476"/>
                      <a:pt x="739" y="1478"/>
                      <a:pt x="742" y="1480"/>
                    </a:cubicBezTo>
                    <a:cubicBezTo>
                      <a:pt x="742" y="1478"/>
                      <a:pt x="745" y="1479"/>
                      <a:pt x="746" y="1477"/>
                    </a:cubicBezTo>
                    <a:moveTo>
                      <a:pt x="746" y="1477"/>
                    </a:moveTo>
                    <a:cubicBezTo>
                      <a:pt x="750" y="1478"/>
                      <a:pt x="746" y="1474"/>
                      <a:pt x="746" y="1477"/>
                    </a:cubicBezTo>
                    <a:moveTo>
                      <a:pt x="758" y="1509"/>
                    </a:moveTo>
                    <a:cubicBezTo>
                      <a:pt x="768" y="1509"/>
                      <a:pt x="777" y="1509"/>
                      <a:pt x="787" y="1509"/>
                    </a:cubicBezTo>
                    <a:cubicBezTo>
                      <a:pt x="781" y="1500"/>
                      <a:pt x="770" y="1487"/>
                      <a:pt x="763" y="1476"/>
                    </a:cubicBezTo>
                    <a:cubicBezTo>
                      <a:pt x="761" y="1486"/>
                      <a:pt x="760" y="1498"/>
                      <a:pt x="758" y="1509"/>
                    </a:cubicBezTo>
                    <a:close/>
                    <a:moveTo>
                      <a:pt x="796" y="1509"/>
                    </a:moveTo>
                    <a:cubicBezTo>
                      <a:pt x="804" y="1511"/>
                      <a:pt x="813" y="1505"/>
                      <a:pt x="826" y="1508"/>
                    </a:cubicBezTo>
                    <a:cubicBezTo>
                      <a:pt x="807" y="1497"/>
                      <a:pt x="786" y="1489"/>
                      <a:pt x="769" y="1476"/>
                    </a:cubicBezTo>
                    <a:cubicBezTo>
                      <a:pt x="777" y="1485"/>
                      <a:pt x="782" y="1505"/>
                      <a:pt x="796" y="1509"/>
                    </a:cubicBezTo>
                    <a:close/>
                    <a:moveTo>
                      <a:pt x="837" y="1507"/>
                    </a:moveTo>
                    <a:cubicBezTo>
                      <a:pt x="844" y="1507"/>
                      <a:pt x="860" y="1507"/>
                      <a:pt x="864" y="1499"/>
                    </a:cubicBezTo>
                    <a:cubicBezTo>
                      <a:pt x="831" y="1496"/>
                      <a:pt x="800" y="1484"/>
                      <a:pt x="774" y="1477"/>
                    </a:cubicBezTo>
                    <a:cubicBezTo>
                      <a:pt x="791" y="1485"/>
                      <a:pt x="814" y="1505"/>
                      <a:pt x="837" y="1507"/>
                    </a:cubicBezTo>
                    <a:close/>
                    <a:moveTo>
                      <a:pt x="865" y="1497"/>
                    </a:moveTo>
                    <a:cubicBezTo>
                      <a:pt x="867" y="1494"/>
                      <a:pt x="870" y="1491"/>
                      <a:pt x="871" y="1487"/>
                    </a:cubicBezTo>
                    <a:cubicBezTo>
                      <a:pt x="839" y="1487"/>
                      <a:pt x="810" y="1479"/>
                      <a:pt x="783" y="1477"/>
                    </a:cubicBezTo>
                    <a:cubicBezTo>
                      <a:pt x="809" y="1485"/>
                      <a:pt x="835" y="1493"/>
                      <a:pt x="865" y="1497"/>
                    </a:cubicBezTo>
                    <a:close/>
                    <a:moveTo>
                      <a:pt x="617" y="1495"/>
                    </a:moveTo>
                    <a:cubicBezTo>
                      <a:pt x="616" y="1492"/>
                      <a:pt x="610" y="1486"/>
                      <a:pt x="606" y="1483"/>
                    </a:cubicBezTo>
                    <a:cubicBezTo>
                      <a:pt x="592" y="1483"/>
                      <a:pt x="576" y="1479"/>
                      <a:pt x="563" y="1480"/>
                    </a:cubicBezTo>
                    <a:cubicBezTo>
                      <a:pt x="577" y="1489"/>
                      <a:pt x="591" y="1498"/>
                      <a:pt x="617" y="1495"/>
                    </a:cubicBezTo>
                    <a:close/>
                    <a:moveTo>
                      <a:pt x="626" y="1499"/>
                    </a:moveTo>
                    <a:cubicBezTo>
                      <a:pt x="667" y="1513"/>
                      <a:pt x="710" y="1498"/>
                      <a:pt x="738" y="1480"/>
                    </a:cubicBezTo>
                    <a:cubicBezTo>
                      <a:pt x="706" y="1488"/>
                      <a:pt x="665" y="1495"/>
                      <a:pt x="626" y="1499"/>
                    </a:cubicBezTo>
                    <a:close/>
                    <a:moveTo>
                      <a:pt x="1025" y="1480"/>
                    </a:moveTo>
                    <a:cubicBezTo>
                      <a:pt x="1025" y="1479"/>
                      <a:pt x="1026" y="1480"/>
                      <a:pt x="1025" y="1480"/>
                    </a:cubicBezTo>
                    <a:close/>
                    <a:moveTo>
                      <a:pt x="1022" y="1481"/>
                    </a:moveTo>
                    <a:cubicBezTo>
                      <a:pt x="1023" y="1481"/>
                      <a:pt x="1022" y="1480"/>
                      <a:pt x="1022" y="1481"/>
                    </a:cubicBezTo>
                    <a:close/>
                    <a:moveTo>
                      <a:pt x="516" y="1482"/>
                    </a:moveTo>
                    <a:cubicBezTo>
                      <a:pt x="516" y="1481"/>
                      <a:pt x="517" y="1482"/>
                      <a:pt x="516" y="1482"/>
                    </a:cubicBezTo>
                    <a:close/>
                    <a:moveTo>
                      <a:pt x="1018" y="1482"/>
                    </a:moveTo>
                    <a:cubicBezTo>
                      <a:pt x="1001" y="1486"/>
                      <a:pt x="981" y="1488"/>
                      <a:pt x="966" y="1495"/>
                    </a:cubicBezTo>
                    <a:moveTo>
                      <a:pt x="966" y="1495"/>
                    </a:moveTo>
                    <a:cubicBezTo>
                      <a:pt x="962" y="1494"/>
                      <a:pt x="965" y="1498"/>
                      <a:pt x="966" y="1495"/>
                    </a:cubicBezTo>
                    <a:moveTo>
                      <a:pt x="966" y="1495"/>
                    </a:moveTo>
                    <a:cubicBezTo>
                      <a:pt x="985" y="1493"/>
                      <a:pt x="1002" y="1488"/>
                      <a:pt x="1018" y="1482"/>
                    </a:cubicBezTo>
                    <a:moveTo>
                      <a:pt x="1018" y="1482"/>
                    </a:moveTo>
                    <a:cubicBezTo>
                      <a:pt x="1022" y="1483"/>
                      <a:pt x="1019" y="1479"/>
                      <a:pt x="1018" y="1482"/>
                    </a:cubicBezTo>
                    <a:moveTo>
                      <a:pt x="940" y="1495"/>
                    </a:moveTo>
                    <a:cubicBezTo>
                      <a:pt x="955" y="1492"/>
                      <a:pt x="972" y="1491"/>
                      <a:pt x="980" y="1482"/>
                    </a:cubicBezTo>
                    <a:cubicBezTo>
                      <a:pt x="962" y="1482"/>
                      <a:pt x="950" y="1488"/>
                      <a:pt x="940" y="1495"/>
                    </a:cubicBezTo>
                    <a:close/>
                    <a:moveTo>
                      <a:pt x="681" y="1507"/>
                    </a:moveTo>
                    <a:cubicBezTo>
                      <a:pt x="694" y="1507"/>
                      <a:pt x="707" y="1507"/>
                      <a:pt x="719" y="1509"/>
                    </a:cubicBezTo>
                    <a:cubicBezTo>
                      <a:pt x="726" y="1503"/>
                      <a:pt x="734" y="1498"/>
                      <a:pt x="740" y="1491"/>
                    </a:cubicBezTo>
                    <a:cubicBezTo>
                      <a:pt x="737" y="1491"/>
                      <a:pt x="741" y="1484"/>
                      <a:pt x="738" y="1484"/>
                    </a:cubicBezTo>
                    <a:cubicBezTo>
                      <a:pt x="722" y="1494"/>
                      <a:pt x="700" y="1499"/>
                      <a:pt x="681" y="1507"/>
                    </a:cubicBezTo>
                    <a:close/>
                    <a:moveTo>
                      <a:pt x="876" y="1487"/>
                    </a:moveTo>
                    <a:cubicBezTo>
                      <a:pt x="874" y="1491"/>
                      <a:pt x="871" y="1493"/>
                      <a:pt x="870" y="1498"/>
                    </a:cubicBezTo>
                    <a:cubicBezTo>
                      <a:pt x="900" y="1502"/>
                      <a:pt x="934" y="1501"/>
                      <a:pt x="950" y="1486"/>
                    </a:cubicBezTo>
                    <a:cubicBezTo>
                      <a:pt x="927" y="1487"/>
                      <a:pt x="902" y="1488"/>
                      <a:pt x="876" y="1487"/>
                    </a:cubicBezTo>
                    <a:close/>
                    <a:moveTo>
                      <a:pt x="542" y="1492"/>
                    </a:moveTo>
                    <a:cubicBezTo>
                      <a:pt x="542" y="1492"/>
                      <a:pt x="543" y="1493"/>
                      <a:pt x="542" y="1492"/>
                    </a:cubicBezTo>
                    <a:close/>
                    <a:moveTo>
                      <a:pt x="570" y="1495"/>
                    </a:moveTo>
                    <a:cubicBezTo>
                      <a:pt x="565" y="1495"/>
                      <a:pt x="538" y="1491"/>
                      <a:pt x="548" y="1494"/>
                    </a:cubicBezTo>
                    <a:cubicBezTo>
                      <a:pt x="571" y="1502"/>
                      <a:pt x="600" y="1512"/>
                      <a:pt x="625" y="1510"/>
                    </a:cubicBezTo>
                    <a:cubicBezTo>
                      <a:pt x="606" y="1504"/>
                      <a:pt x="592" y="1498"/>
                      <a:pt x="570" y="1495"/>
                    </a:cubicBezTo>
                    <a:close/>
                    <a:moveTo>
                      <a:pt x="958" y="1495"/>
                    </a:moveTo>
                    <a:cubicBezTo>
                      <a:pt x="949" y="1496"/>
                      <a:pt x="942" y="1497"/>
                      <a:pt x="935" y="1499"/>
                    </a:cubicBezTo>
                    <a:cubicBezTo>
                      <a:pt x="943" y="1498"/>
                      <a:pt x="953" y="1499"/>
                      <a:pt x="958" y="1495"/>
                    </a:cubicBezTo>
                    <a:moveTo>
                      <a:pt x="958" y="1495"/>
                    </a:moveTo>
                    <a:cubicBezTo>
                      <a:pt x="962" y="1496"/>
                      <a:pt x="958" y="1492"/>
                      <a:pt x="958" y="1495"/>
                    </a:cubicBezTo>
                    <a:moveTo>
                      <a:pt x="724" y="1509"/>
                    </a:moveTo>
                    <a:cubicBezTo>
                      <a:pt x="730" y="1509"/>
                      <a:pt x="736" y="1509"/>
                      <a:pt x="742" y="1509"/>
                    </a:cubicBezTo>
                    <a:cubicBezTo>
                      <a:pt x="740" y="1505"/>
                      <a:pt x="741" y="1498"/>
                      <a:pt x="739" y="1495"/>
                    </a:cubicBezTo>
                    <a:cubicBezTo>
                      <a:pt x="735" y="1501"/>
                      <a:pt x="728" y="1504"/>
                      <a:pt x="724" y="1509"/>
                    </a:cubicBezTo>
                    <a:close/>
                    <a:moveTo>
                      <a:pt x="613" y="1499"/>
                    </a:moveTo>
                    <a:cubicBezTo>
                      <a:pt x="615" y="1500"/>
                      <a:pt x="623" y="1501"/>
                      <a:pt x="624" y="1500"/>
                    </a:cubicBezTo>
                    <a:cubicBezTo>
                      <a:pt x="622" y="1496"/>
                      <a:pt x="599" y="1499"/>
                      <a:pt x="613" y="1499"/>
                    </a:cubicBezTo>
                    <a:close/>
                    <a:moveTo>
                      <a:pt x="929" y="1500"/>
                    </a:moveTo>
                    <a:cubicBezTo>
                      <a:pt x="929" y="1500"/>
                      <a:pt x="930" y="1501"/>
                      <a:pt x="929" y="1500"/>
                    </a:cubicBezTo>
                    <a:close/>
                    <a:moveTo>
                      <a:pt x="865" y="1505"/>
                    </a:moveTo>
                    <a:cubicBezTo>
                      <a:pt x="871" y="1503"/>
                      <a:pt x="880" y="1504"/>
                      <a:pt x="886" y="1502"/>
                    </a:cubicBezTo>
                    <a:cubicBezTo>
                      <a:pt x="879" y="1502"/>
                      <a:pt x="867" y="1497"/>
                      <a:pt x="865" y="1505"/>
                    </a:cubicBezTo>
                    <a:close/>
                    <a:moveTo>
                      <a:pt x="608" y="1501"/>
                    </a:moveTo>
                    <a:cubicBezTo>
                      <a:pt x="608" y="1501"/>
                      <a:pt x="607" y="1501"/>
                      <a:pt x="606" y="1502"/>
                    </a:cubicBezTo>
                    <a:cubicBezTo>
                      <a:pt x="607" y="1502"/>
                      <a:pt x="608" y="1502"/>
                      <a:pt x="608" y="1501"/>
                    </a:cubicBezTo>
                    <a:close/>
                    <a:moveTo>
                      <a:pt x="885" y="1514"/>
                    </a:moveTo>
                    <a:cubicBezTo>
                      <a:pt x="909" y="1514"/>
                      <a:pt x="929" y="1509"/>
                      <a:pt x="946" y="1501"/>
                    </a:cubicBezTo>
                    <a:cubicBezTo>
                      <a:pt x="921" y="1500"/>
                      <a:pt x="904" y="1509"/>
                      <a:pt x="885" y="1514"/>
                    </a:cubicBezTo>
                    <a:close/>
                    <a:moveTo>
                      <a:pt x="633" y="1509"/>
                    </a:moveTo>
                    <a:cubicBezTo>
                      <a:pt x="629" y="1504"/>
                      <a:pt x="618" y="1501"/>
                      <a:pt x="609" y="1503"/>
                    </a:cubicBezTo>
                    <a:cubicBezTo>
                      <a:pt x="618" y="1504"/>
                      <a:pt x="626" y="1509"/>
                      <a:pt x="633" y="1509"/>
                    </a:cubicBezTo>
                    <a:close/>
                    <a:moveTo>
                      <a:pt x="858" y="1512"/>
                    </a:moveTo>
                    <a:cubicBezTo>
                      <a:pt x="879" y="1516"/>
                      <a:pt x="896" y="1508"/>
                      <a:pt x="912" y="1503"/>
                    </a:cubicBezTo>
                    <a:cubicBezTo>
                      <a:pt x="893" y="1506"/>
                      <a:pt x="869" y="1502"/>
                      <a:pt x="858" y="1512"/>
                    </a:cubicBezTo>
                    <a:close/>
                    <a:moveTo>
                      <a:pt x="659" y="1507"/>
                    </a:moveTo>
                    <a:cubicBezTo>
                      <a:pt x="650" y="1508"/>
                      <a:pt x="641" y="1503"/>
                      <a:pt x="633" y="1506"/>
                    </a:cubicBezTo>
                    <a:cubicBezTo>
                      <a:pt x="638" y="1512"/>
                      <a:pt x="652" y="1509"/>
                      <a:pt x="659" y="1507"/>
                    </a:cubicBezTo>
                    <a:close/>
                    <a:moveTo>
                      <a:pt x="645" y="1512"/>
                    </a:moveTo>
                    <a:cubicBezTo>
                      <a:pt x="667" y="1518"/>
                      <a:pt x="698" y="1526"/>
                      <a:pt x="714" y="1511"/>
                    </a:cubicBezTo>
                    <a:cubicBezTo>
                      <a:pt x="688" y="1510"/>
                      <a:pt x="666" y="1506"/>
                      <a:pt x="645" y="1512"/>
                    </a:cubicBezTo>
                    <a:close/>
                    <a:moveTo>
                      <a:pt x="845" y="1510"/>
                    </a:moveTo>
                    <a:cubicBezTo>
                      <a:pt x="849" y="1510"/>
                      <a:pt x="855" y="1512"/>
                      <a:pt x="856" y="1508"/>
                    </a:cubicBezTo>
                    <a:cubicBezTo>
                      <a:pt x="852" y="1509"/>
                      <a:pt x="847" y="1508"/>
                      <a:pt x="845" y="1510"/>
                    </a:cubicBezTo>
                    <a:close/>
                    <a:moveTo>
                      <a:pt x="798" y="1512"/>
                    </a:moveTo>
                    <a:cubicBezTo>
                      <a:pt x="808" y="1524"/>
                      <a:pt x="839" y="1525"/>
                      <a:pt x="850" y="1513"/>
                    </a:cubicBezTo>
                    <a:cubicBezTo>
                      <a:pt x="837" y="1508"/>
                      <a:pt x="813" y="1509"/>
                      <a:pt x="798" y="1512"/>
                    </a:cubicBezTo>
                    <a:close/>
                    <a:moveTo>
                      <a:pt x="699" y="1522"/>
                    </a:moveTo>
                    <a:cubicBezTo>
                      <a:pt x="714" y="1522"/>
                      <a:pt x="731" y="1526"/>
                      <a:pt x="746" y="1524"/>
                    </a:cubicBezTo>
                    <a:cubicBezTo>
                      <a:pt x="743" y="1521"/>
                      <a:pt x="744" y="1515"/>
                      <a:pt x="742" y="1511"/>
                    </a:cubicBezTo>
                    <a:cubicBezTo>
                      <a:pt x="721" y="1509"/>
                      <a:pt x="710" y="1514"/>
                      <a:pt x="699" y="1522"/>
                    </a:cubicBezTo>
                    <a:close/>
                    <a:moveTo>
                      <a:pt x="750" y="1525"/>
                    </a:moveTo>
                    <a:cubicBezTo>
                      <a:pt x="753" y="1522"/>
                      <a:pt x="754" y="1517"/>
                      <a:pt x="754" y="1511"/>
                    </a:cubicBezTo>
                    <a:cubicBezTo>
                      <a:pt x="751" y="1511"/>
                      <a:pt x="748" y="1511"/>
                      <a:pt x="745" y="1511"/>
                    </a:cubicBezTo>
                    <a:cubicBezTo>
                      <a:pt x="747" y="1516"/>
                      <a:pt x="745" y="1524"/>
                      <a:pt x="750" y="1525"/>
                    </a:cubicBezTo>
                    <a:close/>
                    <a:moveTo>
                      <a:pt x="790" y="1511"/>
                    </a:moveTo>
                    <a:cubicBezTo>
                      <a:pt x="779" y="1511"/>
                      <a:pt x="768" y="1511"/>
                      <a:pt x="757" y="1511"/>
                    </a:cubicBezTo>
                    <a:cubicBezTo>
                      <a:pt x="757" y="1517"/>
                      <a:pt x="755" y="1520"/>
                      <a:pt x="754" y="1525"/>
                    </a:cubicBezTo>
                    <a:cubicBezTo>
                      <a:pt x="773" y="1525"/>
                      <a:pt x="792" y="1526"/>
                      <a:pt x="807" y="1522"/>
                    </a:cubicBezTo>
                    <a:cubicBezTo>
                      <a:pt x="800" y="1520"/>
                      <a:pt x="797" y="1514"/>
                      <a:pt x="790" y="1511"/>
                    </a:cubicBezTo>
                    <a:close/>
                    <a:moveTo>
                      <a:pt x="852" y="1517"/>
                    </a:moveTo>
                    <a:cubicBezTo>
                      <a:pt x="851" y="1518"/>
                      <a:pt x="852" y="1518"/>
                      <a:pt x="852" y="1517"/>
                    </a:cubicBezTo>
                    <a:moveTo>
                      <a:pt x="852" y="1517"/>
                    </a:moveTo>
                    <a:cubicBezTo>
                      <a:pt x="857" y="1517"/>
                      <a:pt x="861" y="1517"/>
                      <a:pt x="864" y="1515"/>
                    </a:cubicBezTo>
                    <a:cubicBezTo>
                      <a:pt x="859" y="1515"/>
                      <a:pt x="854" y="1513"/>
                      <a:pt x="852" y="1517"/>
                    </a:cubicBezTo>
                    <a:moveTo>
                      <a:pt x="655" y="1518"/>
                    </a:moveTo>
                    <a:cubicBezTo>
                      <a:pt x="655" y="1518"/>
                      <a:pt x="656" y="1519"/>
                      <a:pt x="655" y="1518"/>
                    </a:cubicBezTo>
                    <a:close/>
                    <a:moveTo>
                      <a:pt x="674" y="1522"/>
                    </a:moveTo>
                    <a:cubicBezTo>
                      <a:pt x="679" y="1522"/>
                      <a:pt x="678" y="1522"/>
                      <a:pt x="674" y="1521"/>
                    </a:cubicBezTo>
                    <a:cubicBezTo>
                      <a:pt x="672" y="1521"/>
                      <a:pt x="662" y="1518"/>
                      <a:pt x="658" y="1519"/>
                    </a:cubicBezTo>
                    <a:cubicBezTo>
                      <a:pt x="665" y="1520"/>
                      <a:pt x="671" y="1522"/>
                      <a:pt x="674" y="1522"/>
                    </a:cubicBezTo>
                    <a:close/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 dirty="0">
                  <a:latin typeface="+mj-lt"/>
                </a:endParaRPr>
              </a:p>
            </p:txBody>
          </p:sp>
          <p:sp>
            <p:nvSpPr>
              <p:cNvPr id="86" name="Freeform 23">
                <a:extLst>
                  <a:ext uri="{FF2B5EF4-FFF2-40B4-BE49-F238E27FC236}">
                    <a16:creationId xmlns:a16="http://schemas.microsoft.com/office/drawing/2014/main" id="{AD01ED94-B23F-4AA9-998D-CD673D725C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8751" y="4298647"/>
                <a:ext cx="1389382" cy="1624388"/>
              </a:xfrm>
              <a:custGeom>
                <a:avLst/>
                <a:gdLst/>
                <a:ahLst/>
                <a:cxnLst>
                  <a:cxn ang="0">
                    <a:pos x="660" y="16"/>
                  </a:cxn>
                  <a:cxn ang="0">
                    <a:pos x="641" y="31"/>
                  </a:cxn>
                  <a:cxn ang="0">
                    <a:pos x="713" y="81"/>
                  </a:cxn>
                  <a:cxn ang="0">
                    <a:pos x="232" y="140"/>
                  </a:cxn>
                  <a:cxn ang="0">
                    <a:pos x="656" y="172"/>
                  </a:cxn>
                  <a:cxn ang="0">
                    <a:pos x="898" y="234"/>
                  </a:cxn>
                  <a:cxn ang="0">
                    <a:pos x="531" y="555"/>
                  </a:cxn>
                  <a:cxn ang="0">
                    <a:pos x="545" y="646"/>
                  </a:cxn>
                  <a:cxn ang="0">
                    <a:pos x="584" y="663"/>
                  </a:cxn>
                  <a:cxn ang="0">
                    <a:pos x="621" y="655"/>
                  </a:cxn>
                  <a:cxn ang="0">
                    <a:pos x="508" y="704"/>
                  </a:cxn>
                  <a:cxn ang="0">
                    <a:pos x="806" y="715"/>
                  </a:cxn>
                  <a:cxn ang="0">
                    <a:pos x="838" y="763"/>
                  </a:cxn>
                  <a:cxn ang="0">
                    <a:pos x="819" y="816"/>
                  </a:cxn>
                  <a:cxn ang="0">
                    <a:pos x="240" y="1043"/>
                  </a:cxn>
                  <a:cxn ang="0">
                    <a:pos x="683" y="1616"/>
                  </a:cxn>
                  <a:cxn ang="0">
                    <a:pos x="808" y="37"/>
                  </a:cxn>
                  <a:cxn ang="0">
                    <a:pos x="901" y="56"/>
                  </a:cxn>
                  <a:cxn ang="0">
                    <a:pos x="1102" y="1038"/>
                  </a:cxn>
                  <a:cxn ang="0">
                    <a:pos x="984" y="927"/>
                  </a:cxn>
                  <a:cxn ang="0">
                    <a:pos x="756" y="856"/>
                  </a:cxn>
                  <a:cxn ang="0">
                    <a:pos x="414" y="877"/>
                  </a:cxn>
                  <a:cxn ang="0">
                    <a:pos x="329" y="695"/>
                  </a:cxn>
                  <a:cxn ang="0">
                    <a:pos x="210" y="568"/>
                  </a:cxn>
                  <a:cxn ang="0">
                    <a:pos x="371" y="497"/>
                  </a:cxn>
                  <a:cxn ang="0">
                    <a:pos x="513" y="520"/>
                  </a:cxn>
                  <a:cxn ang="0">
                    <a:pos x="637" y="363"/>
                  </a:cxn>
                  <a:cxn ang="0">
                    <a:pos x="785" y="272"/>
                  </a:cxn>
                  <a:cxn ang="0">
                    <a:pos x="870" y="162"/>
                  </a:cxn>
                  <a:cxn ang="0">
                    <a:pos x="738" y="88"/>
                  </a:cxn>
                  <a:cxn ang="0">
                    <a:pos x="575" y="129"/>
                  </a:cxn>
                  <a:cxn ang="0">
                    <a:pos x="693" y="43"/>
                  </a:cxn>
                  <a:cxn ang="0">
                    <a:pos x="794" y="73"/>
                  </a:cxn>
                  <a:cxn ang="0">
                    <a:pos x="652" y="47"/>
                  </a:cxn>
                  <a:cxn ang="0">
                    <a:pos x="515" y="51"/>
                  </a:cxn>
                  <a:cxn ang="0">
                    <a:pos x="265" y="65"/>
                  </a:cxn>
                  <a:cxn ang="0">
                    <a:pos x="192" y="116"/>
                  </a:cxn>
                  <a:cxn ang="0">
                    <a:pos x="232" y="150"/>
                  </a:cxn>
                  <a:cxn ang="0">
                    <a:pos x="191" y="191"/>
                  </a:cxn>
                  <a:cxn ang="0">
                    <a:pos x="13" y="485"/>
                  </a:cxn>
                  <a:cxn ang="0">
                    <a:pos x="50" y="515"/>
                  </a:cxn>
                  <a:cxn ang="0">
                    <a:pos x="210" y="731"/>
                  </a:cxn>
                  <a:cxn ang="0">
                    <a:pos x="422" y="902"/>
                  </a:cxn>
                  <a:cxn ang="0">
                    <a:pos x="470" y="1023"/>
                  </a:cxn>
                  <a:cxn ang="0">
                    <a:pos x="511" y="1245"/>
                  </a:cxn>
                  <a:cxn ang="0">
                    <a:pos x="673" y="1534"/>
                  </a:cxn>
                  <a:cxn ang="0">
                    <a:pos x="696" y="1646"/>
                  </a:cxn>
                  <a:cxn ang="0">
                    <a:pos x="778" y="1629"/>
                  </a:cxn>
                  <a:cxn ang="0">
                    <a:pos x="865" y="1523"/>
                  </a:cxn>
                  <a:cxn ang="0">
                    <a:pos x="1168" y="1229"/>
                  </a:cxn>
                  <a:cxn ang="0">
                    <a:pos x="640" y="345"/>
                  </a:cxn>
                  <a:cxn ang="0">
                    <a:pos x="659" y="71"/>
                  </a:cxn>
                  <a:cxn ang="0">
                    <a:pos x="521" y="896"/>
                  </a:cxn>
                  <a:cxn ang="0">
                    <a:pos x="1019" y="1056"/>
                  </a:cxn>
                  <a:cxn ang="0">
                    <a:pos x="1104" y="167"/>
                  </a:cxn>
                  <a:cxn ang="0">
                    <a:pos x="1269" y="350"/>
                  </a:cxn>
                  <a:cxn ang="0">
                    <a:pos x="1360" y="616"/>
                  </a:cxn>
                  <a:cxn ang="0">
                    <a:pos x="710" y="15"/>
                  </a:cxn>
                  <a:cxn ang="0">
                    <a:pos x="617" y="16"/>
                  </a:cxn>
                  <a:cxn ang="0">
                    <a:pos x="607" y="42"/>
                  </a:cxn>
                </a:cxnLst>
                <a:rect l="0" t="0" r="r" b="b"/>
                <a:pathLst>
                  <a:path w="1428" h="1664">
                    <a:moveTo>
                      <a:pt x="643" y="10"/>
                    </a:moveTo>
                    <a:cubicBezTo>
                      <a:pt x="641" y="8"/>
                      <a:pt x="632" y="6"/>
                      <a:pt x="628" y="8"/>
                    </a:cubicBezTo>
                    <a:cubicBezTo>
                      <a:pt x="632" y="9"/>
                      <a:pt x="639" y="12"/>
                      <a:pt x="643" y="10"/>
                    </a:cubicBezTo>
                    <a:close/>
                    <a:moveTo>
                      <a:pt x="612" y="8"/>
                    </a:moveTo>
                    <a:cubicBezTo>
                      <a:pt x="605" y="8"/>
                      <a:pt x="602" y="10"/>
                      <a:pt x="596" y="11"/>
                    </a:cubicBezTo>
                    <a:cubicBezTo>
                      <a:pt x="602" y="13"/>
                      <a:pt x="609" y="11"/>
                      <a:pt x="612" y="8"/>
                    </a:cubicBezTo>
                    <a:close/>
                    <a:moveTo>
                      <a:pt x="659" y="11"/>
                    </a:moveTo>
                    <a:cubicBezTo>
                      <a:pt x="656" y="10"/>
                      <a:pt x="650" y="7"/>
                      <a:pt x="647" y="10"/>
                    </a:cubicBezTo>
                    <a:cubicBezTo>
                      <a:pt x="650" y="10"/>
                      <a:pt x="656" y="14"/>
                      <a:pt x="659" y="11"/>
                    </a:cubicBezTo>
                    <a:close/>
                    <a:moveTo>
                      <a:pt x="585" y="11"/>
                    </a:moveTo>
                    <a:cubicBezTo>
                      <a:pt x="581" y="12"/>
                      <a:pt x="577" y="10"/>
                      <a:pt x="572" y="10"/>
                    </a:cubicBezTo>
                    <a:cubicBezTo>
                      <a:pt x="567" y="10"/>
                      <a:pt x="554" y="11"/>
                      <a:pt x="550" y="15"/>
                    </a:cubicBezTo>
                    <a:cubicBezTo>
                      <a:pt x="563" y="15"/>
                      <a:pt x="576" y="16"/>
                      <a:pt x="585" y="11"/>
                    </a:cubicBezTo>
                    <a:close/>
                    <a:moveTo>
                      <a:pt x="704" y="21"/>
                    </a:moveTo>
                    <a:cubicBezTo>
                      <a:pt x="700" y="14"/>
                      <a:pt x="683" y="20"/>
                      <a:pt x="672" y="18"/>
                    </a:cubicBezTo>
                    <a:cubicBezTo>
                      <a:pt x="668" y="14"/>
                      <a:pt x="655" y="12"/>
                      <a:pt x="648" y="14"/>
                    </a:cubicBezTo>
                    <a:cubicBezTo>
                      <a:pt x="651" y="16"/>
                      <a:pt x="655" y="16"/>
                      <a:pt x="660" y="16"/>
                    </a:cubicBezTo>
                    <a:cubicBezTo>
                      <a:pt x="661" y="17"/>
                      <a:pt x="660" y="20"/>
                      <a:pt x="662" y="21"/>
                    </a:cubicBezTo>
                    <a:cubicBezTo>
                      <a:pt x="674" y="21"/>
                      <a:pt x="692" y="26"/>
                      <a:pt x="704" y="21"/>
                    </a:cubicBezTo>
                    <a:close/>
                    <a:moveTo>
                      <a:pt x="644" y="16"/>
                    </a:moveTo>
                    <a:cubicBezTo>
                      <a:pt x="638" y="12"/>
                      <a:pt x="633" y="14"/>
                      <a:pt x="627" y="17"/>
                    </a:cubicBezTo>
                    <a:cubicBezTo>
                      <a:pt x="627" y="14"/>
                      <a:pt x="621" y="12"/>
                      <a:pt x="620" y="16"/>
                    </a:cubicBezTo>
                    <a:cubicBezTo>
                      <a:pt x="626" y="19"/>
                      <a:pt x="640" y="24"/>
                      <a:pt x="644" y="16"/>
                    </a:cubicBezTo>
                    <a:close/>
                    <a:moveTo>
                      <a:pt x="656" y="18"/>
                    </a:moveTo>
                    <a:cubicBezTo>
                      <a:pt x="651" y="18"/>
                      <a:pt x="649" y="17"/>
                      <a:pt x="644" y="18"/>
                    </a:cubicBezTo>
                    <a:cubicBezTo>
                      <a:pt x="644" y="22"/>
                      <a:pt x="656" y="23"/>
                      <a:pt x="656" y="18"/>
                    </a:cubicBezTo>
                    <a:close/>
                    <a:moveTo>
                      <a:pt x="617" y="27"/>
                    </a:moveTo>
                    <a:cubicBezTo>
                      <a:pt x="617" y="25"/>
                      <a:pt x="613" y="27"/>
                      <a:pt x="612" y="26"/>
                    </a:cubicBezTo>
                    <a:cubicBezTo>
                      <a:pt x="615" y="32"/>
                      <a:pt x="628" y="37"/>
                      <a:pt x="634" y="30"/>
                    </a:cubicBezTo>
                    <a:cubicBezTo>
                      <a:pt x="635" y="27"/>
                      <a:pt x="630" y="28"/>
                      <a:pt x="630" y="26"/>
                    </a:cubicBezTo>
                    <a:cubicBezTo>
                      <a:pt x="632" y="26"/>
                      <a:pt x="635" y="26"/>
                      <a:pt x="635" y="23"/>
                    </a:cubicBezTo>
                    <a:cubicBezTo>
                      <a:pt x="629" y="22"/>
                      <a:pt x="624" y="23"/>
                      <a:pt x="617" y="23"/>
                    </a:cubicBezTo>
                    <a:cubicBezTo>
                      <a:pt x="615" y="25"/>
                      <a:pt x="620" y="26"/>
                      <a:pt x="617" y="27"/>
                    </a:cubicBezTo>
                    <a:close/>
                    <a:moveTo>
                      <a:pt x="641" y="31"/>
                    </a:moveTo>
                    <a:cubicBezTo>
                      <a:pt x="649" y="27"/>
                      <a:pt x="660" y="31"/>
                      <a:pt x="665" y="24"/>
                    </a:cubicBezTo>
                    <a:cubicBezTo>
                      <a:pt x="655" y="22"/>
                      <a:pt x="644" y="21"/>
                      <a:pt x="638" y="26"/>
                    </a:cubicBezTo>
                    <a:cubicBezTo>
                      <a:pt x="640" y="27"/>
                      <a:pt x="639" y="30"/>
                      <a:pt x="641" y="31"/>
                    </a:cubicBezTo>
                    <a:close/>
                    <a:moveTo>
                      <a:pt x="607" y="25"/>
                    </a:moveTo>
                    <a:cubicBezTo>
                      <a:pt x="605" y="24"/>
                      <a:pt x="598" y="23"/>
                      <a:pt x="596" y="25"/>
                    </a:cubicBezTo>
                    <a:cubicBezTo>
                      <a:pt x="599" y="26"/>
                      <a:pt x="606" y="29"/>
                      <a:pt x="607" y="25"/>
                    </a:cubicBezTo>
                    <a:close/>
                    <a:moveTo>
                      <a:pt x="730" y="54"/>
                    </a:moveTo>
                    <a:cubicBezTo>
                      <a:pt x="728" y="50"/>
                      <a:pt x="717" y="50"/>
                      <a:pt x="716" y="55"/>
                    </a:cubicBezTo>
                    <a:cubicBezTo>
                      <a:pt x="721" y="56"/>
                      <a:pt x="727" y="58"/>
                      <a:pt x="730" y="54"/>
                    </a:cubicBezTo>
                    <a:close/>
                    <a:moveTo>
                      <a:pt x="944" y="75"/>
                    </a:moveTo>
                    <a:cubicBezTo>
                      <a:pt x="949" y="81"/>
                      <a:pt x="963" y="88"/>
                      <a:pt x="973" y="88"/>
                    </a:cubicBezTo>
                    <a:cubicBezTo>
                      <a:pt x="966" y="80"/>
                      <a:pt x="955" y="76"/>
                      <a:pt x="945" y="71"/>
                    </a:cubicBezTo>
                    <a:cubicBezTo>
                      <a:pt x="944" y="73"/>
                      <a:pt x="942" y="72"/>
                      <a:pt x="941" y="74"/>
                    </a:cubicBezTo>
                    <a:cubicBezTo>
                      <a:pt x="940" y="72"/>
                      <a:pt x="935" y="70"/>
                      <a:pt x="933" y="71"/>
                    </a:cubicBezTo>
                    <a:cubicBezTo>
                      <a:pt x="937" y="74"/>
                      <a:pt x="941" y="76"/>
                      <a:pt x="944" y="75"/>
                    </a:cubicBezTo>
                    <a:close/>
                    <a:moveTo>
                      <a:pt x="709" y="80"/>
                    </a:moveTo>
                    <a:cubicBezTo>
                      <a:pt x="707" y="83"/>
                      <a:pt x="714" y="85"/>
                      <a:pt x="713" y="81"/>
                    </a:cubicBezTo>
                    <a:cubicBezTo>
                      <a:pt x="714" y="79"/>
                      <a:pt x="710" y="80"/>
                      <a:pt x="709" y="80"/>
                    </a:cubicBezTo>
                    <a:close/>
                    <a:moveTo>
                      <a:pt x="684" y="83"/>
                    </a:moveTo>
                    <a:cubicBezTo>
                      <a:pt x="678" y="80"/>
                      <a:pt x="673" y="85"/>
                      <a:pt x="672" y="90"/>
                    </a:cubicBezTo>
                    <a:cubicBezTo>
                      <a:pt x="679" y="91"/>
                      <a:pt x="684" y="90"/>
                      <a:pt x="684" y="83"/>
                    </a:cubicBezTo>
                    <a:close/>
                    <a:moveTo>
                      <a:pt x="692" y="89"/>
                    </a:moveTo>
                    <a:cubicBezTo>
                      <a:pt x="692" y="95"/>
                      <a:pt x="699" y="94"/>
                      <a:pt x="700" y="89"/>
                    </a:cubicBezTo>
                    <a:cubicBezTo>
                      <a:pt x="698" y="87"/>
                      <a:pt x="697" y="89"/>
                      <a:pt x="692" y="89"/>
                    </a:cubicBezTo>
                    <a:close/>
                    <a:moveTo>
                      <a:pt x="791" y="95"/>
                    </a:moveTo>
                    <a:cubicBezTo>
                      <a:pt x="793" y="96"/>
                      <a:pt x="794" y="98"/>
                      <a:pt x="797" y="97"/>
                    </a:cubicBezTo>
                    <a:cubicBezTo>
                      <a:pt x="798" y="94"/>
                      <a:pt x="792" y="93"/>
                      <a:pt x="791" y="95"/>
                    </a:cubicBezTo>
                    <a:close/>
                    <a:moveTo>
                      <a:pt x="773" y="103"/>
                    </a:moveTo>
                    <a:cubicBezTo>
                      <a:pt x="775" y="103"/>
                      <a:pt x="778" y="107"/>
                      <a:pt x="780" y="104"/>
                    </a:cubicBezTo>
                    <a:cubicBezTo>
                      <a:pt x="779" y="103"/>
                      <a:pt x="774" y="100"/>
                      <a:pt x="773" y="103"/>
                    </a:cubicBezTo>
                    <a:close/>
                    <a:moveTo>
                      <a:pt x="149" y="114"/>
                    </a:moveTo>
                    <a:cubicBezTo>
                      <a:pt x="153" y="114"/>
                      <a:pt x="157" y="113"/>
                      <a:pt x="160" y="110"/>
                    </a:cubicBezTo>
                    <a:cubicBezTo>
                      <a:pt x="154" y="109"/>
                      <a:pt x="152" y="112"/>
                      <a:pt x="149" y="114"/>
                    </a:cubicBezTo>
                    <a:close/>
                    <a:moveTo>
                      <a:pt x="232" y="140"/>
                    </a:moveTo>
                    <a:cubicBezTo>
                      <a:pt x="237" y="137"/>
                      <a:pt x="247" y="134"/>
                      <a:pt x="247" y="129"/>
                    </a:cubicBezTo>
                    <a:cubicBezTo>
                      <a:pt x="242" y="132"/>
                      <a:pt x="235" y="135"/>
                      <a:pt x="232" y="140"/>
                    </a:cubicBezTo>
                    <a:close/>
                    <a:moveTo>
                      <a:pt x="243" y="139"/>
                    </a:moveTo>
                    <a:cubicBezTo>
                      <a:pt x="245" y="136"/>
                      <a:pt x="251" y="137"/>
                      <a:pt x="252" y="134"/>
                    </a:cubicBezTo>
                    <a:cubicBezTo>
                      <a:pt x="247" y="133"/>
                      <a:pt x="241" y="136"/>
                      <a:pt x="243" y="139"/>
                    </a:cubicBezTo>
                    <a:close/>
                    <a:moveTo>
                      <a:pt x="685" y="137"/>
                    </a:moveTo>
                    <a:cubicBezTo>
                      <a:pt x="683" y="135"/>
                      <a:pt x="678" y="135"/>
                      <a:pt x="677" y="137"/>
                    </a:cubicBezTo>
                    <a:cubicBezTo>
                      <a:pt x="676" y="143"/>
                      <a:pt x="686" y="143"/>
                      <a:pt x="685" y="137"/>
                    </a:cubicBezTo>
                    <a:close/>
                    <a:moveTo>
                      <a:pt x="223" y="154"/>
                    </a:moveTo>
                    <a:cubicBezTo>
                      <a:pt x="230" y="150"/>
                      <a:pt x="237" y="148"/>
                      <a:pt x="239" y="140"/>
                    </a:cubicBezTo>
                    <a:cubicBezTo>
                      <a:pt x="233" y="144"/>
                      <a:pt x="225" y="146"/>
                      <a:pt x="223" y="154"/>
                    </a:cubicBezTo>
                    <a:close/>
                    <a:moveTo>
                      <a:pt x="214" y="160"/>
                    </a:moveTo>
                    <a:cubicBezTo>
                      <a:pt x="202" y="159"/>
                      <a:pt x="192" y="170"/>
                      <a:pt x="185" y="181"/>
                    </a:cubicBezTo>
                    <a:cubicBezTo>
                      <a:pt x="192" y="177"/>
                      <a:pt x="199" y="169"/>
                      <a:pt x="206" y="165"/>
                    </a:cubicBezTo>
                    <a:cubicBezTo>
                      <a:pt x="209" y="163"/>
                      <a:pt x="214" y="164"/>
                      <a:pt x="214" y="160"/>
                    </a:cubicBezTo>
                    <a:close/>
                    <a:moveTo>
                      <a:pt x="646" y="172"/>
                    </a:moveTo>
                    <a:cubicBezTo>
                      <a:pt x="648" y="174"/>
                      <a:pt x="654" y="174"/>
                      <a:pt x="656" y="172"/>
                    </a:cubicBezTo>
                    <a:cubicBezTo>
                      <a:pt x="655" y="168"/>
                      <a:pt x="647" y="167"/>
                      <a:pt x="646" y="172"/>
                    </a:cubicBezTo>
                    <a:close/>
                    <a:moveTo>
                      <a:pt x="214" y="172"/>
                    </a:moveTo>
                    <a:cubicBezTo>
                      <a:pt x="211" y="172"/>
                      <a:pt x="209" y="173"/>
                      <a:pt x="209" y="176"/>
                    </a:cubicBezTo>
                    <a:cubicBezTo>
                      <a:pt x="211" y="178"/>
                      <a:pt x="215" y="176"/>
                      <a:pt x="214" y="172"/>
                    </a:cubicBezTo>
                    <a:close/>
                    <a:moveTo>
                      <a:pt x="896" y="239"/>
                    </a:moveTo>
                    <a:cubicBezTo>
                      <a:pt x="908" y="239"/>
                      <a:pt x="913" y="240"/>
                      <a:pt x="924" y="243"/>
                    </a:cubicBezTo>
                    <a:cubicBezTo>
                      <a:pt x="926" y="240"/>
                      <a:pt x="927" y="236"/>
                      <a:pt x="929" y="233"/>
                    </a:cubicBezTo>
                    <a:cubicBezTo>
                      <a:pt x="925" y="229"/>
                      <a:pt x="918" y="232"/>
                      <a:pt x="915" y="226"/>
                    </a:cubicBezTo>
                    <a:cubicBezTo>
                      <a:pt x="916" y="223"/>
                      <a:pt x="917" y="221"/>
                      <a:pt x="916" y="218"/>
                    </a:cubicBezTo>
                    <a:cubicBezTo>
                      <a:pt x="911" y="218"/>
                      <a:pt x="912" y="211"/>
                      <a:pt x="908" y="209"/>
                    </a:cubicBezTo>
                    <a:cubicBezTo>
                      <a:pt x="899" y="217"/>
                      <a:pt x="892" y="205"/>
                      <a:pt x="885" y="201"/>
                    </a:cubicBezTo>
                    <a:cubicBezTo>
                      <a:pt x="889" y="199"/>
                      <a:pt x="887" y="191"/>
                      <a:pt x="888" y="187"/>
                    </a:cubicBezTo>
                    <a:cubicBezTo>
                      <a:pt x="882" y="184"/>
                      <a:pt x="876" y="188"/>
                      <a:pt x="876" y="191"/>
                    </a:cubicBezTo>
                    <a:cubicBezTo>
                      <a:pt x="874" y="202"/>
                      <a:pt x="869" y="213"/>
                      <a:pt x="865" y="219"/>
                    </a:cubicBezTo>
                    <a:cubicBezTo>
                      <a:pt x="862" y="219"/>
                      <a:pt x="862" y="222"/>
                      <a:pt x="858" y="222"/>
                    </a:cubicBezTo>
                    <a:cubicBezTo>
                      <a:pt x="858" y="226"/>
                      <a:pt x="862" y="227"/>
                      <a:pt x="862" y="231"/>
                    </a:cubicBezTo>
                    <a:cubicBezTo>
                      <a:pt x="876" y="230"/>
                      <a:pt x="887" y="231"/>
                      <a:pt x="898" y="234"/>
                    </a:cubicBezTo>
                    <a:cubicBezTo>
                      <a:pt x="897" y="236"/>
                      <a:pt x="895" y="236"/>
                      <a:pt x="896" y="239"/>
                    </a:cubicBezTo>
                    <a:close/>
                    <a:moveTo>
                      <a:pt x="884" y="209"/>
                    </a:moveTo>
                    <a:cubicBezTo>
                      <a:pt x="881" y="209"/>
                      <a:pt x="883" y="205"/>
                      <a:pt x="882" y="203"/>
                    </a:cubicBezTo>
                    <a:cubicBezTo>
                      <a:pt x="886" y="202"/>
                      <a:pt x="884" y="207"/>
                      <a:pt x="884" y="209"/>
                    </a:cubicBezTo>
                    <a:close/>
                    <a:moveTo>
                      <a:pt x="831" y="248"/>
                    </a:moveTo>
                    <a:cubicBezTo>
                      <a:pt x="827" y="244"/>
                      <a:pt x="815" y="244"/>
                      <a:pt x="811" y="243"/>
                    </a:cubicBezTo>
                    <a:cubicBezTo>
                      <a:pt x="813" y="249"/>
                      <a:pt x="827" y="251"/>
                      <a:pt x="831" y="248"/>
                    </a:cubicBezTo>
                    <a:close/>
                    <a:moveTo>
                      <a:pt x="854" y="242"/>
                    </a:moveTo>
                    <a:cubicBezTo>
                      <a:pt x="847" y="241"/>
                      <a:pt x="845" y="246"/>
                      <a:pt x="845" y="252"/>
                    </a:cubicBezTo>
                    <a:cubicBezTo>
                      <a:pt x="849" y="254"/>
                      <a:pt x="856" y="252"/>
                      <a:pt x="859" y="250"/>
                    </a:cubicBezTo>
                    <a:cubicBezTo>
                      <a:pt x="858" y="247"/>
                      <a:pt x="854" y="246"/>
                      <a:pt x="854" y="242"/>
                    </a:cubicBezTo>
                    <a:close/>
                    <a:moveTo>
                      <a:pt x="554" y="565"/>
                    </a:moveTo>
                    <a:cubicBezTo>
                      <a:pt x="562" y="567"/>
                      <a:pt x="568" y="562"/>
                      <a:pt x="570" y="556"/>
                    </a:cubicBezTo>
                    <a:cubicBezTo>
                      <a:pt x="569" y="552"/>
                      <a:pt x="558" y="545"/>
                      <a:pt x="555" y="551"/>
                    </a:cubicBezTo>
                    <a:cubicBezTo>
                      <a:pt x="557" y="553"/>
                      <a:pt x="560" y="553"/>
                      <a:pt x="561" y="554"/>
                    </a:cubicBezTo>
                    <a:cubicBezTo>
                      <a:pt x="560" y="559"/>
                      <a:pt x="554" y="559"/>
                      <a:pt x="554" y="565"/>
                    </a:cubicBezTo>
                    <a:close/>
                    <a:moveTo>
                      <a:pt x="531" y="555"/>
                    </a:moveTo>
                    <a:cubicBezTo>
                      <a:pt x="531" y="557"/>
                      <a:pt x="531" y="557"/>
                      <a:pt x="531" y="557"/>
                    </a:cubicBezTo>
                    <a:cubicBezTo>
                      <a:pt x="536" y="561"/>
                      <a:pt x="547" y="559"/>
                      <a:pt x="548" y="553"/>
                    </a:cubicBezTo>
                    <a:cubicBezTo>
                      <a:pt x="546" y="548"/>
                      <a:pt x="534" y="552"/>
                      <a:pt x="531" y="555"/>
                    </a:cubicBezTo>
                    <a:close/>
                    <a:moveTo>
                      <a:pt x="589" y="594"/>
                    </a:moveTo>
                    <a:cubicBezTo>
                      <a:pt x="583" y="590"/>
                      <a:pt x="578" y="584"/>
                      <a:pt x="576" y="574"/>
                    </a:cubicBezTo>
                    <a:cubicBezTo>
                      <a:pt x="574" y="574"/>
                      <a:pt x="571" y="574"/>
                      <a:pt x="569" y="575"/>
                    </a:cubicBezTo>
                    <a:cubicBezTo>
                      <a:pt x="570" y="586"/>
                      <a:pt x="578" y="603"/>
                      <a:pt x="589" y="594"/>
                    </a:cubicBezTo>
                    <a:close/>
                    <a:moveTo>
                      <a:pt x="527" y="592"/>
                    </a:moveTo>
                    <a:cubicBezTo>
                      <a:pt x="533" y="593"/>
                      <a:pt x="535" y="597"/>
                      <a:pt x="542" y="597"/>
                    </a:cubicBezTo>
                    <a:cubicBezTo>
                      <a:pt x="547" y="584"/>
                      <a:pt x="529" y="578"/>
                      <a:pt x="527" y="592"/>
                    </a:cubicBezTo>
                    <a:close/>
                    <a:moveTo>
                      <a:pt x="543" y="606"/>
                    </a:moveTo>
                    <a:cubicBezTo>
                      <a:pt x="546" y="607"/>
                      <a:pt x="547" y="605"/>
                      <a:pt x="549" y="605"/>
                    </a:cubicBezTo>
                    <a:cubicBezTo>
                      <a:pt x="549" y="601"/>
                      <a:pt x="548" y="599"/>
                      <a:pt x="544" y="599"/>
                    </a:cubicBezTo>
                    <a:cubicBezTo>
                      <a:pt x="542" y="602"/>
                      <a:pt x="541" y="603"/>
                      <a:pt x="543" y="606"/>
                    </a:cubicBezTo>
                    <a:close/>
                    <a:moveTo>
                      <a:pt x="584" y="663"/>
                    </a:moveTo>
                    <a:cubicBezTo>
                      <a:pt x="581" y="657"/>
                      <a:pt x="577" y="654"/>
                      <a:pt x="568" y="655"/>
                    </a:cubicBezTo>
                    <a:cubicBezTo>
                      <a:pt x="569" y="647"/>
                      <a:pt x="554" y="647"/>
                      <a:pt x="545" y="646"/>
                    </a:cubicBezTo>
                    <a:cubicBezTo>
                      <a:pt x="543" y="636"/>
                      <a:pt x="530" y="631"/>
                      <a:pt x="520" y="626"/>
                    </a:cubicBezTo>
                    <a:cubicBezTo>
                      <a:pt x="516" y="625"/>
                      <a:pt x="518" y="630"/>
                      <a:pt x="514" y="629"/>
                    </a:cubicBezTo>
                    <a:cubicBezTo>
                      <a:pt x="504" y="628"/>
                      <a:pt x="501" y="617"/>
                      <a:pt x="491" y="615"/>
                    </a:cubicBezTo>
                    <a:cubicBezTo>
                      <a:pt x="486" y="613"/>
                      <a:pt x="480" y="615"/>
                      <a:pt x="474" y="615"/>
                    </a:cubicBezTo>
                    <a:cubicBezTo>
                      <a:pt x="472" y="614"/>
                      <a:pt x="471" y="612"/>
                      <a:pt x="469" y="612"/>
                    </a:cubicBezTo>
                    <a:cubicBezTo>
                      <a:pt x="437" y="604"/>
                      <a:pt x="427" y="620"/>
                      <a:pt x="407" y="625"/>
                    </a:cubicBezTo>
                    <a:cubicBezTo>
                      <a:pt x="422" y="634"/>
                      <a:pt x="447" y="615"/>
                      <a:pt x="462" y="624"/>
                    </a:cubicBezTo>
                    <a:cubicBezTo>
                      <a:pt x="460" y="626"/>
                      <a:pt x="456" y="625"/>
                      <a:pt x="454" y="626"/>
                    </a:cubicBezTo>
                    <a:cubicBezTo>
                      <a:pt x="459" y="633"/>
                      <a:pt x="470" y="634"/>
                      <a:pt x="481" y="635"/>
                    </a:cubicBezTo>
                    <a:cubicBezTo>
                      <a:pt x="486" y="641"/>
                      <a:pt x="498" y="640"/>
                      <a:pt x="507" y="641"/>
                    </a:cubicBezTo>
                    <a:cubicBezTo>
                      <a:pt x="507" y="643"/>
                      <a:pt x="507" y="645"/>
                      <a:pt x="508" y="646"/>
                    </a:cubicBezTo>
                    <a:cubicBezTo>
                      <a:pt x="521" y="648"/>
                      <a:pt x="526" y="656"/>
                      <a:pt x="534" y="663"/>
                    </a:cubicBezTo>
                    <a:cubicBezTo>
                      <a:pt x="533" y="666"/>
                      <a:pt x="528" y="666"/>
                      <a:pt x="527" y="670"/>
                    </a:cubicBezTo>
                    <a:cubicBezTo>
                      <a:pt x="533" y="673"/>
                      <a:pt x="539" y="669"/>
                      <a:pt x="545" y="668"/>
                    </a:cubicBezTo>
                    <a:cubicBezTo>
                      <a:pt x="548" y="669"/>
                      <a:pt x="547" y="674"/>
                      <a:pt x="551" y="674"/>
                    </a:cubicBezTo>
                    <a:cubicBezTo>
                      <a:pt x="570" y="674"/>
                      <a:pt x="588" y="674"/>
                      <a:pt x="599" y="665"/>
                    </a:cubicBezTo>
                    <a:cubicBezTo>
                      <a:pt x="596" y="663"/>
                      <a:pt x="590" y="663"/>
                      <a:pt x="584" y="663"/>
                    </a:cubicBezTo>
                    <a:close/>
                    <a:moveTo>
                      <a:pt x="601" y="619"/>
                    </a:moveTo>
                    <a:cubicBezTo>
                      <a:pt x="601" y="624"/>
                      <a:pt x="604" y="627"/>
                      <a:pt x="607" y="629"/>
                    </a:cubicBezTo>
                    <a:cubicBezTo>
                      <a:pt x="610" y="629"/>
                      <a:pt x="609" y="626"/>
                      <a:pt x="611" y="624"/>
                    </a:cubicBezTo>
                    <a:cubicBezTo>
                      <a:pt x="607" y="623"/>
                      <a:pt x="607" y="619"/>
                      <a:pt x="601" y="619"/>
                    </a:cubicBezTo>
                    <a:close/>
                    <a:moveTo>
                      <a:pt x="630" y="627"/>
                    </a:moveTo>
                    <a:cubicBezTo>
                      <a:pt x="628" y="626"/>
                      <a:pt x="621" y="625"/>
                      <a:pt x="620" y="628"/>
                    </a:cubicBezTo>
                    <a:cubicBezTo>
                      <a:pt x="623" y="629"/>
                      <a:pt x="625" y="632"/>
                      <a:pt x="629" y="632"/>
                    </a:cubicBezTo>
                    <a:cubicBezTo>
                      <a:pt x="630" y="631"/>
                      <a:pt x="630" y="629"/>
                      <a:pt x="630" y="627"/>
                    </a:cubicBezTo>
                    <a:close/>
                    <a:moveTo>
                      <a:pt x="433" y="641"/>
                    </a:moveTo>
                    <a:cubicBezTo>
                      <a:pt x="437" y="643"/>
                      <a:pt x="446" y="645"/>
                      <a:pt x="445" y="638"/>
                    </a:cubicBezTo>
                    <a:cubicBezTo>
                      <a:pt x="441" y="636"/>
                      <a:pt x="434" y="637"/>
                      <a:pt x="433" y="641"/>
                    </a:cubicBezTo>
                    <a:close/>
                    <a:moveTo>
                      <a:pt x="624" y="646"/>
                    </a:moveTo>
                    <a:cubicBezTo>
                      <a:pt x="626" y="645"/>
                      <a:pt x="625" y="641"/>
                      <a:pt x="622" y="641"/>
                    </a:cubicBezTo>
                    <a:cubicBezTo>
                      <a:pt x="621" y="643"/>
                      <a:pt x="621" y="647"/>
                      <a:pt x="624" y="646"/>
                    </a:cubicBezTo>
                    <a:close/>
                    <a:moveTo>
                      <a:pt x="610" y="649"/>
                    </a:moveTo>
                    <a:cubicBezTo>
                      <a:pt x="610" y="651"/>
                      <a:pt x="608" y="652"/>
                      <a:pt x="609" y="655"/>
                    </a:cubicBezTo>
                    <a:cubicBezTo>
                      <a:pt x="611" y="658"/>
                      <a:pt x="618" y="657"/>
                      <a:pt x="621" y="655"/>
                    </a:cubicBezTo>
                    <a:cubicBezTo>
                      <a:pt x="621" y="652"/>
                      <a:pt x="622" y="649"/>
                      <a:pt x="620" y="648"/>
                    </a:cubicBezTo>
                    <a:cubicBezTo>
                      <a:pt x="616" y="648"/>
                      <a:pt x="614" y="650"/>
                      <a:pt x="610" y="649"/>
                    </a:cubicBezTo>
                    <a:close/>
                    <a:moveTo>
                      <a:pt x="703" y="703"/>
                    </a:moveTo>
                    <a:cubicBezTo>
                      <a:pt x="701" y="682"/>
                      <a:pt x="671" y="691"/>
                      <a:pt x="665" y="674"/>
                    </a:cubicBezTo>
                    <a:cubicBezTo>
                      <a:pt x="656" y="673"/>
                      <a:pt x="642" y="672"/>
                      <a:pt x="635" y="676"/>
                    </a:cubicBezTo>
                    <a:cubicBezTo>
                      <a:pt x="628" y="674"/>
                      <a:pt x="610" y="670"/>
                      <a:pt x="606" y="677"/>
                    </a:cubicBezTo>
                    <a:cubicBezTo>
                      <a:pt x="608" y="682"/>
                      <a:pt x="619" y="679"/>
                      <a:pt x="621" y="683"/>
                    </a:cubicBezTo>
                    <a:cubicBezTo>
                      <a:pt x="618" y="687"/>
                      <a:pt x="620" y="693"/>
                      <a:pt x="617" y="696"/>
                    </a:cubicBezTo>
                    <a:cubicBezTo>
                      <a:pt x="612" y="696"/>
                      <a:pt x="598" y="694"/>
                      <a:pt x="590" y="696"/>
                    </a:cubicBezTo>
                    <a:cubicBezTo>
                      <a:pt x="590" y="704"/>
                      <a:pt x="596" y="707"/>
                      <a:pt x="601" y="710"/>
                    </a:cubicBezTo>
                    <a:cubicBezTo>
                      <a:pt x="607" y="702"/>
                      <a:pt x="623" y="706"/>
                      <a:pt x="634" y="704"/>
                    </a:cubicBezTo>
                    <a:cubicBezTo>
                      <a:pt x="638" y="707"/>
                      <a:pt x="641" y="710"/>
                      <a:pt x="644" y="713"/>
                    </a:cubicBezTo>
                    <a:cubicBezTo>
                      <a:pt x="655" y="699"/>
                      <a:pt x="685" y="708"/>
                      <a:pt x="703" y="703"/>
                    </a:cubicBezTo>
                    <a:close/>
                    <a:moveTo>
                      <a:pt x="725" y="710"/>
                    </a:moveTo>
                    <a:cubicBezTo>
                      <a:pt x="734" y="714"/>
                      <a:pt x="760" y="714"/>
                      <a:pt x="763" y="701"/>
                    </a:cubicBezTo>
                    <a:cubicBezTo>
                      <a:pt x="750" y="704"/>
                      <a:pt x="724" y="689"/>
                      <a:pt x="725" y="710"/>
                    </a:cubicBezTo>
                    <a:close/>
                    <a:moveTo>
                      <a:pt x="508" y="704"/>
                    </a:moveTo>
                    <a:cubicBezTo>
                      <a:pt x="514" y="711"/>
                      <a:pt x="526" y="712"/>
                      <a:pt x="537" y="714"/>
                    </a:cubicBezTo>
                    <a:cubicBezTo>
                      <a:pt x="541" y="709"/>
                      <a:pt x="547" y="713"/>
                      <a:pt x="552" y="712"/>
                    </a:cubicBezTo>
                    <a:cubicBezTo>
                      <a:pt x="549" y="698"/>
                      <a:pt x="518" y="698"/>
                      <a:pt x="508" y="704"/>
                    </a:cubicBezTo>
                    <a:close/>
                    <a:moveTo>
                      <a:pt x="797" y="705"/>
                    </a:moveTo>
                    <a:cubicBezTo>
                      <a:pt x="800" y="704"/>
                      <a:pt x="801" y="707"/>
                      <a:pt x="803" y="705"/>
                    </a:cubicBezTo>
                    <a:cubicBezTo>
                      <a:pt x="803" y="703"/>
                      <a:pt x="802" y="703"/>
                      <a:pt x="802" y="701"/>
                    </a:cubicBezTo>
                    <a:cubicBezTo>
                      <a:pt x="799" y="702"/>
                      <a:pt x="797" y="702"/>
                      <a:pt x="797" y="705"/>
                    </a:cubicBezTo>
                    <a:close/>
                    <a:moveTo>
                      <a:pt x="819" y="712"/>
                    </a:moveTo>
                    <a:cubicBezTo>
                      <a:pt x="819" y="710"/>
                      <a:pt x="820" y="710"/>
                      <a:pt x="820" y="708"/>
                    </a:cubicBezTo>
                    <a:cubicBezTo>
                      <a:pt x="819" y="707"/>
                      <a:pt x="818" y="706"/>
                      <a:pt x="816" y="707"/>
                    </a:cubicBezTo>
                    <a:cubicBezTo>
                      <a:pt x="816" y="710"/>
                      <a:pt x="816" y="712"/>
                      <a:pt x="819" y="712"/>
                    </a:cubicBezTo>
                    <a:close/>
                    <a:moveTo>
                      <a:pt x="772" y="711"/>
                    </a:moveTo>
                    <a:cubicBezTo>
                      <a:pt x="771" y="709"/>
                      <a:pt x="766" y="710"/>
                      <a:pt x="765" y="711"/>
                    </a:cubicBezTo>
                    <a:cubicBezTo>
                      <a:pt x="766" y="714"/>
                      <a:pt x="772" y="715"/>
                      <a:pt x="772" y="711"/>
                    </a:cubicBezTo>
                    <a:close/>
                    <a:moveTo>
                      <a:pt x="806" y="715"/>
                    </a:moveTo>
                    <a:cubicBezTo>
                      <a:pt x="802" y="720"/>
                      <a:pt x="810" y="725"/>
                      <a:pt x="812" y="720"/>
                    </a:cubicBezTo>
                    <a:cubicBezTo>
                      <a:pt x="809" y="720"/>
                      <a:pt x="809" y="716"/>
                      <a:pt x="806" y="715"/>
                    </a:cubicBezTo>
                    <a:close/>
                    <a:moveTo>
                      <a:pt x="817" y="717"/>
                    </a:moveTo>
                    <a:cubicBezTo>
                      <a:pt x="817" y="721"/>
                      <a:pt x="817" y="721"/>
                      <a:pt x="817" y="721"/>
                    </a:cubicBezTo>
                    <a:cubicBezTo>
                      <a:pt x="820" y="721"/>
                      <a:pt x="820" y="721"/>
                      <a:pt x="820" y="721"/>
                    </a:cubicBezTo>
                    <a:cubicBezTo>
                      <a:pt x="820" y="719"/>
                      <a:pt x="820" y="717"/>
                      <a:pt x="817" y="717"/>
                    </a:cubicBezTo>
                    <a:close/>
                    <a:moveTo>
                      <a:pt x="829" y="741"/>
                    </a:moveTo>
                    <a:cubicBezTo>
                      <a:pt x="828" y="736"/>
                      <a:pt x="834" y="739"/>
                      <a:pt x="833" y="733"/>
                    </a:cubicBezTo>
                    <a:cubicBezTo>
                      <a:pt x="830" y="733"/>
                      <a:pt x="830" y="733"/>
                      <a:pt x="830" y="733"/>
                    </a:cubicBezTo>
                    <a:cubicBezTo>
                      <a:pt x="829" y="738"/>
                      <a:pt x="825" y="735"/>
                      <a:pt x="822" y="737"/>
                    </a:cubicBezTo>
                    <a:cubicBezTo>
                      <a:pt x="821" y="741"/>
                      <a:pt x="824" y="742"/>
                      <a:pt x="829" y="741"/>
                    </a:cubicBezTo>
                    <a:close/>
                    <a:moveTo>
                      <a:pt x="829" y="750"/>
                    </a:moveTo>
                    <a:cubicBezTo>
                      <a:pt x="829" y="753"/>
                      <a:pt x="830" y="755"/>
                      <a:pt x="833" y="755"/>
                    </a:cubicBezTo>
                    <a:cubicBezTo>
                      <a:pt x="834" y="754"/>
                      <a:pt x="835" y="752"/>
                      <a:pt x="834" y="750"/>
                    </a:cubicBezTo>
                    <a:cubicBezTo>
                      <a:pt x="833" y="749"/>
                      <a:pt x="830" y="749"/>
                      <a:pt x="829" y="750"/>
                    </a:cubicBezTo>
                    <a:close/>
                    <a:moveTo>
                      <a:pt x="838" y="763"/>
                    </a:moveTo>
                    <a:cubicBezTo>
                      <a:pt x="833" y="763"/>
                      <a:pt x="833" y="763"/>
                      <a:pt x="833" y="763"/>
                    </a:cubicBezTo>
                    <a:cubicBezTo>
                      <a:pt x="833" y="768"/>
                      <a:pt x="835" y="770"/>
                      <a:pt x="838" y="772"/>
                    </a:cubicBezTo>
                    <a:cubicBezTo>
                      <a:pt x="842" y="771"/>
                      <a:pt x="840" y="765"/>
                      <a:pt x="838" y="763"/>
                    </a:cubicBezTo>
                    <a:close/>
                    <a:moveTo>
                      <a:pt x="835" y="784"/>
                    </a:moveTo>
                    <a:cubicBezTo>
                      <a:pt x="839" y="784"/>
                      <a:pt x="839" y="784"/>
                      <a:pt x="839" y="784"/>
                    </a:cubicBezTo>
                    <a:cubicBezTo>
                      <a:pt x="841" y="782"/>
                      <a:pt x="841" y="778"/>
                      <a:pt x="839" y="777"/>
                    </a:cubicBezTo>
                    <a:cubicBezTo>
                      <a:pt x="835" y="776"/>
                      <a:pt x="833" y="781"/>
                      <a:pt x="835" y="784"/>
                    </a:cubicBezTo>
                    <a:close/>
                    <a:moveTo>
                      <a:pt x="865" y="796"/>
                    </a:moveTo>
                    <a:cubicBezTo>
                      <a:pt x="867" y="794"/>
                      <a:pt x="866" y="789"/>
                      <a:pt x="862" y="789"/>
                    </a:cubicBezTo>
                    <a:cubicBezTo>
                      <a:pt x="860" y="791"/>
                      <a:pt x="860" y="797"/>
                      <a:pt x="865" y="796"/>
                    </a:cubicBezTo>
                    <a:close/>
                    <a:moveTo>
                      <a:pt x="834" y="794"/>
                    </a:moveTo>
                    <a:cubicBezTo>
                      <a:pt x="835" y="791"/>
                      <a:pt x="831" y="791"/>
                      <a:pt x="830" y="792"/>
                    </a:cubicBezTo>
                    <a:cubicBezTo>
                      <a:pt x="829" y="796"/>
                      <a:pt x="833" y="796"/>
                      <a:pt x="834" y="794"/>
                    </a:cubicBezTo>
                    <a:close/>
                    <a:moveTo>
                      <a:pt x="830" y="809"/>
                    </a:moveTo>
                    <a:cubicBezTo>
                      <a:pt x="830" y="806"/>
                      <a:pt x="830" y="806"/>
                      <a:pt x="830" y="806"/>
                    </a:cubicBezTo>
                    <a:cubicBezTo>
                      <a:pt x="827" y="805"/>
                      <a:pt x="826" y="806"/>
                      <a:pt x="826" y="808"/>
                    </a:cubicBezTo>
                    <a:cubicBezTo>
                      <a:pt x="827" y="808"/>
                      <a:pt x="828" y="809"/>
                      <a:pt x="830" y="809"/>
                    </a:cubicBezTo>
                    <a:close/>
                    <a:moveTo>
                      <a:pt x="825" y="813"/>
                    </a:moveTo>
                    <a:cubicBezTo>
                      <a:pt x="823" y="813"/>
                      <a:pt x="822" y="812"/>
                      <a:pt x="819" y="812"/>
                    </a:cubicBezTo>
                    <a:cubicBezTo>
                      <a:pt x="819" y="816"/>
                      <a:pt x="819" y="816"/>
                      <a:pt x="819" y="816"/>
                    </a:cubicBezTo>
                    <a:cubicBezTo>
                      <a:pt x="822" y="816"/>
                      <a:pt x="825" y="817"/>
                      <a:pt x="825" y="813"/>
                    </a:cubicBezTo>
                    <a:close/>
                    <a:moveTo>
                      <a:pt x="665" y="829"/>
                    </a:moveTo>
                    <a:cubicBezTo>
                      <a:pt x="667" y="826"/>
                      <a:pt x="666" y="821"/>
                      <a:pt x="665" y="818"/>
                    </a:cubicBezTo>
                    <a:cubicBezTo>
                      <a:pt x="653" y="812"/>
                      <a:pt x="652" y="832"/>
                      <a:pt x="665" y="829"/>
                    </a:cubicBezTo>
                    <a:close/>
                    <a:moveTo>
                      <a:pt x="783" y="838"/>
                    </a:moveTo>
                    <a:cubicBezTo>
                      <a:pt x="784" y="830"/>
                      <a:pt x="775" y="837"/>
                      <a:pt x="770" y="836"/>
                    </a:cubicBezTo>
                    <a:cubicBezTo>
                      <a:pt x="770" y="842"/>
                      <a:pt x="780" y="841"/>
                      <a:pt x="783" y="838"/>
                    </a:cubicBezTo>
                    <a:close/>
                    <a:moveTo>
                      <a:pt x="244" y="1036"/>
                    </a:moveTo>
                    <a:cubicBezTo>
                      <a:pt x="240" y="1035"/>
                      <a:pt x="240" y="1038"/>
                      <a:pt x="237" y="1038"/>
                    </a:cubicBezTo>
                    <a:cubicBezTo>
                      <a:pt x="235" y="1035"/>
                      <a:pt x="233" y="1028"/>
                      <a:pt x="227" y="1031"/>
                    </a:cubicBezTo>
                    <a:cubicBezTo>
                      <a:pt x="227" y="1034"/>
                      <a:pt x="229" y="1034"/>
                      <a:pt x="229" y="1037"/>
                    </a:cubicBezTo>
                    <a:cubicBezTo>
                      <a:pt x="227" y="1037"/>
                      <a:pt x="225" y="1037"/>
                      <a:pt x="225" y="1040"/>
                    </a:cubicBezTo>
                    <a:cubicBezTo>
                      <a:pt x="225" y="1041"/>
                      <a:pt x="226" y="1041"/>
                      <a:pt x="226" y="1043"/>
                    </a:cubicBezTo>
                    <a:cubicBezTo>
                      <a:pt x="228" y="1044"/>
                      <a:pt x="230" y="1040"/>
                      <a:pt x="232" y="1043"/>
                    </a:cubicBezTo>
                    <a:cubicBezTo>
                      <a:pt x="231" y="1046"/>
                      <a:pt x="228" y="1045"/>
                      <a:pt x="229" y="1049"/>
                    </a:cubicBezTo>
                    <a:cubicBezTo>
                      <a:pt x="230" y="1054"/>
                      <a:pt x="236" y="1054"/>
                      <a:pt x="240" y="1051"/>
                    </a:cubicBezTo>
                    <a:cubicBezTo>
                      <a:pt x="240" y="1043"/>
                      <a:pt x="240" y="1043"/>
                      <a:pt x="240" y="1043"/>
                    </a:cubicBezTo>
                    <a:cubicBezTo>
                      <a:pt x="243" y="1043"/>
                      <a:pt x="244" y="1042"/>
                      <a:pt x="246" y="1042"/>
                    </a:cubicBezTo>
                    <a:cubicBezTo>
                      <a:pt x="246" y="1040"/>
                      <a:pt x="245" y="1038"/>
                      <a:pt x="244" y="1036"/>
                    </a:cubicBezTo>
                    <a:close/>
                    <a:moveTo>
                      <a:pt x="248" y="1043"/>
                    </a:moveTo>
                    <a:cubicBezTo>
                      <a:pt x="247" y="1044"/>
                      <a:pt x="247" y="1048"/>
                      <a:pt x="248" y="1049"/>
                    </a:cubicBezTo>
                    <a:cubicBezTo>
                      <a:pt x="253" y="1049"/>
                      <a:pt x="253" y="1049"/>
                      <a:pt x="253" y="1049"/>
                    </a:cubicBezTo>
                    <a:cubicBezTo>
                      <a:pt x="253" y="1047"/>
                      <a:pt x="253" y="1044"/>
                      <a:pt x="252" y="1043"/>
                    </a:cubicBezTo>
                    <a:lnTo>
                      <a:pt x="248" y="1043"/>
                    </a:lnTo>
                    <a:close/>
                    <a:moveTo>
                      <a:pt x="265" y="1053"/>
                    </a:moveTo>
                    <a:cubicBezTo>
                      <a:pt x="268" y="1052"/>
                      <a:pt x="271" y="1052"/>
                      <a:pt x="271" y="1048"/>
                    </a:cubicBezTo>
                    <a:cubicBezTo>
                      <a:pt x="264" y="1048"/>
                      <a:pt x="264" y="1048"/>
                      <a:pt x="264" y="1048"/>
                    </a:cubicBezTo>
                    <a:cubicBezTo>
                      <a:pt x="264" y="1050"/>
                      <a:pt x="264" y="1052"/>
                      <a:pt x="265" y="1053"/>
                    </a:cubicBezTo>
                    <a:close/>
                    <a:moveTo>
                      <a:pt x="245" y="1056"/>
                    </a:moveTo>
                    <a:cubicBezTo>
                      <a:pt x="243" y="1061"/>
                      <a:pt x="250" y="1060"/>
                      <a:pt x="250" y="1057"/>
                    </a:cubicBezTo>
                    <a:cubicBezTo>
                      <a:pt x="249" y="1056"/>
                      <a:pt x="247" y="1056"/>
                      <a:pt x="245" y="1056"/>
                    </a:cubicBezTo>
                    <a:close/>
                    <a:moveTo>
                      <a:pt x="670" y="1610"/>
                    </a:moveTo>
                    <a:cubicBezTo>
                      <a:pt x="672" y="1612"/>
                      <a:pt x="674" y="1614"/>
                      <a:pt x="675" y="1617"/>
                    </a:cubicBezTo>
                    <a:cubicBezTo>
                      <a:pt x="678" y="1617"/>
                      <a:pt x="681" y="1617"/>
                      <a:pt x="683" y="1616"/>
                    </a:cubicBezTo>
                    <a:cubicBezTo>
                      <a:pt x="683" y="1615"/>
                      <a:pt x="683" y="1614"/>
                      <a:pt x="684" y="1613"/>
                    </a:cubicBezTo>
                    <a:cubicBezTo>
                      <a:pt x="682" y="1611"/>
                      <a:pt x="679" y="1612"/>
                      <a:pt x="681" y="1608"/>
                    </a:cubicBezTo>
                    <a:cubicBezTo>
                      <a:pt x="678" y="1606"/>
                      <a:pt x="670" y="1604"/>
                      <a:pt x="670" y="1610"/>
                    </a:cubicBezTo>
                    <a:close/>
                    <a:moveTo>
                      <a:pt x="679" y="1620"/>
                    </a:moveTo>
                    <a:cubicBezTo>
                      <a:pt x="678" y="1623"/>
                      <a:pt x="686" y="1622"/>
                      <a:pt x="685" y="1619"/>
                    </a:cubicBezTo>
                    <a:cubicBezTo>
                      <a:pt x="682" y="1618"/>
                      <a:pt x="681" y="1620"/>
                      <a:pt x="679" y="1620"/>
                    </a:cubicBezTo>
                    <a:close/>
                    <a:moveTo>
                      <a:pt x="689" y="1624"/>
                    </a:moveTo>
                    <a:cubicBezTo>
                      <a:pt x="685" y="1623"/>
                      <a:pt x="682" y="1624"/>
                      <a:pt x="681" y="1625"/>
                    </a:cubicBezTo>
                    <a:cubicBezTo>
                      <a:pt x="683" y="1627"/>
                      <a:pt x="683" y="1631"/>
                      <a:pt x="689" y="1629"/>
                    </a:cubicBezTo>
                    <a:cubicBezTo>
                      <a:pt x="688" y="1626"/>
                      <a:pt x="684" y="1626"/>
                      <a:pt x="689" y="1624"/>
                    </a:cubicBezTo>
                    <a:close/>
                    <a:moveTo>
                      <a:pt x="822" y="1641"/>
                    </a:moveTo>
                    <a:cubicBezTo>
                      <a:pt x="829" y="1640"/>
                      <a:pt x="845" y="1637"/>
                      <a:pt x="843" y="1633"/>
                    </a:cubicBezTo>
                    <a:cubicBezTo>
                      <a:pt x="837" y="1637"/>
                      <a:pt x="826" y="1635"/>
                      <a:pt x="822" y="1641"/>
                    </a:cubicBezTo>
                    <a:close/>
                    <a:moveTo>
                      <a:pt x="733" y="10"/>
                    </a:moveTo>
                    <a:cubicBezTo>
                      <a:pt x="728" y="10"/>
                      <a:pt x="723" y="10"/>
                      <a:pt x="719" y="12"/>
                    </a:cubicBezTo>
                    <a:cubicBezTo>
                      <a:pt x="745" y="22"/>
                      <a:pt x="783" y="18"/>
                      <a:pt x="800" y="39"/>
                    </a:cubicBezTo>
                    <a:cubicBezTo>
                      <a:pt x="804" y="40"/>
                      <a:pt x="805" y="37"/>
                      <a:pt x="808" y="37"/>
                    </a:cubicBezTo>
                    <a:cubicBezTo>
                      <a:pt x="810" y="40"/>
                      <a:pt x="817" y="40"/>
                      <a:pt x="819" y="43"/>
                    </a:cubicBezTo>
                    <a:cubicBezTo>
                      <a:pt x="815" y="43"/>
                      <a:pt x="809" y="39"/>
                      <a:pt x="806" y="41"/>
                    </a:cubicBezTo>
                    <a:cubicBezTo>
                      <a:pt x="814" y="46"/>
                      <a:pt x="829" y="44"/>
                      <a:pt x="832" y="54"/>
                    </a:cubicBezTo>
                    <a:cubicBezTo>
                      <a:pt x="830" y="53"/>
                      <a:pt x="826" y="50"/>
                      <a:pt x="825" y="53"/>
                    </a:cubicBezTo>
                    <a:cubicBezTo>
                      <a:pt x="829" y="54"/>
                      <a:pt x="826" y="55"/>
                      <a:pt x="828" y="59"/>
                    </a:cubicBezTo>
                    <a:cubicBezTo>
                      <a:pt x="836" y="66"/>
                      <a:pt x="846" y="71"/>
                      <a:pt x="855" y="78"/>
                    </a:cubicBezTo>
                    <a:cubicBezTo>
                      <a:pt x="857" y="78"/>
                      <a:pt x="854" y="74"/>
                      <a:pt x="857" y="75"/>
                    </a:cubicBezTo>
                    <a:cubicBezTo>
                      <a:pt x="861" y="76"/>
                      <a:pt x="860" y="78"/>
                      <a:pt x="859" y="82"/>
                    </a:cubicBezTo>
                    <a:cubicBezTo>
                      <a:pt x="874" y="87"/>
                      <a:pt x="885" y="105"/>
                      <a:pt x="904" y="101"/>
                    </a:cubicBezTo>
                    <a:cubicBezTo>
                      <a:pt x="907" y="106"/>
                      <a:pt x="915" y="108"/>
                      <a:pt x="922" y="111"/>
                    </a:cubicBezTo>
                    <a:cubicBezTo>
                      <a:pt x="921" y="98"/>
                      <a:pt x="905" y="96"/>
                      <a:pt x="907" y="84"/>
                    </a:cubicBezTo>
                    <a:cubicBezTo>
                      <a:pt x="903" y="81"/>
                      <a:pt x="899" y="79"/>
                      <a:pt x="896" y="75"/>
                    </a:cubicBezTo>
                    <a:cubicBezTo>
                      <a:pt x="900" y="75"/>
                      <a:pt x="896" y="74"/>
                      <a:pt x="896" y="72"/>
                    </a:cubicBezTo>
                    <a:cubicBezTo>
                      <a:pt x="899" y="71"/>
                      <a:pt x="900" y="73"/>
                      <a:pt x="902" y="71"/>
                    </a:cubicBezTo>
                    <a:cubicBezTo>
                      <a:pt x="899" y="71"/>
                      <a:pt x="903" y="69"/>
                      <a:pt x="904" y="68"/>
                    </a:cubicBezTo>
                    <a:cubicBezTo>
                      <a:pt x="902" y="64"/>
                      <a:pt x="897" y="64"/>
                      <a:pt x="896" y="59"/>
                    </a:cubicBezTo>
                    <a:cubicBezTo>
                      <a:pt x="899" y="59"/>
                      <a:pt x="901" y="59"/>
                      <a:pt x="901" y="56"/>
                    </a:cubicBezTo>
                    <a:cubicBezTo>
                      <a:pt x="891" y="47"/>
                      <a:pt x="878" y="42"/>
                      <a:pt x="861" y="38"/>
                    </a:cubicBezTo>
                    <a:cubicBezTo>
                      <a:pt x="862" y="36"/>
                      <a:pt x="862" y="36"/>
                      <a:pt x="861" y="35"/>
                    </a:cubicBezTo>
                    <a:cubicBezTo>
                      <a:pt x="826" y="23"/>
                      <a:pt x="789" y="7"/>
                      <a:pt x="748" y="4"/>
                    </a:cubicBezTo>
                    <a:cubicBezTo>
                      <a:pt x="749" y="4"/>
                      <a:pt x="749" y="3"/>
                      <a:pt x="748" y="3"/>
                    </a:cubicBezTo>
                    <a:cubicBezTo>
                      <a:pt x="744" y="7"/>
                      <a:pt x="730" y="1"/>
                      <a:pt x="725" y="7"/>
                    </a:cubicBezTo>
                    <a:cubicBezTo>
                      <a:pt x="727" y="8"/>
                      <a:pt x="732" y="7"/>
                      <a:pt x="733" y="10"/>
                    </a:cubicBezTo>
                    <a:close/>
                    <a:moveTo>
                      <a:pt x="1234" y="1069"/>
                    </a:moveTo>
                    <a:cubicBezTo>
                      <a:pt x="1228" y="1066"/>
                      <a:pt x="1224" y="1072"/>
                      <a:pt x="1219" y="1072"/>
                    </a:cubicBezTo>
                    <a:cubicBezTo>
                      <a:pt x="1214" y="1072"/>
                      <a:pt x="1213" y="1067"/>
                      <a:pt x="1206" y="1067"/>
                    </a:cubicBezTo>
                    <a:cubicBezTo>
                      <a:pt x="1200" y="1058"/>
                      <a:pt x="1192" y="1048"/>
                      <a:pt x="1181" y="1046"/>
                    </a:cubicBezTo>
                    <a:cubicBezTo>
                      <a:pt x="1173" y="1044"/>
                      <a:pt x="1170" y="1050"/>
                      <a:pt x="1160" y="1050"/>
                    </a:cubicBezTo>
                    <a:cubicBezTo>
                      <a:pt x="1150" y="1051"/>
                      <a:pt x="1137" y="1043"/>
                      <a:pt x="1128" y="1047"/>
                    </a:cubicBezTo>
                    <a:cubicBezTo>
                      <a:pt x="1123" y="1049"/>
                      <a:pt x="1125" y="1055"/>
                      <a:pt x="1118" y="1055"/>
                    </a:cubicBezTo>
                    <a:cubicBezTo>
                      <a:pt x="1117" y="1058"/>
                      <a:pt x="1114" y="1064"/>
                      <a:pt x="1112" y="1062"/>
                    </a:cubicBezTo>
                    <a:cubicBezTo>
                      <a:pt x="1113" y="1056"/>
                      <a:pt x="1117" y="1053"/>
                      <a:pt x="1118" y="1047"/>
                    </a:cubicBezTo>
                    <a:cubicBezTo>
                      <a:pt x="1114" y="1044"/>
                      <a:pt x="1113" y="1039"/>
                      <a:pt x="1109" y="1036"/>
                    </a:cubicBezTo>
                    <a:cubicBezTo>
                      <a:pt x="1105" y="1035"/>
                      <a:pt x="1105" y="1038"/>
                      <a:pt x="1102" y="1038"/>
                    </a:cubicBezTo>
                    <a:cubicBezTo>
                      <a:pt x="1101" y="1030"/>
                      <a:pt x="1091" y="1032"/>
                      <a:pt x="1085" y="1031"/>
                    </a:cubicBezTo>
                    <a:cubicBezTo>
                      <a:pt x="1080" y="1030"/>
                      <a:pt x="1078" y="1026"/>
                      <a:pt x="1075" y="1025"/>
                    </a:cubicBezTo>
                    <a:cubicBezTo>
                      <a:pt x="1073" y="1025"/>
                      <a:pt x="1062" y="1027"/>
                      <a:pt x="1060" y="1028"/>
                    </a:cubicBezTo>
                    <a:cubicBezTo>
                      <a:pt x="1056" y="1031"/>
                      <a:pt x="1055" y="1039"/>
                      <a:pt x="1055" y="1044"/>
                    </a:cubicBezTo>
                    <a:cubicBezTo>
                      <a:pt x="1054" y="1045"/>
                      <a:pt x="1049" y="1047"/>
                      <a:pt x="1048" y="1045"/>
                    </a:cubicBezTo>
                    <a:cubicBezTo>
                      <a:pt x="1051" y="1038"/>
                      <a:pt x="1054" y="1030"/>
                      <a:pt x="1056" y="1022"/>
                    </a:cubicBezTo>
                    <a:cubicBezTo>
                      <a:pt x="1053" y="1018"/>
                      <a:pt x="1045" y="1021"/>
                      <a:pt x="1041" y="1022"/>
                    </a:cubicBezTo>
                    <a:cubicBezTo>
                      <a:pt x="1040" y="1016"/>
                      <a:pt x="1034" y="1018"/>
                      <a:pt x="1035" y="1012"/>
                    </a:cubicBezTo>
                    <a:cubicBezTo>
                      <a:pt x="1028" y="1011"/>
                      <a:pt x="1029" y="1018"/>
                      <a:pt x="1023" y="1018"/>
                    </a:cubicBezTo>
                    <a:cubicBezTo>
                      <a:pt x="1022" y="1021"/>
                      <a:pt x="1026" y="1020"/>
                      <a:pt x="1026" y="1023"/>
                    </a:cubicBezTo>
                    <a:cubicBezTo>
                      <a:pt x="1024" y="1023"/>
                      <a:pt x="1022" y="1025"/>
                      <a:pt x="1019" y="1025"/>
                    </a:cubicBezTo>
                    <a:cubicBezTo>
                      <a:pt x="1018" y="1023"/>
                      <a:pt x="1017" y="1022"/>
                      <a:pt x="1017" y="1020"/>
                    </a:cubicBezTo>
                    <a:cubicBezTo>
                      <a:pt x="1023" y="1010"/>
                      <a:pt x="1034" y="1006"/>
                      <a:pt x="1033" y="990"/>
                    </a:cubicBezTo>
                    <a:cubicBezTo>
                      <a:pt x="1028" y="989"/>
                      <a:pt x="1022" y="989"/>
                      <a:pt x="1019" y="986"/>
                    </a:cubicBezTo>
                    <a:cubicBezTo>
                      <a:pt x="1014" y="974"/>
                      <a:pt x="1019" y="947"/>
                      <a:pt x="1005" y="946"/>
                    </a:cubicBezTo>
                    <a:cubicBezTo>
                      <a:pt x="1003" y="947"/>
                      <a:pt x="1006" y="952"/>
                      <a:pt x="1001" y="951"/>
                    </a:cubicBezTo>
                    <a:cubicBezTo>
                      <a:pt x="1001" y="937"/>
                      <a:pt x="987" y="938"/>
                      <a:pt x="984" y="927"/>
                    </a:cubicBezTo>
                    <a:cubicBezTo>
                      <a:pt x="966" y="929"/>
                      <a:pt x="953" y="913"/>
                      <a:pt x="938" y="924"/>
                    </a:cubicBezTo>
                    <a:cubicBezTo>
                      <a:pt x="925" y="927"/>
                      <a:pt x="918" y="922"/>
                      <a:pt x="907" y="925"/>
                    </a:cubicBezTo>
                    <a:cubicBezTo>
                      <a:pt x="906" y="923"/>
                      <a:pt x="906" y="920"/>
                      <a:pt x="905" y="918"/>
                    </a:cubicBezTo>
                    <a:cubicBezTo>
                      <a:pt x="902" y="918"/>
                      <a:pt x="902" y="920"/>
                      <a:pt x="899" y="919"/>
                    </a:cubicBezTo>
                    <a:cubicBezTo>
                      <a:pt x="898" y="910"/>
                      <a:pt x="887" y="912"/>
                      <a:pt x="881" y="908"/>
                    </a:cubicBezTo>
                    <a:cubicBezTo>
                      <a:pt x="885" y="884"/>
                      <a:pt x="862" y="886"/>
                      <a:pt x="851" y="877"/>
                    </a:cubicBezTo>
                    <a:cubicBezTo>
                      <a:pt x="845" y="880"/>
                      <a:pt x="841" y="881"/>
                      <a:pt x="833" y="878"/>
                    </a:cubicBezTo>
                    <a:cubicBezTo>
                      <a:pt x="834" y="872"/>
                      <a:pt x="838" y="870"/>
                      <a:pt x="839" y="865"/>
                    </a:cubicBezTo>
                    <a:cubicBezTo>
                      <a:pt x="835" y="860"/>
                      <a:pt x="826" y="860"/>
                      <a:pt x="821" y="857"/>
                    </a:cubicBezTo>
                    <a:cubicBezTo>
                      <a:pt x="824" y="855"/>
                      <a:pt x="827" y="855"/>
                      <a:pt x="832" y="855"/>
                    </a:cubicBezTo>
                    <a:cubicBezTo>
                      <a:pt x="833" y="849"/>
                      <a:pt x="837" y="842"/>
                      <a:pt x="835" y="836"/>
                    </a:cubicBezTo>
                    <a:cubicBezTo>
                      <a:pt x="830" y="836"/>
                      <a:pt x="829" y="840"/>
                      <a:pt x="826" y="841"/>
                    </a:cubicBezTo>
                    <a:cubicBezTo>
                      <a:pt x="826" y="853"/>
                      <a:pt x="814" y="853"/>
                      <a:pt x="809" y="859"/>
                    </a:cubicBezTo>
                    <a:cubicBezTo>
                      <a:pt x="807" y="855"/>
                      <a:pt x="806" y="849"/>
                      <a:pt x="802" y="847"/>
                    </a:cubicBezTo>
                    <a:cubicBezTo>
                      <a:pt x="804" y="843"/>
                      <a:pt x="813" y="846"/>
                      <a:pt x="814" y="842"/>
                    </a:cubicBezTo>
                    <a:cubicBezTo>
                      <a:pt x="805" y="839"/>
                      <a:pt x="794" y="842"/>
                      <a:pt x="784" y="842"/>
                    </a:cubicBezTo>
                    <a:cubicBezTo>
                      <a:pt x="778" y="844"/>
                      <a:pt x="765" y="855"/>
                      <a:pt x="756" y="856"/>
                    </a:cubicBezTo>
                    <a:cubicBezTo>
                      <a:pt x="749" y="856"/>
                      <a:pt x="741" y="847"/>
                      <a:pt x="735" y="846"/>
                    </a:cubicBezTo>
                    <a:cubicBezTo>
                      <a:pt x="715" y="842"/>
                      <a:pt x="689" y="860"/>
                      <a:pt x="691" y="835"/>
                    </a:cubicBezTo>
                    <a:cubicBezTo>
                      <a:pt x="672" y="822"/>
                      <a:pt x="644" y="837"/>
                      <a:pt x="630" y="847"/>
                    </a:cubicBezTo>
                    <a:cubicBezTo>
                      <a:pt x="628" y="842"/>
                      <a:pt x="626" y="836"/>
                      <a:pt x="625" y="830"/>
                    </a:cubicBezTo>
                    <a:cubicBezTo>
                      <a:pt x="633" y="828"/>
                      <a:pt x="642" y="826"/>
                      <a:pt x="641" y="815"/>
                    </a:cubicBezTo>
                    <a:cubicBezTo>
                      <a:pt x="631" y="811"/>
                      <a:pt x="615" y="814"/>
                      <a:pt x="615" y="825"/>
                    </a:cubicBezTo>
                    <a:cubicBezTo>
                      <a:pt x="611" y="827"/>
                      <a:pt x="609" y="826"/>
                      <a:pt x="604" y="826"/>
                    </a:cubicBezTo>
                    <a:cubicBezTo>
                      <a:pt x="598" y="831"/>
                      <a:pt x="591" y="839"/>
                      <a:pt x="579" y="834"/>
                    </a:cubicBezTo>
                    <a:cubicBezTo>
                      <a:pt x="575" y="836"/>
                      <a:pt x="575" y="842"/>
                      <a:pt x="570" y="843"/>
                    </a:cubicBezTo>
                    <a:cubicBezTo>
                      <a:pt x="554" y="836"/>
                      <a:pt x="543" y="855"/>
                      <a:pt x="545" y="870"/>
                    </a:cubicBezTo>
                    <a:cubicBezTo>
                      <a:pt x="544" y="871"/>
                      <a:pt x="541" y="871"/>
                      <a:pt x="538" y="871"/>
                    </a:cubicBezTo>
                    <a:cubicBezTo>
                      <a:pt x="534" y="881"/>
                      <a:pt x="521" y="881"/>
                      <a:pt x="516" y="889"/>
                    </a:cubicBezTo>
                    <a:cubicBezTo>
                      <a:pt x="502" y="886"/>
                      <a:pt x="503" y="867"/>
                      <a:pt x="482" y="870"/>
                    </a:cubicBezTo>
                    <a:cubicBezTo>
                      <a:pt x="479" y="866"/>
                      <a:pt x="472" y="866"/>
                      <a:pt x="465" y="866"/>
                    </a:cubicBezTo>
                    <a:cubicBezTo>
                      <a:pt x="460" y="870"/>
                      <a:pt x="457" y="874"/>
                      <a:pt x="448" y="873"/>
                    </a:cubicBezTo>
                    <a:cubicBezTo>
                      <a:pt x="441" y="881"/>
                      <a:pt x="431" y="884"/>
                      <a:pt x="423" y="876"/>
                    </a:cubicBezTo>
                    <a:cubicBezTo>
                      <a:pt x="420" y="877"/>
                      <a:pt x="417" y="877"/>
                      <a:pt x="414" y="877"/>
                    </a:cubicBezTo>
                    <a:cubicBezTo>
                      <a:pt x="411" y="873"/>
                      <a:pt x="413" y="872"/>
                      <a:pt x="412" y="867"/>
                    </a:cubicBezTo>
                    <a:cubicBezTo>
                      <a:pt x="397" y="862"/>
                      <a:pt x="392" y="847"/>
                      <a:pt x="387" y="832"/>
                    </a:cubicBezTo>
                    <a:cubicBezTo>
                      <a:pt x="388" y="829"/>
                      <a:pt x="392" y="828"/>
                      <a:pt x="393" y="826"/>
                    </a:cubicBezTo>
                    <a:cubicBezTo>
                      <a:pt x="393" y="821"/>
                      <a:pt x="390" y="820"/>
                      <a:pt x="390" y="816"/>
                    </a:cubicBezTo>
                    <a:cubicBezTo>
                      <a:pt x="391" y="813"/>
                      <a:pt x="394" y="811"/>
                      <a:pt x="398" y="810"/>
                    </a:cubicBezTo>
                    <a:cubicBezTo>
                      <a:pt x="392" y="788"/>
                      <a:pt x="412" y="783"/>
                      <a:pt x="407" y="767"/>
                    </a:cubicBezTo>
                    <a:cubicBezTo>
                      <a:pt x="410" y="766"/>
                      <a:pt x="411" y="764"/>
                      <a:pt x="412" y="761"/>
                    </a:cubicBezTo>
                    <a:cubicBezTo>
                      <a:pt x="400" y="755"/>
                      <a:pt x="388" y="739"/>
                      <a:pt x="370" y="744"/>
                    </a:cubicBezTo>
                    <a:cubicBezTo>
                      <a:pt x="363" y="737"/>
                      <a:pt x="357" y="746"/>
                      <a:pt x="351" y="747"/>
                    </a:cubicBezTo>
                    <a:cubicBezTo>
                      <a:pt x="346" y="748"/>
                      <a:pt x="341" y="745"/>
                      <a:pt x="337" y="744"/>
                    </a:cubicBezTo>
                    <a:cubicBezTo>
                      <a:pt x="333" y="743"/>
                      <a:pt x="328" y="746"/>
                      <a:pt x="328" y="740"/>
                    </a:cubicBezTo>
                    <a:cubicBezTo>
                      <a:pt x="321" y="744"/>
                      <a:pt x="314" y="744"/>
                      <a:pt x="309" y="741"/>
                    </a:cubicBezTo>
                    <a:cubicBezTo>
                      <a:pt x="308" y="733"/>
                      <a:pt x="319" y="736"/>
                      <a:pt x="322" y="732"/>
                    </a:cubicBezTo>
                    <a:cubicBezTo>
                      <a:pt x="323" y="728"/>
                      <a:pt x="323" y="723"/>
                      <a:pt x="323" y="717"/>
                    </a:cubicBezTo>
                    <a:cubicBezTo>
                      <a:pt x="326" y="713"/>
                      <a:pt x="330" y="708"/>
                      <a:pt x="331" y="702"/>
                    </a:cubicBezTo>
                    <a:cubicBezTo>
                      <a:pt x="330" y="700"/>
                      <a:pt x="327" y="700"/>
                      <a:pt x="328" y="697"/>
                    </a:cubicBezTo>
                    <a:cubicBezTo>
                      <a:pt x="329" y="697"/>
                      <a:pt x="328" y="695"/>
                      <a:pt x="329" y="695"/>
                    </a:cubicBezTo>
                    <a:cubicBezTo>
                      <a:pt x="332" y="697"/>
                      <a:pt x="334" y="699"/>
                      <a:pt x="339" y="698"/>
                    </a:cubicBezTo>
                    <a:cubicBezTo>
                      <a:pt x="342" y="691"/>
                      <a:pt x="345" y="684"/>
                      <a:pt x="349" y="678"/>
                    </a:cubicBezTo>
                    <a:cubicBezTo>
                      <a:pt x="347" y="661"/>
                      <a:pt x="369" y="660"/>
                      <a:pt x="369" y="641"/>
                    </a:cubicBezTo>
                    <a:cubicBezTo>
                      <a:pt x="362" y="641"/>
                      <a:pt x="351" y="638"/>
                      <a:pt x="342" y="638"/>
                    </a:cubicBezTo>
                    <a:cubicBezTo>
                      <a:pt x="336" y="638"/>
                      <a:pt x="325" y="642"/>
                      <a:pt x="318" y="642"/>
                    </a:cubicBezTo>
                    <a:cubicBezTo>
                      <a:pt x="314" y="643"/>
                      <a:pt x="311" y="641"/>
                      <a:pt x="308" y="641"/>
                    </a:cubicBezTo>
                    <a:cubicBezTo>
                      <a:pt x="299" y="644"/>
                      <a:pt x="297" y="657"/>
                      <a:pt x="297" y="667"/>
                    </a:cubicBezTo>
                    <a:cubicBezTo>
                      <a:pt x="293" y="668"/>
                      <a:pt x="292" y="672"/>
                      <a:pt x="291" y="676"/>
                    </a:cubicBezTo>
                    <a:cubicBezTo>
                      <a:pt x="281" y="679"/>
                      <a:pt x="276" y="688"/>
                      <a:pt x="269" y="693"/>
                    </a:cubicBezTo>
                    <a:cubicBezTo>
                      <a:pt x="259" y="681"/>
                      <a:pt x="233" y="694"/>
                      <a:pt x="218" y="695"/>
                    </a:cubicBezTo>
                    <a:cubicBezTo>
                      <a:pt x="216" y="692"/>
                      <a:pt x="215" y="688"/>
                      <a:pt x="212" y="686"/>
                    </a:cubicBezTo>
                    <a:cubicBezTo>
                      <a:pt x="208" y="685"/>
                      <a:pt x="203" y="685"/>
                      <a:pt x="199" y="684"/>
                    </a:cubicBezTo>
                    <a:cubicBezTo>
                      <a:pt x="200" y="676"/>
                      <a:pt x="195" y="674"/>
                      <a:pt x="194" y="669"/>
                    </a:cubicBezTo>
                    <a:cubicBezTo>
                      <a:pt x="194" y="656"/>
                      <a:pt x="187" y="645"/>
                      <a:pt x="186" y="631"/>
                    </a:cubicBezTo>
                    <a:cubicBezTo>
                      <a:pt x="186" y="626"/>
                      <a:pt x="188" y="620"/>
                      <a:pt x="188" y="614"/>
                    </a:cubicBezTo>
                    <a:cubicBezTo>
                      <a:pt x="201" y="609"/>
                      <a:pt x="195" y="585"/>
                      <a:pt x="206" y="579"/>
                    </a:cubicBezTo>
                    <a:cubicBezTo>
                      <a:pt x="207" y="575"/>
                      <a:pt x="206" y="569"/>
                      <a:pt x="210" y="568"/>
                    </a:cubicBezTo>
                    <a:cubicBezTo>
                      <a:pt x="214" y="568"/>
                      <a:pt x="215" y="567"/>
                      <a:pt x="217" y="567"/>
                    </a:cubicBezTo>
                    <a:cubicBezTo>
                      <a:pt x="216" y="561"/>
                      <a:pt x="222" y="562"/>
                      <a:pt x="223" y="557"/>
                    </a:cubicBezTo>
                    <a:cubicBezTo>
                      <a:pt x="224" y="553"/>
                      <a:pt x="221" y="549"/>
                      <a:pt x="222" y="545"/>
                    </a:cubicBezTo>
                    <a:cubicBezTo>
                      <a:pt x="222" y="541"/>
                      <a:pt x="227" y="539"/>
                      <a:pt x="227" y="537"/>
                    </a:cubicBezTo>
                    <a:cubicBezTo>
                      <a:pt x="227" y="535"/>
                      <a:pt x="222" y="535"/>
                      <a:pt x="225" y="533"/>
                    </a:cubicBezTo>
                    <a:cubicBezTo>
                      <a:pt x="231" y="533"/>
                      <a:pt x="231" y="533"/>
                      <a:pt x="231" y="533"/>
                    </a:cubicBezTo>
                    <a:cubicBezTo>
                      <a:pt x="232" y="520"/>
                      <a:pt x="250" y="522"/>
                      <a:pt x="254" y="511"/>
                    </a:cubicBezTo>
                    <a:cubicBezTo>
                      <a:pt x="266" y="518"/>
                      <a:pt x="283" y="504"/>
                      <a:pt x="284" y="494"/>
                    </a:cubicBezTo>
                    <a:cubicBezTo>
                      <a:pt x="292" y="500"/>
                      <a:pt x="298" y="498"/>
                      <a:pt x="304" y="491"/>
                    </a:cubicBezTo>
                    <a:cubicBezTo>
                      <a:pt x="308" y="494"/>
                      <a:pt x="310" y="493"/>
                      <a:pt x="315" y="491"/>
                    </a:cubicBezTo>
                    <a:cubicBezTo>
                      <a:pt x="318" y="492"/>
                      <a:pt x="318" y="496"/>
                      <a:pt x="321" y="497"/>
                    </a:cubicBezTo>
                    <a:cubicBezTo>
                      <a:pt x="329" y="499"/>
                      <a:pt x="329" y="493"/>
                      <a:pt x="334" y="492"/>
                    </a:cubicBezTo>
                    <a:cubicBezTo>
                      <a:pt x="337" y="495"/>
                      <a:pt x="338" y="500"/>
                      <a:pt x="340" y="504"/>
                    </a:cubicBezTo>
                    <a:cubicBezTo>
                      <a:pt x="350" y="505"/>
                      <a:pt x="350" y="504"/>
                      <a:pt x="359" y="507"/>
                    </a:cubicBezTo>
                    <a:cubicBezTo>
                      <a:pt x="361" y="505"/>
                      <a:pt x="359" y="500"/>
                      <a:pt x="363" y="500"/>
                    </a:cubicBezTo>
                    <a:cubicBezTo>
                      <a:pt x="367" y="503"/>
                      <a:pt x="369" y="511"/>
                      <a:pt x="376" y="507"/>
                    </a:cubicBezTo>
                    <a:cubicBezTo>
                      <a:pt x="376" y="501"/>
                      <a:pt x="371" y="502"/>
                      <a:pt x="371" y="497"/>
                    </a:cubicBezTo>
                    <a:cubicBezTo>
                      <a:pt x="373" y="494"/>
                      <a:pt x="377" y="494"/>
                      <a:pt x="374" y="490"/>
                    </a:cubicBezTo>
                    <a:cubicBezTo>
                      <a:pt x="382" y="483"/>
                      <a:pt x="395" y="488"/>
                      <a:pt x="403" y="482"/>
                    </a:cubicBezTo>
                    <a:cubicBezTo>
                      <a:pt x="402" y="485"/>
                      <a:pt x="405" y="484"/>
                      <a:pt x="405" y="486"/>
                    </a:cubicBezTo>
                    <a:cubicBezTo>
                      <a:pt x="418" y="482"/>
                      <a:pt x="437" y="482"/>
                      <a:pt x="438" y="497"/>
                    </a:cubicBezTo>
                    <a:cubicBezTo>
                      <a:pt x="447" y="503"/>
                      <a:pt x="452" y="491"/>
                      <a:pt x="462" y="491"/>
                    </a:cubicBezTo>
                    <a:cubicBezTo>
                      <a:pt x="466" y="494"/>
                      <a:pt x="467" y="500"/>
                      <a:pt x="470" y="505"/>
                    </a:cubicBezTo>
                    <a:cubicBezTo>
                      <a:pt x="472" y="507"/>
                      <a:pt x="479" y="505"/>
                      <a:pt x="479" y="508"/>
                    </a:cubicBezTo>
                    <a:cubicBezTo>
                      <a:pt x="480" y="517"/>
                      <a:pt x="472" y="518"/>
                      <a:pt x="472" y="526"/>
                    </a:cubicBezTo>
                    <a:cubicBezTo>
                      <a:pt x="472" y="529"/>
                      <a:pt x="476" y="529"/>
                      <a:pt x="476" y="531"/>
                    </a:cubicBezTo>
                    <a:cubicBezTo>
                      <a:pt x="475" y="534"/>
                      <a:pt x="471" y="534"/>
                      <a:pt x="471" y="538"/>
                    </a:cubicBezTo>
                    <a:cubicBezTo>
                      <a:pt x="470" y="544"/>
                      <a:pt x="475" y="545"/>
                      <a:pt x="478" y="548"/>
                    </a:cubicBezTo>
                    <a:cubicBezTo>
                      <a:pt x="476" y="556"/>
                      <a:pt x="482" y="563"/>
                      <a:pt x="486" y="567"/>
                    </a:cubicBezTo>
                    <a:cubicBezTo>
                      <a:pt x="483" y="572"/>
                      <a:pt x="487" y="575"/>
                      <a:pt x="489" y="578"/>
                    </a:cubicBezTo>
                    <a:cubicBezTo>
                      <a:pt x="502" y="579"/>
                      <a:pt x="506" y="567"/>
                      <a:pt x="509" y="560"/>
                    </a:cubicBezTo>
                    <a:cubicBezTo>
                      <a:pt x="511" y="554"/>
                      <a:pt x="515" y="551"/>
                      <a:pt x="515" y="547"/>
                    </a:cubicBezTo>
                    <a:cubicBezTo>
                      <a:pt x="515" y="542"/>
                      <a:pt x="509" y="535"/>
                      <a:pt x="510" y="526"/>
                    </a:cubicBezTo>
                    <a:cubicBezTo>
                      <a:pt x="510" y="524"/>
                      <a:pt x="512" y="522"/>
                      <a:pt x="513" y="520"/>
                    </a:cubicBezTo>
                    <a:cubicBezTo>
                      <a:pt x="515" y="507"/>
                      <a:pt x="503" y="498"/>
                      <a:pt x="508" y="482"/>
                    </a:cubicBezTo>
                    <a:cubicBezTo>
                      <a:pt x="515" y="469"/>
                      <a:pt x="525" y="459"/>
                      <a:pt x="536" y="450"/>
                    </a:cubicBezTo>
                    <a:cubicBezTo>
                      <a:pt x="545" y="450"/>
                      <a:pt x="545" y="450"/>
                      <a:pt x="545" y="450"/>
                    </a:cubicBezTo>
                    <a:cubicBezTo>
                      <a:pt x="547" y="445"/>
                      <a:pt x="553" y="446"/>
                      <a:pt x="558" y="443"/>
                    </a:cubicBezTo>
                    <a:cubicBezTo>
                      <a:pt x="567" y="436"/>
                      <a:pt x="568" y="424"/>
                      <a:pt x="584" y="429"/>
                    </a:cubicBezTo>
                    <a:cubicBezTo>
                      <a:pt x="589" y="426"/>
                      <a:pt x="590" y="419"/>
                      <a:pt x="597" y="417"/>
                    </a:cubicBezTo>
                    <a:cubicBezTo>
                      <a:pt x="603" y="415"/>
                      <a:pt x="612" y="419"/>
                      <a:pt x="616" y="412"/>
                    </a:cubicBezTo>
                    <a:cubicBezTo>
                      <a:pt x="613" y="410"/>
                      <a:pt x="610" y="408"/>
                      <a:pt x="611" y="403"/>
                    </a:cubicBezTo>
                    <a:cubicBezTo>
                      <a:pt x="614" y="401"/>
                      <a:pt x="617" y="404"/>
                      <a:pt x="620" y="404"/>
                    </a:cubicBezTo>
                    <a:cubicBezTo>
                      <a:pt x="622" y="402"/>
                      <a:pt x="626" y="401"/>
                      <a:pt x="627" y="397"/>
                    </a:cubicBezTo>
                    <a:cubicBezTo>
                      <a:pt x="624" y="395"/>
                      <a:pt x="619" y="396"/>
                      <a:pt x="617" y="394"/>
                    </a:cubicBezTo>
                    <a:cubicBezTo>
                      <a:pt x="620" y="394"/>
                      <a:pt x="623" y="392"/>
                      <a:pt x="627" y="392"/>
                    </a:cubicBezTo>
                    <a:cubicBezTo>
                      <a:pt x="631" y="382"/>
                      <a:pt x="623" y="377"/>
                      <a:pt x="627" y="370"/>
                    </a:cubicBezTo>
                    <a:cubicBezTo>
                      <a:pt x="624" y="368"/>
                      <a:pt x="620" y="363"/>
                      <a:pt x="622" y="359"/>
                    </a:cubicBezTo>
                    <a:cubicBezTo>
                      <a:pt x="625" y="359"/>
                      <a:pt x="625" y="362"/>
                      <a:pt x="629" y="361"/>
                    </a:cubicBezTo>
                    <a:cubicBezTo>
                      <a:pt x="631" y="361"/>
                      <a:pt x="630" y="357"/>
                      <a:pt x="632" y="356"/>
                    </a:cubicBezTo>
                    <a:cubicBezTo>
                      <a:pt x="633" y="359"/>
                      <a:pt x="637" y="359"/>
                      <a:pt x="637" y="363"/>
                    </a:cubicBezTo>
                    <a:cubicBezTo>
                      <a:pt x="635" y="369"/>
                      <a:pt x="629" y="371"/>
                      <a:pt x="631" y="377"/>
                    </a:cubicBezTo>
                    <a:cubicBezTo>
                      <a:pt x="636" y="377"/>
                      <a:pt x="636" y="372"/>
                      <a:pt x="640" y="369"/>
                    </a:cubicBezTo>
                    <a:cubicBezTo>
                      <a:pt x="643" y="366"/>
                      <a:pt x="648" y="366"/>
                      <a:pt x="650" y="363"/>
                    </a:cubicBezTo>
                    <a:cubicBezTo>
                      <a:pt x="654" y="356"/>
                      <a:pt x="647" y="351"/>
                      <a:pt x="650" y="341"/>
                    </a:cubicBezTo>
                    <a:cubicBezTo>
                      <a:pt x="653" y="344"/>
                      <a:pt x="654" y="347"/>
                      <a:pt x="654" y="351"/>
                    </a:cubicBezTo>
                    <a:cubicBezTo>
                      <a:pt x="664" y="347"/>
                      <a:pt x="666" y="336"/>
                      <a:pt x="675" y="332"/>
                    </a:cubicBezTo>
                    <a:cubicBezTo>
                      <a:pt x="676" y="328"/>
                      <a:pt x="671" y="328"/>
                      <a:pt x="674" y="325"/>
                    </a:cubicBezTo>
                    <a:cubicBezTo>
                      <a:pt x="697" y="331"/>
                      <a:pt x="705" y="310"/>
                      <a:pt x="722" y="310"/>
                    </a:cubicBezTo>
                    <a:cubicBezTo>
                      <a:pt x="723" y="312"/>
                      <a:pt x="722" y="314"/>
                      <a:pt x="725" y="314"/>
                    </a:cubicBezTo>
                    <a:cubicBezTo>
                      <a:pt x="727" y="311"/>
                      <a:pt x="732" y="312"/>
                      <a:pt x="735" y="309"/>
                    </a:cubicBezTo>
                    <a:cubicBezTo>
                      <a:pt x="735" y="306"/>
                      <a:pt x="734" y="304"/>
                      <a:pt x="733" y="303"/>
                    </a:cubicBezTo>
                    <a:cubicBezTo>
                      <a:pt x="729" y="302"/>
                      <a:pt x="732" y="307"/>
                      <a:pt x="728" y="306"/>
                    </a:cubicBezTo>
                    <a:cubicBezTo>
                      <a:pt x="719" y="298"/>
                      <a:pt x="730" y="288"/>
                      <a:pt x="736" y="281"/>
                    </a:cubicBezTo>
                    <a:cubicBezTo>
                      <a:pt x="744" y="281"/>
                      <a:pt x="749" y="276"/>
                      <a:pt x="754" y="273"/>
                    </a:cubicBezTo>
                    <a:cubicBezTo>
                      <a:pt x="760" y="275"/>
                      <a:pt x="773" y="269"/>
                      <a:pt x="778" y="263"/>
                    </a:cubicBezTo>
                    <a:cubicBezTo>
                      <a:pt x="789" y="262"/>
                      <a:pt x="796" y="257"/>
                      <a:pt x="805" y="256"/>
                    </a:cubicBezTo>
                    <a:cubicBezTo>
                      <a:pt x="803" y="264"/>
                      <a:pt x="791" y="266"/>
                      <a:pt x="785" y="272"/>
                    </a:cubicBezTo>
                    <a:cubicBezTo>
                      <a:pt x="783" y="281"/>
                      <a:pt x="788" y="282"/>
                      <a:pt x="794" y="283"/>
                    </a:cubicBezTo>
                    <a:cubicBezTo>
                      <a:pt x="798" y="277"/>
                      <a:pt x="808" y="278"/>
                      <a:pt x="810" y="270"/>
                    </a:cubicBezTo>
                    <a:cubicBezTo>
                      <a:pt x="823" y="272"/>
                      <a:pt x="833" y="264"/>
                      <a:pt x="844" y="261"/>
                    </a:cubicBezTo>
                    <a:cubicBezTo>
                      <a:pt x="842" y="247"/>
                      <a:pt x="816" y="262"/>
                      <a:pt x="813" y="247"/>
                    </a:cubicBezTo>
                    <a:cubicBezTo>
                      <a:pt x="797" y="248"/>
                      <a:pt x="804" y="233"/>
                      <a:pt x="808" y="226"/>
                    </a:cubicBezTo>
                    <a:cubicBezTo>
                      <a:pt x="802" y="228"/>
                      <a:pt x="793" y="231"/>
                      <a:pt x="790" y="225"/>
                    </a:cubicBezTo>
                    <a:cubicBezTo>
                      <a:pt x="794" y="224"/>
                      <a:pt x="796" y="227"/>
                      <a:pt x="799" y="227"/>
                    </a:cubicBezTo>
                    <a:cubicBezTo>
                      <a:pt x="802" y="225"/>
                      <a:pt x="804" y="221"/>
                      <a:pt x="810" y="222"/>
                    </a:cubicBezTo>
                    <a:cubicBezTo>
                      <a:pt x="812" y="220"/>
                      <a:pt x="810" y="218"/>
                      <a:pt x="811" y="215"/>
                    </a:cubicBezTo>
                    <a:cubicBezTo>
                      <a:pt x="788" y="205"/>
                      <a:pt x="761" y="220"/>
                      <a:pt x="747" y="231"/>
                    </a:cubicBezTo>
                    <a:cubicBezTo>
                      <a:pt x="755" y="221"/>
                      <a:pt x="764" y="212"/>
                      <a:pt x="780" y="210"/>
                    </a:cubicBezTo>
                    <a:cubicBezTo>
                      <a:pt x="783" y="199"/>
                      <a:pt x="807" y="199"/>
                      <a:pt x="820" y="200"/>
                    </a:cubicBezTo>
                    <a:cubicBezTo>
                      <a:pt x="832" y="201"/>
                      <a:pt x="846" y="204"/>
                      <a:pt x="856" y="198"/>
                    </a:cubicBezTo>
                    <a:cubicBezTo>
                      <a:pt x="858" y="196"/>
                      <a:pt x="859" y="192"/>
                      <a:pt x="862" y="189"/>
                    </a:cubicBezTo>
                    <a:cubicBezTo>
                      <a:pt x="870" y="185"/>
                      <a:pt x="880" y="188"/>
                      <a:pt x="885" y="181"/>
                    </a:cubicBezTo>
                    <a:cubicBezTo>
                      <a:pt x="880" y="178"/>
                      <a:pt x="878" y="173"/>
                      <a:pt x="881" y="168"/>
                    </a:cubicBezTo>
                    <a:cubicBezTo>
                      <a:pt x="877" y="166"/>
                      <a:pt x="874" y="164"/>
                      <a:pt x="870" y="162"/>
                    </a:cubicBezTo>
                    <a:cubicBezTo>
                      <a:pt x="868" y="163"/>
                      <a:pt x="870" y="167"/>
                      <a:pt x="867" y="166"/>
                    </a:cubicBezTo>
                    <a:cubicBezTo>
                      <a:pt x="865" y="163"/>
                      <a:pt x="865" y="157"/>
                      <a:pt x="857" y="159"/>
                    </a:cubicBezTo>
                    <a:cubicBezTo>
                      <a:pt x="855" y="162"/>
                      <a:pt x="850" y="167"/>
                      <a:pt x="845" y="163"/>
                    </a:cubicBezTo>
                    <a:cubicBezTo>
                      <a:pt x="850" y="159"/>
                      <a:pt x="859" y="158"/>
                      <a:pt x="866" y="156"/>
                    </a:cubicBezTo>
                    <a:cubicBezTo>
                      <a:pt x="858" y="147"/>
                      <a:pt x="841" y="156"/>
                      <a:pt x="837" y="143"/>
                    </a:cubicBezTo>
                    <a:cubicBezTo>
                      <a:pt x="830" y="142"/>
                      <a:pt x="825" y="139"/>
                      <a:pt x="822" y="135"/>
                    </a:cubicBezTo>
                    <a:cubicBezTo>
                      <a:pt x="824" y="135"/>
                      <a:pt x="827" y="135"/>
                      <a:pt x="828" y="134"/>
                    </a:cubicBezTo>
                    <a:cubicBezTo>
                      <a:pt x="825" y="130"/>
                      <a:pt x="821" y="130"/>
                      <a:pt x="822" y="125"/>
                    </a:cubicBezTo>
                    <a:cubicBezTo>
                      <a:pt x="810" y="121"/>
                      <a:pt x="809" y="110"/>
                      <a:pt x="797" y="105"/>
                    </a:cubicBezTo>
                    <a:cubicBezTo>
                      <a:pt x="794" y="109"/>
                      <a:pt x="795" y="112"/>
                      <a:pt x="791" y="116"/>
                    </a:cubicBezTo>
                    <a:cubicBezTo>
                      <a:pt x="789" y="116"/>
                      <a:pt x="789" y="114"/>
                      <a:pt x="786" y="114"/>
                    </a:cubicBezTo>
                    <a:cubicBezTo>
                      <a:pt x="785" y="117"/>
                      <a:pt x="783" y="120"/>
                      <a:pt x="781" y="121"/>
                    </a:cubicBezTo>
                    <a:cubicBezTo>
                      <a:pt x="776" y="119"/>
                      <a:pt x="773" y="115"/>
                      <a:pt x="765" y="113"/>
                    </a:cubicBezTo>
                    <a:cubicBezTo>
                      <a:pt x="766" y="109"/>
                      <a:pt x="766" y="109"/>
                      <a:pt x="763" y="106"/>
                    </a:cubicBezTo>
                    <a:cubicBezTo>
                      <a:pt x="764" y="104"/>
                      <a:pt x="766" y="102"/>
                      <a:pt x="767" y="100"/>
                    </a:cubicBezTo>
                    <a:cubicBezTo>
                      <a:pt x="762" y="99"/>
                      <a:pt x="759" y="96"/>
                      <a:pt x="752" y="97"/>
                    </a:cubicBezTo>
                    <a:cubicBezTo>
                      <a:pt x="751" y="90"/>
                      <a:pt x="742" y="92"/>
                      <a:pt x="738" y="88"/>
                    </a:cubicBezTo>
                    <a:cubicBezTo>
                      <a:pt x="729" y="93"/>
                      <a:pt x="713" y="81"/>
                      <a:pt x="708" y="90"/>
                    </a:cubicBezTo>
                    <a:cubicBezTo>
                      <a:pt x="708" y="93"/>
                      <a:pt x="712" y="92"/>
                      <a:pt x="712" y="95"/>
                    </a:cubicBezTo>
                    <a:cubicBezTo>
                      <a:pt x="709" y="96"/>
                      <a:pt x="709" y="98"/>
                      <a:pt x="706" y="98"/>
                    </a:cubicBezTo>
                    <a:cubicBezTo>
                      <a:pt x="706" y="102"/>
                      <a:pt x="708" y="104"/>
                      <a:pt x="709" y="107"/>
                    </a:cubicBezTo>
                    <a:cubicBezTo>
                      <a:pt x="704" y="109"/>
                      <a:pt x="700" y="113"/>
                      <a:pt x="696" y="116"/>
                    </a:cubicBezTo>
                    <a:cubicBezTo>
                      <a:pt x="698" y="120"/>
                      <a:pt x="704" y="120"/>
                      <a:pt x="707" y="123"/>
                    </a:cubicBezTo>
                    <a:cubicBezTo>
                      <a:pt x="713" y="143"/>
                      <a:pt x="691" y="149"/>
                      <a:pt x="672" y="150"/>
                    </a:cubicBezTo>
                    <a:cubicBezTo>
                      <a:pt x="670" y="154"/>
                      <a:pt x="675" y="156"/>
                      <a:pt x="675" y="161"/>
                    </a:cubicBezTo>
                    <a:cubicBezTo>
                      <a:pt x="673" y="165"/>
                      <a:pt x="671" y="171"/>
                      <a:pt x="673" y="178"/>
                    </a:cubicBezTo>
                    <a:cubicBezTo>
                      <a:pt x="668" y="179"/>
                      <a:pt x="665" y="182"/>
                      <a:pt x="665" y="187"/>
                    </a:cubicBezTo>
                    <a:cubicBezTo>
                      <a:pt x="660" y="180"/>
                      <a:pt x="656" y="190"/>
                      <a:pt x="648" y="188"/>
                    </a:cubicBezTo>
                    <a:cubicBezTo>
                      <a:pt x="647" y="185"/>
                      <a:pt x="651" y="187"/>
                      <a:pt x="650" y="184"/>
                    </a:cubicBezTo>
                    <a:cubicBezTo>
                      <a:pt x="645" y="181"/>
                      <a:pt x="641" y="177"/>
                      <a:pt x="641" y="170"/>
                    </a:cubicBezTo>
                    <a:cubicBezTo>
                      <a:pt x="645" y="165"/>
                      <a:pt x="648" y="156"/>
                      <a:pt x="651" y="149"/>
                    </a:cubicBezTo>
                    <a:cubicBezTo>
                      <a:pt x="644" y="146"/>
                      <a:pt x="634" y="147"/>
                      <a:pt x="624" y="147"/>
                    </a:cubicBezTo>
                    <a:cubicBezTo>
                      <a:pt x="624" y="141"/>
                      <a:pt x="614" y="143"/>
                      <a:pt x="610" y="140"/>
                    </a:cubicBezTo>
                    <a:cubicBezTo>
                      <a:pt x="607" y="128"/>
                      <a:pt x="588" y="131"/>
                      <a:pt x="575" y="129"/>
                    </a:cubicBezTo>
                    <a:cubicBezTo>
                      <a:pt x="576" y="125"/>
                      <a:pt x="580" y="119"/>
                      <a:pt x="579" y="115"/>
                    </a:cubicBezTo>
                    <a:cubicBezTo>
                      <a:pt x="576" y="115"/>
                      <a:pt x="571" y="117"/>
                      <a:pt x="569" y="114"/>
                    </a:cubicBezTo>
                    <a:cubicBezTo>
                      <a:pt x="574" y="106"/>
                      <a:pt x="585" y="100"/>
                      <a:pt x="594" y="94"/>
                    </a:cubicBezTo>
                    <a:cubicBezTo>
                      <a:pt x="604" y="89"/>
                      <a:pt x="615" y="84"/>
                      <a:pt x="628" y="83"/>
                    </a:cubicBezTo>
                    <a:cubicBezTo>
                      <a:pt x="629" y="80"/>
                      <a:pt x="625" y="81"/>
                      <a:pt x="627" y="79"/>
                    </a:cubicBezTo>
                    <a:cubicBezTo>
                      <a:pt x="635" y="77"/>
                      <a:pt x="649" y="74"/>
                      <a:pt x="658" y="73"/>
                    </a:cubicBezTo>
                    <a:cubicBezTo>
                      <a:pt x="659" y="77"/>
                      <a:pt x="653" y="74"/>
                      <a:pt x="654" y="78"/>
                    </a:cubicBezTo>
                    <a:cubicBezTo>
                      <a:pt x="661" y="79"/>
                      <a:pt x="670" y="86"/>
                      <a:pt x="675" y="78"/>
                    </a:cubicBezTo>
                    <a:cubicBezTo>
                      <a:pt x="685" y="77"/>
                      <a:pt x="695" y="85"/>
                      <a:pt x="702" y="80"/>
                    </a:cubicBezTo>
                    <a:cubicBezTo>
                      <a:pt x="692" y="76"/>
                      <a:pt x="681" y="69"/>
                      <a:pt x="673" y="66"/>
                    </a:cubicBezTo>
                    <a:cubicBezTo>
                      <a:pt x="675" y="66"/>
                      <a:pt x="678" y="67"/>
                      <a:pt x="677" y="65"/>
                    </a:cubicBezTo>
                    <a:cubicBezTo>
                      <a:pt x="675" y="62"/>
                      <a:pt x="674" y="65"/>
                      <a:pt x="670" y="65"/>
                    </a:cubicBezTo>
                    <a:cubicBezTo>
                      <a:pt x="672" y="62"/>
                      <a:pt x="666" y="62"/>
                      <a:pt x="669" y="61"/>
                    </a:cubicBezTo>
                    <a:cubicBezTo>
                      <a:pt x="681" y="62"/>
                      <a:pt x="690" y="64"/>
                      <a:pt x="698" y="56"/>
                    </a:cubicBezTo>
                    <a:cubicBezTo>
                      <a:pt x="697" y="53"/>
                      <a:pt x="693" y="54"/>
                      <a:pt x="693" y="50"/>
                    </a:cubicBezTo>
                    <a:cubicBezTo>
                      <a:pt x="696" y="50"/>
                      <a:pt x="699" y="51"/>
                      <a:pt x="699" y="48"/>
                    </a:cubicBezTo>
                    <a:cubicBezTo>
                      <a:pt x="697" y="46"/>
                      <a:pt x="695" y="46"/>
                      <a:pt x="693" y="43"/>
                    </a:cubicBezTo>
                    <a:cubicBezTo>
                      <a:pt x="698" y="41"/>
                      <a:pt x="706" y="42"/>
                      <a:pt x="711" y="43"/>
                    </a:cubicBezTo>
                    <a:cubicBezTo>
                      <a:pt x="712" y="41"/>
                      <a:pt x="707" y="40"/>
                      <a:pt x="710" y="40"/>
                    </a:cubicBezTo>
                    <a:cubicBezTo>
                      <a:pt x="720" y="46"/>
                      <a:pt x="737" y="46"/>
                      <a:pt x="742" y="58"/>
                    </a:cubicBezTo>
                    <a:cubicBezTo>
                      <a:pt x="740" y="61"/>
                      <a:pt x="736" y="61"/>
                      <a:pt x="734" y="64"/>
                    </a:cubicBezTo>
                    <a:cubicBezTo>
                      <a:pt x="735" y="65"/>
                      <a:pt x="737" y="64"/>
                      <a:pt x="737" y="66"/>
                    </a:cubicBezTo>
                    <a:cubicBezTo>
                      <a:pt x="729" y="72"/>
                      <a:pt x="718" y="64"/>
                      <a:pt x="712" y="71"/>
                    </a:cubicBezTo>
                    <a:cubicBezTo>
                      <a:pt x="716" y="81"/>
                      <a:pt x="728" y="72"/>
                      <a:pt x="736" y="73"/>
                    </a:cubicBezTo>
                    <a:cubicBezTo>
                      <a:pt x="746" y="75"/>
                      <a:pt x="752" y="85"/>
                      <a:pt x="760" y="89"/>
                    </a:cubicBezTo>
                    <a:cubicBezTo>
                      <a:pt x="762" y="89"/>
                      <a:pt x="759" y="84"/>
                      <a:pt x="762" y="86"/>
                    </a:cubicBezTo>
                    <a:cubicBezTo>
                      <a:pt x="769" y="90"/>
                      <a:pt x="780" y="90"/>
                      <a:pt x="787" y="93"/>
                    </a:cubicBezTo>
                    <a:cubicBezTo>
                      <a:pt x="787" y="85"/>
                      <a:pt x="771" y="86"/>
                      <a:pt x="771" y="80"/>
                    </a:cubicBezTo>
                    <a:cubicBezTo>
                      <a:pt x="778" y="81"/>
                      <a:pt x="786" y="88"/>
                      <a:pt x="792" y="85"/>
                    </a:cubicBezTo>
                    <a:cubicBezTo>
                      <a:pt x="788" y="83"/>
                      <a:pt x="792" y="83"/>
                      <a:pt x="792" y="80"/>
                    </a:cubicBezTo>
                    <a:cubicBezTo>
                      <a:pt x="785" y="73"/>
                      <a:pt x="774" y="71"/>
                      <a:pt x="766" y="65"/>
                    </a:cubicBezTo>
                    <a:cubicBezTo>
                      <a:pt x="769" y="64"/>
                      <a:pt x="769" y="67"/>
                      <a:pt x="772" y="66"/>
                    </a:cubicBezTo>
                    <a:cubicBezTo>
                      <a:pt x="773" y="64"/>
                      <a:pt x="768" y="63"/>
                      <a:pt x="771" y="63"/>
                    </a:cubicBezTo>
                    <a:cubicBezTo>
                      <a:pt x="781" y="63"/>
                      <a:pt x="785" y="71"/>
                      <a:pt x="794" y="73"/>
                    </a:cubicBezTo>
                    <a:cubicBezTo>
                      <a:pt x="797" y="72"/>
                      <a:pt x="791" y="69"/>
                      <a:pt x="794" y="67"/>
                    </a:cubicBezTo>
                    <a:cubicBezTo>
                      <a:pt x="795" y="67"/>
                      <a:pt x="795" y="69"/>
                      <a:pt x="797" y="68"/>
                    </a:cubicBezTo>
                    <a:cubicBezTo>
                      <a:pt x="796" y="66"/>
                      <a:pt x="795" y="64"/>
                      <a:pt x="800" y="65"/>
                    </a:cubicBezTo>
                    <a:cubicBezTo>
                      <a:pt x="791" y="56"/>
                      <a:pt x="771" y="57"/>
                      <a:pt x="761" y="49"/>
                    </a:cubicBezTo>
                    <a:cubicBezTo>
                      <a:pt x="760" y="46"/>
                      <a:pt x="766" y="50"/>
                      <a:pt x="765" y="47"/>
                    </a:cubicBezTo>
                    <a:cubicBezTo>
                      <a:pt x="762" y="44"/>
                      <a:pt x="757" y="44"/>
                      <a:pt x="752" y="42"/>
                    </a:cubicBezTo>
                    <a:cubicBezTo>
                      <a:pt x="753" y="42"/>
                      <a:pt x="757" y="44"/>
                      <a:pt x="757" y="41"/>
                    </a:cubicBezTo>
                    <a:cubicBezTo>
                      <a:pt x="745" y="40"/>
                      <a:pt x="742" y="35"/>
                      <a:pt x="727" y="35"/>
                    </a:cubicBezTo>
                    <a:cubicBezTo>
                      <a:pt x="727" y="31"/>
                      <a:pt x="718" y="31"/>
                      <a:pt x="714" y="26"/>
                    </a:cubicBezTo>
                    <a:cubicBezTo>
                      <a:pt x="705" y="28"/>
                      <a:pt x="696" y="23"/>
                      <a:pt x="689" y="27"/>
                    </a:cubicBezTo>
                    <a:cubicBezTo>
                      <a:pt x="679" y="22"/>
                      <a:pt x="665" y="27"/>
                      <a:pt x="661" y="34"/>
                    </a:cubicBezTo>
                    <a:cubicBezTo>
                      <a:pt x="662" y="36"/>
                      <a:pt x="668" y="33"/>
                      <a:pt x="668" y="37"/>
                    </a:cubicBezTo>
                    <a:cubicBezTo>
                      <a:pt x="667" y="37"/>
                      <a:pt x="663" y="35"/>
                      <a:pt x="664" y="39"/>
                    </a:cubicBezTo>
                    <a:cubicBezTo>
                      <a:pt x="669" y="42"/>
                      <a:pt x="677" y="38"/>
                      <a:pt x="682" y="42"/>
                    </a:cubicBezTo>
                    <a:cubicBezTo>
                      <a:pt x="679" y="46"/>
                      <a:pt x="667" y="62"/>
                      <a:pt x="661" y="52"/>
                    </a:cubicBezTo>
                    <a:cubicBezTo>
                      <a:pt x="661" y="51"/>
                      <a:pt x="664" y="51"/>
                      <a:pt x="665" y="50"/>
                    </a:cubicBezTo>
                    <a:cubicBezTo>
                      <a:pt x="664" y="43"/>
                      <a:pt x="658" y="47"/>
                      <a:pt x="652" y="47"/>
                    </a:cubicBezTo>
                    <a:cubicBezTo>
                      <a:pt x="653" y="45"/>
                      <a:pt x="655" y="45"/>
                      <a:pt x="653" y="43"/>
                    </a:cubicBezTo>
                    <a:cubicBezTo>
                      <a:pt x="650" y="42"/>
                      <a:pt x="648" y="44"/>
                      <a:pt x="646" y="42"/>
                    </a:cubicBezTo>
                    <a:cubicBezTo>
                      <a:pt x="647" y="41"/>
                      <a:pt x="650" y="41"/>
                      <a:pt x="652" y="41"/>
                    </a:cubicBezTo>
                    <a:cubicBezTo>
                      <a:pt x="650" y="39"/>
                      <a:pt x="647" y="37"/>
                      <a:pt x="647" y="33"/>
                    </a:cubicBezTo>
                    <a:cubicBezTo>
                      <a:pt x="641" y="30"/>
                      <a:pt x="635" y="34"/>
                      <a:pt x="629" y="35"/>
                    </a:cubicBezTo>
                    <a:cubicBezTo>
                      <a:pt x="631" y="40"/>
                      <a:pt x="628" y="37"/>
                      <a:pt x="627" y="41"/>
                    </a:cubicBezTo>
                    <a:cubicBezTo>
                      <a:pt x="629" y="43"/>
                      <a:pt x="633" y="43"/>
                      <a:pt x="635" y="44"/>
                    </a:cubicBezTo>
                    <a:cubicBezTo>
                      <a:pt x="633" y="47"/>
                      <a:pt x="631" y="46"/>
                      <a:pt x="635" y="48"/>
                    </a:cubicBezTo>
                    <a:cubicBezTo>
                      <a:pt x="627" y="51"/>
                      <a:pt x="622" y="50"/>
                      <a:pt x="617" y="55"/>
                    </a:cubicBezTo>
                    <a:cubicBezTo>
                      <a:pt x="618" y="51"/>
                      <a:pt x="619" y="51"/>
                      <a:pt x="618" y="49"/>
                    </a:cubicBezTo>
                    <a:cubicBezTo>
                      <a:pt x="621" y="49"/>
                      <a:pt x="625" y="50"/>
                      <a:pt x="626" y="48"/>
                    </a:cubicBezTo>
                    <a:cubicBezTo>
                      <a:pt x="624" y="40"/>
                      <a:pt x="613" y="42"/>
                      <a:pt x="607" y="44"/>
                    </a:cubicBezTo>
                    <a:cubicBezTo>
                      <a:pt x="606" y="48"/>
                      <a:pt x="612" y="46"/>
                      <a:pt x="613" y="48"/>
                    </a:cubicBezTo>
                    <a:cubicBezTo>
                      <a:pt x="595" y="58"/>
                      <a:pt x="576" y="46"/>
                      <a:pt x="554" y="50"/>
                    </a:cubicBezTo>
                    <a:cubicBezTo>
                      <a:pt x="551" y="53"/>
                      <a:pt x="548" y="60"/>
                      <a:pt x="544" y="58"/>
                    </a:cubicBezTo>
                    <a:cubicBezTo>
                      <a:pt x="544" y="56"/>
                      <a:pt x="548" y="57"/>
                      <a:pt x="548" y="55"/>
                    </a:cubicBezTo>
                    <a:cubicBezTo>
                      <a:pt x="542" y="46"/>
                      <a:pt x="524" y="57"/>
                      <a:pt x="515" y="51"/>
                    </a:cubicBezTo>
                    <a:cubicBezTo>
                      <a:pt x="518" y="51"/>
                      <a:pt x="522" y="51"/>
                      <a:pt x="524" y="50"/>
                    </a:cubicBezTo>
                    <a:cubicBezTo>
                      <a:pt x="523" y="44"/>
                      <a:pt x="516" y="47"/>
                      <a:pt x="511" y="46"/>
                    </a:cubicBezTo>
                    <a:cubicBezTo>
                      <a:pt x="500" y="45"/>
                      <a:pt x="493" y="39"/>
                      <a:pt x="484" y="44"/>
                    </a:cubicBezTo>
                    <a:cubicBezTo>
                      <a:pt x="492" y="37"/>
                      <a:pt x="479" y="44"/>
                      <a:pt x="474" y="45"/>
                    </a:cubicBezTo>
                    <a:cubicBezTo>
                      <a:pt x="474" y="42"/>
                      <a:pt x="478" y="43"/>
                      <a:pt x="477" y="39"/>
                    </a:cubicBezTo>
                    <a:cubicBezTo>
                      <a:pt x="472" y="39"/>
                      <a:pt x="468" y="42"/>
                      <a:pt x="463" y="42"/>
                    </a:cubicBezTo>
                    <a:cubicBezTo>
                      <a:pt x="461" y="37"/>
                      <a:pt x="444" y="46"/>
                      <a:pt x="436" y="45"/>
                    </a:cubicBezTo>
                    <a:cubicBezTo>
                      <a:pt x="434" y="45"/>
                      <a:pt x="434" y="43"/>
                      <a:pt x="432" y="43"/>
                    </a:cubicBezTo>
                    <a:cubicBezTo>
                      <a:pt x="426" y="44"/>
                      <a:pt x="420" y="50"/>
                      <a:pt x="414" y="48"/>
                    </a:cubicBezTo>
                    <a:cubicBezTo>
                      <a:pt x="413" y="47"/>
                      <a:pt x="411" y="46"/>
                      <a:pt x="413" y="44"/>
                    </a:cubicBezTo>
                    <a:cubicBezTo>
                      <a:pt x="398" y="43"/>
                      <a:pt x="389" y="41"/>
                      <a:pt x="375" y="41"/>
                    </a:cubicBezTo>
                    <a:cubicBezTo>
                      <a:pt x="371" y="35"/>
                      <a:pt x="365" y="39"/>
                      <a:pt x="358" y="41"/>
                    </a:cubicBezTo>
                    <a:cubicBezTo>
                      <a:pt x="350" y="42"/>
                      <a:pt x="345" y="42"/>
                      <a:pt x="339" y="43"/>
                    </a:cubicBezTo>
                    <a:cubicBezTo>
                      <a:pt x="317" y="48"/>
                      <a:pt x="288" y="53"/>
                      <a:pt x="279" y="62"/>
                    </a:cubicBezTo>
                    <a:cubicBezTo>
                      <a:pt x="279" y="61"/>
                      <a:pt x="281" y="62"/>
                      <a:pt x="281" y="63"/>
                    </a:cubicBezTo>
                    <a:cubicBezTo>
                      <a:pt x="280" y="66"/>
                      <a:pt x="269" y="67"/>
                      <a:pt x="263" y="68"/>
                    </a:cubicBezTo>
                    <a:cubicBezTo>
                      <a:pt x="263" y="67"/>
                      <a:pt x="266" y="68"/>
                      <a:pt x="265" y="65"/>
                    </a:cubicBezTo>
                    <a:cubicBezTo>
                      <a:pt x="251" y="68"/>
                      <a:pt x="238" y="71"/>
                      <a:pt x="229" y="79"/>
                    </a:cubicBezTo>
                    <a:cubicBezTo>
                      <a:pt x="236" y="81"/>
                      <a:pt x="241" y="76"/>
                      <a:pt x="247" y="78"/>
                    </a:cubicBezTo>
                    <a:cubicBezTo>
                      <a:pt x="221" y="88"/>
                      <a:pt x="192" y="89"/>
                      <a:pt x="171" y="107"/>
                    </a:cubicBezTo>
                    <a:cubicBezTo>
                      <a:pt x="167" y="106"/>
                      <a:pt x="161" y="111"/>
                      <a:pt x="158" y="113"/>
                    </a:cubicBezTo>
                    <a:cubicBezTo>
                      <a:pt x="160" y="115"/>
                      <a:pt x="162" y="111"/>
                      <a:pt x="162" y="113"/>
                    </a:cubicBezTo>
                    <a:cubicBezTo>
                      <a:pt x="157" y="116"/>
                      <a:pt x="147" y="118"/>
                      <a:pt x="147" y="123"/>
                    </a:cubicBezTo>
                    <a:cubicBezTo>
                      <a:pt x="149" y="122"/>
                      <a:pt x="151" y="120"/>
                      <a:pt x="154" y="120"/>
                    </a:cubicBezTo>
                    <a:cubicBezTo>
                      <a:pt x="154" y="122"/>
                      <a:pt x="149" y="123"/>
                      <a:pt x="152" y="124"/>
                    </a:cubicBezTo>
                    <a:cubicBezTo>
                      <a:pt x="153" y="123"/>
                      <a:pt x="157" y="121"/>
                      <a:pt x="158" y="123"/>
                    </a:cubicBezTo>
                    <a:cubicBezTo>
                      <a:pt x="135" y="135"/>
                      <a:pt x="107" y="143"/>
                      <a:pt x="84" y="155"/>
                    </a:cubicBezTo>
                    <a:cubicBezTo>
                      <a:pt x="90" y="151"/>
                      <a:pt x="98" y="151"/>
                      <a:pt x="105" y="149"/>
                    </a:cubicBezTo>
                    <a:cubicBezTo>
                      <a:pt x="123" y="143"/>
                      <a:pt x="141" y="130"/>
                      <a:pt x="160" y="129"/>
                    </a:cubicBezTo>
                    <a:cubicBezTo>
                      <a:pt x="155" y="131"/>
                      <a:pt x="147" y="131"/>
                      <a:pt x="143" y="137"/>
                    </a:cubicBezTo>
                    <a:cubicBezTo>
                      <a:pt x="156" y="134"/>
                      <a:pt x="166" y="129"/>
                      <a:pt x="175" y="123"/>
                    </a:cubicBezTo>
                    <a:cubicBezTo>
                      <a:pt x="169" y="123"/>
                      <a:pt x="166" y="130"/>
                      <a:pt x="161" y="127"/>
                    </a:cubicBezTo>
                    <a:cubicBezTo>
                      <a:pt x="175" y="122"/>
                      <a:pt x="186" y="114"/>
                      <a:pt x="202" y="111"/>
                    </a:cubicBezTo>
                    <a:cubicBezTo>
                      <a:pt x="201" y="115"/>
                      <a:pt x="193" y="112"/>
                      <a:pt x="192" y="116"/>
                    </a:cubicBezTo>
                    <a:cubicBezTo>
                      <a:pt x="210" y="113"/>
                      <a:pt x="228" y="104"/>
                      <a:pt x="244" y="102"/>
                    </a:cubicBezTo>
                    <a:cubicBezTo>
                      <a:pt x="243" y="104"/>
                      <a:pt x="240" y="105"/>
                      <a:pt x="241" y="109"/>
                    </a:cubicBezTo>
                    <a:cubicBezTo>
                      <a:pt x="248" y="108"/>
                      <a:pt x="253" y="109"/>
                      <a:pt x="257" y="112"/>
                    </a:cubicBezTo>
                    <a:cubicBezTo>
                      <a:pt x="254" y="114"/>
                      <a:pt x="252" y="118"/>
                      <a:pt x="251" y="122"/>
                    </a:cubicBezTo>
                    <a:cubicBezTo>
                      <a:pt x="257" y="123"/>
                      <a:pt x="258" y="118"/>
                      <a:pt x="262" y="117"/>
                    </a:cubicBezTo>
                    <a:cubicBezTo>
                      <a:pt x="265" y="120"/>
                      <a:pt x="261" y="119"/>
                      <a:pt x="261" y="122"/>
                    </a:cubicBezTo>
                    <a:cubicBezTo>
                      <a:pt x="264" y="123"/>
                      <a:pt x="266" y="117"/>
                      <a:pt x="268" y="120"/>
                    </a:cubicBezTo>
                    <a:cubicBezTo>
                      <a:pt x="266" y="125"/>
                      <a:pt x="262" y="129"/>
                      <a:pt x="257" y="130"/>
                    </a:cubicBezTo>
                    <a:cubicBezTo>
                      <a:pt x="258" y="127"/>
                      <a:pt x="263" y="127"/>
                      <a:pt x="264" y="123"/>
                    </a:cubicBezTo>
                    <a:cubicBezTo>
                      <a:pt x="259" y="124"/>
                      <a:pt x="258" y="126"/>
                      <a:pt x="256" y="123"/>
                    </a:cubicBezTo>
                    <a:cubicBezTo>
                      <a:pt x="248" y="124"/>
                      <a:pt x="251" y="129"/>
                      <a:pt x="249" y="132"/>
                    </a:cubicBezTo>
                    <a:cubicBezTo>
                      <a:pt x="251" y="133"/>
                      <a:pt x="253" y="129"/>
                      <a:pt x="255" y="132"/>
                    </a:cubicBezTo>
                    <a:cubicBezTo>
                      <a:pt x="254" y="138"/>
                      <a:pt x="246" y="138"/>
                      <a:pt x="245" y="143"/>
                    </a:cubicBezTo>
                    <a:cubicBezTo>
                      <a:pt x="246" y="143"/>
                      <a:pt x="248" y="143"/>
                      <a:pt x="248" y="144"/>
                    </a:cubicBezTo>
                    <a:cubicBezTo>
                      <a:pt x="245" y="143"/>
                      <a:pt x="246" y="147"/>
                      <a:pt x="243" y="146"/>
                    </a:cubicBezTo>
                    <a:cubicBezTo>
                      <a:pt x="240" y="146"/>
                      <a:pt x="245" y="144"/>
                      <a:pt x="241" y="144"/>
                    </a:cubicBezTo>
                    <a:cubicBezTo>
                      <a:pt x="237" y="145"/>
                      <a:pt x="235" y="149"/>
                      <a:pt x="232" y="150"/>
                    </a:cubicBezTo>
                    <a:cubicBezTo>
                      <a:pt x="232" y="156"/>
                      <a:pt x="232" y="156"/>
                      <a:pt x="232" y="156"/>
                    </a:cubicBezTo>
                    <a:cubicBezTo>
                      <a:pt x="228" y="159"/>
                      <a:pt x="223" y="162"/>
                      <a:pt x="220" y="165"/>
                    </a:cubicBezTo>
                    <a:cubicBezTo>
                      <a:pt x="216" y="165"/>
                      <a:pt x="212" y="165"/>
                      <a:pt x="212" y="170"/>
                    </a:cubicBezTo>
                    <a:cubicBezTo>
                      <a:pt x="217" y="170"/>
                      <a:pt x="219" y="168"/>
                      <a:pt x="223" y="167"/>
                    </a:cubicBezTo>
                    <a:cubicBezTo>
                      <a:pt x="217" y="175"/>
                      <a:pt x="212" y="180"/>
                      <a:pt x="203" y="186"/>
                    </a:cubicBezTo>
                    <a:cubicBezTo>
                      <a:pt x="200" y="188"/>
                      <a:pt x="195" y="187"/>
                      <a:pt x="196" y="192"/>
                    </a:cubicBezTo>
                    <a:cubicBezTo>
                      <a:pt x="199" y="195"/>
                      <a:pt x="200" y="190"/>
                      <a:pt x="205" y="191"/>
                    </a:cubicBezTo>
                    <a:cubicBezTo>
                      <a:pt x="203" y="198"/>
                      <a:pt x="205" y="199"/>
                      <a:pt x="201" y="205"/>
                    </a:cubicBezTo>
                    <a:cubicBezTo>
                      <a:pt x="206" y="204"/>
                      <a:pt x="201" y="208"/>
                      <a:pt x="205" y="209"/>
                    </a:cubicBezTo>
                    <a:cubicBezTo>
                      <a:pt x="196" y="219"/>
                      <a:pt x="189" y="228"/>
                      <a:pt x="176" y="233"/>
                    </a:cubicBezTo>
                    <a:cubicBezTo>
                      <a:pt x="178" y="228"/>
                      <a:pt x="184" y="228"/>
                      <a:pt x="186" y="224"/>
                    </a:cubicBezTo>
                    <a:cubicBezTo>
                      <a:pt x="184" y="224"/>
                      <a:pt x="180" y="225"/>
                      <a:pt x="180" y="222"/>
                    </a:cubicBezTo>
                    <a:cubicBezTo>
                      <a:pt x="184" y="222"/>
                      <a:pt x="189" y="220"/>
                      <a:pt x="193" y="217"/>
                    </a:cubicBezTo>
                    <a:cubicBezTo>
                      <a:pt x="193" y="214"/>
                      <a:pt x="193" y="211"/>
                      <a:pt x="192" y="209"/>
                    </a:cubicBezTo>
                    <a:cubicBezTo>
                      <a:pt x="194" y="205"/>
                      <a:pt x="200" y="203"/>
                      <a:pt x="198" y="198"/>
                    </a:cubicBezTo>
                    <a:cubicBezTo>
                      <a:pt x="196" y="196"/>
                      <a:pt x="194" y="199"/>
                      <a:pt x="192" y="197"/>
                    </a:cubicBezTo>
                    <a:cubicBezTo>
                      <a:pt x="192" y="195"/>
                      <a:pt x="192" y="192"/>
                      <a:pt x="191" y="191"/>
                    </a:cubicBezTo>
                    <a:cubicBezTo>
                      <a:pt x="182" y="192"/>
                      <a:pt x="184" y="199"/>
                      <a:pt x="179" y="202"/>
                    </a:cubicBezTo>
                    <a:cubicBezTo>
                      <a:pt x="182" y="209"/>
                      <a:pt x="176" y="211"/>
                      <a:pt x="178" y="221"/>
                    </a:cubicBezTo>
                    <a:cubicBezTo>
                      <a:pt x="175" y="220"/>
                      <a:pt x="174" y="222"/>
                      <a:pt x="172" y="222"/>
                    </a:cubicBezTo>
                    <a:cubicBezTo>
                      <a:pt x="153" y="247"/>
                      <a:pt x="125" y="263"/>
                      <a:pt x="101" y="283"/>
                    </a:cubicBezTo>
                    <a:cubicBezTo>
                      <a:pt x="87" y="295"/>
                      <a:pt x="77" y="311"/>
                      <a:pt x="60" y="319"/>
                    </a:cubicBezTo>
                    <a:cubicBezTo>
                      <a:pt x="59" y="322"/>
                      <a:pt x="57" y="324"/>
                      <a:pt x="58" y="329"/>
                    </a:cubicBezTo>
                    <a:cubicBezTo>
                      <a:pt x="50" y="334"/>
                      <a:pt x="44" y="342"/>
                      <a:pt x="41" y="353"/>
                    </a:cubicBezTo>
                    <a:cubicBezTo>
                      <a:pt x="43" y="354"/>
                      <a:pt x="45" y="353"/>
                      <a:pt x="45" y="354"/>
                    </a:cubicBezTo>
                    <a:cubicBezTo>
                      <a:pt x="41" y="358"/>
                      <a:pt x="36" y="359"/>
                      <a:pt x="34" y="364"/>
                    </a:cubicBezTo>
                    <a:cubicBezTo>
                      <a:pt x="33" y="367"/>
                      <a:pt x="35" y="368"/>
                      <a:pt x="35" y="370"/>
                    </a:cubicBezTo>
                    <a:cubicBezTo>
                      <a:pt x="27" y="375"/>
                      <a:pt x="24" y="384"/>
                      <a:pt x="25" y="396"/>
                    </a:cubicBezTo>
                    <a:cubicBezTo>
                      <a:pt x="24" y="400"/>
                      <a:pt x="18" y="400"/>
                      <a:pt x="18" y="405"/>
                    </a:cubicBezTo>
                    <a:cubicBezTo>
                      <a:pt x="23" y="405"/>
                      <a:pt x="25" y="409"/>
                      <a:pt x="25" y="413"/>
                    </a:cubicBezTo>
                    <a:cubicBezTo>
                      <a:pt x="32" y="413"/>
                      <a:pt x="32" y="413"/>
                      <a:pt x="32" y="413"/>
                    </a:cubicBezTo>
                    <a:cubicBezTo>
                      <a:pt x="28" y="417"/>
                      <a:pt x="34" y="420"/>
                      <a:pt x="34" y="424"/>
                    </a:cubicBezTo>
                    <a:cubicBezTo>
                      <a:pt x="34" y="428"/>
                      <a:pt x="26" y="433"/>
                      <a:pt x="24" y="442"/>
                    </a:cubicBezTo>
                    <a:cubicBezTo>
                      <a:pt x="21" y="458"/>
                      <a:pt x="15" y="469"/>
                      <a:pt x="13" y="485"/>
                    </a:cubicBezTo>
                    <a:cubicBezTo>
                      <a:pt x="24" y="490"/>
                      <a:pt x="16" y="510"/>
                      <a:pt x="9" y="512"/>
                    </a:cubicBezTo>
                    <a:cubicBezTo>
                      <a:pt x="6" y="512"/>
                      <a:pt x="5" y="510"/>
                      <a:pt x="1" y="510"/>
                    </a:cubicBezTo>
                    <a:cubicBezTo>
                      <a:pt x="0" y="520"/>
                      <a:pt x="6" y="522"/>
                      <a:pt x="8" y="529"/>
                    </a:cubicBezTo>
                    <a:cubicBezTo>
                      <a:pt x="10" y="530"/>
                      <a:pt x="12" y="526"/>
                      <a:pt x="14" y="529"/>
                    </a:cubicBezTo>
                    <a:cubicBezTo>
                      <a:pt x="12" y="537"/>
                      <a:pt x="16" y="540"/>
                      <a:pt x="15" y="546"/>
                    </a:cubicBezTo>
                    <a:cubicBezTo>
                      <a:pt x="14" y="550"/>
                      <a:pt x="8" y="553"/>
                      <a:pt x="8" y="557"/>
                    </a:cubicBezTo>
                    <a:cubicBezTo>
                      <a:pt x="7" y="569"/>
                      <a:pt x="25" y="583"/>
                      <a:pt x="17" y="595"/>
                    </a:cubicBezTo>
                    <a:cubicBezTo>
                      <a:pt x="28" y="602"/>
                      <a:pt x="34" y="582"/>
                      <a:pt x="29" y="572"/>
                    </a:cubicBezTo>
                    <a:cubicBezTo>
                      <a:pt x="26" y="572"/>
                      <a:pt x="24" y="571"/>
                      <a:pt x="23" y="569"/>
                    </a:cubicBezTo>
                    <a:cubicBezTo>
                      <a:pt x="26" y="556"/>
                      <a:pt x="26" y="545"/>
                      <a:pt x="31" y="533"/>
                    </a:cubicBezTo>
                    <a:cubicBezTo>
                      <a:pt x="30" y="531"/>
                      <a:pt x="27" y="531"/>
                      <a:pt x="26" y="528"/>
                    </a:cubicBezTo>
                    <a:cubicBezTo>
                      <a:pt x="29" y="510"/>
                      <a:pt x="31" y="494"/>
                      <a:pt x="29" y="473"/>
                    </a:cubicBezTo>
                    <a:cubicBezTo>
                      <a:pt x="36" y="467"/>
                      <a:pt x="37" y="455"/>
                      <a:pt x="44" y="449"/>
                    </a:cubicBezTo>
                    <a:cubicBezTo>
                      <a:pt x="45" y="453"/>
                      <a:pt x="47" y="455"/>
                      <a:pt x="52" y="454"/>
                    </a:cubicBezTo>
                    <a:cubicBezTo>
                      <a:pt x="51" y="458"/>
                      <a:pt x="54" y="458"/>
                      <a:pt x="55" y="460"/>
                    </a:cubicBezTo>
                    <a:cubicBezTo>
                      <a:pt x="48" y="474"/>
                      <a:pt x="43" y="495"/>
                      <a:pt x="45" y="513"/>
                    </a:cubicBezTo>
                    <a:cubicBezTo>
                      <a:pt x="46" y="515"/>
                      <a:pt x="50" y="513"/>
                      <a:pt x="50" y="515"/>
                    </a:cubicBezTo>
                    <a:cubicBezTo>
                      <a:pt x="45" y="523"/>
                      <a:pt x="53" y="531"/>
                      <a:pt x="58" y="535"/>
                    </a:cubicBezTo>
                    <a:cubicBezTo>
                      <a:pt x="58" y="544"/>
                      <a:pt x="47" y="542"/>
                      <a:pt x="47" y="551"/>
                    </a:cubicBezTo>
                    <a:cubicBezTo>
                      <a:pt x="53" y="553"/>
                      <a:pt x="54" y="560"/>
                      <a:pt x="60" y="562"/>
                    </a:cubicBezTo>
                    <a:cubicBezTo>
                      <a:pt x="59" y="566"/>
                      <a:pt x="55" y="566"/>
                      <a:pt x="56" y="570"/>
                    </a:cubicBezTo>
                    <a:cubicBezTo>
                      <a:pt x="56" y="573"/>
                      <a:pt x="61" y="570"/>
                      <a:pt x="61" y="573"/>
                    </a:cubicBezTo>
                    <a:cubicBezTo>
                      <a:pt x="63" y="587"/>
                      <a:pt x="77" y="601"/>
                      <a:pt x="68" y="617"/>
                    </a:cubicBezTo>
                    <a:cubicBezTo>
                      <a:pt x="69" y="620"/>
                      <a:pt x="70" y="624"/>
                      <a:pt x="71" y="627"/>
                    </a:cubicBezTo>
                    <a:cubicBezTo>
                      <a:pt x="65" y="630"/>
                      <a:pt x="65" y="639"/>
                      <a:pt x="58" y="641"/>
                    </a:cubicBezTo>
                    <a:cubicBezTo>
                      <a:pt x="56" y="646"/>
                      <a:pt x="55" y="657"/>
                      <a:pt x="57" y="663"/>
                    </a:cubicBezTo>
                    <a:cubicBezTo>
                      <a:pt x="69" y="665"/>
                      <a:pt x="76" y="673"/>
                      <a:pt x="78" y="686"/>
                    </a:cubicBezTo>
                    <a:cubicBezTo>
                      <a:pt x="83" y="690"/>
                      <a:pt x="88" y="686"/>
                      <a:pt x="93" y="689"/>
                    </a:cubicBezTo>
                    <a:cubicBezTo>
                      <a:pt x="100" y="691"/>
                      <a:pt x="100" y="699"/>
                      <a:pt x="104" y="704"/>
                    </a:cubicBezTo>
                    <a:cubicBezTo>
                      <a:pt x="112" y="714"/>
                      <a:pt x="124" y="712"/>
                      <a:pt x="137" y="718"/>
                    </a:cubicBezTo>
                    <a:cubicBezTo>
                      <a:pt x="140" y="726"/>
                      <a:pt x="148" y="728"/>
                      <a:pt x="152" y="734"/>
                    </a:cubicBezTo>
                    <a:cubicBezTo>
                      <a:pt x="156" y="731"/>
                      <a:pt x="160" y="734"/>
                      <a:pt x="165" y="734"/>
                    </a:cubicBezTo>
                    <a:cubicBezTo>
                      <a:pt x="167" y="736"/>
                      <a:pt x="167" y="738"/>
                      <a:pt x="168" y="740"/>
                    </a:cubicBezTo>
                    <a:cubicBezTo>
                      <a:pt x="184" y="743"/>
                      <a:pt x="193" y="730"/>
                      <a:pt x="210" y="731"/>
                    </a:cubicBezTo>
                    <a:cubicBezTo>
                      <a:pt x="218" y="741"/>
                      <a:pt x="233" y="745"/>
                      <a:pt x="237" y="758"/>
                    </a:cubicBezTo>
                    <a:cubicBezTo>
                      <a:pt x="239" y="764"/>
                      <a:pt x="239" y="767"/>
                      <a:pt x="242" y="770"/>
                    </a:cubicBezTo>
                    <a:cubicBezTo>
                      <a:pt x="248" y="771"/>
                      <a:pt x="251" y="774"/>
                      <a:pt x="254" y="778"/>
                    </a:cubicBezTo>
                    <a:cubicBezTo>
                      <a:pt x="271" y="775"/>
                      <a:pt x="273" y="787"/>
                      <a:pt x="285" y="788"/>
                    </a:cubicBezTo>
                    <a:cubicBezTo>
                      <a:pt x="293" y="789"/>
                      <a:pt x="294" y="792"/>
                      <a:pt x="299" y="793"/>
                    </a:cubicBezTo>
                    <a:cubicBezTo>
                      <a:pt x="303" y="794"/>
                      <a:pt x="308" y="793"/>
                      <a:pt x="312" y="795"/>
                    </a:cubicBezTo>
                    <a:cubicBezTo>
                      <a:pt x="314" y="792"/>
                      <a:pt x="322" y="789"/>
                      <a:pt x="325" y="793"/>
                    </a:cubicBezTo>
                    <a:cubicBezTo>
                      <a:pt x="326" y="798"/>
                      <a:pt x="322" y="798"/>
                      <a:pt x="320" y="799"/>
                    </a:cubicBezTo>
                    <a:cubicBezTo>
                      <a:pt x="331" y="808"/>
                      <a:pt x="333" y="826"/>
                      <a:pt x="347" y="833"/>
                    </a:cubicBezTo>
                    <a:cubicBezTo>
                      <a:pt x="347" y="838"/>
                      <a:pt x="346" y="840"/>
                      <a:pt x="348" y="844"/>
                    </a:cubicBezTo>
                    <a:cubicBezTo>
                      <a:pt x="334" y="853"/>
                      <a:pt x="354" y="861"/>
                      <a:pt x="361" y="864"/>
                    </a:cubicBezTo>
                    <a:cubicBezTo>
                      <a:pt x="364" y="863"/>
                      <a:pt x="362" y="857"/>
                      <a:pt x="365" y="857"/>
                    </a:cubicBezTo>
                    <a:cubicBezTo>
                      <a:pt x="367" y="857"/>
                      <a:pt x="367" y="861"/>
                      <a:pt x="367" y="864"/>
                    </a:cubicBezTo>
                    <a:cubicBezTo>
                      <a:pt x="369" y="866"/>
                      <a:pt x="373" y="868"/>
                      <a:pt x="377" y="867"/>
                    </a:cubicBezTo>
                    <a:cubicBezTo>
                      <a:pt x="384" y="871"/>
                      <a:pt x="380" y="879"/>
                      <a:pt x="383" y="883"/>
                    </a:cubicBezTo>
                    <a:cubicBezTo>
                      <a:pt x="387" y="889"/>
                      <a:pt x="404" y="890"/>
                      <a:pt x="410" y="889"/>
                    </a:cubicBezTo>
                    <a:cubicBezTo>
                      <a:pt x="414" y="894"/>
                      <a:pt x="423" y="893"/>
                      <a:pt x="422" y="902"/>
                    </a:cubicBezTo>
                    <a:cubicBezTo>
                      <a:pt x="428" y="905"/>
                      <a:pt x="431" y="900"/>
                      <a:pt x="435" y="898"/>
                    </a:cubicBezTo>
                    <a:cubicBezTo>
                      <a:pt x="436" y="901"/>
                      <a:pt x="437" y="906"/>
                      <a:pt x="437" y="910"/>
                    </a:cubicBezTo>
                    <a:cubicBezTo>
                      <a:pt x="443" y="915"/>
                      <a:pt x="449" y="909"/>
                      <a:pt x="454" y="908"/>
                    </a:cubicBezTo>
                    <a:cubicBezTo>
                      <a:pt x="454" y="901"/>
                      <a:pt x="445" y="902"/>
                      <a:pt x="445" y="895"/>
                    </a:cubicBezTo>
                    <a:cubicBezTo>
                      <a:pt x="447" y="890"/>
                      <a:pt x="452" y="891"/>
                      <a:pt x="457" y="888"/>
                    </a:cubicBezTo>
                    <a:cubicBezTo>
                      <a:pt x="463" y="885"/>
                      <a:pt x="465" y="879"/>
                      <a:pt x="470" y="879"/>
                    </a:cubicBezTo>
                    <a:cubicBezTo>
                      <a:pt x="479" y="877"/>
                      <a:pt x="484" y="885"/>
                      <a:pt x="492" y="890"/>
                    </a:cubicBezTo>
                    <a:cubicBezTo>
                      <a:pt x="487" y="909"/>
                      <a:pt x="500" y="914"/>
                      <a:pt x="505" y="926"/>
                    </a:cubicBezTo>
                    <a:cubicBezTo>
                      <a:pt x="505" y="928"/>
                      <a:pt x="502" y="927"/>
                      <a:pt x="502" y="930"/>
                    </a:cubicBezTo>
                    <a:cubicBezTo>
                      <a:pt x="504" y="933"/>
                      <a:pt x="506" y="936"/>
                      <a:pt x="506" y="940"/>
                    </a:cubicBezTo>
                    <a:cubicBezTo>
                      <a:pt x="506" y="942"/>
                      <a:pt x="502" y="941"/>
                      <a:pt x="502" y="944"/>
                    </a:cubicBezTo>
                    <a:cubicBezTo>
                      <a:pt x="509" y="952"/>
                      <a:pt x="503" y="965"/>
                      <a:pt x="499" y="971"/>
                    </a:cubicBezTo>
                    <a:cubicBezTo>
                      <a:pt x="501" y="975"/>
                      <a:pt x="507" y="976"/>
                      <a:pt x="507" y="981"/>
                    </a:cubicBezTo>
                    <a:cubicBezTo>
                      <a:pt x="498" y="988"/>
                      <a:pt x="495" y="1001"/>
                      <a:pt x="479" y="1001"/>
                    </a:cubicBezTo>
                    <a:cubicBezTo>
                      <a:pt x="477" y="1005"/>
                      <a:pt x="479" y="1008"/>
                      <a:pt x="476" y="1012"/>
                    </a:cubicBezTo>
                    <a:cubicBezTo>
                      <a:pt x="473" y="1010"/>
                      <a:pt x="471" y="1013"/>
                      <a:pt x="468" y="1014"/>
                    </a:cubicBezTo>
                    <a:cubicBezTo>
                      <a:pt x="467" y="1018"/>
                      <a:pt x="470" y="1019"/>
                      <a:pt x="470" y="1023"/>
                    </a:cubicBezTo>
                    <a:cubicBezTo>
                      <a:pt x="465" y="1032"/>
                      <a:pt x="445" y="1021"/>
                      <a:pt x="445" y="1034"/>
                    </a:cubicBezTo>
                    <a:cubicBezTo>
                      <a:pt x="445" y="1038"/>
                      <a:pt x="447" y="1038"/>
                      <a:pt x="449" y="1042"/>
                    </a:cubicBezTo>
                    <a:cubicBezTo>
                      <a:pt x="446" y="1044"/>
                      <a:pt x="443" y="1047"/>
                      <a:pt x="440" y="1049"/>
                    </a:cubicBezTo>
                    <a:cubicBezTo>
                      <a:pt x="440" y="1057"/>
                      <a:pt x="440" y="1057"/>
                      <a:pt x="440" y="1057"/>
                    </a:cubicBezTo>
                    <a:cubicBezTo>
                      <a:pt x="436" y="1059"/>
                      <a:pt x="433" y="1062"/>
                      <a:pt x="429" y="1064"/>
                    </a:cubicBezTo>
                    <a:cubicBezTo>
                      <a:pt x="434" y="1068"/>
                      <a:pt x="431" y="1073"/>
                      <a:pt x="434" y="1079"/>
                    </a:cubicBezTo>
                    <a:cubicBezTo>
                      <a:pt x="429" y="1082"/>
                      <a:pt x="431" y="1088"/>
                      <a:pt x="433" y="1093"/>
                    </a:cubicBezTo>
                    <a:cubicBezTo>
                      <a:pt x="437" y="1093"/>
                      <a:pt x="440" y="1095"/>
                      <a:pt x="445" y="1095"/>
                    </a:cubicBezTo>
                    <a:cubicBezTo>
                      <a:pt x="445" y="1098"/>
                      <a:pt x="443" y="1098"/>
                      <a:pt x="445" y="1100"/>
                    </a:cubicBezTo>
                    <a:cubicBezTo>
                      <a:pt x="450" y="1102"/>
                      <a:pt x="449" y="1097"/>
                      <a:pt x="453" y="1097"/>
                    </a:cubicBezTo>
                    <a:cubicBezTo>
                      <a:pt x="456" y="1103"/>
                      <a:pt x="449" y="1107"/>
                      <a:pt x="442" y="1107"/>
                    </a:cubicBezTo>
                    <a:cubicBezTo>
                      <a:pt x="437" y="1115"/>
                      <a:pt x="424" y="1115"/>
                      <a:pt x="425" y="1129"/>
                    </a:cubicBezTo>
                    <a:cubicBezTo>
                      <a:pt x="428" y="1138"/>
                      <a:pt x="443" y="1146"/>
                      <a:pt x="429" y="1151"/>
                    </a:cubicBezTo>
                    <a:cubicBezTo>
                      <a:pt x="430" y="1161"/>
                      <a:pt x="439" y="1157"/>
                      <a:pt x="445" y="1160"/>
                    </a:cubicBezTo>
                    <a:cubicBezTo>
                      <a:pt x="454" y="1164"/>
                      <a:pt x="460" y="1175"/>
                      <a:pt x="468" y="1186"/>
                    </a:cubicBezTo>
                    <a:cubicBezTo>
                      <a:pt x="471" y="1191"/>
                      <a:pt x="477" y="1194"/>
                      <a:pt x="481" y="1198"/>
                    </a:cubicBezTo>
                    <a:cubicBezTo>
                      <a:pt x="495" y="1214"/>
                      <a:pt x="501" y="1230"/>
                      <a:pt x="511" y="1245"/>
                    </a:cubicBezTo>
                    <a:cubicBezTo>
                      <a:pt x="517" y="1246"/>
                      <a:pt x="521" y="1249"/>
                      <a:pt x="520" y="1257"/>
                    </a:cubicBezTo>
                    <a:cubicBezTo>
                      <a:pt x="526" y="1267"/>
                      <a:pt x="538" y="1268"/>
                      <a:pt x="541" y="1278"/>
                    </a:cubicBezTo>
                    <a:cubicBezTo>
                      <a:pt x="541" y="1281"/>
                      <a:pt x="539" y="1286"/>
                      <a:pt x="541" y="1289"/>
                    </a:cubicBezTo>
                    <a:cubicBezTo>
                      <a:pt x="542" y="1294"/>
                      <a:pt x="561" y="1308"/>
                      <a:pt x="566" y="1311"/>
                    </a:cubicBezTo>
                    <a:cubicBezTo>
                      <a:pt x="573" y="1315"/>
                      <a:pt x="583" y="1315"/>
                      <a:pt x="589" y="1317"/>
                    </a:cubicBezTo>
                    <a:cubicBezTo>
                      <a:pt x="607" y="1323"/>
                      <a:pt x="624" y="1331"/>
                      <a:pt x="640" y="1338"/>
                    </a:cubicBezTo>
                    <a:cubicBezTo>
                      <a:pt x="642" y="1348"/>
                      <a:pt x="656" y="1347"/>
                      <a:pt x="661" y="1354"/>
                    </a:cubicBezTo>
                    <a:cubicBezTo>
                      <a:pt x="661" y="1356"/>
                      <a:pt x="659" y="1356"/>
                      <a:pt x="660" y="1359"/>
                    </a:cubicBezTo>
                    <a:cubicBezTo>
                      <a:pt x="670" y="1370"/>
                      <a:pt x="668" y="1393"/>
                      <a:pt x="671" y="1411"/>
                    </a:cubicBezTo>
                    <a:cubicBezTo>
                      <a:pt x="670" y="1415"/>
                      <a:pt x="665" y="1414"/>
                      <a:pt x="665" y="1418"/>
                    </a:cubicBezTo>
                    <a:cubicBezTo>
                      <a:pt x="664" y="1423"/>
                      <a:pt x="670" y="1421"/>
                      <a:pt x="670" y="1426"/>
                    </a:cubicBezTo>
                    <a:cubicBezTo>
                      <a:pt x="668" y="1432"/>
                      <a:pt x="666" y="1440"/>
                      <a:pt x="671" y="1444"/>
                    </a:cubicBezTo>
                    <a:cubicBezTo>
                      <a:pt x="665" y="1449"/>
                      <a:pt x="670" y="1457"/>
                      <a:pt x="671" y="1463"/>
                    </a:cubicBezTo>
                    <a:cubicBezTo>
                      <a:pt x="663" y="1471"/>
                      <a:pt x="669" y="1481"/>
                      <a:pt x="663" y="1490"/>
                    </a:cubicBezTo>
                    <a:cubicBezTo>
                      <a:pt x="664" y="1494"/>
                      <a:pt x="668" y="1494"/>
                      <a:pt x="669" y="1498"/>
                    </a:cubicBezTo>
                    <a:cubicBezTo>
                      <a:pt x="670" y="1503"/>
                      <a:pt x="663" y="1500"/>
                      <a:pt x="664" y="1505"/>
                    </a:cubicBezTo>
                    <a:cubicBezTo>
                      <a:pt x="666" y="1516"/>
                      <a:pt x="677" y="1521"/>
                      <a:pt x="673" y="1534"/>
                    </a:cubicBezTo>
                    <a:cubicBezTo>
                      <a:pt x="673" y="1537"/>
                      <a:pt x="677" y="1535"/>
                      <a:pt x="676" y="1538"/>
                    </a:cubicBezTo>
                    <a:cubicBezTo>
                      <a:pt x="672" y="1543"/>
                      <a:pt x="674" y="1554"/>
                      <a:pt x="666" y="1555"/>
                    </a:cubicBezTo>
                    <a:cubicBezTo>
                      <a:pt x="670" y="1561"/>
                      <a:pt x="664" y="1569"/>
                      <a:pt x="661" y="1574"/>
                    </a:cubicBezTo>
                    <a:cubicBezTo>
                      <a:pt x="663" y="1577"/>
                      <a:pt x="665" y="1578"/>
                      <a:pt x="664" y="1583"/>
                    </a:cubicBezTo>
                    <a:cubicBezTo>
                      <a:pt x="666" y="1585"/>
                      <a:pt x="671" y="1585"/>
                      <a:pt x="671" y="1589"/>
                    </a:cubicBezTo>
                    <a:cubicBezTo>
                      <a:pt x="668" y="1593"/>
                      <a:pt x="671" y="1597"/>
                      <a:pt x="670" y="1603"/>
                    </a:cubicBezTo>
                    <a:cubicBezTo>
                      <a:pt x="677" y="1606"/>
                      <a:pt x="682" y="1604"/>
                      <a:pt x="689" y="1603"/>
                    </a:cubicBezTo>
                    <a:cubicBezTo>
                      <a:pt x="689" y="1605"/>
                      <a:pt x="687" y="1605"/>
                      <a:pt x="688" y="1607"/>
                    </a:cubicBezTo>
                    <a:cubicBezTo>
                      <a:pt x="690" y="1608"/>
                      <a:pt x="692" y="1605"/>
                      <a:pt x="692" y="1607"/>
                    </a:cubicBezTo>
                    <a:cubicBezTo>
                      <a:pt x="686" y="1609"/>
                      <a:pt x="691" y="1613"/>
                      <a:pt x="687" y="1617"/>
                    </a:cubicBezTo>
                    <a:cubicBezTo>
                      <a:pt x="694" y="1619"/>
                      <a:pt x="691" y="1626"/>
                      <a:pt x="691" y="1633"/>
                    </a:cubicBezTo>
                    <a:cubicBezTo>
                      <a:pt x="682" y="1629"/>
                      <a:pt x="675" y="1632"/>
                      <a:pt x="670" y="1637"/>
                    </a:cubicBezTo>
                    <a:cubicBezTo>
                      <a:pt x="676" y="1638"/>
                      <a:pt x="685" y="1634"/>
                      <a:pt x="691" y="1638"/>
                    </a:cubicBezTo>
                    <a:cubicBezTo>
                      <a:pt x="690" y="1638"/>
                      <a:pt x="689" y="1639"/>
                      <a:pt x="689" y="1640"/>
                    </a:cubicBezTo>
                    <a:cubicBezTo>
                      <a:pt x="691" y="1642"/>
                      <a:pt x="699" y="1639"/>
                      <a:pt x="701" y="1642"/>
                    </a:cubicBezTo>
                    <a:cubicBezTo>
                      <a:pt x="699" y="1645"/>
                      <a:pt x="693" y="1639"/>
                      <a:pt x="692" y="1644"/>
                    </a:cubicBezTo>
                    <a:cubicBezTo>
                      <a:pt x="695" y="1643"/>
                      <a:pt x="696" y="1644"/>
                      <a:pt x="696" y="1646"/>
                    </a:cubicBezTo>
                    <a:cubicBezTo>
                      <a:pt x="693" y="1646"/>
                      <a:pt x="694" y="1648"/>
                      <a:pt x="693" y="1649"/>
                    </a:cubicBezTo>
                    <a:cubicBezTo>
                      <a:pt x="692" y="1642"/>
                      <a:pt x="681" y="1641"/>
                      <a:pt x="677" y="1647"/>
                    </a:cubicBezTo>
                    <a:cubicBezTo>
                      <a:pt x="684" y="1647"/>
                      <a:pt x="684" y="1649"/>
                      <a:pt x="690" y="1654"/>
                    </a:cubicBezTo>
                    <a:cubicBezTo>
                      <a:pt x="692" y="1652"/>
                      <a:pt x="697" y="1648"/>
                      <a:pt x="699" y="1652"/>
                    </a:cubicBezTo>
                    <a:cubicBezTo>
                      <a:pt x="697" y="1653"/>
                      <a:pt x="694" y="1653"/>
                      <a:pt x="692" y="1655"/>
                    </a:cubicBezTo>
                    <a:cubicBezTo>
                      <a:pt x="694" y="1658"/>
                      <a:pt x="695" y="1661"/>
                      <a:pt x="700" y="1660"/>
                    </a:cubicBezTo>
                    <a:cubicBezTo>
                      <a:pt x="700" y="1656"/>
                      <a:pt x="696" y="1659"/>
                      <a:pt x="696" y="1657"/>
                    </a:cubicBezTo>
                    <a:cubicBezTo>
                      <a:pt x="699" y="1657"/>
                      <a:pt x="698" y="1653"/>
                      <a:pt x="702" y="1653"/>
                    </a:cubicBezTo>
                    <a:cubicBezTo>
                      <a:pt x="702" y="1656"/>
                      <a:pt x="707" y="1654"/>
                      <a:pt x="708" y="1657"/>
                    </a:cubicBezTo>
                    <a:cubicBezTo>
                      <a:pt x="707" y="1658"/>
                      <a:pt x="704" y="1657"/>
                      <a:pt x="705" y="1660"/>
                    </a:cubicBezTo>
                    <a:cubicBezTo>
                      <a:pt x="709" y="1661"/>
                      <a:pt x="718" y="1658"/>
                      <a:pt x="719" y="1662"/>
                    </a:cubicBezTo>
                    <a:cubicBezTo>
                      <a:pt x="718" y="1662"/>
                      <a:pt x="717" y="1662"/>
                      <a:pt x="716" y="1663"/>
                    </a:cubicBezTo>
                    <a:cubicBezTo>
                      <a:pt x="737" y="1664"/>
                      <a:pt x="762" y="1664"/>
                      <a:pt x="783" y="1655"/>
                    </a:cubicBezTo>
                    <a:cubicBezTo>
                      <a:pt x="771" y="1658"/>
                      <a:pt x="756" y="1654"/>
                      <a:pt x="747" y="1654"/>
                    </a:cubicBezTo>
                    <a:cubicBezTo>
                      <a:pt x="750" y="1654"/>
                      <a:pt x="753" y="1654"/>
                      <a:pt x="755" y="1652"/>
                    </a:cubicBezTo>
                    <a:cubicBezTo>
                      <a:pt x="753" y="1651"/>
                      <a:pt x="749" y="1651"/>
                      <a:pt x="748" y="1649"/>
                    </a:cubicBezTo>
                    <a:cubicBezTo>
                      <a:pt x="758" y="1642"/>
                      <a:pt x="771" y="1639"/>
                      <a:pt x="778" y="1629"/>
                    </a:cubicBezTo>
                    <a:cubicBezTo>
                      <a:pt x="772" y="1626"/>
                      <a:pt x="759" y="1631"/>
                      <a:pt x="758" y="1624"/>
                    </a:cubicBezTo>
                    <a:cubicBezTo>
                      <a:pt x="764" y="1619"/>
                      <a:pt x="775" y="1618"/>
                      <a:pt x="782" y="1613"/>
                    </a:cubicBezTo>
                    <a:cubicBezTo>
                      <a:pt x="783" y="1609"/>
                      <a:pt x="779" y="1610"/>
                      <a:pt x="780" y="1607"/>
                    </a:cubicBezTo>
                    <a:cubicBezTo>
                      <a:pt x="782" y="1605"/>
                      <a:pt x="786" y="1604"/>
                      <a:pt x="789" y="1602"/>
                    </a:cubicBezTo>
                    <a:cubicBezTo>
                      <a:pt x="788" y="1602"/>
                      <a:pt x="784" y="1604"/>
                      <a:pt x="785" y="1601"/>
                    </a:cubicBezTo>
                    <a:cubicBezTo>
                      <a:pt x="789" y="1599"/>
                      <a:pt x="800" y="1605"/>
                      <a:pt x="800" y="1597"/>
                    </a:cubicBezTo>
                    <a:cubicBezTo>
                      <a:pt x="793" y="1594"/>
                      <a:pt x="789" y="1602"/>
                      <a:pt x="780" y="1598"/>
                    </a:cubicBezTo>
                    <a:cubicBezTo>
                      <a:pt x="784" y="1594"/>
                      <a:pt x="780" y="1592"/>
                      <a:pt x="783" y="1589"/>
                    </a:cubicBezTo>
                    <a:cubicBezTo>
                      <a:pt x="794" y="1591"/>
                      <a:pt x="806" y="1590"/>
                      <a:pt x="815" y="1585"/>
                    </a:cubicBezTo>
                    <a:cubicBezTo>
                      <a:pt x="816" y="1581"/>
                      <a:pt x="811" y="1584"/>
                      <a:pt x="811" y="1580"/>
                    </a:cubicBezTo>
                    <a:cubicBezTo>
                      <a:pt x="814" y="1571"/>
                      <a:pt x="822" y="1572"/>
                      <a:pt x="832" y="1570"/>
                    </a:cubicBezTo>
                    <a:cubicBezTo>
                      <a:pt x="845" y="1567"/>
                      <a:pt x="859" y="1560"/>
                      <a:pt x="870" y="1557"/>
                    </a:cubicBezTo>
                    <a:cubicBezTo>
                      <a:pt x="873" y="1550"/>
                      <a:pt x="885" y="1548"/>
                      <a:pt x="881" y="1538"/>
                    </a:cubicBezTo>
                    <a:cubicBezTo>
                      <a:pt x="879" y="1538"/>
                      <a:pt x="875" y="1539"/>
                      <a:pt x="874" y="1537"/>
                    </a:cubicBezTo>
                    <a:cubicBezTo>
                      <a:pt x="877" y="1537"/>
                      <a:pt x="879" y="1535"/>
                      <a:pt x="879" y="1530"/>
                    </a:cubicBezTo>
                    <a:cubicBezTo>
                      <a:pt x="873" y="1529"/>
                      <a:pt x="865" y="1530"/>
                      <a:pt x="861" y="1527"/>
                    </a:cubicBezTo>
                    <a:cubicBezTo>
                      <a:pt x="862" y="1525"/>
                      <a:pt x="863" y="1523"/>
                      <a:pt x="865" y="1523"/>
                    </a:cubicBezTo>
                    <a:cubicBezTo>
                      <a:pt x="869" y="1523"/>
                      <a:pt x="869" y="1526"/>
                      <a:pt x="872" y="1526"/>
                    </a:cubicBezTo>
                    <a:cubicBezTo>
                      <a:pt x="903" y="1528"/>
                      <a:pt x="925" y="1517"/>
                      <a:pt x="941" y="1500"/>
                    </a:cubicBezTo>
                    <a:cubicBezTo>
                      <a:pt x="941" y="1497"/>
                      <a:pt x="943" y="1496"/>
                      <a:pt x="943" y="1493"/>
                    </a:cubicBezTo>
                    <a:cubicBezTo>
                      <a:pt x="947" y="1488"/>
                      <a:pt x="955" y="1486"/>
                      <a:pt x="960" y="1482"/>
                    </a:cubicBezTo>
                    <a:cubicBezTo>
                      <a:pt x="975" y="1472"/>
                      <a:pt x="981" y="1453"/>
                      <a:pt x="998" y="1446"/>
                    </a:cubicBezTo>
                    <a:cubicBezTo>
                      <a:pt x="1002" y="1440"/>
                      <a:pt x="1005" y="1432"/>
                      <a:pt x="1009" y="1426"/>
                    </a:cubicBezTo>
                    <a:cubicBezTo>
                      <a:pt x="1010" y="1422"/>
                      <a:pt x="1006" y="1423"/>
                      <a:pt x="1006" y="1420"/>
                    </a:cubicBezTo>
                    <a:cubicBezTo>
                      <a:pt x="1009" y="1415"/>
                      <a:pt x="1013" y="1410"/>
                      <a:pt x="1012" y="1404"/>
                    </a:cubicBezTo>
                    <a:cubicBezTo>
                      <a:pt x="1016" y="1403"/>
                      <a:pt x="1016" y="1405"/>
                      <a:pt x="1020" y="1405"/>
                    </a:cubicBezTo>
                    <a:cubicBezTo>
                      <a:pt x="1026" y="1391"/>
                      <a:pt x="1041" y="1385"/>
                      <a:pt x="1053" y="1377"/>
                    </a:cubicBezTo>
                    <a:cubicBezTo>
                      <a:pt x="1056" y="1376"/>
                      <a:pt x="1058" y="1378"/>
                      <a:pt x="1060" y="1378"/>
                    </a:cubicBezTo>
                    <a:cubicBezTo>
                      <a:pt x="1067" y="1363"/>
                      <a:pt x="1080" y="1365"/>
                      <a:pt x="1092" y="1355"/>
                    </a:cubicBezTo>
                    <a:cubicBezTo>
                      <a:pt x="1092" y="1357"/>
                      <a:pt x="1091" y="1357"/>
                      <a:pt x="1091" y="1359"/>
                    </a:cubicBezTo>
                    <a:cubicBezTo>
                      <a:pt x="1107" y="1359"/>
                      <a:pt x="1107" y="1342"/>
                      <a:pt x="1121" y="1339"/>
                    </a:cubicBezTo>
                    <a:cubicBezTo>
                      <a:pt x="1123" y="1329"/>
                      <a:pt x="1129" y="1322"/>
                      <a:pt x="1133" y="1313"/>
                    </a:cubicBezTo>
                    <a:cubicBezTo>
                      <a:pt x="1147" y="1307"/>
                      <a:pt x="1144" y="1283"/>
                      <a:pt x="1157" y="1275"/>
                    </a:cubicBezTo>
                    <a:cubicBezTo>
                      <a:pt x="1158" y="1258"/>
                      <a:pt x="1170" y="1247"/>
                      <a:pt x="1168" y="1229"/>
                    </a:cubicBezTo>
                    <a:cubicBezTo>
                      <a:pt x="1170" y="1225"/>
                      <a:pt x="1172" y="1219"/>
                      <a:pt x="1170" y="1214"/>
                    </a:cubicBezTo>
                    <a:cubicBezTo>
                      <a:pt x="1173" y="1209"/>
                      <a:pt x="1175" y="1204"/>
                      <a:pt x="1177" y="1199"/>
                    </a:cubicBezTo>
                    <a:cubicBezTo>
                      <a:pt x="1179" y="1200"/>
                      <a:pt x="1179" y="1203"/>
                      <a:pt x="1182" y="1202"/>
                    </a:cubicBezTo>
                    <a:cubicBezTo>
                      <a:pt x="1195" y="1191"/>
                      <a:pt x="1197" y="1169"/>
                      <a:pt x="1212" y="1159"/>
                    </a:cubicBezTo>
                    <a:cubicBezTo>
                      <a:pt x="1221" y="1141"/>
                      <a:pt x="1239" y="1122"/>
                      <a:pt x="1238" y="1096"/>
                    </a:cubicBezTo>
                    <a:cubicBezTo>
                      <a:pt x="1237" y="1087"/>
                      <a:pt x="1235" y="1078"/>
                      <a:pt x="1234" y="1069"/>
                    </a:cubicBezTo>
                    <a:close/>
                    <a:moveTo>
                      <a:pt x="810" y="260"/>
                    </a:moveTo>
                    <a:cubicBezTo>
                      <a:pt x="810" y="264"/>
                      <a:pt x="807" y="262"/>
                      <a:pt x="805" y="261"/>
                    </a:cubicBezTo>
                    <a:cubicBezTo>
                      <a:pt x="805" y="259"/>
                      <a:pt x="809" y="259"/>
                      <a:pt x="810" y="260"/>
                    </a:cubicBezTo>
                    <a:close/>
                    <a:moveTo>
                      <a:pt x="744" y="232"/>
                    </a:moveTo>
                    <a:cubicBezTo>
                      <a:pt x="747" y="232"/>
                      <a:pt x="747" y="232"/>
                      <a:pt x="747" y="232"/>
                    </a:cubicBezTo>
                    <a:cubicBezTo>
                      <a:pt x="745" y="232"/>
                      <a:pt x="745" y="236"/>
                      <a:pt x="741" y="235"/>
                    </a:cubicBezTo>
                    <a:cubicBezTo>
                      <a:pt x="740" y="232"/>
                      <a:pt x="746" y="235"/>
                      <a:pt x="744" y="232"/>
                    </a:cubicBezTo>
                    <a:close/>
                    <a:moveTo>
                      <a:pt x="696" y="317"/>
                    </a:moveTo>
                    <a:cubicBezTo>
                      <a:pt x="693" y="320"/>
                      <a:pt x="684" y="321"/>
                      <a:pt x="681" y="321"/>
                    </a:cubicBezTo>
                    <a:cubicBezTo>
                      <a:pt x="681" y="315"/>
                      <a:pt x="691" y="316"/>
                      <a:pt x="696" y="317"/>
                    </a:cubicBezTo>
                    <a:close/>
                    <a:moveTo>
                      <a:pt x="640" y="345"/>
                    </a:moveTo>
                    <a:cubicBezTo>
                      <a:pt x="638" y="349"/>
                      <a:pt x="637" y="353"/>
                      <a:pt x="633" y="354"/>
                    </a:cubicBezTo>
                    <a:cubicBezTo>
                      <a:pt x="631" y="350"/>
                      <a:pt x="634" y="345"/>
                      <a:pt x="640" y="345"/>
                    </a:cubicBezTo>
                    <a:close/>
                    <a:moveTo>
                      <a:pt x="705" y="29"/>
                    </a:moveTo>
                    <a:cubicBezTo>
                      <a:pt x="708" y="32"/>
                      <a:pt x="711" y="28"/>
                      <a:pt x="715" y="29"/>
                    </a:cubicBezTo>
                    <a:cubicBezTo>
                      <a:pt x="718" y="30"/>
                      <a:pt x="714" y="30"/>
                      <a:pt x="713" y="30"/>
                    </a:cubicBezTo>
                    <a:cubicBezTo>
                      <a:pt x="711" y="30"/>
                      <a:pt x="712" y="31"/>
                      <a:pt x="713" y="31"/>
                    </a:cubicBezTo>
                    <a:cubicBezTo>
                      <a:pt x="709" y="33"/>
                      <a:pt x="706" y="30"/>
                      <a:pt x="702" y="32"/>
                    </a:cubicBezTo>
                    <a:cubicBezTo>
                      <a:pt x="702" y="30"/>
                      <a:pt x="706" y="32"/>
                      <a:pt x="705" y="29"/>
                    </a:cubicBezTo>
                    <a:close/>
                    <a:moveTo>
                      <a:pt x="679" y="34"/>
                    </a:moveTo>
                    <a:cubicBezTo>
                      <a:pt x="680" y="30"/>
                      <a:pt x="679" y="26"/>
                      <a:pt x="686" y="27"/>
                    </a:cubicBezTo>
                    <a:cubicBezTo>
                      <a:pt x="685" y="28"/>
                      <a:pt x="684" y="28"/>
                      <a:pt x="683" y="28"/>
                    </a:cubicBezTo>
                    <a:cubicBezTo>
                      <a:pt x="683" y="30"/>
                      <a:pt x="684" y="31"/>
                      <a:pt x="686" y="31"/>
                    </a:cubicBezTo>
                    <a:cubicBezTo>
                      <a:pt x="685" y="32"/>
                      <a:pt x="683" y="32"/>
                      <a:pt x="682" y="32"/>
                    </a:cubicBezTo>
                    <a:cubicBezTo>
                      <a:pt x="681" y="34"/>
                      <a:pt x="684" y="34"/>
                      <a:pt x="685" y="35"/>
                    </a:cubicBezTo>
                    <a:cubicBezTo>
                      <a:pt x="683" y="38"/>
                      <a:pt x="682" y="32"/>
                      <a:pt x="679" y="34"/>
                    </a:cubicBezTo>
                    <a:close/>
                    <a:moveTo>
                      <a:pt x="667" y="65"/>
                    </a:moveTo>
                    <a:cubicBezTo>
                      <a:pt x="664" y="66"/>
                      <a:pt x="664" y="71"/>
                      <a:pt x="659" y="71"/>
                    </a:cubicBezTo>
                    <a:cubicBezTo>
                      <a:pt x="659" y="70"/>
                      <a:pt x="660" y="70"/>
                      <a:pt x="660" y="69"/>
                    </a:cubicBezTo>
                    <a:cubicBezTo>
                      <a:pt x="660" y="68"/>
                      <a:pt x="659" y="69"/>
                      <a:pt x="658" y="68"/>
                    </a:cubicBezTo>
                    <a:cubicBezTo>
                      <a:pt x="661" y="67"/>
                      <a:pt x="663" y="65"/>
                      <a:pt x="667" y="65"/>
                    </a:cubicBezTo>
                    <a:close/>
                    <a:moveTo>
                      <a:pt x="655" y="67"/>
                    </a:moveTo>
                    <a:cubicBezTo>
                      <a:pt x="649" y="71"/>
                      <a:pt x="646" y="63"/>
                      <a:pt x="640" y="65"/>
                    </a:cubicBezTo>
                    <a:cubicBezTo>
                      <a:pt x="642" y="61"/>
                      <a:pt x="652" y="65"/>
                      <a:pt x="655" y="67"/>
                    </a:cubicBezTo>
                    <a:close/>
                    <a:moveTo>
                      <a:pt x="363" y="486"/>
                    </a:moveTo>
                    <a:cubicBezTo>
                      <a:pt x="366" y="486"/>
                      <a:pt x="370" y="485"/>
                      <a:pt x="370" y="489"/>
                    </a:cubicBezTo>
                    <a:cubicBezTo>
                      <a:pt x="368" y="491"/>
                      <a:pt x="362" y="491"/>
                      <a:pt x="363" y="486"/>
                    </a:cubicBezTo>
                    <a:close/>
                    <a:moveTo>
                      <a:pt x="229" y="164"/>
                    </a:moveTo>
                    <a:cubicBezTo>
                      <a:pt x="229" y="167"/>
                      <a:pt x="227" y="167"/>
                      <a:pt x="224" y="167"/>
                    </a:cubicBezTo>
                    <a:cubicBezTo>
                      <a:pt x="225" y="165"/>
                      <a:pt x="226" y="165"/>
                      <a:pt x="229" y="164"/>
                    </a:cubicBezTo>
                    <a:close/>
                    <a:moveTo>
                      <a:pt x="222" y="177"/>
                    </a:moveTo>
                    <a:cubicBezTo>
                      <a:pt x="223" y="180"/>
                      <a:pt x="219" y="179"/>
                      <a:pt x="219" y="181"/>
                    </a:cubicBezTo>
                    <a:cubicBezTo>
                      <a:pt x="218" y="180"/>
                      <a:pt x="218" y="178"/>
                      <a:pt x="216" y="179"/>
                    </a:cubicBezTo>
                    <a:cubicBezTo>
                      <a:pt x="217" y="177"/>
                      <a:pt x="219" y="177"/>
                      <a:pt x="222" y="177"/>
                    </a:cubicBezTo>
                    <a:close/>
                    <a:moveTo>
                      <a:pt x="521" y="896"/>
                    </a:moveTo>
                    <a:cubicBezTo>
                      <a:pt x="518" y="896"/>
                      <a:pt x="519" y="893"/>
                      <a:pt x="519" y="890"/>
                    </a:cubicBezTo>
                    <a:cubicBezTo>
                      <a:pt x="522" y="889"/>
                      <a:pt x="520" y="894"/>
                      <a:pt x="521" y="896"/>
                    </a:cubicBezTo>
                    <a:close/>
                    <a:moveTo>
                      <a:pt x="630" y="875"/>
                    </a:moveTo>
                    <a:cubicBezTo>
                      <a:pt x="627" y="870"/>
                      <a:pt x="621" y="869"/>
                      <a:pt x="617" y="865"/>
                    </a:cubicBezTo>
                    <a:cubicBezTo>
                      <a:pt x="620" y="859"/>
                      <a:pt x="623" y="852"/>
                      <a:pt x="631" y="851"/>
                    </a:cubicBezTo>
                    <a:cubicBezTo>
                      <a:pt x="634" y="859"/>
                      <a:pt x="641" y="870"/>
                      <a:pt x="630" y="875"/>
                    </a:cubicBezTo>
                    <a:close/>
                    <a:moveTo>
                      <a:pt x="990" y="1051"/>
                    </a:moveTo>
                    <a:cubicBezTo>
                      <a:pt x="991" y="1050"/>
                      <a:pt x="994" y="1050"/>
                      <a:pt x="997" y="1050"/>
                    </a:cubicBezTo>
                    <a:cubicBezTo>
                      <a:pt x="997" y="1053"/>
                      <a:pt x="990" y="1056"/>
                      <a:pt x="990" y="1051"/>
                    </a:cubicBezTo>
                    <a:close/>
                    <a:moveTo>
                      <a:pt x="1009" y="1040"/>
                    </a:moveTo>
                    <a:cubicBezTo>
                      <a:pt x="1011" y="1038"/>
                      <a:pt x="1012" y="1031"/>
                      <a:pt x="1006" y="1033"/>
                    </a:cubicBezTo>
                    <a:cubicBezTo>
                      <a:pt x="1005" y="1029"/>
                      <a:pt x="1008" y="1029"/>
                      <a:pt x="1009" y="1026"/>
                    </a:cubicBezTo>
                    <a:cubicBezTo>
                      <a:pt x="1012" y="1030"/>
                      <a:pt x="1014" y="1029"/>
                      <a:pt x="1018" y="1027"/>
                    </a:cubicBezTo>
                    <a:cubicBezTo>
                      <a:pt x="1019" y="1034"/>
                      <a:pt x="1015" y="1038"/>
                      <a:pt x="1017" y="1044"/>
                    </a:cubicBezTo>
                    <a:cubicBezTo>
                      <a:pt x="1015" y="1042"/>
                      <a:pt x="1015" y="1038"/>
                      <a:pt x="1009" y="1040"/>
                    </a:cubicBezTo>
                    <a:close/>
                    <a:moveTo>
                      <a:pt x="1037" y="1051"/>
                    </a:moveTo>
                    <a:cubicBezTo>
                      <a:pt x="1033" y="1056"/>
                      <a:pt x="1028" y="1055"/>
                      <a:pt x="1019" y="1056"/>
                    </a:cubicBezTo>
                    <a:cubicBezTo>
                      <a:pt x="1018" y="1054"/>
                      <a:pt x="1016" y="1053"/>
                      <a:pt x="1016" y="1050"/>
                    </a:cubicBezTo>
                    <a:cubicBezTo>
                      <a:pt x="1022" y="1054"/>
                      <a:pt x="1035" y="1056"/>
                      <a:pt x="1037" y="1048"/>
                    </a:cubicBezTo>
                    <a:cubicBezTo>
                      <a:pt x="1039" y="1047"/>
                      <a:pt x="1043" y="1049"/>
                      <a:pt x="1044" y="1047"/>
                    </a:cubicBezTo>
                    <a:cubicBezTo>
                      <a:pt x="1048" y="1049"/>
                      <a:pt x="1039" y="1056"/>
                      <a:pt x="1037" y="1051"/>
                    </a:cubicBezTo>
                    <a:close/>
                    <a:moveTo>
                      <a:pt x="1094" y="161"/>
                    </a:moveTo>
                    <a:cubicBezTo>
                      <a:pt x="1092" y="160"/>
                      <a:pt x="1091" y="154"/>
                      <a:pt x="1086" y="155"/>
                    </a:cubicBezTo>
                    <a:cubicBezTo>
                      <a:pt x="1085" y="155"/>
                      <a:pt x="1087" y="154"/>
                      <a:pt x="1085" y="152"/>
                    </a:cubicBezTo>
                    <a:cubicBezTo>
                      <a:pt x="1084" y="151"/>
                      <a:pt x="1078" y="147"/>
                      <a:pt x="1073" y="144"/>
                    </a:cubicBezTo>
                    <a:cubicBezTo>
                      <a:pt x="1067" y="140"/>
                      <a:pt x="1061" y="134"/>
                      <a:pt x="1057" y="136"/>
                    </a:cubicBezTo>
                    <a:cubicBezTo>
                      <a:pt x="1085" y="149"/>
                      <a:pt x="1097" y="174"/>
                      <a:pt x="1123" y="187"/>
                    </a:cubicBezTo>
                    <a:cubicBezTo>
                      <a:pt x="1117" y="178"/>
                      <a:pt x="1101" y="169"/>
                      <a:pt x="1094" y="161"/>
                    </a:cubicBezTo>
                    <a:close/>
                    <a:moveTo>
                      <a:pt x="1106" y="170"/>
                    </a:moveTo>
                    <a:cubicBezTo>
                      <a:pt x="1117" y="179"/>
                      <a:pt x="1131" y="191"/>
                      <a:pt x="1141" y="199"/>
                    </a:cubicBezTo>
                    <a:cubicBezTo>
                      <a:pt x="1131" y="188"/>
                      <a:pt x="1117" y="177"/>
                      <a:pt x="1106" y="170"/>
                    </a:cubicBezTo>
                    <a:close/>
                    <a:moveTo>
                      <a:pt x="1104" y="167"/>
                    </a:moveTo>
                    <a:cubicBezTo>
                      <a:pt x="1101" y="166"/>
                      <a:pt x="1098" y="160"/>
                      <a:pt x="1095" y="161"/>
                    </a:cubicBezTo>
                    <a:cubicBezTo>
                      <a:pt x="1098" y="162"/>
                      <a:pt x="1102" y="168"/>
                      <a:pt x="1104" y="167"/>
                    </a:cubicBezTo>
                    <a:close/>
                    <a:moveTo>
                      <a:pt x="83" y="155"/>
                    </a:moveTo>
                    <a:cubicBezTo>
                      <a:pt x="79" y="155"/>
                      <a:pt x="72" y="158"/>
                      <a:pt x="73" y="161"/>
                    </a:cubicBezTo>
                    <a:cubicBezTo>
                      <a:pt x="77" y="159"/>
                      <a:pt x="80" y="158"/>
                      <a:pt x="83" y="155"/>
                    </a:cubicBezTo>
                    <a:close/>
                    <a:moveTo>
                      <a:pt x="809" y="206"/>
                    </a:moveTo>
                    <a:cubicBezTo>
                      <a:pt x="813" y="211"/>
                      <a:pt x="830" y="215"/>
                      <a:pt x="837" y="211"/>
                    </a:cubicBezTo>
                    <a:cubicBezTo>
                      <a:pt x="831" y="207"/>
                      <a:pt x="816" y="205"/>
                      <a:pt x="809" y="206"/>
                    </a:cubicBezTo>
                    <a:close/>
                    <a:moveTo>
                      <a:pt x="1171" y="227"/>
                    </a:moveTo>
                    <a:cubicBezTo>
                      <a:pt x="1179" y="233"/>
                      <a:pt x="1189" y="244"/>
                      <a:pt x="1181" y="235"/>
                    </a:cubicBezTo>
                    <a:cubicBezTo>
                      <a:pt x="1178" y="232"/>
                      <a:pt x="1164" y="219"/>
                      <a:pt x="1158" y="214"/>
                    </a:cubicBezTo>
                    <a:cubicBezTo>
                      <a:pt x="1161" y="222"/>
                      <a:pt x="1166" y="223"/>
                      <a:pt x="1171" y="227"/>
                    </a:cubicBezTo>
                    <a:close/>
                    <a:moveTo>
                      <a:pt x="1211" y="269"/>
                    </a:moveTo>
                    <a:cubicBezTo>
                      <a:pt x="1212" y="270"/>
                      <a:pt x="1213" y="271"/>
                      <a:pt x="1214" y="272"/>
                    </a:cubicBezTo>
                    <a:cubicBezTo>
                      <a:pt x="1213" y="270"/>
                      <a:pt x="1212" y="270"/>
                      <a:pt x="1211" y="269"/>
                    </a:cubicBezTo>
                    <a:close/>
                    <a:moveTo>
                      <a:pt x="1214" y="273"/>
                    </a:moveTo>
                    <a:cubicBezTo>
                      <a:pt x="1211" y="273"/>
                      <a:pt x="1207" y="269"/>
                      <a:pt x="1206" y="271"/>
                    </a:cubicBezTo>
                    <a:cubicBezTo>
                      <a:pt x="1227" y="298"/>
                      <a:pt x="1246" y="326"/>
                      <a:pt x="1268" y="353"/>
                    </a:cubicBezTo>
                    <a:cubicBezTo>
                      <a:pt x="1272" y="352"/>
                      <a:pt x="1266" y="349"/>
                      <a:pt x="1269" y="350"/>
                    </a:cubicBezTo>
                    <a:cubicBezTo>
                      <a:pt x="1273" y="353"/>
                      <a:pt x="1277" y="361"/>
                      <a:pt x="1280" y="361"/>
                    </a:cubicBezTo>
                    <a:cubicBezTo>
                      <a:pt x="1264" y="329"/>
                      <a:pt x="1237" y="296"/>
                      <a:pt x="1214" y="272"/>
                    </a:cubicBezTo>
                    <a:cubicBezTo>
                      <a:pt x="1214" y="272"/>
                      <a:pt x="1214" y="272"/>
                      <a:pt x="1214" y="273"/>
                    </a:cubicBezTo>
                    <a:close/>
                    <a:moveTo>
                      <a:pt x="1428" y="780"/>
                    </a:moveTo>
                    <a:cubicBezTo>
                      <a:pt x="1426" y="739"/>
                      <a:pt x="1419" y="697"/>
                      <a:pt x="1410" y="658"/>
                    </a:cubicBezTo>
                    <a:cubicBezTo>
                      <a:pt x="1385" y="546"/>
                      <a:pt x="1341" y="445"/>
                      <a:pt x="1288" y="369"/>
                    </a:cubicBezTo>
                    <a:cubicBezTo>
                      <a:pt x="1288" y="370"/>
                      <a:pt x="1288" y="371"/>
                      <a:pt x="1289" y="372"/>
                    </a:cubicBezTo>
                    <a:cubicBezTo>
                      <a:pt x="1285" y="372"/>
                      <a:pt x="1285" y="368"/>
                      <a:pt x="1283" y="367"/>
                    </a:cubicBezTo>
                    <a:cubicBezTo>
                      <a:pt x="1289" y="378"/>
                      <a:pt x="1294" y="388"/>
                      <a:pt x="1298" y="401"/>
                    </a:cubicBezTo>
                    <a:cubicBezTo>
                      <a:pt x="1306" y="427"/>
                      <a:pt x="1327" y="450"/>
                      <a:pt x="1328" y="474"/>
                    </a:cubicBezTo>
                    <a:cubicBezTo>
                      <a:pt x="1328" y="478"/>
                      <a:pt x="1327" y="480"/>
                      <a:pt x="1327" y="483"/>
                    </a:cubicBezTo>
                    <a:cubicBezTo>
                      <a:pt x="1328" y="490"/>
                      <a:pt x="1335" y="498"/>
                      <a:pt x="1331" y="506"/>
                    </a:cubicBezTo>
                    <a:cubicBezTo>
                      <a:pt x="1338" y="519"/>
                      <a:pt x="1338" y="530"/>
                      <a:pt x="1340" y="546"/>
                    </a:cubicBezTo>
                    <a:cubicBezTo>
                      <a:pt x="1342" y="554"/>
                      <a:pt x="1345" y="561"/>
                      <a:pt x="1346" y="568"/>
                    </a:cubicBezTo>
                    <a:cubicBezTo>
                      <a:pt x="1346" y="569"/>
                      <a:pt x="1345" y="572"/>
                      <a:pt x="1345" y="573"/>
                    </a:cubicBezTo>
                    <a:cubicBezTo>
                      <a:pt x="1346" y="582"/>
                      <a:pt x="1353" y="591"/>
                      <a:pt x="1357" y="600"/>
                    </a:cubicBezTo>
                    <a:cubicBezTo>
                      <a:pt x="1359" y="606"/>
                      <a:pt x="1358" y="611"/>
                      <a:pt x="1360" y="616"/>
                    </a:cubicBezTo>
                    <a:cubicBezTo>
                      <a:pt x="1363" y="626"/>
                      <a:pt x="1369" y="633"/>
                      <a:pt x="1370" y="646"/>
                    </a:cubicBezTo>
                    <a:cubicBezTo>
                      <a:pt x="1371" y="656"/>
                      <a:pt x="1373" y="664"/>
                      <a:pt x="1374" y="673"/>
                    </a:cubicBezTo>
                    <a:cubicBezTo>
                      <a:pt x="1374" y="678"/>
                      <a:pt x="1372" y="683"/>
                      <a:pt x="1373" y="689"/>
                    </a:cubicBezTo>
                    <a:cubicBezTo>
                      <a:pt x="1374" y="695"/>
                      <a:pt x="1380" y="702"/>
                      <a:pt x="1381" y="710"/>
                    </a:cubicBezTo>
                    <a:cubicBezTo>
                      <a:pt x="1382" y="716"/>
                      <a:pt x="1380" y="722"/>
                      <a:pt x="1383" y="727"/>
                    </a:cubicBezTo>
                    <a:cubicBezTo>
                      <a:pt x="1384" y="730"/>
                      <a:pt x="1389" y="730"/>
                      <a:pt x="1386" y="735"/>
                    </a:cubicBezTo>
                    <a:cubicBezTo>
                      <a:pt x="1388" y="736"/>
                      <a:pt x="1390" y="732"/>
                      <a:pt x="1390" y="735"/>
                    </a:cubicBezTo>
                    <a:cubicBezTo>
                      <a:pt x="1392" y="747"/>
                      <a:pt x="1402" y="757"/>
                      <a:pt x="1405" y="769"/>
                    </a:cubicBezTo>
                    <a:cubicBezTo>
                      <a:pt x="1406" y="773"/>
                      <a:pt x="1405" y="778"/>
                      <a:pt x="1406" y="782"/>
                    </a:cubicBezTo>
                    <a:cubicBezTo>
                      <a:pt x="1408" y="793"/>
                      <a:pt x="1415" y="800"/>
                      <a:pt x="1418" y="810"/>
                    </a:cubicBezTo>
                    <a:cubicBezTo>
                      <a:pt x="1420" y="816"/>
                      <a:pt x="1419" y="823"/>
                      <a:pt x="1425" y="828"/>
                    </a:cubicBezTo>
                    <a:cubicBezTo>
                      <a:pt x="1427" y="811"/>
                      <a:pt x="1428" y="797"/>
                      <a:pt x="1428" y="780"/>
                    </a:cubicBezTo>
                    <a:close/>
                    <a:moveTo>
                      <a:pt x="1288" y="369"/>
                    </a:moveTo>
                    <a:cubicBezTo>
                      <a:pt x="1287" y="368"/>
                      <a:pt x="1287" y="367"/>
                      <a:pt x="1286" y="366"/>
                    </a:cubicBezTo>
                    <a:cubicBezTo>
                      <a:pt x="1286" y="367"/>
                      <a:pt x="1287" y="368"/>
                      <a:pt x="1288" y="369"/>
                    </a:cubicBezTo>
                    <a:close/>
                    <a:moveTo>
                      <a:pt x="672" y="16"/>
                    </a:moveTo>
                    <a:cubicBezTo>
                      <a:pt x="687" y="14"/>
                      <a:pt x="699" y="20"/>
                      <a:pt x="710" y="15"/>
                    </a:cubicBezTo>
                    <a:cubicBezTo>
                      <a:pt x="708" y="14"/>
                      <a:pt x="704" y="16"/>
                      <a:pt x="704" y="14"/>
                    </a:cubicBezTo>
                    <a:cubicBezTo>
                      <a:pt x="709" y="15"/>
                      <a:pt x="709" y="11"/>
                      <a:pt x="713" y="12"/>
                    </a:cubicBezTo>
                    <a:cubicBezTo>
                      <a:pt x="715" y="8"/>
                      <a:pt x="709" y="11"/>
                      <a:pt x="710" y="9"/>
                    </a:cubicBezTo>
                    <a:cubicBezTo>
                      <a:pt x="718" y="9"/>
                      <a:pt x="722" y="5"/>
                      <a:pt x="728" y="3"/>
                    </a:cubicBezTo>
                    <a:cubicBezTo>
                      <a:pt x="710" y="1"/>
                      <a:pt x="689" y="0"/>
                      <a:pt x="671" y="2"/>
                    </a:cubicBezTo>
                    <a:cubicBezTo>
                      <a:pt x="673" y="2"/>
                      <a:pt x="676" y="4"/>
                      <a:pt x="674" y="5"/>
                    </a:cubicBezTo>
                    <a:cubicBezTo>
                      <a:pt x="668" y="2"/>
                      <a:pt x="660" y="2"/>
                      <a:pt x="655" y="6"/>
                    </a:cubicBezTo>
                    <a:cubicBezTo>
                      <a:pt x="661" y="11"/>
                      <a:pt x="673" y="8"/>
                      <a:pt x="678" y="14"/>
                    </a:cubicBezTo>
                    <a:cubicBezTo>
                      <a:pt x="675" y="14"/>
                      <a:pt x="672" y="13"/>
                      <a:pt x="672" y="16"/>
                    </a:cubicBezTo>
                    <a:close/>
                    <a:moveTo>
                      <a:pt x="678" y="11"/>
                    </a:moveTo>
                    <a:cubicBezTo>
                      <a:pt x="679" y="9"/>
                      <a:pt x="684" y="12"/>
                      <a:pt x="687" y="12"/>
                    </a:cubicBezTo>
                    <a:cubicBezTo>
                      <a:pt x="685" y="14"/>
                      <a:pt x="680" y="11"/>
                      <a:pt x="678" y="11"/>
                    </a:cubicBezTo>
                    <a:close/>
                    <a:moveTo>
                      <a:pt x="676" y="5"/>
                    </a:moveTo>
                    <a:cubicBezTo>
                      <a:pt x="678" y="4"/>
                      <a:pt x="681" y="3"/>
                      <a:pt x="685" y="3"/>
                    </a:cubicBezTo>
                    <a:cubicBezTo>
                      <a:pt x="684" y="5"/>
                      <a:pt x="681" y="4"/>
                      <a:pt x="682" y="7"/>
                    </a:cubicBezTo>
                    <a:cubicBezTo>
                      <a:pt x="679" y="7"/>
                      <a:pt x="680" y="4"/>
                      <a:pt x="676" y="5"/>
                    </a:cubicBezTo>
                    <a:close/>
                    <a:moveTo>
                      <a:pt x="617" y="16"/>
                    </a:moveTo>
                    <a:cubicBezTo>
                      <a:pt x="614" y="13"/>
                      <a:pt x="609" y="18"/>
                      <a:pt x="610" y="13"/>
                    </a:cubicBezTo>
                    <a:cubicBezTo>
                      <a:pt x="607" y="12"/>
                      <a:pt x="606" y="14"/>
                      <a:pt x="602" y="14"/>
                    </a:cubicBezTo>
                    <a:cubicBezTo>
                      <a:pt x="602" y="16"/>
                      <a:pt x="603" y="16"/>
                      <a:pt x="604" y="17"/>
                    </a:cubicBezTo>
                    <a:cubicBezTo>
                      <a:pt x="595" y="19"/>
                      <a:pt x="595" y="13"/>
                      <a:pt x="588" y="12"/>
                    </a:cubicBezTo>
                    <a:cubicBezTo>
                      <a:pt x="585" y="15"/>
                      <a:pt x="572" y="16"/>
                      <a:pt x="567" y="19"/>
                    </a:cubicBezTo>
                    <a:cubicBezTo>
                      <a:pt x="582" y="23"/>
                      <a:pt x="603" y="22"/>
                      <a:pt x="617" y="16"/>
                    </a:cubicBezTo>
                    <a:close/>
                    <a:moveTo>
                      <a:pt x="508" y="34"/>
                    </a:moveTo>
                    <a:cubicBezTo>
                      <a:pt x="522" y="34"/>
                      <a:pt x="533" y="27"/>
                      <a:pt x="545" y="29"/>
                    </a:cubicBezTo>
                    <a:cubicBezTo>
                      <a:pt x="537" y="29"/>
                      <a:pt x="533" y="33"/>
                      <a:pt x="529" y="38"/>
                    </a:cubicBezTo>
                    <a:cubicBezTo>
                      <a:pt x="530" y="38"/>
                      <a:pt x="532" y="37"/>
                      <a:pt x="532" y="39"/>
                    </a:cubicBezTo>
                    <a:cubicBezTo>
                      <a:pt x="530" y="41"/>
                      <a:pt x="524" y="38"/>
                      <a:pt x="523" y="42"/>
                    </a:cubicBezTo>
                    <a:cubicBezTo>
                      <a:pt x="524" y="45"/>
                      <a:pt x="529" y="42"/>
                      <a:pt x="528" y="45"/>
                    </a:cubicBezTo>
                    <a:cubicBezTo>
                      <a:pt x="526" y="45"/>
                      <a:pt x="525" y="47"/>
                      <a:pt x="526" y="48"/>
                    </a:cubicBezTo>
                    <a:cubicBezTo>
                      <a:pt x="542" y="50"/>
                      <a:pt x="555" y="43"/>
                      <a:pt x="569" y="45"/>
                    </a:cubicBezTo>
                    <a:cubicBezTo>
                      <a:pt x="575" y="46"/>
                      <a:pt x="580" y="52"/>
                      <a:pt x="588" y="49"/>
                    </a:cubicBezTo>
                    <a:cubicBezTo>
                      <a:pt x="589" y="46"/>
                      <a:pt x="585" y="48"/>
                      <a:pt x="586" y="45"/>
                    </a:cubicBezTo>
                    <a:cubicBezTo>
                      <a:pt x="593" y="44"/>
                      <a:pt x="602" y="46"/>
                      <a:pt x="607" y="42"/>
                    </a:cubicBezTo>
                    <a:cubicBezTo>
                      <a:pt x="605" y="38"/>
                      <a:pt x="596" y="40"/>
                      <a:pt x="593" y="37"/>
                    </a:cubicBezTo>
                    <a:cubicBezTo>
                      <a:pt x="595" y="37"/>
                      <a:pt x="595" y="35"/>
                      <a:pt x="597" y="35"/>
                    </a:cubicBezTo>
                    <a:cubicBezTo>
                      <a:pt x="597" y="21"/>
                      <a:pt x="585" y="26"/>
                      <a:pt x="579" y="31"/>
                    </a:cubicBezTo>
                    <a:cubicBezTo>
                      <a:pt x="579" y="29"/>
                      <a:pt x="581" y="28"/>
                      <a:pt x="579" y="26"/>
                    </a:cubicBezTo>
                    <a:cubicBezTo>
                      <a:pt x="568" y="31"/>
                      <a:pt x="561" y="23"/>
                      <a:pt x="554" y="21"/>
                    </a:cubicBezTo>
                    <a:cubicBezTo>
                      <a:pt x="545" y="20"/>
                      <a:pt x="537" y="22"/>
                      <a:pt x="524" y="21"/>
                    </a:cubicBezTo>
                    <a:cubicBezTo>
                      <a:pt x="523" y="25"/>
                      <a:pt x="529" y="22"/>
                      <a:pt x="527" y="25"/>
                    </a:cubicBezTo>
                    <a:cubicBezTo>
                      <a:pt x="518" y="24"/>
                      <a:pt x="512" y="27"/>
                      <a:pt x="507" y="31"/>
                    </a:cubicBezTo>
                    <a:cubicBezTo>
                      <a:pt x="510" y="30"/>
                      <a:pt x="509" y="33"/>
                      <a:pt x="508" y="34"/>
                    </a:cubicBezTo>
                    <a:close/>
                    <a:moveTo>
                      <a:pt x="556" y="26"/>
                    </a:moveTo>
                    <a:cubicBezTo>
                      <a:pt x="554" y="28"/>
                      <a:pt x="550" y="28"/>
                      <a:pt x="546" y="28"/>
                    </a:cubicBezTo>
                    <a:cubicBezTo>
                      <a:pt x="549" y="27"/>
                      <a:pt x="552" y="26"/>
                      <a:pt x="556" y="26"/>
                    </a:cubicBezTo>
                    <a:close/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 dirty="0">
                  <a:latin typeface="+mj-lt"/>
                </a:endParaRPr>
              </a:p>
            </p:txBody>
          </p:sp>
        </p:grpSp>
        <p:grpSp>
          <p:nvGrpSpPr>
            <p:cNvPr id="78" name="Group 1">
              <a:extLst>
                <a:ext uri="{FF2B5EF4-FFF2-40B4-BE49-F238E27FC236}">
                  <a16:creationId xmlns:a16="http://schemas.microsoft.com/office/drawing/2014/main" id="{BDBF51FC-9AE8-43BF-BE51-07F4029F714A}"/>
                </a:ext>
              </a:extLst>
            </p:cNvPr>
            <p:cNvGrpSpPr>
              <a:grpSpLocks/>
            </p:cNvGrpSpPr>
            <p:nvPr/>
          </p:nvGrpSpPr>
          <p:grpSpPr>
            <a:xfrm>
              <a:off x="10475245" y="1677988"/>
              <a:ext cx="1168546" cy="1173532"/>
              <a:chOff x="1834475" y="1798638"/>
              <a:chExt cx="1663520" cy="1670619"/>
            </a:xfrm>
            <a:solidFill>
              <a:srgbClr val="E6EBEE"/>
            </a:solidFill>
          </p:grpSpPr>
          <p:sp>
            <p:nvSpPr>
              <p:cNvPr id="82" name="Freeform 37">
                <a:extLst>
                  <a:ext uri="{FF2B5EF4-FFF2-40B4-BE49-F238E27FC236}">
                    <a16:creationId xmlns:a16="http://schemas.microsoft.com/office/drawing/2014/main" id="{F487A838-2200-4F0A-A65F-709DFF21BD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37451" y="1798638"/>
                <a:ext cx="1660544" cy="1665709"/>
              </a:xfrm>
              <a:custGeom>
                <a:avLst/>
                <a:gdLst/>
                <a:ahLst/>
                <a:cxnLst>
                  <a:cxn ang="0">
                    <a:pos x="43" y="519"/>
                  </a:cxn>
                  <a:cxn ang="0">
                    <a:pos x="688" y="16"/>
                  </a:cxn>
                  <a:cxn ang="0">
                    <a:pos x="710" y="20"/>
                  </a:cxn>
                  <a:cxn ang="0">
                    <a:pos x="799" y="22"/>
                  </a:cxn>
                  <a:cxn ang="0">
                    <a:pos x="581" y="42"/>
                  </a:cxn>
                  <a:cxn ang="0">
                    <a:pos x="530" y="61"/>
                  </a:cxn>
                  <a:cxn ang="0">
                    <a:pos x="991" y="49"/>
                  </a:cxn>
                  <a:cxn ang="0">
                    <a:pos x="372" y="115"/>
                  </a:cxn>
                  <a:cxn ang="0">
                    <a:pos x="428" y="107"/>
                  </a:cxn>
                  <a:cxn ang="0">
                    <a:pos x="818" y="92"/>
                  </a:cxn>
                  <a:cxn ang="0">
                    <a:pos x="1055" y="192"/>
                  </a:cxn>
                  <a:cxn ang="0">
                    <a:pos x="825" y="120"/>
                  </a:cxn>
                  <a:cxn ang="0">
                    <a:pos x="386" y="131"/>
                  </a:cxn>
                  <a:cxn ang="0">
                    <a:pos x="360" y="122"/>
                  </a:cxn>
                  <a:cxn ang="0">
                    <a:pos x="307" y="157"/>
                  </a:cxn>
                  <a:cxn ang="0">
                    <a:pos x="1281" y="215"/>
                  </a:cxn>
                  <a:cxn ang="0">
                    <a:pos x="262" y="197"/>
                  </a:cxn>
                  <a:cxn ang="0">
                    <a:pos x="342" y="207"/>
                  </a:cxn>
                  <a:cxn ang="0">
                    <a:pos x="515" y="222"/>
                  </a:cxn>
                  <a:cxn ang="0">
                    <a:pos x="1092" y="232"/>
                  </a:cxn>
                  <a:cxn ang="0">
                    <a:pos x="1054" y="395"/>
                  </a:cxn>
                  <a:cxn ang="0">
                    <a:pos x="286" y="259"/>
                  </a:cxn>
                  <a:cxn ang="0">
                    <a:pos x="422" y="400"/>
                  </a:cxn>
                  <a:cxn ang="0">
                    <a:pos x="139" y="360"/>
                  </a:cxn>
                  <a:cxn ang="0">
                    <a:pos x="735" y="383"/>
                  </a:cxn>
                  <a:cxn ang="0">
                    <a:pos x="401" y="453"/>
                  </a:cxn>
                  <a:cxn ang="0">
                    <a:pos x="1275" y="515"/>
                  </a:cxn>
                  <a:cxn ang="0">
                    <a:pos x="965" y="472"/>
                  </a:cxn>
                  <a:cxn ang="0">
                    <a:pos x="1457" y="507"/>
                  </a:cxn>
                  <a:cxn ang="0">
                    <a:pos x="1123" y="716"/>
                  </a:cxn>
                  <a:cxn ang="0">
                    <a:pos x="1284" y="635"/>
                  </a:cxn>
                  <a:cxn ang="0">
                    <a:pos x="109" y="683"/>
                  </a:cxn>
                  <a:cxn ang="0">
                    <a:pos x="320" y="836"/>
                  </a:cxn>
                  <a:cxn ang="0">
                    <a:pos x="942" y="737"/>
                  </a:cxn>
                  <a:cxn ang="0">
                    <a:pos x="1520" y="791"/>
                  </a:cxn>
                  <a:cxn ang="0">
                    <a:pos x="1506" y="837"/>
                  </a:cxn>
                  <a:cxn ang="0">
                    <a:pos x="1392" y="910"/>
                  </a:cxn>
                  <a:cxn ang="0">
                    <a:pos x="1322" y="936"/>
                  </a:cxn>
                  <a:cxn ang="0">
                    <a:pos x="497" y="992"/>
                  </a:cxn>
                  <a:cxn ang="0">
                    <a:pos x="637" y="1004"/>
                  </a:cxn>
                  <a:cxn ang="0">
                    <a:pos x="75" y="1026"/>
                  </a:cxn>
                  <a:cxn ang="0">
                    <a:pos x="155" y="1216"/>
                  </a:cxn>
                  <a:cxn ang="0">
                    <a:pos x="1376" y="1175"/>
                  </a:cxn>
                  <a:cxn ang="0">
                    <a:pos x="187" y="1148"/>
                  </a:cxn>
                  <a:cxn ang="0">
                    <a:pos x="163" y="1223"/>
                  </a:cxn>
                  <a:cxn ang="0">
                    <a:pos x="363" y="1201"/>
                  </a:cxn>
                  <a:cxn ang="0">
                    <a:pos x="535" y="1295"/>
                  </a:cxn>
                  <a:cxn ang="0">
                    <a:pos x="170" y="1239"/>
                  </a:cxn>
                  <a:cxn ang="0">
                    <a:pos x="195" y="1266"/>
                  </a:cxn>
                  <a:cxn ang="0">
                    <a:pos x="224" y="1300"/>
                  </a:cxn>
                  <a:cxn ang="0">
                    <a:pos x="309" y="1356"/>
                  </a:cxn>
                  <a:cxn ang="0">
                    <a:pos x="1151" y="1402"/>
                  </a:cxn>
                  <a:cxn ang="0">
                    <a:pos x="618" y="1375"/>
                  </a:cxn>
                  <a:cxn ang="0">
                    <a:pos x="956" y="1397"/>
                  </a:cxn>
                  <a:cxn ang="0">
                    <a:pos x="1038" y="1391"/>
                  </a:cxn>
                  <a:cxn ang="0">
                    <a:pos x="697" y="1413"/>
                  </a:cxn>
                  <a:cxn ang="0">
                    <a:pos x="987" y="1439"/>
                  </a:cxn>
                  <a:cxn ang="0">
                    <a:pos x="513" y="1480"/>
                  </a:cxn>
                  <a:cxn ang="0">
                    <a:pos x="749" y="1462"/>
                  </a:cxn>
                  <a:cxn ang="0">
                    <a:pos x="975" y="1464"/>
                  </a:cxn>
                  <a:cxn ang="0">
                    <a:pos x="782" y="1475"/>
                  </a:cxn>
                  <a:cxn ang="0">
                    <a:pos x="738" y="1484"/>
                  </a:cxn>
                  <a:cxn ang="0">
                    <a:pos x="845" y="1510"/>
                  </a:cxn>
                </a:cxnLst>
                <a:rect l="0" t="0" r="r" b="b"/>
                <a:pathLst>
                  <a:path w="1525" h="1529">
                    <a:moveTo>
                      <a:pt x="760" y="11"/>
                    </a:moveTo>
                    <a:cubicBezTo>
                      <a:pt x="764" y="10"/>
                      <a:pt x="762" y="3"/>
                      <a:pt x="767" y="3"/>
                    </a:cubicBezTo>
                    <a:cubicBezTo>
                      <a:pt x="772" y="2"/>
                      <a:pt x="769" y="11"/>
                      <a:pt x="774" y="8"/>
                    </a:cubicBezTo>
                    <a:cubicBezTo>
                      <a:pt x="798" y="0"/>
                      <a:pt x="832" y="6"/>
                      <a:pt x="860" y="10"/>
                    </a:cubicBezTo>
                    <a:cubicBezTo>
                      <a:pt x="920" y="18"/>
                      <a:pt x="979" y="31"/>
                      <a:pt x="1027" y="50"/>
                    </a:cubicBezTo>
                    <a:cubicBezTo>
                      <a:pt x="1077" y="70"/>
                      <a:pt x="1124" y="92"/>
                      <a:pt x="1166" y="119"/>
                    </a:cubicBezTo>
                    <a:cubicBezTo>
                      <a:pt x="1181" y="129"/>
                      <a:pt x="1197" y="136"/>
                      <a:pt x="1209" y="145"/>
                    </a:cubicBezTo>
                    <a:cubicBezTo>
                      <a:pt x="1217" y="151"/>
                      <a:pt x="1224" y="160"/>
                      <a:pt x="1232" y="167"/>
                    </a:cubicBezTo>
                    <a:cubicBezTo>
                      <a:pt x="1281" y="205"/>
                      <a:pt x="1322" y="252"/>
                      <a:pt x="1362" y="301"/>
                    </a:cubicBezTo>
                    <a:cubicBezTo>
                      <a:pt x="1369" y="310"/>
                      <a:pt x="1378" y="316"/>
                      <a:pt x="1383" y="323"/>
                    </a:cubicBezTo>
                    <a:cubicBezTo>
                      <a:pt x="1388" y="331"/>
                      <a:pt x="1392" y="340"/>
                      <a:pt x="1398" y="348"/>
                    </a:cubicBezTo>
                    <a:cubicBezTo>
                      <a:pt x="1468" y="449"/>
                      <a:pt x="1525" y="587"/>
                      <a:pt x="1522" y="761"/>
                    </a:cubicBezTo>
                    <a:cubicBezTo>
                      <a:pt x="1522" y="773"/>
                      <a:pt x="1525" y="784"/>
                      <a:pt x="1524" y="795"/>
                    </a:cubicBezTo>
                    <a:cubicBezTo>
                      <a:pt x="1524" y="805"/>
                      <a:pt x="1520" y="815"/>
                      <a:pt x="1518" y="826"/>
                    </a:cubicBezTo>
                    <a:cubicBezTo>
                      <a:pt x="1515" y="857"/>
                      <a:pt x="1508" y="890"/>
                      <a:pt x="1502" y="919"/>
                    </a:cubicBezTo>
                    <a:cubicBezTo>
                      <a:pt x="1495" y="950"/>
                      <a:pt x="1489" y="979"/>
                      <a:pt x="1481" y="1007"/>
                    </a:cubicBezTo>
                    <a:cubicBezTo>
                      <a:pt x="1478" y="1017"/>
                      <a:pt x="1477" y="1028"/>
                      <a:pt x="1474" y="1037"/>
                    </a:cubicBezTo>
                    <a:cubicBezTo>
                      <a:pt x="1472" y="1045"/>
                      <a:pt x="1468" y="1051"/>
                      <a:pt x="1465" y="1058"/>
                    </a:cubicBezTo>
                    <a:cubicBezTo>
                      <a:pt x="1455" y="1079"/>
                      <a:pt x="1446" y="1102"/>
                      <a:pt x="1436" y="1122"/>
                    </a:cubicBezTo>
                    <a:cubicBezTo>
                      <a:pt x="1414" y="1164"/>
                      <a:pt x="1392" y="1199"/>
                      <a:pt x="1364" y="1233"/>
                    </a:cubicBezTo>
                    <a:cubicBezTo>
                      <a:pt x="1355" y="1245"/>
                      <a:pt x="1347" y="1257"/>
                      <a:pt x="1337" y="1268"/>
                    </a:cubicBezTo>
                    <a:cubicBezTo>
                      <a:pt x="1318" y="1289"/>
                      <a:pt x="1295" y="1305"/>
                      <a:pt x="1274" y="1326"/>
                    </a:cubicBezTo>
                    <a:cubicBezTo>
                      <a:pt x="1232" y="1368"/>
                      <a:pt x="1185" y="1404"/>
                      <a:pt x="1136" y="1434"/>
                    </a:cubicBezTo>
                    <a:cubicBezTo>
                      <a:pt x="1110" y="1450"/>
                      <a:pt x="1082" y="1460"/>
                      <a:pt x="1052" y="1471"/>
                    </a:cubicBezTo>
                    <a:cubicBezTo>
                      <a:pt x="1037" y="1477"/>
                      <a:pt x="1023" y="1484"/>
                      <a:pt x="1008" y="1488"/>
                    </a:cubicBezTo>
                    <a:cubicBezTo>
                      <a:pt x="992" y="1493"/>
                      <a:pt x="976" y="1494"/>
                      <a:pt x="958" y="1499"/>
                    </a:cubicBezTo>
                    <a:cubicBezTo>
                      <a:pt x="948" y="1502"/>
                      <a:pt x="940" y="1508"/>
                      <a:pt x="930" y="1511"/>
                    </a:cubicBezTo>
                    <a:cubicBezTo>
                      <a:pt x="904" y="1518"/>
                      <a:pt x="872" y="1514"/>
                      <a:pt x="846" y="1522"/>
                    </a:cubicBezTo>
                    <a:cubicBezTo>
                      <a:pt x="840" y="1524"/>
                      <a:pt x="835" y="1527"/>
                      <a:pt x="828" y="1528"/>
                    </a:cubicBezTo>
                    <a:cubicBezTo>
                      <a:pt x="823" y="1528"/>
                      <a:pt x="818" y="1526"/>
                      <a:pt x="813" y="1526"/>
                    </a:cubicBezTo>
                    <a:cubicBezTo>
                      <a:pt x="796" y="1525"/>
                      <a:pt x="777" y="1527"/>
                      <a:pt x="758" y="1528"/>
                    </a:cubicBezTo>
                    <a:cubicBezTo>
                      <a:pt x="735" y="1529"/>
                      <a:pt x="713" y="1524"/>
                      <a:pt x="691" y="1523"/>
                    </a:cubicBezTo>
                    <a:cubicBezTo>
                      <a:pt x="683" y="1523"/>
                      <a:pt x="676" y="1525"/>
                      <a:pt x="669" y="1524"/>
                    </a:cubicBezTo>
                    <a:cubicBezTo>
                      <a:pt x="656" y="1523"/>
                      <a:pt x="646" y="1514"/>
                      <a:pt x="635" y="1512"/>
                    </a:cubicBezTo>
                    <a:cubicBezTo>
                      <a:pt x="620" y="1510"/>
                      <a:pt x="607" y="1512"/>
                      <a:pt x="594" y="1511"/>
                    </a:cubicBezTo>
                    <a:cubicBezTo>
                      <a:pt x="571" y="1507"/>
                      <a:pt x="551" y="1496"/>
                      <a:pt x="531" y="1489"/>
                    </a:cubicBezTo>
                    <a:cubicBezTo>
                      <a:pt x="520" y="1486"/>
                      <a:pt x="508" y="1484"/>
                      <a:pt x="497" y="1481"/>
                    </a:cubicBezTo>
                    <a:cubicBezTo>
                      <a:pt x="454" y="1468"/>
                      <a:pt x="414" y="1451"/>
                      <a:pt x="380" y="1429"/>
                    </a:cubicBezTo>
                    <a:cubicBezTo>
                      <a:pt x="363" y="1418"/>
                      <a:pt x="347" y="1404"/>
                      <a:pt x="330" y="1393"/>
                    </a:cubicBezTo>
                    <a:cubicBezTo>
                      <a:pt x="287" y="1366"/>
                      <a:pt x="251" y="1334"/>
                      <a:pt x="216" y="1296"/>
                    </a:cubicBezTo>
                    <a:cubicBezTo>
                      <a:pt x="202" y="1282"/>
                      <a:pt x="187" y="1270"/>
                      <a:pt x="174" y="1252"/>
                    </a:cubicBezTo>
                    <a:cubicBezTo>
                      <a:pt x="169" y="1244"/>
                      <a:pt x="165" y="1234"/>
                      <a:pt x="159" y="1225"/>
                    </a:cubicBezTo>
                    <a:cubicBezTo>
                      <a:pt x="147" y="1209"/>
                      <a:pt x="133" y="1193"/>
                      <a:pt x="123" y="1177"/>
                    </a:cubicBezTo>
                    <a:cubicBezTo>
                      <a:pt x="60" y="1083"/>
                      <a:pt x="16" y="977"/>
                      <a:pt x="6" y="830"/>
                    </a:cubicBezTo>
                    <a:cubicBezTo>
                      <a:pt x="5" y="816"/>
                      <a:pt x="0" y="804"/>
                      <a:pt x="0" y="791"/>
                    </a:cubicBezTo>
                    <a:cubicBezTo>
                      <a:pt x="0" y="782"/>
                      <a:pt x="4" y="772"/>
                      <a:pt x="5" y="762"/>
                    </a:cubicBezTo>
                    <a:cubicBezTo>
                      <a:pt x="11" y="698"/>
                      <a:pt x="14" y="634"/>
                      <a:pt x="27" y="577"/>
                    </a:cubicBezTo>
                    <a:cubicBezTo>
                      <a:pt x="29" y="567"/>
                      <a:pt x="29" y="558"/>
                      <a:pt x="31" y="549"/>
                    </a:cubicBezTo>
                    <a:cubicBezTo>
                      <a:pt x="34" y="539"/>
                      <a:pt x="40" y="529"/>
                      <a:pt x="43" y="519"/>
                    </a:cubicBezTo>
                    <a:cubicBezTo>
                      <a:pt x="65" y="448"/>
                      <a:pt x="100" y="386"/>
                      <a:pt x="137" y="330"/>
                    </a:cubicBezTo>
                    <a:cubicBezTo>
                      <a:pt x="170" y="280"/>
                      <a:pt x="209" y="240"/>
                      <a:pt x="252" y="202"/>
                    </a:cubicBezTo>
                    <a:cubicBezTo>
                      <a:pt x="266" y="190"/>
                      <a:pt x="282" y="179"/>
                      <a:pt x="296" y="166"/>
                    </a:cubicBezTo>
                    <a:cubicBezTo>
                      <a:pt x="303" y="159"/>
                      <a:pt x="307" y="151"/>
                      <a:pt x="315" y="145"/>
                    </a:cubicBezTo>
                    <a:cubicBezTo>
                      <a:pt x="323" y="139"/>
                      <a:pt x="332" y="137"/>
                      <a:pt x="341" y="132"/>
                    </a:cubicBezTo>
                    <a:cubicBezTo>
                      <a:pt x="354" y="124"/>
                      <a:pt x="367" y="114"/>
                      <a:pt x="380" y="106"/>
                    </a:cubicBezTo>
                    <a:cubicBezTo>
                      <a:pt x="419" y="82"/>
                      <a:pt x="466" y="61"/>
                      <a:pt x="514" y="46"/>
                    </a:cubicBezTo>
                    <a:cubicBezTo>
                      <a:pt x="531" y="40"/>
                      <a:pt x="546" y="33"/>
                      <a:pt x="563" y="29"/>
                    </a:cubicBezTo>
                    <a:cubicBezTo>
                      <a:pt x="605" y="19"/>
                      <a:pt x="652" y="8"/>
                      <a:pt x="702" y="5"/>
                    </a:cubicBezTo>
                    <a:cubicBezTo>
                      <a:pt x="711" y="5"/>
                      <a:pt x="721" y="5"/>
                      <a:pt x="731" y="3"/>
                    </a:cubicBezTo>
                    <a:cubicBezTo>
                      <a:pt x="741" y="1"/>
                      <a:pt x="752" y="5"/>
                      <a:pt x="760" y="11"/>
                    </a:cubicBezTo>
                    <a:close/>
                    <a:moveTo>
                      <a:pt x="765" y="11"/>
                    </a:moveTo>
                    <a:cubicBezTo>
                      <a:pt x="767" y="11"/>
                      <a:pt x="769" y="11"/>
                      <a:pt x="770" y="9"/>
                    </a:cubicBezTo>
                    <a:cubicBezTo>
                      <a:pt x="768" y="9"/>
                      <a:pt x="769" y="6"/>
                      <a:pt x="767" y="5"/>
                    </a:cubicBezTo>
                    <a:cubicBezTo>
                      <a:pt x="766" y="7"/>
                      <a:pt x="764" y="8"/>
                      <a:pt x="765" y="11"/>
                    </a:cubicBezTo>
                    <a:close/>
                    <a:moveTo>
                      <a:pt x="737" y="6"/>
                    </a:moveTo>
                    <a:cubicBezTo>
                      <a:pt x="736" y="6"/>
                      <a:pt x="735" y="6"/>
                      <a:pt x="735" y="7"/>
                    </a:cubicBezTo>
                    <a:cubicBezTo>
                      <a:pt x="736" y="7"/>
                      <a:pt x="737" y="7"/>
                      <a:pt x="737" y="6"/>
                    </a:cubicBezTo>
                    <a:close/>
                    <a:moveTo>
                      <a:pt x="800" y="6"/>
                    </a:moveTo>
                    <a:cubicBezTo>
                      <a:pt x="790" y="5"/>
                      <a:pt x="794" y="9"/>
                      <a:pt x="800" y="6"/>
                    </a:cubicBezTo>
                    <a:close/>
                    <a:moveTo>
                      <a:pt x="744" y="7"/>
                    </a:moveTo>
                    <a:cubicBezTo>
                      <a:pt x="742" y="8"/>
                      <a:pt x="738" y="6"/>
                      <a:pt x="738" y="8"/>
                    </a:cubicBezTo>
                    <a:cubicBezTo>
                      <a:pt x="740" y="8"/>
                      <a:pt x="744" y="9"/>
                      <a:pt x="744" y="7"/>
                    </a:cubicBezTo>
                    <a:close/>
                    <a:moveTo>
                      <a:pt x="792" y="7"/>
                    </a:moveTo>
                    <a:cubicBezTo>
                      <a:pt x="790" y="8"/>
                      <a:pt x="785" y="6"/>
                      <a:pt x="785" y="8"/>
                    </a:cubicBezTo>
                    <a:cubicBezTo>
                      <a:pt x="787" y="8"/>
                      <a:pt x="791" y="9"/>
                      <a:pt x="792" y="7"/>
                    </a:cubicBezTo>
                    <a:close/>
                    <a:moveTo>
                      <a:pt x="727" y="8"/>
                    </a:moveTo>
                    <a:cubicBezTo>
                      <a:pt x="726" y="8"/>
                      <a:pt x="725" y="8"/>
                      <a:pt x="725" y="9"/>
                    </a:cubicBezTo>
                    <a:cubicBezTo>
                      <a:pt x="726" y="9"/>
                      <a:pt x="727" y="9"/>
                      <a:pt x="727" y="8"/>
                    </a:cubicBezTo>
                    <a:close/>
                    <a:moveTo>
                      <a:pt x="747" y="8"/>
                    </a:moveTo>
                    <a:cubicBezTo>
                      <a:pt x="746" y="8"/>
                      <a:pt x="745" y="8"/>
                      <a:pt x="745" y="9"/>
                    </a:cubicBezTo>
                    <a:cubicBezTo>
                      <a:pt x="745" y="9"/>
                      <a:pt x="747" y="9"/>
                      <a:pt x="747" y="8"/>
                    </a:cubicBezTo>
                    <a:close/>
                    <a:moveTo>
                      <a:pt x="784" y="8"/>
                    </a:moveTo>
                    <a:cubicBezTo>
                      <a:pt x="783" y="8"/>
                      <a:pt x="781" y="8"/>
                      <a:pt x="781" y="9"/>
                    </a:cubicBezTo>
                    <a:cubicBezTo>
                      <a:pt x="782" y="9"/>
                      <a:pt x="784" y="9"/>
                      <a:pt x="784" y="8"/>
                    </a:cubicBezTo>
                    <a:close/>
                    <a:moveTo>
                      <a:pt x="748" y="10"/>
                    </a:moveTo>
                    <a:cubicBezTo>
                      <a:pt x="747" y="10"/>
                      <a:pt x="748" y="11"/>
                      <a:pt x="748" y="10"/>
                    </a:cubicBezTo>
                    <a:close/>
                    <a:moveTo>
                      <a:pt x="778" y="10"/>
                    </a:moveTo>
                    <a:cubicBezTo>
                      <a:pt x="778" y="10"/>
                      <a:pt x="779" y="11"/>
                      <a:pt x="778" y="10"/>
                    </a:cubicBezTo>
                    <a:close/>
                    <a:moveTo>
                      <a:pt x="688" y="10"/>
                    </a:moveTo>
                    <a:cubicBezTo>
                      <a:pt x="686" y="11"/>
                      <a:pt x="682" y="9"/>
                      <a:pt x="682" y="11"/>
                    </a:cubicBezTo>
                    <a:cubicBezTo>
                      <a:pt x="684" y="10"/>
                      <a:pt x="688" y="12"/>
                      <a:pt x="688" y="10"/>
                    </a:cubicBezTo>
                    <a:close/>
                    <a:moveTo>
                      <a:pt x="841" y="11"/>
                    </a:moveTo>
                    <a:cubicBezTo>
                      <a:pt x="836" y="10"/>
                      <a:pt x="840" y="14"/>
                      <a:pt x="841" y="11"/>
                    </a:cubicBezTo>
                    <a:close/>
                    <a:moveTo>
                      <a:pt x="857" y="12"/>
                    </a:moveTo>
                    <a:cubicBezTo>
                      <a:pt x="856" y="12"/>
                      <a:pt x="854" y="12"/>
                      <a:pt x="854" y="13"/>
                    </a:cubicBezTo>
                    <a:cubicBezTo>
                      <a:pt x="855" y="13"/>
                      <a:pt x="857" y="13"/>
                      <a:pt x="857" y="12"/>
                    </a:cubicBezTo>
                    <a:close/>
                    <a:moveTo>
                      <a:pt x="688" y="16"/>
                    </a:moveTo>
                    <a:cubicBezTo>
                      <a:pt x="680" y="15"/>
                      <a:pt x="684" y="19"/>
                      <a:pt x="688" y="16"/>
                    </a:cubicBezTo>
                    <a:close/>
                    <a:moveTo>
                      <a:pt x="678" y="17"/>
                    </a:moveTo>
                    <a:cubicBezTo>
                      <a:pt x="676" y="17"/>
                      <a:pt x="671" y="16"/>
                      <a:pt x="671" y="18"/>
                    </a:cubicBezTo>
                    <a:cubicBezTo>
                      <a:pt x="673" y="17"/>
                      <a:pt x="677" y="19"/>
                      <a:pt x="678" y="17"/>
                    </a:cubicBezTo>
                    <a:close/>
                    <a:moveTo>
                      <a:pt x="842" y="17"/>
                    </a:moveTo>
                    <a:cubicBezTo>
                      <a:pt x="836" y="16"/>
                      <a:pt x="840" y="20"/>
                      <a:pt x="842" y="17"/>
                    </a:cubicBezTo>
                    <a:close/>
                    <a:moveTo>
                      <a:pt x="664" y="19"/>
                    </a:moveTo>
                    <a:cubicBezTo>
                      <a:pt x="674" y="17"/>
                      <a:pt x="664" y="18"/>
                      <a:pt x="658" y="19"/>
                    </a:cubicBezTo>
                    <a:cubicBezTo>
                      <a:pt x="655" y="19"/>
                      <a:pt x="652" y="18"/>
                      <a:pt x="651" y="21"/>
                    </a:cubicBezTo>
                    <a:cubicBezTo>
                      <a:pt x="656" y="20"/>
                      <a:pt x="660" y="19"/>
                      <a:pt x="664" y="19"/>
                    </a:cubicBezTo>
                    <a:close/>
                    <a:moveTo>
                      <a:pt x="700" y="19"/>
                    </a:moveTo>
                    <a:cubicBezTo>
                      <a:pt x="699" y="18"/>
                      <a:pt x="700" y="19"/>
                      <a:pt x="700" y="19"/>
                    </a:cubicBezTo>
                    <a:close/>
                    <a:moveTo>
                      <a:pt x="698" y="81"/>
                    </a:moveTo>
                    <a:cubicBezTo>
                      <a:pt x="716" y="81"/>
                      <a:pt x="734" y="81"/>
                      <a:pt x="751" y="81"/>
                    </a:cubicBezTo>
                    <a:cubicBezTo>
                      <a:pt x="753" y="60"/>
                      <a:pt x="757" y="36"/>
                      <a:pt x="759" y="18"/>
                    </a:cubicBezTo>
                    <a:cubicBezTo>
                      <a:pt x="733" y="34"/>
                      <a:pt x="714" y="56"/>
                      <a:pt x="698" y="81"/>
                    </a:cubicBezTo>
                    <a:close/>
                    <a:moveTo>
                      <a:pt x="852" y="19"/>
                    </a:moveTo>
                    <a:cubicBezTo>
                      <a:pt x="852" y="19"/>
                      <a:pt x="852" y="19"/>
                      <a:pt x="852" y="20"/>
                    </a:cubicBezTo>
                    <a:cubicBezTo>
                      <a:pt x="870" y="21"/>
                      <a:pt x="885" y="24"/>
                      <a:pt x="901" y="26"/>
                    </a:cubicBezTo>
                    <a:moveTo>
                      <a:pt x="901" y="26"/>
                    </a:moveTo>
                    <a:cubicBezTo>
                      <a:pt x="902" y="29"/>
                      <a:pt x="906" y="25"/>
                      <a:pt x="901" y="26"/>
                    </a:cubicBezTo>
                    <a:moveTo>
                      <a:pt x="901" y="26"/>
                    </a:moveTo>
                    <a:cubicBezTo>
                      <a:pt x="901" y="26"/>
                      <a:pt x="901" y="26"/>
                      <a:pt x="901" y="25"/>
                    </a:cubicBezTo>
                    <a:cubicBezTo>
                      <a:pt x="887" y="21"/>
                      <a:pt x="870" y="20"/>
                      <a:pt x="852" y="19"/>
                    </a:cubicBezTo>
                    <a:moveTo>
                      <a:pt x="852" y="19"/>
                    </a:moveTo>
                    <a:cubicBezTo>
                      <a:pt x="846" y="16"/>
                      <a:pt x="842" y="20"/>
                      <a:pt x="852" y="19"/>
                    </a:cubicBezTo>
                    <a:moveTo>
                      <a:pt x="693" y="19"/>
                    </a:moveTo>
                    <a:cubicBezTo>
                      <a:pt x="683" y="17"/>
                      <a:pt x="687" y="22"/>
                      <a:pt x="693" y="19"/>
                    </a:cubicBezTo>
                    <a:close/>
                    <a:moveTo>
                      <a:pt x="751" y="20"/>
                    </a:moveTo>
                    <a:cubicBezTo>
                      <a:pt x="751" y="19"/>
                      <a:pt x="752" y="20"/>
                      <a:pt x="751" y="20"/>
                    </a:cubicBezTo>
                    <a:close/>
                    <a:moveTo>
                      <a:pt x="754" y="81"/>
                    </a:moveTo>
                    <a:cubicBezTo>
                      <a:pt x="762" y="81"/>
                      <a:pt x="770" y="81"/>
                      <a:pt x="778" y="81"/>
                    </a:cubicBezTo>
                    <a:cubicBezTo>
                      <a:pt x="774" y="59"/>
                      <a:pt x="781" y="26"/>
                      <a:pt x="762" y="19"/>
                    </a:cubicBezTo>
                    <a:cubicBezTo>
                      <a:pt x="759" y="39"/>
                      <a:pt x="756" y="59"/>
                      <a:pt x="754" y="81"/>
                    </a:cubicBezTo>
                    <a:close/>
                    <a:moveTo>
                      <a:pt x="826" y="19"/>
                    </a:moveTo>
                    <a:cubicBezTo>
                      <a:pt x="820" y="18"/>
                      <a:pt x="824" y="22"/>
                      <a:pt x="826" y="19"/>
                    </a:cubicBezTo>
                    <a:close/>
                    <a:moveTo>
                      <a:pt x="641" y="21"/>
                    </a:moveTo>
                    <a:cubicBezTo>
                      <a:pt x="619" y="23"/>
                      <a:pt x="596" y="25"/>
                      <a:pt x="580" y="33"/>
                    </a:cubicBezTo>
                    <a:moveTo>
                      <a:pt x="580" y="33"/>
                    </a:moveTo>
                    <a:cubicBezTo>
                      <a:pt x="576" y="32"/>
                      <a:pt x="579" y="36"/>
                      <a:pt x="580" y="33"/>
                    </a:cubicBezTo>
                    <a:moveTo>
                      <a:pt x="580" y="33"/>
                    </a:moveTo>
                    <a:cubicBezTo>
                      <a:pt x="600" y="29"/>
                      <a:pt x="622" y="26"/>
                      <a:pt x="641" y="21"/>
                    </a:cubicBezTo>
                    <a:moveTo>
                      <a:pt x="641" y="21"/>
                    </a:moveTo>
                    <a:cubicBezTo>
                      <a:pt x="646" y="22"/>
                      <a:pt x="642" y="18"/>
                      <a:pt x="641" y="21"/>
                    </a:cubicBezTo>
                    <a:moveTo>
                      <a:pt x="632" y="29"/>
                    </a:moveTo>
                    <a:cubicBezTo>
                      <a:pt x="649" y="25"/>
                      <a:pt x="668" y="24"/>
                      <a:pt x="684" y="20"/>
                    </a:cubicBezTo>
                    <a:cubicBezTo>
                      <a:pt x="666" y="22"/>
                      <a:pt x="644" y="21"/>
                      <a:pt x="632" y="29"/>
                    </a:cubicBezTo>
                    <a:close/>
                    <a:moveTo>
                      <a:pt x="710" y="20"/>
                    </a:moveTo>
                    <a:cubicBezTo>
                      <a:pt x="709" y="20"/>
                      <a:pt x="707" y="19"/>
                      <a:pt x="707" y="21"/>
                    </a:cubicBezTo>
                    <a:cubicBezTo>
                      <a:pt x="708" y="20"/>
                      <a:pt x="710" y="21"/>
                      <a:pt x="710" y="20"/>
                    </a:cubicBezTo>
                    <a:close/>
                    <a:moveTo>
                      <a:pt x="726" y="21"/>
                    </a:moveTo>
                    <a:cubicBezTo>
                      <a:pt x="725" y="20"/>
                      <a:pt x="726" y="21"/>
                      <a:pt x="726" y="21"/>
                    </a:cubicBezTo>
                    <a:close/>
                    <a:moveTo>
                      <a:pt x="739" y="21"/>
                    </a:moveTo>
                    <a:cubicBezTo>
                      <a:pt x="739" y="20"/>
                      <a:pt x="740" y="21"/>
                      <a:pt x="739" y="21"/>
                    </a:cubicBezTo>
                    <a:close/>
                    <a:moveTo>
                      <a:pt x="749" y="21"/>
                    </a:moveTo>
                    <a:cubicBezTo>
                      <a:pt x="725" y="27"/>
                      <a:pt x="705" y="37"/>
                      <a:pt x="686" y="48"/>
                    </a:cubicBezTo>
                    <a:cubicBezTo>
                      <a:pt x="681" y="59"/>
                      <a:pt x="675" y="70"/>
                      <a:pt x="672" y="82"/>
                    </a:cubicBezTo>
                    <a:cubicBezTo>
                      <a:pt x="679" y="82"/>
                      <a:pt x="686" y="82"/>
                      <a:pt x="693" y="82"/>
                    </a:cubicBezTo>
                    <a:cubicBezTo>
                      <a:pt x="709" y="59"/>
                      <a:pt x="727" y="38"/>
                      <a:pt x="749" y="21"/>
                    </a:cubicBezTo>
                    <a:moveTo>
                      <a:pt x="749" y="21"/>
                    </a:moveTo>
                    <a:cubicBezTo>
                      <a:pt x="753" y="22"/>
                      <a:pt x="749" y="18"/>
                      <a:pt x="749" y="21"/>
                    </a:cubicBezTo>
                    <a:moveTo>
                      <a:pt x="793" y="21"/>
                    </a:moveTo>
                    <a:cubicBezTo>
                      <a:pt x="792" y="20"/>
                      <a:pt x="793" y="21"/>
                      <a:pt x="793" y="21"/>
                    </a:cubicBezTo>
                    <a:close/>
                    <a:moveTo>
                      <a:pt x="810" y="20"/>
                    </a:moveTo>
                    <a:cubicBezTo>
                      <a:pt x="809" y="20"/>
                      <a:pt x="808" y="20"/>
                      <a:pt x="808" y="21"/>
                    </a:cubicBezTo>
                    <a:cubicBezTo>
                      <a:pt x="809" y="20"/>
                      <a:pt x="810" y="21"/>
                      <a:pt x="810" y="20"/>
                    </a:cubicBezTo>
                    <a:close/>
                    <a:moveTo>
                      <a:pt x="837" y="21"/>
                    </a:moveTo>
                    <a:cubicBezTo>
                      <a:pt x="837" y="22"/>
                      <a:pt x="839" y="22"/>
                      <a:pt x="839" y="21"/>
                    </a:cubicBezTo>
                    <a:cubicBezTo>
                      <a:pt x="834" y="18"/>
                      <a:pt x="826" y="21"/>
                      <a:pt x="837" y="21"/>
                    </a:cubicBezTo>
                    <a:close/>
                    <a:moveTo>
                      <a:pt x="699" y="22"/>
                    </a:moveTo>
                    <a:cubicBezTo>
                      <a:pt x="667" y="27"/>
                      <a:pt x="629" y="26"/>
                      <a:pt x="610" y="45"/>
                    </a:cubicBezTo>
                    <a:moveTo>
                      <a:pt x="610" y="45"/>
                    </a:moveTo>
                    <a:cubicBezTo>
                      <a:pt x="606" y="44"/>
                      <a:pt x="610" y="47"/>
                      <a:pt x="610" y="45"/>
                    </a:cubicBezTo>
                    <a:moveTo>
                      <a:pt x="699" y="22"/>
                    </a:moveTo>
                    <a:cubicBezTo>
                      <a:pt x="668" y="28"/>
                      <a:pt x="639" y="36"/>
                      <a:pt x="610" y="45"/>
                    </a:cubicBezTo>
                    <a:moveTo>
                      <a:pt x="699" y="22"/>
                    </a:moveTo>
                    <a:cubicBezTo>
                      <a:pt x="703" y="22"/>
                      <a:pt x="699" y="19"/>
                      <a:pt x="699" y="22"/>
                    </a:cubicBezTo>
                    <a:moveTo>
                      <a:pt x="720" y="22"/>
                    </a:moveTo>
                    <a:cubicBezTo>
                      <a:pt x="713" y="23"/>
                      <a:pt x="705" y="22"/>
                      <a:pt x="702" y="26"/>
                    </a:cubicBezTo>
                    <a:cubicBezTo>
                      <a:pt x="708" y="25"/>
                      <a:pt x="714" y="24"/>
                      <a:pt x="720" y="22"/>
                    </a:cubicBezTo>
                    <a:moveTo>
                      <a:pt x="720" y="22"/>
                    </a:moveTo>
                    <a:cubicBezTo>
                      <a:pt x="725" y="23"/>
                      <a:pt x="721" y="19"/>
                      <a:pt x="720" y="22"/>
                    </a:cubicBezTo>
                    <a:moveTo>
                      <a:pt x="690" y="43"/>
                    </a:moveTo>
                    <a:cubicBezTo>
                      <a:pt x="689" y="43"/>
                      <a:pt x="690" y="44"/>
                      <a:pt x="690" y="43"/>
                    </a:cubicBezTo>
                    <a:moveTo>
                      <a:pt x="690" y="43"/>
                    </a:moveTo>
                    <a:cubicBezTo>
                      <a:pt x="705" y="35"/>
                      <a:pt x="721" y="28"/>
                      <a:pt x="737" y="21"/>
                    </a:cubicBezTo>
                    <a:cubicBezTo>
                      <a:pt x="720" y="26"/>
                      <a:pt x="695" y="25"/>
                      <a:pt x="690" y="43"/>
                    </a:cubicBezTo>
                    <a:moveTo>
                      <a:pt x="812" y="81"/>
                    </a:moveTo>
                    <a:cubicBezTo>
                      <a:pt x="830" y="82"/>
                      <a:pt x="849" y="82"/>
                      <a:pt x="867" y="83"/>
                    </a:cubicBezTo>
                    <a:cubicBezTo>
                      <a:pt x="844" y="58"/>
                      <a:pt x="811" y="35"/>
                      <a:pt x="774" y="21"/>
                    </a:cubicBezTo>
                    <a:cubicBezTo>
                      <a:pt x="788" y="40"/>
                      <a:pt x="803" y="58"/>
                      <a:pt x="812" y="81"/>
                    </a:cubicBezTo>
                    <a:close/>
                    <a:moveTo>
                      <a:pt x="852" y="66"/>
                    </a:moveTo>
                    <a:cubicBezTo>
                      <a:pt x="863" y="75"/>
                      <a:pt x="870" y="86"/>
                      <a:pt x="887" y="84"/>
                    </a:cubicBezTo>
                    <a:cubicBezTo>
                      <a:pt x="882" y="71"/>
                      <a:pt x="874" y="61"/>
                      <a:pt x="867" y="49"/>
                    </a:cubicBezTo>
                    <a:cubicBezTo>
                      <a:pt x="840" y="39"/>
                      <a:pt x="812" y="26"/>
                      <a:pt x="783" y="22"/>
                    </a:cubicBezTo>
                    <a:cubicBezTo>
                      <a:pt x="810" y="32"/>
                      <a:pt x="831" y="48"/>
                      <a:pt x="852" y="66"/>
                    </a:cubicBezTo>
                    <a:close/>
                    <a:moveTo>
                      <a:pt x="799" y="22"/>
                    </a:moveTo>
                    <a:cubicBezTo>
                      <a:pt x="821" y="29"/>
                      <a:pt x="844" y="36"/>
                      <a:pt x="863" y="46"/>
                    </a:cubicBezTo>
                    <a:cubicBezTo>
                      <a:pt x="854" y="26"/>
                      <a:pt x="823" y="27"/>
                      <a:pt x="799" y="22"/>
                    </a:cubicBezTo>
                    <a:moveTo>
                      <a:pt x="799" y="22"/>
                    </a:moveTo>
                    <a:cubicBezTo>
                      <a:pt x="797" y="19"/>
                      <a:pt x="793" y="23"/>
                      <a:pt x="799" y="22"/>
                    </a:cubicBezTo>
                    <a:moveTo>
                      <a:pt x="817" y="21"/>
                    </a:moveTo>
                    <a:cubicBezTo>
                      <a:pt x="811" y="19"/>
                      <a:pt x="815" y="24"/>
                      <a:pt x="817" y="21"/>
                    </a:cubicBezTo>
                    <a:close/>
                    <a:moveTo>
                      <a:pt x="928" y="41"/>
                    </a:moveTo>
                    <a:cubicBezTo>
                      <a:pt x="928" y="44"/>
                      <a:pt x="932" y="40"/>
                      <a:pt x="928" y="41"/>
                    </a:cubicBezTo>
                    <a:moveTo>
                      <a:pt x="928" y="41"/>
                    </a:moveTo>
                    <a:cubicBezTo>
                      <a:pt x="909" y="25"/>
                      <a:pt x="871" y="25"/>
                      <a:pt x="844" y="22"/>
                    </a:cubicBezTo>
                    <a:cubicBezTo>
                      <a:pt x="872" y="28"/>
                      <a:pt x="901" y="33"/>
                      <a:pt x="928" y="41"/>
                    </a:cubicBezTo>
                    <a:moveTo>
                      <a:pt x="901" y="21"/>
                    </a:moveTo>
                    <a:cubicBezTo>
                      <a:pt x="900" y="21"/>
                      <a:pt x="899" y="21"/>
                      <a:pt x="899" y="22"/>
                    </a:cubicBezTo>
                    <a:cubicBezTo>
                      <a:pt x="900" y="21"/>
                      <a:pt x="901" y="22"/>
                      <a:pt x="901" y="21"/>
                    </a:cubicBezTo>
                    <a:close/>
                    <a:moveTo>
                      <a:pt x="847" y="28"/>
                    </a:moveTo>
                    <a:cubicBezTo>
                      <a:pt x="848" y="30"/>
                      <a:pt x="849" y="28"/>
                      <a:pt x="847" y="28"/>
                    </a:cubicBezTo>
                    <a:moveTo>
                      <a:pt x="847" y="28"/>
                    </a:moveTo>
                    <a:cubicBezTo>
                      <a:pt x="842" y="22"/>
                      <a:pt x="827" y="22"/>
                      <a:pt x="818" y="23"/>
                    </a:cubicBezTo>
                    <a:cubicBezTo>
                      <a:pt x="829" y="23"/>
                      <a:pt x="837" y="27"/>
                      <a:pt x="847" y="28"/>
                    </a:cubicBezTo>
                    <a:moveTo>
                      <a:pt x="909" y="22"/>
                    </a:moveTo>
                    <a:cubicBezTo>
                      <a:pt x="904" y="21"/>
                      <a:pt x="908" y="24"/>
                      <a:pt x="909" y="22"/>
                    </a:cubicBezTo>
                    <a:close/>
                    <a:moveTo>
                      <a:pt x="916" y="23"/>
                    </a:moveTo>
                    <a:cubicBezTo>
                      <a:pt x="914" y="23"/>
                      <a:pt x="913" y="22"/>
                      <a:pt x="913" y="23"/>
                    </a:cubicBezTo>
                    <a:cubicBezTo>
                      <a:pt x="914" y="23"/>
                      <a:pt x="915" y="24"/>
                      <a:pt x="916" y="23"/>
                    </a:cubicBezTo>
                    <a:close/>
                    <a:moveTo>
                      <a:pt x="922" y="24"/>
                    </a:moveTo>
                    <a:cubicBezTo>
                      <a:pt x="922" y="25"/>
                      <a:pt x="922" y="25"/>
                      <a:pt x="922" y="25"/>
                    </a:cubicBezTo>
                    <a:cubicBezTo>
                      <a:pt x="927" y="25"/>
                      <a:pt x="928" y="27"/>
                      <a:pt x="932" y="26"/>
                    </a:cubicBezTo>
                    <a:moveTo>
                      <a:pt x="932" y="26"/>
                    </a:moveTo>
                    <a:cubicBezTo>
                      <a:pt x="934" y="29"/>
                      <a:pt x="938" y="25"/>
                      <a:pt x="932" y="26"/>
                    </a:cubicBezTo>
                    <a:moveTo>
                      <a:pt x="932" y="26"/>
                    </a:moveTo>
                    <a:cubicBezTo>
                      <a:pt x="932" y="26"/>
                      <a:pt x="932" y="26"/>
                      <a:pt x="932" y="25"/>
                    </a:cubicBezTo>
                    <a:cubicBezTo>
                      <a:pt x="928" y="26"/>
                      <a:pt x="927" y="24"/>
                      <a:pt x="922" y="24"/>
                    </a:cubicBezTo>
                    <a:moveTo>
                      <a:pt x="922" y="24"/>
                    </a:moveTo>
                    <a:cubicBezTo>
                      <a:pt x="919" y="22"/>
                      <a:pt x="915" y="26"/>
                      <a:pt x="922" y="24"/>
                    </a:cubicBezTo>
                    <a:moveTo>
                      <a:pt x="907" y="25"/>
                    </a:moveTo>
                    <a:cubicBezTo>
                      <a:pt x="907" y="26"/>
                      <a:pt x="907" y="26"/>
                      <a:pt x="907" y="26"/>
                    </a:cubicBezTo>
                    <a:cubicBezTo>
                      <a:pt x="934" y="34"/>
                      <a:pt x="965" y="42"/>
                      <a:pt x="990" y="47"/>
                    </a:cubicBezTo>
                    <a:cubicBezTo>
                      <a:pt x="967" y="36"/>
                      <a:pt x="938" y="29"/>
                      <a:pt x="907" y="25"/>
                    </a:cubicBezTo>
                    <a:moveTo>
                      <a:pt x="907" y="25"/>
                    </a:moveTo>
                    <a:cubicBezTo>
                      <a:pt x="907" y="23"/>
                      <a:pt x="903" y="26"/>
                      <a:pt x="907" y="25"/>
                    </a:cubicBezTo>
                    <a:moveTo>
                      <a:pt x="602" y="50"/>
                    </a:moveTo>
                    <a:cubicBezTo>
                      <a:pt x="598" y="55"/>
                      <a:pt x="592" y="59"/>
                      <a:pt x="587" y="64"/>
                    </a:cubicBezTo>
                    <a:cubicBezTo>
                      <a:pt x="583" y="68"/>
                      <a:pt x="576" y="75"/>
                      <a:pt x="577" y="78"/>
                    </a:cubicBezTo>
                    <a:cubicBezTo>
                      <a:pt x="587" y="77"/>
                      <a:pt x="597" y="71"/>
                      <a:pt x="606" y="66"/>
                    </a:cubicBezTo>
                    <a:cubicBezTo>
                      <a:pt x="631" y="53"/>
                      <a:pt x="656" y="41"/>
                      <a:pt x="683" y="32"/>
                    </a:cubicBezTo>
                    <a:cubicBezTo>
                      <a:pt x="687" y="31"/>
                      <a:pt x="696" y="31"/>
                      <a:pt x="695" y="25"/>
                    </a:cubicBezTo>
                    <a:cubicBezTo>
                      <a:pt x="662" y="32"/>
                      <a:pt x="632" y="41"/>
                      <a:pt x="602" y="50"/>
                    </a:cubicBezTo>
                    <a:close/>
                    <a:moveTo>
                      <a:pt x="530" y="58"/>
                    </a:moveTo>
                    <a:cubicBezTo>
                      <a:pt x="526" y="57"/>
                      <a:pt x="529" y="61"/>
                      <a:pt x="530" y="58"/>
                    </a:cubicBezTo>
                    <a:moveTo>
                      <a:pt x="530" y="58"/>
                    </a:moveTo>
                    <a:cubicBezTo>
                      <a:pt x="546" y="53"/>
                      <a:pt x="563" y="47"/>
                      <a:pt x="581" y="42"/>
                    </a:cubicBezTo>
                    <a:cubicBezTo>
                      <a:pt x="598" y="37"/>
                      <a:pt x="617" y="35"/>
                      <a:pt x="631" y="26"/>
                    </a:cubicBezTo>
                    <a:cubicBezTo>
                      <a:pt x="593" y="33"/>
                      <a:pt x="554" y="38"/>
                      <a:pt x="530" y="58"/>
                    </a:cubicBezTo>
                    <a:moveTo>
                      <a:pt x="969" y="73"/>
                    </a:moveTo>
                    <a:cubicBezTo>
                      <a:pt x="947" y="41"/>
                      <a:pt x="895" y="34"/>
                      <a:pt x="850" y="27"/>
                    </a:cubicBezTo>
                    <a:cubicBezTo>
                      <a:pt x="890" y="42"/>
                      <a:pt x="933" y="54"/>
                      <a:pt x="969" y="73"/>
                    </a:cubicBezTo>
                    <a:close/>
                    <a:moveTo>
                      <a:pt x="939" y="27"/>
                    </a:moveTo>
                    <a:cubicBezTo>
                      <a:pt x="938" y="28"/>
                      <a:pt x="937" y="27"/>
                      <a:pt x="937" y="28"/>
                    </a:cubicBezTo>
                    <a:cubicBezTo>
                      <a:pt x="937" y="28"/>
                      <a:pt x="939" y="28"/>
                      <a:pt x="939" y="27"/>
                    </a:cubicBezTo>
                    <a:close/>
                    <a:moveTo>
                      <a:pt x="574" y="32"/>
                    </a:moveTo>
                    <a:cubicBezTo>
                      <a:pt x="574" y="33"/>
                      <a:pt x="573" y="32"/>
                      <a:pt x="574" y="32"/>
                    </a:cubicBezTo>
                    <a:close/>
                    <a:moveTo>
                      <a:pt x="781" y="81"/>
                    </a:moveTo>
                    <a:cubicBezTo>
                      <a:pt x="790" y="80"/>
                      <a:pt x="801" y="82"/>
                      <a:pt x="808" y="80"/>
                    </a:cubicBezTo>
                    <a:cubicBezTo>
                      <a:pt x="798" y="63"/>
                      <a:pt x="789" y="45"/>
                      <a:pt x="776" y="31"/>
                    </a:cubicBezTo>
                    <a:cubicBezTo>
                      <a:pt x="778" y="48"/>
                      <a:pt x="779" y="65"/>
                      <a:pt x="781" y="81"/>
                    </a:cubicBezTo>
                    <a:close/>
                    <a:moveTo>
                      <a:pt x="526" y="47"/>
                    </a:moveTo>
                    <a:cubicBezTo>
                      <a:pt x="524" y="48"/>
                      <a:pt x="526" y="49"/>
                      <a:pt x="526" y="47"/>
                    </a:cubicBezTo>
                    <a:moveTo>
                      <a:pt x="526" y="47"/>
                    </a:moveTo>
                    <a:cubicBezTo>
                      <a:pt x="543" y="43"/>
                      <a:pt x="560" y="40"/>
                      <a:pt x="573" y="32"/>
                    </a:cubicBezTo>
                    <a:cubicBezTo>
                      <a:pt x="557" y="37"/>
                      <a:pt x="537" y="38"/>
                      <a:pt x="526" y="47"/>
                    </a:cubicBezTo>
                    <a:moveTo>
                      <a:pt x="963" y="32"/>
                    </a:moveTo>
                    <a:cubicBezTo>
                      <a:pt x="962" y="32"/>
                      <a:pt x="961" y="32"/>
                      <a:pt x="961" y="33"/>
                    </a:cubicBezTo>
                    <a:cubicBezTo>
                      <a:pt x="961" y="33"/>
                      <a:pt x="963" y="33"/>
                      <a:pt x="963" y="32"/>
                    </a:cubicBezTo>
                    <a:close/>
                    <a:moveTo>
                      <a:pt x="585" y="80"/>
                    </a:moveTo>
                    <a:cubicBezTo>
                      <a:pt x="601" y="82"/>
                      <a:pt x="616" y="87"/>
                      <a:pt x="632" y="84"/>
                    </a:cubicBezTo>
                    <a:cubicBezTo>
                      <a:pt x="648" y="70"/>
                      <a:pt x="665" y="58"/>
                      <a:pt x="683" y="47"/>
                    </a:cubicBezTo>
                    <a:cubicBezTo>
                      <a:pt x="683" y="42"/>
                      <a:pt x="693" y="36"/>
                      <a:pt x="689" y="33"/>
                    </a:cubicBezTo>
                    <a:cubicBezTo>
                      <a:pt x="652" y="46"/>
                      <a:pt x="617" y="61"/>
                      <a:pt x="585" y="80"/>
                    </a:cubicBezTo>
                    <a:close/>
                    <a:moveTo>
                      <a:pt x="966" y="34"/>
                    </a:moveTo>
                    <a:cubicBezTo>
                      <a:pt x="968" y="37"/>
                      <a:pt x="972" y="33"/>
                      <a:pt x="966" y="34"/>
                    </a:cubicBezTo>
                    <a:moveTo>
                      <a:pt x="966" y="34"/>
                    </a:moveTo>
                    <a:cubicBezTo>
                      <a:pt x="965" y="31"/>
                      <a:pt x="961" y="35"/>
                      <a:pt x="966" y="34"/>
                    </a:cubicBezTo>
                    <a:moveTo>
                      <a:pt x="575" y="35"/>
                    </a:moveTo>
                    <a:cubicBezTo>
                      <a:pt x="574" y="35"/>
                      <a:pt x="575" y="36"/>
                      <a:pt x="575" y="35"/>
                    </a:cubicBezTo>
                    <a:close/>
                    <a:moveTo>
                      <a:pt x="859" y="35"/>
                    </a:moveTo>
                    <a:cubicBezTo>
                      <a:pt x="861" y="40"/>
                      <a:pt x="866" y="43"/>
                      <a:pt x="869" y="48"/>
                    </a:cubicBezTo>
                    <a:cubicBezTo>
                      <a:pt x="878" y="53"/>
                      <a:pt x="889" y="57"/>
                      <a:pt x="900" y="64"/>
                    </a:cubicBezTo>
                    <a:cubicBezTo>
                      <a:pt x="909" y="69"/>
                      <a:pt x="921" y="80"/>
                      <a:pt x="930" y="81"/>
                    </a:cubicBezTo>
                    <a:cubicBezTo>
                      <a:pt x="940" y="82"/>
                      <a:pt x="953" y="76"/>
                      <a:pt x="965" y="73"/>
                    </a:cubicBezTo>
                    <a:cubicBezTo>
                      <a:pt x="931" y="59"/>
                      <a:pt x="898" y="44"/>
                      <a:pt x="859" y="35"/>
                    </a:cubicBezTo>
                    <a:moveTo>
                      <a:pt x="859" y="35"/>
                    </a:moveTo>
                    <a:cubicBezTo>
                      <a:pt x="858" y="34"/>
                      <a:pt x="858" y="35"/>
                      <a:pt x="859" y="35"/>
                    </a:cubicBezTo>
                    <a:moveTo>
                      <a:pt x="993" y="63"/>
                    </a:moveTo>
                    <a:cubicBezTo>
                      <a:pt x="997" y="61"/>
                      <a:pt x="1000" y="59"/>
                      <a:pt x="1001" y="55"/>
                    </a:cubicBezTo>
                    <a:cubicBezTo>
                      <a:pt x="977" y="47"/>
                      <a:pt x="949" y="38"/>
                      <a:pt x="924" y="35"/>
                    </a:cubicBezTo>
                    <a:cubicBezTo>
                      <a:pt x="943" y="48"/>
                      <a:pt x="970" y="54"/>
                      <a:pt x="993" y="63"/>
                    </a:cubicBezTo>
                    <a:close/>
                    <a:moveTo>
                      <a:pt x="973" y="35"/>
                    </a:moveTo>
                    <a:cubicBezTo>
                      <a:pt x="972" y="35"/>
                      <a:pt x="970" y="35"/>
                      <a:pt x="970" y="36"/>
                    </a:cubicBezTo>
                    <a:cubicBezTo>
                      <a:pt x="971" y="36"/>
                      <a:pt x="973" y="36"/>
                      <a:pt x="973" y="35"/>
                    </a:cubicBezTo>
                    <a:close/>
                    <a:moveTo>
                      <a:pt x="530" y="61"/>
                    </a:moveTo>
                    <a:cubicBezTo>
                      <a:pt x="542" y="76"/>
                      <a:pt x="556" y="66"/>
                      <a:pt x="573" y="59"/>
                    </a:cubicBezTo>
                    <a:cubicBezTo>
                      <a:pt x="588" y="53"/>
                      <a:pt x="599" y="49"/>
                      <a:pt x="608" y="42"/>
                    </a:cubicBezTo>
                    <a:cubicBezTo>
                      <a:pt x="611" y="39"/>
                      <a:pt x="617" y="37"/>
                      <a:pt x="614" y="36"/>
                    </a:cubicBezTo>
                    <a:cubicBezTo>
                      <a:pt x="585" y="43"/>
                      <a:pt x="557" y="52"/>
                      <a:pt x="530" y="61"/>
                    </a:cubicBezTo>
                    <a:close/>
                    <a:moveTo>
                      <a:pt x="976" y="36"/>
                    </a:moveTo>
                    <a:cubicBezTo>
                      <a:pt x="975" y="36"/>
                      <a:pt x="974" y="36"/>
                      <a:pt x="974" y="37"/>
                    </a:cubicBezTo>
                    <a:cubicBezTo>
                      <a:pt x="975" y="37"/>
                      <a:pt x="976" y="37"/>
                      <a:pt x="976" y="36"/>
                    </a:cubicBezTo>
                    <a:close/>
                    <a:moveTo>
                      <a:pt x="978" y="38"/>
                    </a:moveTo>
                    <a:cubicBezTo>
                      <a:pt x="978" y="37"/>
                      <a:pt x="979" y="39"/>
                      <a:pt x="978" y="38"/>
                    </a:cubicBezTo>
                    <a:close/>
                    <a:moveTo>
                      <a:pt x="982" y="39"/>
                    </a:moveTo>
                    <a:cubicBezTo>
                      <a:pt x="981" y="38"/>
                      <a:pt x="982" y="39"/>
                      <a:pt x="982" y="39"/>
                    </a:cubicBezTo>
                    <a:close/>
                    <a:moveTo>
                      <a:pt x="931" y="43"/>
                    </a:moveTo>
                    <a:cubicBezTo>
                      <a:pt x="931" y="42"/>
                      <a:pt x="932" y="43"/>
                      <a:pt x="931" y="43"/>
                    </a:cubicBezTo>
                    <a:close/>
                    <a:moveTo>
                      <a:pt x="985" y="43"/>
                    </a:moveTo>
                    <a:cubicBezTo>
                      <a:pt x="984" y="42"/>
                      <a:pt x="985" y="43"/>
                      <a:pt x="985" y="43"/>
                    </a:cubicBezTo>
                    <a:close/>
                    <a:moveTo>
                      <a:pt x="1000" y="48"/>
                    </a:moveTo>
                    <a:cubicBezTo>
                      <a:pt x="997" y="46"/>
                      <a:pt x="991" y="42"/>
                      <a:pt x="987" y="44"/>
                    </a:cubicBezTo>
                    <a:cubicBezTo>
                      <a:pt x="992" y="44"/>
                      <a:pt x="996" y="50"/>
                      <a:pt x="1000" y="48"/>
                    </a:cubicBezTo>
                    <a:close/>
                    <a:moveTo>
                      <a:pt x="489" y="60"/>
                    </a:moveTo>
                    <a:cubicBezTo>
                      <a:pt x="488" y="60"/>
                      <a:pt x="487" y="60"/>
                      <a:pt x="486" y="61"/>
                    </a:cubicBezTo>
                    <a:moveTo>
                      <a:pt x="486" y="61"/>
                    </a:moveTo>
                    <a:cubicBezTo>
                      <a:pt x="485" y="61"/>
                      <a:pt x="485" y="61"/>
                      <a:pt x="485" y="62"/>
                    </a:cubicBezTo>
                    <a:moveTo>
                      <a:pt x="485" y="62"/>
                    </a:moveTo>
                    <a:cubicBezTo>
                      <a:pt x="481" y="61"/>
                      <a:pt x="484" y="65"/>
                      <a:pt x="485" y="62"/>
                    </a:cubicBezTo>
                    <a:moveTo>
                      <a:pt x="485" y="62"/>
                    </a:moveTo>
                    <a:cubicBezTo>
                      <a:pt x="486" y="62"/>
                      <a:pt x="486" y="62"/>
                      <a:pt x="486" y="61"/>
                    </a:cubicBezTo>
                    <a:moveTo>
                      <a:pt x="486" y="61"/>
                    </a:moveTo>
                    <a:cubicBezTo>
                      <a:pt x="488" y="61"/>
                      <a:pt x="489" y="61"/>
                      <a:pt x="489" y="60"/>
                    </a:cubicBezTo>
                    <a:moveTo>
                      <a:pt x="489" y="60"/>
                    </a:moveTo>
                    <a:cubicBezTo>
                      <a:pt x="500" y="55"/>
                      <a:pt x="516" y="55"/>
                      <a:pt x="523" y="46"/>
                    </a:cubicBezTo>
                    <a:cubicBezTo>
                      <a:pt x="511" y="50"/>
                      <a:pt x="500" y="54"/>
                      <a:pt x="489" y="60"/>
                    </a:cubicBezTo>
                    <a:moveTo>
                      <a:pt x="542" y="47"/>
                    </a:moveTo>
                    <a:cubicBezTo>
                      <a:pt x="535" y="47"/>
                      <a:pt x="530" y="50"/>
                      <a:pt x="523" y="51"/>
                    </a:cubicBezTo>
                    <a:cubicBezTo>
                      <a:pt x="523" y="54"/>
                      <a:pt x="523" y="56"/>
                      <a:pt x="524" y="57"/>
                    </a:cubicBezTo>
                    <a:cubicBezTo>
                      <a:pt x="531" y="55"/>
                      <a:pt x="537" y="50"/>
                      <a:pt x="542" y="47"/>
                    </a:cubicBezTo>
                    <a:moveTo>
                      <a:pt x="542" y="47"/>
                    </a:moveTo>
                    <a:cubicBezTo>
                      <a:pt x="546" y="47"/>
                      <a:pt x="542" y="44"/>
                      <a:pt x="542" y="47"/>
                    </a:cubicBezTo>
                    <a:moveTo>
                      <a:pt x="1113" y="98"/>
                    </a:moveTo>
                    <a:cubicBezTo>
                      <a:pt x="1113" y="99"/>
                      <a:pt x="1115" y="99"/>
                      <a:pt x="1115" y="99"/>
                    </a:cubicBezTo>
                    <a:moveTo>
                      <a:pt x="1115" y="99"/>
                    </a:moveTo>
                    <a:cubicBezTo>
                      <a:pt x="1116" y="101"/>
                      <a:pt x="1116" y="99"/>
                      <a:pt x="1115" y="99"/>
                    </a:cubicBezTo>
                    <a:moveTo>
                      <a:pt x="1115" y="99"/>
                    </a:moveTo>
                    <a:cubicBezTo>
                      <a:pt x="1115" y="98"/>
                      <a:pt x="1114" y="99"/>
                      <a:pt x="1113" y="98"/>
                    </a:cubicBezTo>
                    <a:moveTo>
                      <a:pt x="1113" y="98"/>
                    </a:moveTo>
                    <a:cubicBezTo>
                      <a:pt x="1081" y="77"/>
                      <a:pt x="1043" y="57"/>
                      <a:pt x="1002" y="48"/>
                    </a:cubicBezTo>
                    <a:cubicBezTo>
                      <a:pt x="1008" y="57"/>
                      <a:pt x="1020" y="58"/>
                      <a:pt x="1029" y="62"/>
                    </a:cubicBezTo>
                    <a:cubicBezTo>
                      <a:pt x="1057" y="72"/>
                      <a:pt x="1086" y="86"/>
                      <a:pt x="1113" y="98"/>
                    </a:cubicBezTo>
                    <a:moveTo>
                      <a:pt x="991" y="49"/>
                    </a:moveTo>
                    <a:cubicBezTo>
                      <a:pt x="991" y="49"/>
                      <a:pt x="992" y="50"/>
                      <a:pt x="991" y="49"/>
                    </a:cubicBezTo>
                    <a:close/>
                    <a:moveTo>
                      <a:pt x="948" y="50"/>
                    </a:moveTo>
                    <a:cubicBezTo>
                      <a:pt x="957" y="57"/>
                      <a:pt x="965" y="65"/>
                      <a:pt x="974" y="71"/>
                    </a:cubicBezTo>
                    <a:cubicBezTo>
                      <a:pt x="979" y="69"/>
                      <a:pt x="987" y="69"/>
                      <a:pt x="990" y="64"/>
                    </a:cubicBezTo>
                    <a:cubicBezTo>
                      <a:pt x="975" y="60"/>
                      <a:pt x="963" y="54"/>
                      <a:pt x="948" y="50"/>
                    </a:cubicBezTo>
                    <a:moveTo>
                      <a:pt x="948" y="50"/>
                    </a:moveTo>
                    <a:cubicBezTo>
                      <a:pt x="948" y="49"/>
                      <a:pt x="947" y="50"/>
                      <a:pt x="948" y="50"/>
                    </a:cubicBezTo>
                    <a:moveTo>
                      <a:pt x="399" y="114"/>
                    </a:moveTo>
                    <a:cubicBezTo>
                      <a:pt x="405" y="112"/>
                      <a:pt x="411" y="111"/>
                      <a:pt x="416" y="110"/>
                    </a:cubicBezTo>
                    <a:cubicBezTo>
                      <a:pt x="433" y="101"/>
                      <a:pt x="450" y="91"/>
                      <a:pt x="468" y="83"/>
                    </a:cubicBezTo>
                    <a:cubicBezTo>
                      <a:pt x="486" y="75"/>
                      <a:pt x="506" y="70"/>
                      <a:pt x="522" y="58"/>
                    </a:cubicBezTo>
                    <a:cubicBezTo>
                      <a:pt x="520" y="58"/>
                      <a:pt x="520" y="56"/>
                      <a:pt x="520" y="53"/>
                    </a:cubicBezTo>
                    <a:cubicBezTo>
                      <a:pt x="473" y="66"/>
                      <a:pt x="432" y="86"/>
                      <a:pt x="399" y="114"/>
                    </a:cubicBezTo>
                    <a:close/>
                    <a:moveTo>
                      <a:pt x="593" y="54"/>
                    </a:moveTo>
                    <a:cubicBezTo>
                      <a:pt x="578" y="59"/>
                      <a:pt x="564" y="65"/>
                      <a:pt x="550" y="71"/>
                    </a:cubicBezTo>
                    <a:cubicBezTo>
                      <a:pt x="556" y="74"/>
                      <a:pt x="564" y="75"/>
                      <a:pt x="570" y="77"/>
                    </a:cubicBezTo>
                    <a:cubicBezTo>
                      <a:pt x="579" y="71"/>
                      <a:pt x="585" y="62"/>
                      <a:pt x="593" y="54"/>
                    </a:cubicBezTo>
                    <a:moveTo>
                      <a:pt x="593" y="54"/>
                    </a:moveTo>
                    <a:cubicBezTo>
                      <a:pt x="594" y="54"/>
                      <a:pt x="593" y="53"/>
                      <a:pt x="593" y="54"/>
                    </a:cubicBezTo>
                    <a:moveTo>
                      <a:pt x="637" y="84"/>
                    </a:moveTo>
                    <a:cubicBezTo>
                      <a:pt x="647" y="83"/>
                      <a:pt x="659" y="84"/>
                      <a:pt x="668" y="82"/>
                    </a:cubicBezTo>
                    <a:cubicBezTo>
                      <a:pt x="669" y="72"/>
                      <a:pt x="679" y="60"/>
                      <a:pt x="678" y="53"/>
                    </a:cubicBezTo>
                    <a:cubicBezTo>
                      <a:pt x="664" y="64"/>
                      <a:pt x="649" y="72"/>
                      <a:pt x="637" y="84"/>
                    </a:cubicBezTo>
                    <a:close/>
                    <a:moveTo>
                      <a:pt x="890" y="84"/>
                    </a:moveTo>
                    <a:cubicBezTo>
                      <a:pt x="901" y="85"/>
                      <a:pt x="916" y="86"/>
                      <a:pt x="924" y="81"/>
                    </a:cubicBezTo>
                    <a:cubicBezTo>
                      <a:pt x="907" y="73"/>
                      <a:pt x="890" y="59"/>
                      <a:pt x="872" y="54"/>
                    </a:cubicBezTo>
                    <a:cubicBezTo>
                      <a:pt x="879" y="63"/>
                      <a:pt x="885" y="73"/>
                      <a:pt x="890" y="84"/>
                    </a:cubicBezTo>
                    <a:close/>
                    <a:moveTo>
                      <a:pt x="1063" y="94"/>
                    </a:moveTo>
                    <a:cubicBezTo>
                      <a:pt x="1063" y="94"/>
                      <a:pt x="1063" y="94"/>
                      <a:pt x="1063" y="95"/>
                    </a:cubicBezTo>
                    <a:cubicBezTo>
                      <a:pt x="1064" y="95"/>
                      <a:pt x="1065" y="96"/>
                      <a:pt x="1066" y="95"/>
                    </a:cubicBezTo>
                    <a:moveTo>
                      <a:pt x="1066" y="95"/>
                    </a:moveTo>
                    <a:cubicBezTo>
                      <a:pt x="1067" y="97"/>
                      <a:pt x="1067" y="95"/>
                      <a:pt x="1066" y="95"/>
                    </a:cubicBezTo>
                    <a:moveTo>
                      <a:pt x="1066" y="95"/>
                    </a:moveTo>
                    <a:cubicBezTo>
                      <a:pt x="1066" y="94"/>
                      <a:pt x="1065" y="94"/>
                      <a:pt x="1063" y="94"/>
                    </a:cubicBezTo>
                    <a:moveTo>
                      <a:pt x="1063" y="94"/>
                    </a:moveTo>
                    <a:cubicBezTo>
                      <a:pt x="1046" y="79"/>
                      <a:pt x="1027" y="67"/>
                      <a:pt x="1006" y="56"/>
                    </a:cubicBezTo>
                    <a:cubicBezTo>
                      <a:pt x="1001" y="58"/>
                      <a:pt x="1000" y="63"/>
                      <a:pt x="996" y="65"/>
                    </a:cubicBezTo>
                    <a:cubicBezTo>
                      <a:pt x="1020" y="73"/>
                      <a:pt x="1041" y="84"/>
                      <a:pt x="1063" y="94"/>
                    </a:cubicBezTo>
                    <a:moveTo>
                      <a:pt x="482" y="60"/>
                    </a:moveTo>
                    <a:cubicBezTo>
                      <a:pt x="482" y="61"/>
                      <a:pt x="481" y="60"/>
                      <a:pt x="482" y="60"/>
                    </a:cubicBezTo>
                    <a:close/>
                    <a:moveTo>
                      <a:pt x="526" y="60"/>
                    </a:moveTo>
                    <a:cubicBezTo>
                      <a:pt x="526" y="61"/>
                      <a:pt x="525" y="60"/>
                      <a:pt x="526" y="60"/>
                    </a:cubicBezTo>
                    <a:close/>
                    <a:moveTo>
                      <a:pt x="479" y="61"/>
                    </a:moveTo>
                    <a:cubicBezTo>
                      <a:pt x="478" y="61"/>
                      <a:pt x="477" y="61"/>
                      <a:pt x="477" y="62"/>
                    </a:cubicBezTo>
                    <a:moveTo>
                      <a:pt x="477" y="62"/>
                    </a:moveTo>
                    <a:cubicBezTo>
                      <a:pt x="441" y="76"/>
                      <a:pt x="407" y="92"/>
                      <a:pt x="377" y="112"/>
                    </a:cubicBezTo>
                    <a:moveTo>
                      <a:pt x="377" y="112"/>
                    </a:moveTo>
                    <a:cubicBezTo>
                      <a:pt x="375" y="112"/>
                      <a:pt x="375" y="113"/>
                      <a:pt x="374" y="114"/>
                    </a:cubicBezTo>
                    <a:moveTo>
                      <a:pt x="374" y="114"/>
                    </a:moveTo>
                    <a:cubicBezTo>
                      <a:pt x="373" y="114"/>
                      <a:pt x="372" y="114"/>
                      <a:pt x="372" y="115"/>
                    </a:cubicBezTo>
                    <a:moveTo>
                      <a:pt x="372" y="115"/>
                    </a:moveTo>
                    <a:cubicBezTo>
                      <a:pt x="371" y="115"/>
                      <a:pt x="371" y="115"/>
                      <a:pt x="370" y="116"/>
                    </a:cubicBezTo>
                    <a:moveTo>
                      <a:pt x="370" y="116"/>
                    </a:moveTo>
                    <a:cubicBezTo>
                      <a:pt x="370" y="115"/>
                      <a:pt x="369" y="116"/>
                      <a:pt x="369" y="117"/>
                    </a:cubicBezTo>
                    <a:moveTo>
                      <a:pt x="369" y="117"/>
                    </a:moveTo>
                    <a:cubicBezTo>
                      <a:pt x="368" y="116"/>
                      <a:pt x="368" y="117"/>
                      <a:pt x="367" y="118"/>
                    </a:cubicBezTo>
                    <a:moveTo>
                      <a:pt x="367" y="118"/>
                    </a:moveTo>
                    <a:cubicBezTo>
                      <a:pt x="366" y="118"/>
                      <a:pt x="368" y="119"/>
                      <a:pt x="367" y="118"/>
                    </a:cubicBezTo>
                    <a:moveTo>
                      <a:pt x="367" y="118"/>
                    </a:moveTo>
                    <a:cubicBezTo>
                      <a:pt x="369" y="118"/>
                      <a:pt x="369" y="117"/>
                      <a:pt x="369" y="117"/>
                    </a:cubicBezTo>
                    <a:moveTo>
                      <a:pt x="369" y="117"/>
                    </a:moveTo>
                    <a:cubicBezTo>
                      <a:pt x="370" y="117"/>
                      <a:pt x="370" y="116"/>
                      <a:pt x="370" y="116"/>
                    </a:cubicBezTo>
                    <a:moveTo>
                      <a:pt x="370" y="116"/>
                    </a:moveTo>
                    <a:cubicBezTo>
                      <a:pt x="371" y="116"/>
                      <a:pt x="372" y="115"/>
                      <a:pt x="372" y="115"/>
                    </a:cubicBezTo>
                    <a:moveTo>
                      <a:pt x="372" y="115"/>
                    </a:moveTo>
                    <a:cubicBezTo>
                      <a:pt x="373" y="115"/>
                      <a:pt x="374" y="114"/>
                      <a:pt x="374" y="114"/>
                    </a:cubicBezTo>
                    <a:moveTo>
                      <a:pt x="374" y="114"/>
                    </a:moveTo>
                    <a:cubicBezTo>
                      <a:pt x="376" y="114"/>
                      <a:pt x="377" y="113"/>
                      <a:pt x="377" y="112"/>
                    </a:cubicBezTo>
                    <a:moveTo>
                      <a:pt x="377" y="112"/>
                    </a:moveTo>
                    <a:cubicBezTo>
                      <a:pt x="409" y="94"/>
                      <a:pt x="445" y="80"/>
                      <a:pt x="477" y="62"/>
                    </a:cubicBezTo>
                    <a:moveTo>
                      <a:pt x="477" y="62"/>
                    </a:moveTo>
                    <a:cubicBezTo>
                      <a:pt x="478" y="62"/>
                      <a:pt x="479" y="62"/>
                      <a:pt x="479" y="61"/>
                    </a:cubicBezTo>
                    <a:moveTo>
                      <a:pt x="479" y="61"/>
                    </a:moveTo>
                    <a:cubicBezTo>
                      <a:pt x="483" y="62"/>
                      <a:pt x="479" y="58"/>
                      <a:pt x="479" y="61"/>
                    </a:cubicBezTo>
                    <a:moveTo>
                      <a:pt x="481" y="64"/>
                    </a:moveTo>
                    <a:cubicBezTo>
                      <a:pt x="480" y="63"/>
                      <a:pt x="481" y="64"/>
                      <a:pt x="481" y="64"/>
                    </a:cubicBezTo>
                    <a:close/>
                    <a:moveTo>
                      <a:pt x="524" y="63"/>
                    </a:moveTo>
                    <a:cubicBezTo>
                      <a:pt x="510" y="69"/>
                      <a:pt x="495" y="80"/>
                      <a:pt x="484" y="90"/>
                    </a:cubicBezTo>
                    <a:cubicBezTo>
                      <a:pt x="480" y="92"/>
                      <a:pt x="475" y="96"/>
                      <a:pt x="476" y="99"/>
                    </a:cubicBezTo>
                    <a:cubicBezTo>
                      <a:pt x="504" y="96"/>
                      <a:pt x="519" y="80"/>
                      <a:pt x="542" y="71"/>
                    </a:cubicBezTo>
                    <a:cubicBezTo>
                      <a:pt x="535" y="69"/>
                      <a:pt x="530" y="65"/>
                      <a:pt x="524" y="63"/>
                    </a:cubicBezTo>
                    <a:close/>
                    <a:moveTo>
                      <a:pt x="479" y="65"/>
                    </a:moveTo>
                    <a:cubicBezTo>
                      <a:pt x="478" y="64"/>
                      <a:pt x="479" y="65"/>
                      <a:pt x="479" y="65"/>
                    </a:cubicBezTo>
                    <a:close/>
                    <a:moveTo>
                      <a:pt x="1028" y="65"/>
                    </a:moveTo>
                    <a:cubicBezTo>
                      <a:pt x="1048" y="78"/>
                      <a:pt x="1066" y="92"/>
                      <a:pt x="1086" y="106"/>
                    </a:cubicBezTo>
                    <a:cubicBezTo>
                      <a:pt x="1106" y="107"/>
                      <a:pt x="1124" y="115"/>
                      <a:pt x="1141" y="117"/>
                    </a:cubicBezTo>
                    <a:cubicBezTo>
                      <a:pt x="1105" y="97"/>
                      <a:pt x="1069" y="79"/>
                      <a:pt x="1028" y="65"/>
                    </a:cubicBezTo>
                    <a:moveTo>
                      <a:pt x="1028" y="65"/>
                    </a:moveTo>
                    <a:cubicBezTo>
                      <a:pt x="1028" y="62"/>
                      <a:pt x="1024" y="66"/>
                      <a:pt x="1028" y="65"/>
                    </a:cubicBezTo>
                    <a:moveTo>
                      <a:pt x="993" y="66"/>
                    </a:moveTo>
                    <a:cubicBezTo>
                      <a:pt x="989" y="70"/>
                      <a:pt x="981" y="71"/>
                      <a:pt x="975" y="74"/>
                    </a:cubicBezTo>
                    <a:cubicBezTo>
                      <a:pt x="984" y="83"/>
                      <a:pt x="999" y="87"/>
                      <a:pt x="1009" y="95"/>
                    </a:cubicBezTo>
                    <a:cubicBezTo>
                      <a:pt x="1032" y="95"/>
                      <a:pt x="1054" y="102"/>
                      <a:pt x="1074" y="102"/>
                    </a:cubicBezTo>
                    <a:cubicBezTo>
                      <a:pt x="1048" y="89"/>
                      <a:pt x="1021" y="77"/>
                      <a:pt x="993" y="66"/>
                    </a:cubicBezTo>
                    <a:close/>
                    <a:moveTo>
                      <a:pt x="504" y="71"/>
                    </a:moveTo>
                    <a:cubicBezTo>
                      <a:pt x="503" y="71"/>
                      <a:pt x="504" y="72"/>
                      <a:pt x="504" y="71"/>
                    </a:cubicBezTo>
                    <a:close/>
                    <a:moveTo>
                      <a:pt x="502" y="72"/>
                    </a:moveTo>
                    <a:cubicBezTo>
                      <a:pt x="476" y="83"/>
                      <a:pt x="450" y="93"/>
                      <a:pt x="428" y="107"/>
                    </a:cubicBezTo>
                    <a:moveTo>
                      <a:pt x="428" y="107"/>
                    </a:moveTo>
                    <a:cubicBezTo>
                      <a:pt x="424" y="106"/>
                      <a:pt x="428" y="110"/>
                      <a:pt x="428" y="107"/>
                    </a:cubicBezTo>
                    <a:moveTo>
                      <a:pt x="428" y="107"/>
                    </a:moveTo>
                    <a:cubicBezTo>
                      <a:pt x="442" y="105"/>
                      <a:pt x="455" y="103"/>
                      <a:pt x="468" y="100"/>
                    </a:cubicBezTo>
                    <a:cubicBezTo>
                      <a:pt x="479" y="91"/>
                      <a:pt x="490" y="82"/>
                      <a:pt x="502" y="72"/>
                    </a:cubicBezTo>
                    <a:moveTo>
                      <a:pt x="502" y="72"/>
                    </a:moveTo>
                    <a:cubicBezTo>
                      <a:pt x="503" y="72"/>
                      <a:pt x="502" y="71"/>
                      <a:pt x="502" y="72"/>
                    </a:cubicBezTo>
                    <a:moveTo>
                      <a:pt x="544" y="73"/>
                    </a:moveTo>
                    <a:cubicBezTo>
                      <a:pt x="530" y="79"/>
                      <a:pt x="513" y="89"/>
                      <a:pt x="501" y="95"/>
                    </a:cubicBezTo>
                    <a:cubicBezTo>
                      <a:pt x="522" y="94"/>
                      <a:pt x="540" y="90"/>
                      <a:pt x="561" y="90"/>
                    </a:cubicBezTo>
                    <a:cubicBezTo>
                      <a:pt x="565" y="87"/>
                      <a:pt x="567" y="83"/>
                      <a:pt x="570" y="79"/>
                    </a:cubicBezTo>
                    <a:cubicBezTo>
                      <a:pt x="561" y="81"/>
                      <a:pt x="551" y="71"/>
                      <a:pt x="544" y="73"/>
                    </a:cubicBezTo>
                    <a:close/>
                    <a:moveTo>
                      <a:pt x="933" y="85"/>
                    </a:moveTo>
                    <a:cubicBezTo>
                      <a:pt x="948" y="90"/>
                      <a:pt x="970" y="89"/>
                      <a:pt x="988" y="92"/>
                    </a:cubicBezTo>
                    <a:cubicBezTo>
                      <a:pt x="981" y="71"/>
                      <a:pt x="952" y="78"/>
                      <a:pt x="933" y="85"/>
                    </a:cubicBezTo>
                    <a:close/>
                    <a:moveTo>
                      <a:pt x="569" y="86"/>
                    </a:moveTo>
                    <a:cubicBezTo>
                      <a:pt x="568" y="86"/>
                      <a:pt x="569" y="87"/>
                      <a:pt x="569" y="86"/>
                    </a:cubicBezTo>
                    <a:moveTo>
                      <a:pt x="569" y="86"/>
                    </a:moveTo>
                    <a:cubicBezTo>
                      <a:pt x="572" y="85"/>
                      <a:pt x="575" y="84"/>
                      <a:pt x="577" y="81"/>
                    </a:cubicBezTo>
                    <a:cubicBezTo>
                      <a:pt x="574" y="81"/>
                      <a:pt x="575" y="79"/>
                      <a:pt x="572" y="80"/>
                    </a:cubicBezTo>
                    <a:cubicBezTo>
                      <a:pt x="572" y="84"/>
                      <a:pt x="569" y="82"/>
                      <a:pt x="569" y="86"/>
                    </a:cubicBezTo>
                    <a:moveTo>
                      <a:pt x="573" y="88"/>
                    </a:moveTo>
                    <a:cubicBezTo>
                      <a:pt x="569" y="87"/>
                      <a:pt x="573" y="91"/>
                      <a:pt x="573" y="88"/>
                    </a:cubicBezTo>
                    <a:moveTo>
                      <a:pt x="573" y="88"/>
                    </a:moveTo>
                    <a:cubicBezTo>
                      <a:pt x="583" y="87"/>
                      <a:pt x="594" y="88"/>
                      <a:pt x="602" y="85"/>
                    </a:cubicBezTo>
                    <a:cubicBezTo>
                      <a:pt x="590" y="84"/>
                      <a:pt x="579" y="79"/>
                      <a:pt x="573" y="88"/>
                    </a:cubicBezTo>
                    <a:moveTo>
                      <a:pt x="1092" y="83"/>
                    </a:moveTo>
                    <a:cubicBezTo>
                      <a:pt x="1092" y="83"/>
                      <a:pt x="1093" y="84"/>
                      <a:pt x="1092" y="83"/>
                    </a:cubicBezTo>
                    <a:close/>
                    <a:moveTo>
                      <a:pt x="695" y="84"/>
                    </a:moveTo>
                    <a:cubicBezTo>
                      <a:pt x="694" y="87"/>
                      <a:pt x="692" y="89"/>
                      <a:pt x="690" y="92"/>
                    </a:cubicBezTo>
                    <a:cubicBezTo>
                      <a:pt x="710" y="92"/>
                      <a:pt x="729" y="93"/>
                      <a:pt x="750" y="93"/>
                    </a:cubicBezTo>
                    <a:cubicBezTo>
                      <a:pt x="750" y="88"/>
                      <a:pt x="752" y="87"/>
                      <a:pt x="751" y="83"/>
                    </a:cubicBezTo>
                    <a:cubicBezTo>
                      <a:pt x="732" y="82"/>
                      <a:pt x="715" y="85"/>
                      <a:pt x="695" y="84"/>
                    </a:cubicBezTo>
                    <a:close/>
                    <a:moveTo>
                      <a:pt x="753" y="94"/>
                    </a:moveTo>
                    <a:cubicBezTo>
                      <a:pt x="763" y="94"/>
                      <a:pt x="770" y="92"/>
                      <a:pt x="779" y="93"/>
                    </a:cubicBezTo>
                    <a:cubicBezTo>
                      <a:pt x="780" y="89"/>
                      <a:pt x="778" y="87"/>
                      <a:pt x="778" y="83"/>
                    </a:cubicBezTo>
                    <a:cubicBezTo>
                      <a:pt x="768" y="84"/>
                      <a:pt x="749" y="77"/>
                      <a:pt x="753" y="94"/>
                    </a:cubicBezTo>
                    <a:close/>
                    <a:moveTo>
                      <a:pt x="781" y="93"/>
                    </a:moveTo>
                    <a:cubicBezTo>
                      <a:pt x="792" y="92"/>
                      <a:pt x="805" y="94"/>
                      <a:pt x="814" y="92"/>
                    </a:cubicBezTo>
                    <a:cubicBezTo>
                      <a:pt x="812" y="90"/>
                      <a:pt x="811" y="87"/>
                      <a:pt x="810" y="84"/>
                    </a:cubicBezTo>
                    <a:cubicBezTo>
                      <a:pt x="800" y="84"/>
                      <a:pt x="792" y="82"/>
                      <a:pt x="781" y="83"/>
                    </a:cubicBezTo>
                    <a:cubicBezTo>
                      <a:pt x="781" y="86"/>
                      <a:pt x="781" y="89"/>
                      <a:pt x="781" y="93"/>
                    </a:cubicBezTo>
                    <a:close/>
                    <a:moveTo>
                      <a:pt x="1094" y="84"/>
                    </a:moveTo>
                    <a:cubicBezTo>
                      <a:pt x="1095" y="85"/>
                      <a:pt x="1094" y="84"/>
                      <a:pt x="1094" y="84"/>
                    </a:cubicBezTo>
                    <a:close/>
                    <a:moveTo>
                      <a:pt x="670" y="85"/>
                    </a:moveTo>
                    <a:cubicBezTo>
                      <a:pt x="671" y="88"/>
                      <a:pt x="668" y="87"/>
                      <a:pt x="669" y="90"/>
                    </a:cubicBezTo>
                    <a:cubicBezTo>
                      <a:pt x="675" y="90"/>
                      <a:pt x="681" y="91"/>
                      <a:pt x="688" y="91"/>
                    </a:cubicBezTo>
                    <a:cubicBezTo>
                      <a:pt x="688" y="88"/>
                      <a:pt x="691" y="86"/>
                      <a:pt x="692" y="84"/>
                    </a:cubicBezTo>
                    <a:cubicBezTo>
                      <a:pt x="685" y="84"/>
                      <a:pt x="678" y="85"/>
                      <a:pt x="670" y="85"/>
                    </a:cubicBezTo>
                    <a:close/>
                    <a:moveTo>
                      <a:pt x="818" y="92"/>
                    </a:moveTo>
                    <a:cubicBezTo>
                      <a:pt x="837" y="91"/>
                      <a:pt x="856" y="90"/>
                      <a:pt x="873" y="88"/>
                    </a:cubicBezTo>
                    <a:cubicBezTo>
                      <a:pt x="858" y="83"/>
                      <a:pt x="832" y="84"/>
                      <a:pt x="814" y="85"/>
                    </a:cubicBezTo>
                    <a:cubicBezTo>
                      <a:pt x="816" y="86"/>
                      <a:pt x="816" y="90"/>
                      <a:pt x="818" y="92"/>
                    </a:cubicBezTo>
                    <a:close/>
                    <a:moveTo>
                      <a:pt x="1096" y="85"/>
                    </a:moveTo>
                    <a:cubicBezTo>
                      <a:pt x="1096" y="85"/>
                      <a:pt x="1097" y="86"/>
                      <a:pt x="1096" y="85"/>
                    </a:cubicBezTo>
                    <a:close/>
                    <a:moveTo>
                      <a:pt x="639" y="88"/>
                    </a:moveTo>
                    <a:cubicBezTo>
                      <a:pt x="648" y="88"/>
                      <a:pt x="656" y="89"/>
                      <a:pt x="665" y="90"/>
                    </a:cubicBezTo>
                    <a:cubicBezTo>
                      <a:pt x="664" y="87"/>
                      <a:pt x="666" y="87"/>
                      <a:pt x="666" y="85"/>
                    </a:cubicBezTo>
                    <a:cubicBezTo>
                      <a:pt x="658" y="87"/>
                      <a:pt x="645" y="84"/>
                      <a:pt x="639" y="88"/>
                    </a:cubicBezTo>
                    <a:close/>
                    <a:moveTo>
                      <a:pt x="931" y="86"/>
                    </a:moveTo>
                    <a:cubicBezTo>
                      <a:pt x="930" y="85"/>
                      <a:pt x="923" y="84"/>
                      <a:pt x="922" y="86"/>
                    </a:cubicBezTo>
                    <a:cubicBezTo>
                      <a:pt x="926" y="85"/>
                      <a:pt x="929" y="89"/>
                      <a:pt x="931" y="86"/>
                    </a:cubicBezTo>
                    <a:close/>
                    <a:moveTo>
                      <a:pt x="988" y="86"/>
                    </a:moveTo>
                    <a:cubicBezTo>
                      <a:pt x="988" y="86"/>
                      <a:pt x="988" y="87"/>
                      <a:pt x="988" y="87"/>
                    </a:cubicBezTo>
                    <a:cubicBezTo>
                      <a:pt x="990" y="88"/>
                      <a:pt x="991" y="90"/>
                      <a:pt x="992" y="93"/>
                    </a:cubicBezTo>
                    <a:cubicBezTo>
                      <a:pt x="995" y="93"/>
                      <a:pt x="998" y="93"/>
                      <a:pt x="1000" y="93"/>
                    </a:cubicBezTo>
                    <a:moveTo>
                      <a:pt x="1000" y="93"/>
                    </a:moveTo>
                    <a:cubicBezTo>
                      <a:pt x="1001" y="94"/>
                      <a:pt x="1001" y="93"/>
                      <a:pt x="1000" y="93"/>
                    </a:cubicBezTo>
                    <a:moveTo>
                      <a:pt x="1000" y="93"/>
                    </a:moveTo>
                    <a:cubicBezTo>
                      <a:pt x="996" y="90"/>
                      <a:pt x="993" y="87"/>
                      <a:pt x="988" y="86"/>
                    </a:cubicBezTo>
                    <a:moveTo>
                      <a:pt x="988" y="86"/>
                    </a:moveTo>
                    <a:cubicBezTo>
                      <a:pt x="987" y="84"/>
                      <a:pt x="986" y="86"/>
                      <a:pt x="988" y="86"/>
                    </a:cubicBezTo>
                    <a:moveTo>
                      <a:pt x="1173" y="127"/>
                    </a:moveTo>
                    <a:cubicBezTo>
                      <a:pt x="1173" y="128"/>
                      <a:pt x="1174" y="128"/>
                      <a:pt x="1175" y="128"/>
                    </a:cubicBezTo>
                    <a:moveTo>
                      <a:pt x="1175" y="128"/>
                    </a:moveTo>
                    <a:cubicBezTo>
                      <a:pt x="1175" y="130"/>
                      <a:pt x="1176" y="128"/>
                      <a:pt x="1175" y="128"/>
                    </a:cubicBezTo>
                    <a:moveTo>
                      <a:pt x="1175" y="128"/>
                    </a:moveTo>
                    <a:cubicBezTo>
                      <a:pt x="1175" y="127"/>
                      <a:pt x="1174" y="127"/>
                      <a:pt x="1173" y="127"/>
                    </a:cubicBezTo>
                    <a:moveTo>
                      <a:pt x="1173" y="127"/>
                    </a:moveTo>
                    <a:cubicBezTo>
                      <a:pt x="1150" y="112"/>
                      <a:pt x="1124" y="95"/>
                      <a:pt x="1098" y="86"/>
                    </a:cubicBezTo>
                    <a:cubicBezTo>
                      <a:pt x="1125" y="98"/>
                      <a:pt x="1141" y="120"/>
                      <a:pt x="1173" y="127"/>
                    </a:cubicBezTo>
                    <a:moveTo>
                      <a:pt x="885" y="86"/>
                    </a:moveTo>
                    <a:cubicBezTo>
                      <a:pt x="882" y="86"/>
                      <a:pt x="877" y="85"/>
                      <a:pt x="875" y="87"/>
                    </a:cubicBezTo>
                    <a:cubicBezTo>
                      <a:pt x="877" y="88"/>
                      <a:pt x="885" y="90"/>
                      <a:pt x="885" y="86"/>
                    </a:cubicBezTo>
                    <a:close/>
                    <a:moveTo>
                      <a:pt x="430" y="89"/>
                    </a:moveTo>
                    <a:cubicBezTo>
                      <a:pt x="429" y="88"/>
                      <a:pt x="430" y="89"/>
                      <a:pt x="430" y="89"/>
                    </a:cubicBezTo>
                    <a:close/>
                    <a:moveTo>
                      <a:pt x="564" y="92"/>
                    </a:moveTo>
                    <a:cubicBezTo>
                      <a:pt x="535" y="128"/>
                      <a:pt x="514" y="173"/>
                      <a:pt x="497" y="221"/>
                    </a:cubicBezTo>
                    <a:cubicBezTo>
                      <a:pt x="502" y="220"/>
                      <a:pt x="508" y="220"/>
                      <a:pt x="513" y="219"/>
                    </a:cubicBezTo>
                    <a:cubicBezTo>
                      <a:pt x="545" y="174"/>
                      <a:pt x="578" y="131"/>
                      <a:pt x="619" y="95"/>
                    </a:cubicBezTo>
                    <a:cubicBezTo>
                      <a:pt x="620" y="94"/>
                      <a:pt x="628" y="90"/>
                      <a:pt x="624" y="89"/>
                    </a:cubicBezTo>
                    <a:cubicBezTo>
                      <a:pt x="604" y="86"/>
                      <a:pt x="584" y="91"/>
                      <a:pt x="564" y="92"/>
                    </a:cubicBezTo>
                    <a:close/>
                    <a:moveTo>
                      <a:pt x="1055" y="192"/>
                    </a:moveTo>
                    <a:cubicBezTo>
                      <a:pt x="1019" y="154"/>
                      <a:pt x="980" y="120"/>
                      <a:pt x="937" y="90"/>
                    </a:cubicBezTo>
                    <a:cubicBezTo>
                      <a:pt x="922" y="89"/>
                      <a:pt x="906" y="86"/>
                      <a:pt x="893" y="90"/>
                    </a:cubicBezTo>
                    <a:cubicBezTo>
                      <a:pt x="901" y="111"/>
                      <a:pt x="911" y="126"/>
                      <a:pt x="923" y="142"/>
                    </a:cubicBezTo>
                    <a:cubicBezTo>
                      <a:pt x="942" y="166"/>
                      <a:pt x="959" y="189"/>
                      <a:pt x="973" y="216"/>
                    </a:cubicBezTo>
                    <a:cubicBezTo>
                      <a:pt x="1006" y="219"/>
                      <a:pt x="1038" y="222"/>
                      <a:pt x="1069" y="226"/>
                    </a:cubicBezTo>
                    <a:cubicBezTo>
                      <a:pt x="1065" y="214"/>
                      <a:pt x="1059" y="204"/>
                      <a:pt x="1055" y="192"/>
                    </a:cubicBezTo>
                    <a:close/>
                    <a:moveTo>
                      <a:pt x="366" y="122"/>
                    </a:moveTo>
                    <a:cubicBezTo>
                      <a:pt x="394" y="118"/>
                      <a:pt x="410" y="101"/>
                      <a:pt x="429" y="89"/>
                    </a:cubicBezTo>
                    <a:cubicBezTo>
                      <a:pt x="407" y="99"/>
                      <a:pt x="386" y="110"/>
                      <a:pt x="366" y="122"/>
                    </a:cubicBezTo>
                    <a:close/>
                    <a:moveTo>
                      <a:pt x="631" y="90"/>
                    </a:moveTo>
                    <a:cubicBezTo>
                      <a:pt x="632" y="88"/>
                      <a:pt x="629" y="90"/>
                      <a:pt x="629" y="91"/>
                    </a:cubicBezTo>
                    <a:cubicBezTo>
                      <a:pt x="589" y="125"/>
                      <a:pt x="552" y="168"/>
                      <a:pt x="523" y="212"/>
                    </a:cubicBezTo>
                    <a:cubicBezTo>
                      <a:pt x="522" y="214"/>
                      <a:pt x="517" y="216"/>
                      <a:pt x="519" y="219"/>
                    </a:cubicBezTo>
                    <a:cubicBezTo>
                      <a:pt x="554" y="215"/>
                      <a:pt x="591" y="214"/>
                      <a:pt x="629" y="212"/>
                    </a:cubicBezTo>
                    <a:cubicBezTo>
                      <a:pt x="645" y="177"/>
                      <a:pt x="650" y="130"/>
                      <a:pt x="663" y="93"/>
                    </a:cubicBezTo>
                    <a:cubicBezTo>
                      <a:pt x="653" y="91"/>
                      <a:pt x="643" y="90"/>
                      <a:pt x="631" y="90"/>
                    </a:cubicBezTo>
                    <a:close/>
                    <a:moveTo>
                      <a:pt x="899" y="111"/>
                    </a:moveTo>
                    <a:cubicBezTo>
                      <a:pt x="900" y="112"/>
                      <a:pt x="900" y="111"/>
                      <a:pt x="899" y="111"/>
                    </a:cubicBezTo>
                    <a:moveTo>
                      <a:pt x="899" y="111"/>
                    </a:moveTo>
                    <a:cubicBezTo>
                      <a:pt x="897" y="103"/>
                      <a:pt x="893" y="97"/>
                      <a:pt x="891" y="90"/>
                    </a:cubicBezTo>
                    <a:cubicBezTo>
                      <a:pt x="886" y="90"/>
                      <a:pt x="882" y="89"/>
                      <a:pt x="880" y="92"/>
                    </a:cubicBezTo>
                    <a:cubicBezTo>
                      <a:pt x="887" y="97"/>
                      <a:pt x="892" y="105"/>
                      <a:pt x="899" y="111"/>
                    </a:cubicBezTo>
                    <a:moveTo>
                      <a:pt x="943" y="91"/>
                    </a:moveTo>
                    <a:cubicBezTo>
                      <a:pt x="979" y="114"/>
                      <a:pt x="1013" y="148"/>
                      <a:pt x="1044" y="177"/>
                    </a:cubicBezTo>
                    <a:cubicBezTo>
                      <a:pt x="1045" y="178"/>
                      <a:pt x="1047" y="183"/>
                      <a:pt x="1049" y="180"/>
                    </a:cubicBezTo>
                    <a:cubicBezTo>
                      <a:pt x="1032" y="150"/>
                      <a:pt x="1014" y="120"/>
                      <a:pt x="991" y="95"/>
                    </a:cubicBezTo>
                    <a:cubicBezTo>
                      <a:pt x="975" y="94"/>
                      <a:pt x="961" y="91"/>
                      <a:pt x="943" y="91"/>
                    </a:cubicBezTo>
                    <a:moveTo>
                      <a:pt x="943" y="91"/>
                    </a:moveTo>
                    <a:cubicBezTo>
                      <a:pt x="943" y="88"/>
                      <a:pt x="939" y="92"/>
                      <a:pt x="943" y="91"/>
                    </a:cubicBezTo>
                    <a:moveTo>
                      <a:pt x="904" y="120"/>
                    </a:moveTo>
                    <a:cubicBezTo>
                      <a:pt x="894" y="111"/>
                      <a:pt x="886" y="98"/>
                      <a:pt x="874" y="91"/>
                    </a:cubicBezTo>
                    <a:cubicBezTo>
                      <a:pt x="857" y="93"/>
                      <a:pt x="838" y="94"/>
                      <a:pt x="820" y="95"/>
                    </a:cubicBezTo>
                    <a:cubicBezTo>
                      <a:pt x="835" y="132"/>
                      <a:pt x="849" y="170"/>
                      <a:pt x="860" y="211"/>
                    </a:cubicBezTo>
                    <a:cubicBezTo>
                      <a:pt x="885" y="210"/>
                      <a:pt x="907" y="212"/>
                      <a:pt x="931" y="214"/>
                    </a:cubicBezTo>
                    <a:cubicBezTo>
                      <a:pt x="924" y="180"/>
                      <a:pt x="914" y="150"/>
                      <a:pt x="904" y="120"/>
                    </a:cubicBezTo>
                    <a:close/>
                    <a:moveTo>
                      <a:pt x="558" y="93"/>
                    </a:moveTo>
                    <a:cubicBezTo>
                      <a:pt x="558" y="92"/>
                      <a:pt x="559" y="93"/>
                      <a:pt x="558" y="93"/>
                    </a:cubicBezTo>
                    <a:close/>
                    <a:moveTo>
                      <a:pt x="492" y="99"/>
                    </a:moveTo>
                    <a:cubicBezTo>
                      <a:pt x="485" y="102"/>
                      <a:pt x="476" y="109"/>
                      <a:pt x="468" y="114"/>
                    </a:cubicBezTo>
                    <a:cubicBezTo>
                      <a:pt x="460" y="119"/>
                      <a:pt x="450" y="123"/>
                      <a:pt x="444" y="128"/>
                    </a:cubicBezTo>
                    <a:cubicBezTo>
                      <a:pt x="432" y="139"/>
                      <a:pt x="421" y="155"/>
                      <a:pt x="411" y="169"/>
                    </a:cubicBezTo>
                    <a:cubicBezTo>
                      <a:pt x="400" y="185"/>
                      <a:pt x="389" y="201"/>
                      <a:pt x="382" y="216"/>
                    </a:cubicBezTo>
                    <a:cubicBezTo>
                      <a:pt x="390" y="219"/>
                      <a:pt x="399" y="220"/>
                      <a:pt x="407" y="223"/>
                    </a:cubicBezTo>
                    <a:cubicBezTo>
                      <a:pt x="452" y="175"/>
                      <a:pt x="501" y="130"/>
                      <a:pt x="558" y="93"/>
                    </a:cubicBezTo>
                    <a:cubicBezTo>
                      <a:pt x="533" y="97"/>
                      <a:pt x="512" y="93"/>
                      <a:pt x="492" y="99"/>
                    </a:cubicBezTo>
                    <a:close/>
                    <a:moveTo>
                      <a:pt x="667" y="93"/>
                    </a:moveTo>
                    <a:cubicBezTo>
                      <a:pt x="661" y="115"/>
                      <a:pt x="652" y="139"/>
                      <a:pt x="650" y="163"/>
                    </a:cubicBezTo>
                    <a:cubicBezTo>
                      <a:pt x="660" y="138"/>
                      <a:pt x="673" y="116"/>
                      <a:pt x="685" y="94"/>
                    </a:cubicBezTo>
                    <a:cubicBezTo>
                      <a:pt x="678" y="94"/>
                      <a:pt x="674" y="92"/>
                      <a:pt x="667" y="93"/>
                    </a:cubicBezTo>
                    <a:close/>
                    <a:moveTo>
                      <a:pt x="639" y="211"/>
                    </a:moveTo>
                    <a:cubicBezTo>
                      <a:pt x="674" y="211"/>
                      <a:pt x="707" y="208"/>
                      <a:pt x="743" y="209"/>
                    </a:cubicBezTo>
                    <a:cubicBezTo>
                      <a:pt x="745" y="170"/>
                      <a:pt x="747" y="132"/>
                      <a:pt x="750" y="95"/>
                    </a:cubicBezTo>
                    <a:cubicBezTo>
                      <a:pt x="729" y="96"/>
                      <a:pt x="708" y="95"/>
                      <a:pt x="689" y="94"/>
                    </a:cubicBezTo>
                    <a:cubicBezTo>
                      <a:pt x="669" y="129"/>
                      <a:pt x="646" y="162"/>
                      <a:pt x="639" y="211"/>
                    </a:cubicBezTo>
                    <a:close/>
                    <a:moveTo>
                      <a:pt x="825" y="120"/>
                    </a:moveTo>
                    <a:cubicBezTo>
                      <a:pt x="823" y="113"/>
                      <a:pt x="819" y="96"/>
                      <a:pt x="811" y="95"/>
                    </a:cubicBezTo>
                    <a:cubicBezTo>
                      <a:pt x="803" y="93"/>
                      <a:pt x="791" y="98"/>
                      <a:pt x="782" y="95"/>
                    </a:cubicBezTo>
                    <a:cubicBezTo>
                      <a:pt x="784" y="133"/>
                      <a:pt x="786" y="171"/>
                      <a:pt x="787" y="209"/>
                    </a:cubicBezTo>
                    <a:cubicBezTo>
                      <a:pt x="811" y="208"/>
                      <a:pt x="832" y="210"/>
                      <a:pt x="855" y="210"/>
                    </a:cubicBezTo>
                    <a:cubicBezTo>
                      <a:pt x="848" y="183"/>
                      <a:pt x="836" y="148"/>
                      <a:pt x="825" y="120"/>
                    </a:cubicBezTo>
                    <a:close/>
                    <a:moveTo>
                      <a:pt x="499" y="96"/>
                    </a:moveTo>
                    <a:cubicBezTo>
                      <a:pt x="499" y="96"/>
                      <a:pt x="500" y="97"/>
                      <a:pt x="499" y="96"/>
                    </a:cubicBezTo>
                    <a:close/>
                    <a:moveTo>
                      <a:pt x="752" y="98"/>
                    </a:moveTo>
                    <a:cubicBezTo>
                      <a:pt x="750" y="135"/>
                      <a:pt x="747" y="171"/>
                      <a:pt x="746" y="209"/>
                    </a:cubicBezTo>
                    <a:cubicBezTo>
                      <a:pt x="758" y="209"/>
                      <a:pt x="771" y="209"/>
                      <a:pt x="784" y="209"/>
                    </a:cubicBezTo>
                    <a:cubicBezTo>
                      <a:pt x="783" y="170"/>
                      <a:pt x="781" y="133"/>
                      <a:pt x="779" y="95"/>
                    </a:cubicBezTo>
                    <a:cubicBezTo>
                      <a:pt x="771" y="97"/>
                      <a:pt x="756" y="92"/>
                      <a:pt x="752" y="98"/>
                    </a:cubicBezTo>
                    <a:close/>
                    <a:moveTo>
                      <a:pt x="1056" y="191"/>
                    </a:moveTo>
                    <a:cubicBezTo>
                      <a:pt x="1069" y="202"/>
                      <a:pt x="1077" y="217"/>
                      <a:pt x="1090" y="228"/>
                    </a:cubicBezTo>
                    <a:cubicBezTo>
                      <a:pt x="1115" y="224"/>
                      <a:pt x="1137" y="218"/>
                      <a:pt x="1159" y="212"/>
                    </a:cubicBezTo>
                    <a:cubicBezTo>
                      <a:pt x="1152" y="199"/>
                      <a:pt x="1138" y="190"/>
                      <a:pt x="1126" y="180"/>
                    </a:cubicBezTo>
                    <a:cubicBezTo>
                      <a:pt x="1101" y="159"/>
                      <a:pt x="1078" y="141"/>
                      <a:pt x="1049" y="122"/>
                    </a:cubicBezTo>
                    <a:cubicBezTo>
                      <a:pt x="1032" y="112"/>
                      <a:pt x="1016" y="96"/>
                      <a:pt x="996" y="96"/>
                    </a:cubicBezTo>
                    <a:cubicBezTo>
                      <a:pt x="1020" y="124"/>
                      <a:pt x="1040" y="155"/>
                      <a:pt x="1056" y="191"/>
                    </a:cubicBezTo>
                    <a:close/>
                    <a:moveTo>
                      <a:pt x="1095" y="150"/>
                    </a:moveTo>
                    <a:cubicBezTo>
                      <a:pt x="1112" y="165"/>
                      <a:pt x="1132" y="180"/>
                      <a:pt x="1149" y="195"/>
                    </a:cubicBezTo>
                    <a:cubicBezTo>
                      <a:pt x="1154" y="200"/>
                      <a:pt x="1159" y="209"/>
                      <a:pt x="1167" y="209"/>
                    </a:cubicBezTo>
                    <a:cubicBezTo>
                      <a:pt x="1146" y="171"/>
                      <a:pt x="1113" y="136"/>
                      <a:pt x="1081" y="107"/>
                    </a:cubicBezTo>
                    <a:cubicBezTo>
                      <a:pt x="1060" y="104"/>
                      <a:pt x="1036" y="99"/>
                      <a:pt x="1015" y="98"/>
                    </a:cubicBezTo>
                    <a:cubicBezTo>
                      <a:pt x="1044" y="113"/>
                      <a:pt x="1069" y="132"/>
                      <a:pt x="1095" y="150"/>
                    </a:cubicBezTo>
                    <a:close/>
                    <a:moveTo>
                      <a:pt x="555" y="99"/>
                    </a:moveTo>
                    <a:cubicBezTo>
                      <a:pt x="506" y="130"/>
                      <a:pt x="457" y="172"/>
                      <a:pt x="418" y="216"/>
                    </a:cubicBezTo>
                    <a:cubicBezTo>
                      <a:pt x="417" y="218"/>
                      <a:pt x="411" y="220"/>
                      <a:pt x="414" y="224"/>
                    </a:cubicBezTo>
                    <a:cubicBezTo>
                      <a:pt x="438" y="232"/>
                      <a:pt x="467" y="223"/>
                      <a:pt x="494" y="221"/>
                    </a:cubicBezTo>
                    <a:cubicBezTo>
                      <a:pt x="510" y="176"/>
                      <a:pt x="530" y="135"/>
                      <a:pt x="555" y="99"/>
                    </a:cubicBezTo>
                    <a:moveTo>
                      <a:pt x="555" y="99"/>
                    </a:moveTo>
                    <a:cubicBezTo>
                      <a:pt x="556" y="99"/>
                      <a:pt x="555" y="98"/>
                      <a:pt x="555" y="99"/>
                    </a:cubicBezTo>
                    <a:moveTo>
                      <a:pt x="484" y="101"/>
                    </a:moveTo>
                    <a:cubicBezTo>
                      <a:pt x="483" y="101"/>
                      <a:pt x="484" y="102"/>
                      <a:pt x="484" y="101"/>
                    </a:cubicBezTo>
                    <a:close/>
                    <a:moveTo>
                      <a:pt x="1118" y="101"/>
                    </a:moveTo>
                    <a:cubicBezTo>
                      <a:pt x="1119" y="103"/>
                      <a:pt x="1119" y="101"/>
                      <a:pt x="1118" y="101"/>
                    </a:cubicBezTo>
                    <a:moveTo>
                      <a:pt x="1118" y="101"/>
                    </a:moveTo>
                    <a:cubicBezTo>
                      <a:pt x="1118" y="100"/>
                      <a:pt x="1117" y="101"/>
                      <a:pt x="1118" y="101"/>
                    </a:cubicBezTo>
                    <a:moveTo>
                      <a:pt x="454" y="119"/>
                    </a:moveTo>
                    <a:cubicBezTo>
                      <a:pt x="452" y="119"/>
                      <a:pt x="454" y="120"/>
                      <a:pt x="454" y="119"/>
                    </a:cubicBezTo>
                    <a:moveTo>
                      <a:pt x="454" y="119"/>
                    </a:moveTo>
                    <a:cubicBezTo>
                      <a:pt x="464" y="113"/>
                      <a:pt x="474" y="108"/>
                      <a:pt x="483" y="101"/>
                    </a:cubicBezTo>
                    <a:cubicBezTo>
                      <a:pt x="466" y="100"/>
                      <a:pt x="462" y="111"/>
                      <a:pt x="454" y="119"/>
                    </a:cubicBezTo>
                    <a:moveTo>
                      <a:pt x="1120" y="103"/>
                    </a:moveTo>
                    <a:cubicBezTo>
                      <a:pt x="1120" y="103"/>
                      <a:pt x="1121" y="104"/>
                      <a:pt x="1120" y="103"/>
                    </a:cubicBezTo>
                    <a:close/>
                    <a:moveTo>
                      <a:pt x="1075" y="104"/>
                    </a:moveTo>
                    <a:cubicBezTo>
                      <a:pt x="1075" y="104"/>
                      <a:pt x="1076" y="105"/>
                      <a:pt x="1075" y="104"/>
                    </a:cubicBezTo>
                    <a:close/>
                    <a:moveTo>
                      <a:pt x="417" y="112"/>
                    </a:moveTo>
                    <a:cubicBezTo>
                      <a:pt x="407" y="115"/>
                      <a:pt x="396" y="125"/>
                      <a:pt x="386" y="131"/>
                    </a:cubicBezTo>
                    <a:cubicBezTo>
                      <a:pt x="357" y="148"/>
                      <a:pt x="335" y="165"/>
                      <a:pt x="317" y="191"/>
                    </a:cubicBezTo>
                    <a:cubicBezTo>
                      <a:pt x="325" y="195"/>
                      <a:pt x="332" y="200"/>
                      <a:pt x="342" y="203"/>
                    </a:cubicBezTo>
                    <a:cubicBezTo>
                      <a:pt x="374" y="176"/>
                      <a:pt x="406" y="149"/>
                      <a:pt x="442" y="127"/>
                    </a:cubicBezTo>
                    <a:cubicBezTo>
                      <a:pt x="445" y="123"/>
                      <a:pt x="449" y="119"/>
                      <a:pt x="453" y="115"/>
                    </a:cubicBezTo>
                    <a:cubicBezTo>
                      <a:pt x="455" y="112"/>
                      <a:pt x="466" y="105"/>
                      <a:pt x="461" y="104"/>
                    </a:cubicBezTo>
                    <a:cubicBezTo>
                      <a:pt x="446" y="109"/>
                      <a:pt x="430" y="107"/>
                      <a:pt x="417" y="112"/>
                    </a:cubicBezTo>
                    <a:close/>
                    <a:moveTo>
                      <a:pt x="1210" y="188"/>
                    </a:moveTo>
                    <a:cubicBezTo>
                      <a:pt x="1213" y="187"/>
                      <a:pt x="1214" y="184"/>
                      <a:pt x="1216" y="183"/>
                    </a:cubicBezTo>
                    <a:cubicBezTo>
                      <a:pt x="1210" y="171"/>
                      <a:pt x="1197" y="162"/>
                      <a:pt x="1185" y="152"/>
                    </a:cubicBezTo>
                    <a:cubicBezTo>
                      <a:pt x="1175" y="143"/>
                      <a:pt x="1164" y="130"/>
                      <a:pt x="1151" y="123"/>
                    </a:cubicBezTo>
                    <a:cubicBezTo>
                      <a:pt x="1135" y="116"/>
                      <a:pt x="1116" y="117"/>
                      <a:pt x="1097" y="110"/>
                    </a:cubicBezTo>
                    <a:cubicBezTo>
                      <a:pt x="1096" y="110"/>
                      <a:pt x="1094" y="110"/>
                      <a:pt x="1094" y="111"/>
                    </a:cubicBezTo>
                    <a:cubicBezTo>
                      <a:pt x="1136" y="132"/>
                      <a:pt x="1174" y="163"/>
                      <a:pt x="1210" y="188"/>
                    </a:cubicBezTo>
                    <a:close/>
                    <a:moveTo>
                      <a:pt x="1090" y="112"/>
                    </a:moveTo>
                    <a:cubicBezTo>
                      <a:pt x="1090" y="112"/>
                      <a:pt x="1090" y="113"/>
                      <a:pt x="1090" y="113"/>
                    </a:cubicBezTo>
                    <a:cubicBezTo>
                      <a:pt x="1124" y="138"/>
                      <a:pt x="1146" y="175"/>
                      <a:pt x="1173" y="207"/>
                    </a:cubicBezTo>
                    <a:cubicBezTo>
                      <a:pt x="1185" y="202"/>
                      <a:pt x="1198" y="198"/>
                      <a:pt x="1206" y="190"/>
                    </a:cubicBezTo>
                    <a:cubicBezTo>
                      <a:pt x="1170" y="161"/>
                      <a:pt x="1132" y="134"/>
                      <a:pt x="1090" y="112"/>
                    </a:cubicBezTo>
                    <a:moveTo>
                      <a:pt x="1090" y="112"/>
                    </a:moveTo>
                    <a:cubicBezTo>
                      <a:pt x="1090" y="110"/>
                      <a:pt x="1089" y="112"/>
                      <a:pt x="1090" y="112"/>
                    </a:cubicBezTo>
                    <a:moveTo>
                      <a:pt x="405" y="116"/>
                    </a:moveTo>
                    <a:cubicBezTo>
                      <a:pt x="389" y="116"/>
                      <a:pt x="383" y="126"/>
                      <a:pt x="374" y="134"/>
                    </a:cubicBezTo>
                    <a:moveTo>
                      <a:pt x="374" y="134"/>
                    </a:moveTo>
                    <a:cubicBezTo>
                      <a:pt x="373" y="134"/>
                      <a:pt x="372" y="135"/>
                      <a:pt x="371" y="136"/>
                    </a:cubicBezTo>
                    <a:moveTo>
                      <a:pt x="371" y="136"/>
                    </a:moveTo>
                    <a:cubicBezTo>
                      <a:pt x="370" y="136"/>
                      <a:pt x="370" y="136"/>
                      <a:pt x="370" y="137"/>
                    </a:cubicBezTo>
                    <a:moveTo>
                      <a:pt x="370" y="137"/>
                    </a:moveTo>
                    <a:cubicBezTo>
                      <a:pt x="369" y="137"/>
                      <a:pt x="370" y="138"/>
                      <a:pt x="370" y="137"/>
                    </a:cubicBezTo>
                    <a:moveTo>
                      <a:pt x="370" y="137"/>
                    </a:moveTo>
                    <a:cubicBezTo>
                      <a:pt x="371" y="137"/>
                      <a:pt x="371" y="136"/>
                      <a:pt x="371" y="136"/>
                    </a:cubicBezTo>
                    <a:moveTo>
                      <a:pt x="371" y="136"/>
                    </a:moveTo>
                    <a:cubicBezTo>
                      <a:pt x="373" y="136"/>
                      <a:pt x="374" y="135"/>
                      <a:pt x="374" y="134"/>
                    </a:cubicBezTo>
                    <a:moveTo>
                      <a:pt x="374" y="134"/>
                    </a:moveTo>
                    <a:cubicBezTo>
                      <a:pt x="385" y="129"/>
                      <a:pt x="395" y="122"/>
                      <a:pt x="405" y="116"/>
                    </a:cubicBezTo>
                    <a:moveTo>
                      <a:pt x="405" y="116"/>
                    </a:moveTo>
                    <a:cubicBezTo>
                      <a:pt x="409" y="117"/>
                      <a:pt x="405" y="113"/>
                      <a:pt x="405" y="116"/>
                    </a:cubicBezTo>
                    <a:moveTo>
                      <a:pt x="1142" y="119"/>
                    </a:moveTo>
                    <a:cubicBezTo>
                      <a:pt x="1142" y="118"/>
                      <a:pt x="1143" y="119"/>
                      <a:pt x="1142" y="119"/>
                    </a:cubicBezTo>
                    <a:close/>
                    <a:moveTo>
                      <a:pt x="365" y="119"/>
                    </a:moveTo>
                    <a:cubicBezTo>
                      <a:pt x="364" y="119"/>
                      <a:pt x="365" y="120"/>
                      <a:pt x="365" y="119"/>
                    </a:cubicBezTo>
                    <a:close/>
                    <a:moveTo>
                      <a:pt x="363" y="120"/>
                    </a:moveTo>
                    <a:cubicBezTo>
                      <a:pt x="361" y="121"/>
                      <a:pt x="363" y="122"/>
                      <a:pt x="363" y="120"/>
                    </a:cubicBezTo>
                    <a:moveTo>
                      <a:pt x="363" y="120"/>
                    </a:moveTo>
                    <a:cubicBezTo>
                      <a:pt x="364" y="120"/>
                      <a:pt x="363" y="119"/>
                      <a:pt x="363" y="120"/>
                    </a:cubicBezTo>
                    <a:moveTo>
                      <a:pt x="326" y="147"/>
                    </a:moveTo>
                    <a:cubicBezTo>
                      <a:pt x="312" y="157"/>
                      <a:pt x="291" y="166"/>
                      <a:pt x="308" y="182"/>
                    </a:cubicBezTo>
                    <a:cubicBezTo>
                      <a:pt x="333" y="161"/>
                      <a:pt x="362" y="143"/>
                      <a:pt x="385" y="120"/>
                    </a:cubicBezTo>
                    <a:cubicBezTo>
                      <a:pt x="360" y="124"/>
                      <a:pt x="343" y="136"/>
                      <a:pt x="326" y="147"/>
                    </a:cubicBezTo>
                    <a:close/>
                    <a:moveTo>
                      <a:pt x="360" y="122"/>
                    </a:moveTo>
                    <a:cubicBezTo>
                      <a:pt x="359" y="122"/>
                      <a:pt x="360" y="123"/>
                      <a:pt x="360" y="122"/>
                    </a:cubicBezTo>
                    <a:close/>
                    <a:moveTo>
                      <a:pt x="365" y="123"/>
                    </a:moveTo>
                    <a:cubicBezTo>
                      <a:pt x="364" y="123"/>
                      <a:pt x="365" y="124"/>
                      <a:pt x="365" y="123"/>
                    </a:cubicBezTo>
                    <a:close/>
                    <a:moveTo>
                      <a:pt x="357" y="124"/>
                    </a:moveTo>
                    <a:cubicBezTo>
                      <a:pt x="356" y="124"/>
                      <a:pt x="358" y="125"/>
                      <a:pt x="357" y="124"/>
                    </a:cubicBezTo>
                    <a:close/>
                    <a:moveTo>
                      <a:pt x="354" y="126"/>
                    </a:moveTo>
                    <a:cubicBezTo>
                      <a:pt x="354" y="126"/>
                      <a:pt x="355" y="127"/>
                      <a:pt x="354" y="126"/>
                    </a:cubicBezTo>
                    <a:close/>
                    <a:moveTo>
                      <a:pt x="910" y="129"/>
                    </a:moveTo>
                    <a:cubicBezTo>
                      <a:pt x="919" y="156"/>
                      <a:pt x="927" y="184"/>
                      <a:pt x="934" y="214"/>
                    </a:cubicBezTo>
                    <a:cubicBezTo>
                      <a:pt x="946" y="215"/>
                      <a:pt x="959" y="215"/>
                      <a:pt x="970" y="216"/>
                    </a:cubicBezTo>
                    <a:cubicBezTo>
                      <a:pt x="952" y="185"/>
                      <a:pt x="933" y="155"/>
                      <a:pt x="910" y="129"/>
                    </a:cubicBezTo>
                    <a:moveTo>
                      <a:pt x="910" y="129"/>
                    </a:moveTo>
                    <a:cubicBezTo>
                      <a:pt x="911" y="125"/>
                      <a:pt x="907" y="129"/>
                      <a:pt x="910" y="129"/>
                    </a:cubicBezTo>
                    <a:moveTo>
                      <a:pt x="1166" y="129"/>
                    </a:moveTo>
                    <a:cubicBezTo>
                      <a:pt x="1166" y="129"/>
                      <a:pt x="1167" y="130"/>
                      <a:pt x="1166" y="129"/>
                    </a:cubicBezTo>
                    <a:close/>
                    <a:moveTo>
                      <a:pt x="1222" y="166"/>
                    </a:moveTo>
                    <a:cubicBezTo>
                      <a:pt x="1218" y="155"/>
                      <a:pt x="1206" y="150"/>
                      <a:pt x="1198" y="144"/>
                    </a:cubicBezTo>
                    <a:cubicBezTo>
                      <a:pt x="1189" y="138"/>
                      <a:pt x="1180" y="130"/>
                      <a:pt x="1168" y="130"/>
                    </a:cubicBezTo>
                    <a:cubicBezTo>
                      <a:pt x="1187" y="141"/>
                      <a:pt x="1204" y="154"/>
                      <a:pt x="1222" y="166"/>
                    </a:cubicBezTo>
                    <a:close/>
                    <a:moveTo>
                      <a:pt x="1165" y="132"/>
                    </a:moveTo>
                    <a:cubicBezTo>
                      <a:pt x="1166" y="133"/>
                      <a:pt x="1165" y="132"/>
                      <a:pt x="1165" y="132"/>
                    </a:cubicBezTo>
                    <a:close/>
                    <a:moveTo>
                      <a:pt x="1169" y="134"/>
                    </a:moveTo>
                    <a:cubicBezTo>
                      <a:pt x="1187" y="147"/>
                      <a:pt x="1204" y="167"/>
                      <a:pt x="1220" y="178"/>
                    </a:cubicBezTo>
                    <a:cubicBezTo>
                      <a:pt x="1220" y="175"/>
                      <a:pt x="1223" y="174"/>
                      <a:pt x="1222" y="170"/>
                    </a:cubicBezTo>
                    <a:cubicBezTo>
                      <a:pt x="1206" y="157"/>
                      <a:pt x="1188" y="145"/>
                      <a:pt x="1169" y="134"/>
                    </a:cubicBezTo>
                    <a:moveTo>
                      <a:pt x="1169" y="134"/>
                    </a:moveTo>
                    <a:cubicBezTo>
                      <a:pt x="1168" y="132"/>
                      <a:pt x="1168" y="134"/>
                      <a:pt x="1169" y="134"/>
                    </a:cubicBezTo>
                    <a:moveTo>
                      <a:pt x="434" y="136"/>
                    </a:moveTo>
                    <a:cubicBezTo>
                      <a:pt x="433" y="136"/>
                      <a:pt x="433" y="136"/>
                      <a:pt x="433" y="137"/>
                    </a:cubicBezTo>
                    <a:moveTo>
                      <a:pt x="433" y="137"/>
                    </a:moveTo>
                    <a:cubicBezTo>
                      <a:pt x="401" y="157"/>
                      <a:pt x="372" y="180"/>
                      <a:pt x="345" y="205"/>
                    </a:cubicBezTo>
                    <a:cubicBezTo>
                      <a:pt x="357" y="209"/>
                      <a:pt x="367" y="213"/>
                      <a:pt x="379" y="215"/>
                    </a:cubicBezTo>
                    <a:cubicBezTo>
                      <a:pt x="394" y="187"/>
                      <a:pt x="413" y="162"/>
                      <a:pt x="433" y="137"/>
                    </a:cubicBezTo>
                    <a:moveTo>
                      <a:pt x="433" y="137"/>
                    </a:moveTo>
                    <a:cubicBezTo>
                      <a:pt x="434" y="137"/>
                      <a:pt x="434" y="136"/>
                      <a:pt x="434" y="136"/>
                    </a:cubicBezTo>
                    <a:moveTo>
                      <a:pt x="434" y="136"/>
                    </a:moveTo>
                    <a:cubicBezTo>
                      <a:pt x="435" y="135"/>
                      <a:pt x="434" y="135"/>
                      <a:pt x="434" y="136"/>
                    </a:cubicBezTo>
                    <a:moveTo>
                      <a:pt x="327" y="142"/>
                    </a:moveTo>
                    <a:cubicBezTo>
                      <a:pt x="327" y="141"/>
                      <a:pt x="328" y="142"/>
                      <a:pt x="327" y="142"/>
                    </a:cubicBezTo>
                    <a:close/>
                    <a:moveTo>
                      <a:pt x="325" y="143"/>
                    </a:moveTo>
                    <a:cubicBezTo>
                      <a:pt x="319" y="146"/>
                      <a:pt x="312" y="150"/>
                      <a:pt x="308" y="156"/>
                    </a:cubicBezTo>
                    <a:moveTo>
                      <a:pt x="308" y="156"/>
                    </a:moveTo>
                    <a:cubicBezTo>
                      <a:pt x="307" y="156"/>
                      <a:pt x="307" y="156"/>
                      <a:pt x="307" y="157"/>
                    </a:cubicBezTo>
                    <a:moveTo>
                      <a:pt x="307" y="157"/>
                    </a:moveTo>
                    <a:cubicBezTo>
                      <a:pt x="306" y="157"/>
                      <a:pt x="306" y="157"/>
                      <a:pt x="306" y="158"/>
                    </a:cubicBezTo>
                    <a:moveTo>
                      <a:pt x="306" y="158"/>
                    </a:moveTo>
                    <a:cubicBezTo>
                      <a:pt x="305" y="158"/>
                      <a:pt x="306" y="159"/>
                      <a:pt x="306" y="158"/>
                    </a:cubicBezTo>
                    <a:moveTo>
                      <a:pt x="306" y="158"/>
                    </a:moveTo>
                    <a:cubicBezTo>
                      <a:pt x="307" y="158"/>
                      <a:pt x="307" y="158"/>
                      <a:pt x="307" y="157"/>
                    </a:cubicBezTo>
                    <a:moveTo>
                      <a:pt x="307" y="157"/>
                    </a:moveTo>
                    <a:cubicBezTo>
                      <a:pt x="308" y="157"/>
                      <a:pt x="308" y="157"/>
                      <a:pt x="308" y="156"/>
                    </a:cubicBezTo>
                    <a:moveTo>
                      <a:pt x="308" y="156"/>
                    </a:moveTo>
                    <a:cubicBezTo>
                      <a:pt x="314" y="152"/>
                      <a:pt x="320" y="147"/>
                      <a:pt x="325" y="143"/>
                    </a:cubicBezTo>
                    <a:moveTo>
                      <a:pt x="325" y="143"/>
                    </a:moveTo>
                    <a:cubicBezTo>
                      <a:pt x="327" y="142"/>
                      <a:pt x="325" y="141"/>
                      <a:pt x="325" y="143"/>
                    </a:cubicBezTo>
                    <a:moveTo>
                      <a:pt x="338" y="163"/>
                    </a:moveTo>
                    <a:cubicBezTo>
                      <a:pt x="337" y="163"/>
                      <a:pt x="337" y="163"/>
                      <a:pt x="337" y="164"/>
                    </a:cubicBezTo>
                    <a:moveTo>
                      <a:pt x="337" y="164"/>
                    </a:moveTo>
                    <a:cubicBezTo>
                      <a:pt x="327" y="170"/>
                      <a:pt x="317" y="176"/>
                      <a:pt x="310" y="185"/>
                    </a:cubicBezTo>
                    <a:cubicBezTo>
                      <a:pt x="312" y="185"/>
                      <a:pt x="312" y="188"/>
                      <a:pt x="315" y="188"/>
                    </a:cubicBezTo>
                    <a:cubicBezTo>
                      <a:pt x="322" y="180"/>
                      <a:pt x="330" y="172"/>
                      <a:pt x="337" y="164"/>
                    </a:cubicBezTo>
                    <a:moveTo>
                      <a:pt x="337" y="164"/>
                    </a:moveTo>
                    <a:cubicBezTo>
                      <a:pt x="338" y="164"/>
                      <a:pt x="338" y="163"/>
                      <a:pt x="338" y="163"/>
                    </a:cubicBezTo>
                    <a:moveTo>
                      <a:pt x="338" y="163"/>
                    </a:moveTo>
                    <a:cubicBezTo>
                      <a:pt x="339" y="162"/>
                      <a:pt x="338" y="162"/>
                      <a:pt x="338" y="163"/>
                    </a:cubicBezTo>
                    <a:moveTo>
                      <a:pt x="648" y="165"/>
                    </a:moveTo>
                    <a:cubicBezTo>
                      <a:pt x="647" y="164"/>
                      <a:pt x="648" y="165"/>
                      <a:pt x="648" y="165"/>
                    </a:cubicBezTo>
                    <a:close/>
                    <a:moveTo>
                      <a:pt x="1279" y="213"/>
                    </a:moveTo>
                    <a:cubicBezTo>
                      <a:pt x="1279" y="213"/>
                      <a:pt x="1280" y="214"/>
                      <a:pt x="1280" y="214"/>
                    </a:cubicBezTo>
                    <a:moveTo>
                      <a:pt x="1280" y="214"/>
                    </a:moveTo>
                    <a:cubicBezTo>
                      <a:pt x="1280" y="214"/>
                      <a:pt x="1281" y="214"/>
                      <a:pt x="1281" y="215"/>
                    </a:cubicBezTo>
                    <a:moveTo>
                      <a:pt x="1281" y="215"/>
                    </a:moveTo>
                    <a:cubicBezTo>
                      <a:pt x="1281" y="215"/>
                      <a:pt x="1282" y="215"/>
                      <a:pt x="1282" y="215"/>
                    </a:cubicBezTo>
                    <a:moveTo>
                      <a:pt x="1282" y="215"/>
                    </a:moveTo>
                    <a:cubicBezTo>
                      <a:pt x="1282" y="216"/>
                      <a:pt x="1283" y="216"/>
                      <a:pt x="1283" y="216"/>
                    </a:cubicBezTo>
                    <a:moveTo>
                      <a:pt x="1283" y="216"/>
                    </a:moveTo>
                    <a:cubicBezTo>
                      <a:pt x="1283" y="217"/>
                      <a:pt x="1284" y="217"/>
                      <a:pt x="1284" y="217"/>
                    </a:cubicBezTo>
                    <a:moveTo>
                      <a:pt x="1284" y="217"/>
                    </a:moveTo>
                    <a:cubicBezTo>
                      <a:pt x="1284" y="218"/>
                      <a:pt x="1285" y="218"/>
                      <a:pt x="1285" y="218"/>
                    </a:cubicBezTo>
                    <a:moveTo>
                      <a:pt x="1285" y="218"/>
                    </a:moveTo>
                    <a:cubicBezTo>
                      <a:pt x="1285" y="219"/>
                      <a:pt x="1286" y="219"/>
                      <a:pt x="1286" y="219"/>
                    </a:cubicBezTo>
                    <a:moveTo>
                      <a:pt x="1286" y="219"/>
                    </a:moveTo>
                    <a:cubicBezTo>
                      <a:pt x="1286" y="220"/>
                      <a:pt x="1287" y="220"/>
                      <a:pt x="1287" y="220"/>
                    </a:cubicBezTo>
                    <a:moveTo>
                      <a:pt x="1287" y="220"/>
                    </a:moveTo>
                    <a:cubicBezTo>
                      <a:pt x="1288" y="222"/>
                      <a:pt x="1288" y="220"/>
                      <a:pt x="1287" y="220"/>
                    </a:cubicBezTo>
                    <a:moveTo>
                      <a:pt x="1287" y="220"/>
                    </a:moveTo>
                    <a:cubicBezTo>
                      <a:pt x="1287" y="219"/>
                      <a:pt x="1287" y="219"/>
                      <a:pt x="1286" y="219"/>
                    </a:cubicBezTo>
                    <a:moveTo>
                      <a:pt x="1286" y="219"/>
                    </a:moveTo>
                    <a:cubicBezTo>
                      <a:pt x="1286" y="219"/>
                      <a:pt x="1286" y="218"/>
                      <a:pt x="1285" y="218"/>
                    </a:cubicBezTo>
                    <a:moveTo>
                      <a:pt x="1285" y="218"/>
                    </a:moveTo>
                    <a:cubicBezTo>
                      <a:pt x="1285" y="218"/>
                      <a:pt x="1285" y="217"/>
                      <a:pt x="1284" y="217"/>
                    </a:cubicBezTo>
                    <a:moveTo>
                      <a:pt x="1284" y="217"/>
                    </a:moveTo>
                    <a:cubicBezTo>
                      <a:pt x="1284" y="217"/>
                      <a:pt x="1284" y="216"/>
                      <a:pt x="1283" y="216"/>
                    </a:cubicBezTo>
                    <a:moveTo>
                      <a:pt x="1283" y="216"/>
                    </a:moveTo>
                    <a:cubicBezTo>
                      <a:pt x="1283" y="216"/>
                      <a:pt x="1283" y="216"/>
                      <a:pt x="1282" y="215"/>
                    </a:cubicBezTo>
                    <a:moveTo>
                      <a:pt x="1282" y="215"/>
                    </a:moveTo>
                    <a:cubicBezTo>
                      <a:pt x="1283" y="215"/>
                      <a:pt x="1282" y="215"/>
                      <a:pt x="1281" y="215"/>
                    </a:cubicBezTo>
                    <a:moveTo>
                      <a:pt x="1281" y="215"/>
                    </a:moveTo>
                    <a:cubicBezTo>
                      <a:pt x="1282" y="214"/>
                      <a:pt x="1281" y="214"/>
                      <a:pt x="1280" y="214"/>
                    </a:cubicBezTo>
                    <a:moveTo>
                      <a:pt x="1280" y="214"/>
                    </a:moveTo>
                    <a:cubicBezTo>
                      <a:pt x="1281" y="213"/>
                      <a:pt x="1280" y="213"/>
                      <a:pt x="1279" y="213"/>
                    </a:cubicBezTo>
                    <a:moveTo>
                      <a:pt x="1279" y="213"/>
                    </a:moveTo>
                    <a:cubicBezTo>
                      <a:pt x="1262" y="195"/>
                      <a:pt x="1245" y="179"/>
                      <a:pt x="1225" y="165"/>
                    </a:cubicBezTo>
                    <a:cubicBezTo>
                      <a:pt x="1226" y="171"/>
                      <a:pt x="1233" y="175"/>
                      <a:pt x="1237" y="178"/>
                    </a:cubicBezTo>
                    <a:cubicBezTo>
                      <a:pt x="1251" y="189"/>
                      <a:pt x="1265" y="201"/>
                      <a:pt x="1279" y="213"/>
                    </a:cubicBezTo>
                    <a:moveTo>
                      <a:pt x="188" y="288"/>
                    </a:moveTo>
                    <a:cubicBezTo>
                      <a:pt x="205" y="283"/>
                      <a:pt x="212" y="269"/>
                      <a:pt x="223" y="257"/>
                    </a:cubicBezTo>
                    <a:cubicBezTo>
                      <a:pt x="250" y="230"/>
                      <a:pt x="277" y="206"/>
                      <a:pt x="305" y="183"/>
                    </a:cubicBezTo>
                    <a:cubicBezTo>
                      <a:pt x="301" y="179"/>
                      <a:pt x="300" y="173"/>
                      <a:pt x="298" y="167"/>
                    </a:cubicBezTo>
                    <a:cubicBezTo>
                      <a:pt x="257" y="204"/>
                      <a:pt x="219" y="243"/>
                      <a:pt x="188" y="288"/>
                    </a:cubicBezTo>
                    <a:close/>
                    <a:moveTo>
                      <a:pt x="1351" y="296"/>
                    </a:moveTo>
                    <a:cubicBezTo>
                      <a:pt x="1351" y="297"/>
                      <a:pt x="1352" y="297"/>
                      <a:pt x="1352" y="297"/>
                    </a:cubicBezTo>
                    <a:moveTo>
                      <a:pt x="1352" y="297"/>
                    </a:moveTo>
                    <a:cubicBezTo>
                      <a:pt x="1353" y="298"/>
                      <a:pt x="1354" y="297"/>
                      <a:pt x="1352" y="297"/>
                    </a:cubicBezTo>
                    <a:moveTo>
                      <a:pt x="1352" y="297"/>
                    </a:moveTo>
                    <a:cubicBezTo>
                      <a:pt x="1353" y="296"/>
                      <a:pt x="1352" y="296"/>
                      <a:pt x="1351" y="296"/>
                    </a:cubicBezTo>
                    <a:moveTo>
                      <a:pt x="1351" y="296"/>
                    </a:moveTo>
                    <a:cubicBezTo>
                      <a:pt x="1351" y="295"/>
                      <a:pt x="1351" y="293"/>
                      <a:pt x="1350" y="293"/>
                    </a:cubicBezTo>
                    <a:cubicBezTo>
                      <a:pt x="1320" y="252"/>
                      <a:pt x="1281" y="217"/>
                      <a:pt x="1241" y="185"/>
                    </a:cubicBezTo>
                    <a:cubicBezTo>
                      <a:pt x="1236" y="181"/>
                      <a:pt x="1231" y="174"/>
                      <a:pt x="1224" y="173"/>
                    </a:cubicBezTo>
                    <a:cubicBezTo>
                      <a:pt x="1218" y="183"/>
                      <a:pt x="1228" y="188"/>
                      <a:pt x="1233" y="194"/>
                    </a:cubicBezTo>
                    <a:cubicBezTo>
                      <a:pt x="1239" y="201"/>
                      <a:pt x="1244" y="208"/>
                      <a:pt x="1250" y="214"/>
                    </a:cubicBezTo>
                    <a:cubicBezTo>
                      <a:pt x="1267" y="233"/>
                      <a:pt x="1280" y="256"/>
                      <a:pt x="1300" y="274"/>
                    </a:cubicBezTo>
                    <a:cubicBezTo>
                      <a:pt x="1319" y="279"/>
                      <a:pt x="1335" y="288"/>
                      <a:pt x="1351" y="296"/>
                    </a:cubicBezTo>
                    <a:moveTo>
                      <a:pt x="1218" y="184"/>
                    </a:moveTo>
                    <a:cubicBezTo>
                      <a:pt x="1217" y="187"/>
                      <a:pt x="1213" y="188"/>
                      <a:pt x="1211" y="191"/>
                    </a:cubicBezTo>
                    <a:cubicBezTo>
                      <a:pt x="1231" y="205"/>
                      <a:pt x="1249" y="226"/>
                      <a:pt x="1267" y="239"/>
                    </a:cubicBezTo>
                    <a:cubicBezTo>
                      <a:pt x="1250" y="220"/>
                      <a:pt x="1237" y="199"/>
                      <a:pt x="1218" y="184"/>
                    </a:cubicBezTo>
                    <a:close/>
                    <a:moveTo>
                      <a:pt x="207" y="280"/>
                    </a:moveTo>
                    <a:cubicBezTo>
                      <a:pt x="206" y="280"/>
                      <a:pt x="207" y="281"/>
                      <a:pt x="207" y="280"/>
                    </a:cubicBezTo>
                    <a:moveTo>
                      <a:pt x="207" y="280"/>
                    </a:moveTo>
                    <a:cubicBezTo>
                      <a:pt x="225" y="274"/>
                      <a:pt x="241" y="267"/>
                      <a:pt x="260" y="263"/>
                    </a:cubicBezTo>
                    <a:cubicBezTo>
                      <a:pt x="272" y="244"/>
                      <a:pt x="285" y="224"/>
                      <a:pt x="299" y="206"/>
                    </a:cubicBezTo>
                    <a:cubicBezTo>
                      <a:pt x="304" y="200"/>
                      <a:pt x="311" y="196"/>
                      <a:pt x="312" y="189"/>
                    </a:cubicBezTo>
                    <a:cubicBezTo>
                      <a:pt x="306" y="183"/>
                      <a:pt x="301" y="190"/>
                      <a:pt x="297" y="193"/>
                    </a:cubicBezTo>
                    <a:cubicBezTo>
                      <a:pt x="268" y="218"/>
                      <a:pt x="231" y="250"/>
                      <a:pt x="207" y="280"/>
                    </a:cubicBezTo>
                    <a:moveTo>
                      <a:pt x="267" y="192"/>
                    </a:moveTo>
                    <a:cubicBezTo>
                      <a:pt x="266" y="192"/>
                      <a:pt x="266" y="193"/>
                      <a:pt x="266" y="193"/>
                    </a:cubicBezTo>
                    <a:moveTo>
                      <a:pt x="266" y="193"/>
                    </a:moveTo>
                    <a:cubicBezTo>
                      <a:pt x="265" y="193"/>
                      <a:pt x="265" y="194"/>
                      <a:pt x="265" y="194"/>
                    </a:cubicBezTo>
                    <a:moveTo>
                      <a:pt x="265" y="194"/>
                    </a:moveTo>
                    <a:cubicBezTo>
                      <a:pt x="264" y="194"/>
                      <a:pt x="264" y="195"/>
                      <a:pt x="264" y="195"/>
                    </a:cubicBezTo>
                    <a:moveTo>
                      <a:pt x="264" y="195"/>
                    </a:moveTo>
                    <a:cubicBezTo>
                      <a:pt x="263" y="195"/>
                      <a:pt x="263" y="196"/>
                      <a:pt x="263" y="196"/>
                    </a:cubicBezTo>
                    <a:moveTo>
                      <a:pt x="263" y="196"/>
                    </a:moveTo>
                    <a:cubicBezTo>
                      <a:pt x="262" y="196"/>
                      <a:pt x="262" y="197"/>
                      <a:pt x="262" y="197"/>
                    </a:cubicBezTo>
                    <a:moveTo>
                      <a:pt x="262" y="197"/>
                    </a:moveTo>
                    <a:cubicBezTo>
                      <a:pt x="261" y="197"/>
                      <a:pt x="261" y="198"/>
                      <a:pt x="261" y="198"/>
                    </a:cubicBezTo>
                    <a:moveTo>
                      <a:pt x="261" y="198"/>
                    </a:moveTo>
                    <a:cubicBezTo>
                      <a:pt x="222" y="229"/>
                      <a:pt x="189" y="265"/>
                      <a:pt x="159" y="305"/>
                    </a:cubicBezTo>
                    <a:moveTo>
                      <a:pt x="159" y="305"/>
                    </a:moveTo>
                    <a:cubicBezTo>
                      <a:pt x="158" y="305"/>
                      <a:pt x="158" y="305"/>
                      <a:pt x="158" y="306"/>
                    </a:cubicBezTo>
                    <a:moveTo>
                      <a:pt x="158" y="306"/>
                    </a:moveTo>
                    <a:cubicBezTo>
                      <a:pt x="157" y="306"/>
                      <a:pt x="158" y="307"/>
                      <a:pt x="158" y="306"/>
                    </a:cubicBezTo>
                    <a:moveTo>
                      <a:pt x="158" y="306"/>
                    </a:moveTo>
                    <a:cubicBezTo>
                      <a:pt x="159" y="306"/>
                      <a:pt x="159" y="305"/>
                      <a:pt x="159" y="305"/>
                    </a:cubicBezTo>
                    <a:moveTo>
                      <a:pt x="159" y="305"/>
                    </a:moveTo>
                    <a:cubicBezTo>
                      <a:pt x="167" y="301"/>
                      <a:pt x="173" y="295"/>
                      <a:pt x="182" y="292"/>
                    </a:cubicBezTo>
                    <a:cubicBezTo>
                      <a:pt x="205" y="258"/>
                      <a:pt x="232" y="227"/>
                      <a:pt x="261" y="198"/>
                    </a:cubicBezTo>
                    <a:moveTo>
                      <a:pt x="261" y="198"/>
                    </a:moveTo>
                    <a:cubicBezTo>
                      <a:pt x="262" y="198"/>
                      <a:pt x="262" y="198"/>
                      <a:pt x="262" y="197"/>
                    </a:cubicBezTo>
                    <a:moveTo>
                      <a:pt x="262" y="197"/>
                    </a:moveTo>
                    <a:cubicBezTo>
                      <a:pt x="263" y="197"/>
                      <a:pt x="263" y="197"/>
                      <a:pt x="263" y="196"/>
                    </a:cubicBezTo>
                    <a:moveTo>
                      <a:pt x="263" y="196"/>
                    </a:moveTo>
                    <a:cubicBezTo>
                      <a:pt x="264" y="196"/>
                      <a:pt x="264" y="196"/>
                      <a:pt x="264" y="195"/>
                    </a:cubicBezTo>
                    <a:moveTo>
                      <a:pt x="264" y="195"/>
                    </a:moveTo>
                    <a:cubicBezTo>
                      <a:pt x="265" y="195"/>
                      <a:pt x="265" y="195"/>
                      <a:pt x="265" y="194"/>
                    </a:cubicBezTo>
                    <a:moveTo>
                      <a:pt x="265" y="194"/>
                    </a:moveTo>
                    <a:cubicBezTo>
                      <a:pt x="266" y="195"/>
                      <a:pt x="266" y="194"/>
                      <a:pt x="266" y="193"/>
                    </a:cubicBezTo>
                    <a:moveTo>
                      <a:pt x="266" y="193"/>
                    </a:moveTo>
                    <a:cubicBezTo>
                      <a:pt x="266" y="194"/>
                      <a:pt x="267" y="193"/>
                      <a:pt x="267" y="192"/>
                    </a:cubicBezTo>
                    <a:moveTo>
                      <a:pt x="267" y="192"/>
                    </a:moveTo>
                    <a:cubicBezTo>
                      <a:pt x="268" y="192"/>
                      <a:pt x="267" y="191"/>
                      <a:pt x="267" y="192"/>
                    </a:cubicBezTo>
                    <a:moveTo>
                      <a:pt x="265" y="261"/>
                    </a:moveTo>
                    <a:cubicBezTo>
                      <a:pt x="263" y="261"/>
                      <a:pt x="265" y="262"/>
                      <a:pt x="265" y="261"/>
                    </a:cubicBezTo>
                    <a:moveTo>
                      <a:pt x="265" y="261"/>
                    </a:moveTo>
                    <a:cubicBezTo>
                      <a:pt x="274" y="259"/>
                      <a:pt x="281" y="256"/>
                      <a:pt x="291" y="255"/>
                    </a:cubicBezTo>
                    <a:cubicBezTo>
                      <a:pt x="305" y="236"/>
                      <a:pt x="324" y="222"/>
                      <a:pt x="340" y="205"/>
                    </a:cubicBezTo>
                    <a:cubicBezTo>
                      <a:pt x="330" y="202"/>
                      <a:pt x="323" y="196"/>
                      <a:pt x="315" y="192"/>
                    </a:cubicBezTo>
                    <a:cubicBezTo>
                      <a:pt x="296" y="214"/>
                      <a:pt x="279" y="236"/>
                      <a:pt x="265" y="261"/>
                    </a:cubicBezTo>
                    <a:moveTo>
                      <a:pt x="1208" y="192"/>
                    </a:moveTo>
                    <a:cubicBezTo>
                      <a:pt x="1198" y="200"/>
                      <a:pt x="1184" y="204"/>
                      <a:pt x="1173" y="211"/>
                    </a:cubicBezTo>
                    <a:cubicBezTo>
                      <a:pt x="1184" y="223"/>
                      <a:pt x="1187" y="240"/>
                      <a:pt x="1203" y="247"/>
                    </a:cubicBezTo>
                    <a:cubicBezTo>
                      <a:pt x="1215" y="253"/>
                      <a:pt x="1231" y="253"/>
                      <a:pt x="1246" y="257"/>
                    </a:cubicBezTo>
                    <a:cubicBezTo>
                      <a:pt x="1260" y="261"/>
                      <a:pt x="1274" y="266"/>
                      <a:pt x="1287" y="269"/>
                    </a:cubicBezTo>
                    <a:cubicBezTo>
                      <a:pt x="1267" y="238"/>
                      <a:pt x="1237" y="216"/>
                      <a:pt x="1208" y="192"/>
                    </a:cubicBezTo>
                    <a:close/>
                    <a:moveTo>
                      <a:pt x="637" y="198"/>
                    </a:moveTo>
                    <a:cubicBezTo>
                      <a:pt x="636" y="202"/>
                      <a:pt x="630" y="210"/>
                      <a:pt x="633" y="212"/>
                    </a:cubicBezTo>
                    <a:cubicBezTo>
                      <a:pt x="638" y="210"/>
                      <a:pt x="636" y="203"/>
                      <a:pt x="637" y="198"/>
                    </a:cubicBezTo>
                    <a:moveTo>
                      <a:pt x="637" y="198"/>
                    </a:moveTo>
                    <a:cubicBezTo>
                      <a:pt x="640" y="198"/>
                      <a:pt x="636" y="194"/>
                      <a:pt x="637" y="198"/>
                    </a:cubicBezTo>
                    <a:moveTo>
                      <a:pt x="1072" y="226"/>
                    </a:moveTo>
                    <a:cubicBezTo>
                      <a:pt x="1076" y="226"/>
                      <a:pt x="1083" y="228"/>
                      <a:pt x="1085" y="227"/>
                    </a:cubicBezTo>
                    <a:cubicBezTo>
                      <a:pt x="1077" y="219"/>
                      <a:pt x="1070" y="209"/>
                      <a:pt x="1062" y="201"/>
                    </a:cubicBezTo>
                    <a:cubicBezTo>
                      <a:pt x="1065" y="210"/>
                      <a:pt x="1069" y="217"/>
                      <a:pt x="1072" y="226"/>
                    </a:cubicBezTo>
                    <a:close/>
                    <a:moveTo>
                      <a:pt x="342" y="207"/>
                    </a:moveTo>
                    <a:cubicBezTo>
                      <a:pt x="327" y="222"/>
                      <a:pt x="310" y="236"/>
                      <a:pt x="296" y="253"/>
                    </a:cubicBezTo>
                    <a:cubicBezTo>
                      <a:pt x="319" y="247"/>
                      <a:pt x="343" y="243"/>
                      <a:pt x="366" y="239"/>
                    </a:cubicBezTo>
                    <a:cubicBezTo>
                      <a:pt x="370" y="231"/>
                      <a:pt x="374" y="225"/>
                      <a:pt x="377" y="217"/>
                    </a:cubicBezTo>
                    <a:cubicBezTo>
                      <a:pt x="364" y="215"/>
                      <a:pt x="354" y="210"/>
                      <a:pt x="342" y="207"/>
                    </a:cubicBezTo>
                    <a:close/>
                    <a:moveTo>
                      <a:pt x="745" y="212"/>
                    </a:moveTo>
                    <a:cubicBezTo>
                      <a:pt x="745" y="226"/>
                      <a:pt x="744" y="240"/>
                      <a:pt x="743" y="254"/>
                    </a:cubicBezTo>
                    <a:cubicBezTo>
                      <a:pt x="757" y="253"/>
                      <a:pt x="774" y="255"/>
                      <a:pt x="786" y="253"/>
                    </a:cubicBezTo>
                    <a:cubicBezTo>
                      <a:pt x="784" y="241"/>
                      <a:pt x="786" y="224"/>
                      <a:pt x="784" y="212"/>
                    </a:cubicBezTo>
                    <a:cubicBezTo>
                      <a:pt x="773" y="210"/>
                      <a:pt x="756" y="210"/>
                      <a:pt x="745" y="212"/>
                    </a:cubicBezTo>
                    <a:close/>
                    <a:moveTo>
                      <a:pt x="1176" y="220"/>
                    </a:moveTo>
                    <a:cubicBezTo>
                      <a:pt x="1176" y="221"/>
                      <a:pt x="1176" y="221"/>
                      <a:pt x="1177" y="221"/>
                    </a:cubicBezTo>
                    <a:moveTo>
                      <a:pt x="1177" y="221"/>
                    </a:moveTo>
                    <a:cubicBezTo>
                      <a:pt x="1177" y="223"/>
                      <a:pt x="1178" y="221"/>
                      <a:pt x="1177" y="221"/>
                    </a:cubicBezTo>
                    <a:moveTo>
                      <a:pt x="1177" y="221"/>
                    </a:moveTo>
                    <a:cubicBezTo>
                      <a:pt x="1177" y="220"/>
                      <a:pt x="1176" y="220"/>
                      <a:pt x="1176" y="220"/>
                    </a:cubicBezTo>
                    <a:moveTo>
                      <a:pt x="1176" y="220"/>
                    </a:moveTo>
                    <a:cubicBezTo>
                      <a:pt x="1174" y="216"/>
                      <a:pt x="1171" y="207"/>
                      <a:pt x="1166" y="213"/>
                    </a:cubicBezTo>
                    <a:cubicBezTo>
                      <a:pt x="1170" y="214"/>
                      <a:pt x="1172" y="218"/>
                      <a:pt x="1176" y="220"/>
                    </a:cubicBezTo>
                    <a:moveTo>
                      <a:pt x="639" y="214"/>
                    </a:moveTo>
                    <a:cubicBezTo>
                      <a:pt x="637" y="225"/>
                      <a:pt x="635" y="238"/>
                      <a:pt x="633" y="251"/>
                    </a:cubicBezTo>
                    <a:cubicBezTo>
                      <a:pt x="669" y="252"/>
                      <a:pt x="704" y="254"/>
                      <a:pt x="741" y="254"/>
                    </a:cubicBezTo>
                    <a:cubicBezTo>
                      <a:pt x="741" y="239"/>
                      <a:pt x="742" y="225"/>
                      <a:pt x="743" y="212"/>
                    </a:cubicBezTo>
                    <a:cubicBezTo>
                      <a:pt x="707" y="211"/>
                      <a:pt x="673" y="213"/>
                      <a:pt x="639" y="214"/>
                    </a:cubicBezTo>
                    <a:close/>
                    <a:moveTo>
                      <a:pt x="787" y="212"/>
                    </a:moveTo>
                    <a:cubicBezTo>
                      <a:pt x="786" y="227"/>
                      <a:pt x="789" y="239"/>
                      <a:pt x="788" y="254"/>
                    </a:cubicBezTo>
                    <a:cubicBezTo>
                      <a:pt x="815" y="254"/>
                      <a:pt x="840" y="252"/>
                      <a:pt x="867" y="252"/>
                    </a:cubicBezTo>
                    <a:cubicBezTo>
                      <a:pt x="863" y="238"/>
                      <a:pt x="860" y="225"/>
                      <a:pt x="856" y="213"/>
                    </a:cubicBezTo>
                    <a:cubicBezTo>
                      <a:pt x="834" y="212"/>
                      <a:pt x="811" y="211"/>
                      <a:pt x="787" y="212"/>
                    </a:cubicBezTo>
                    <a:close/>
                    <a:moveTo>
                      <a:pt x="870" y="251"/>
                    </a:moveTo>
                    <a:cubicBezTo>
                      <a:pt x="891" y="251"/>
                      <a:pt x="917" y="249"/>
                      <a:pt x="938" y="247"/>
                    </a:cubicBezTo>
                    <a:cubicBezTo>
                      <a:pt x="937" y="236"/>
                      <a:pt x="934" y="227"/>
                      <a:pt x="932" y="216"/>
                    </a:cubicBezTo>
                    <a:cubicBezTo>
                      <a:pt x="909" y="214"/>
                      <a:pt x="884" y="214"/>
                      <a:pt x="861" y="213"/>
                    </a:cubicBezTo>
                    <a:cubicBezTo>
                      <a:pt x="864" y="226"/>
                      <a:pt x="868" y="237"/>
                      <a:pt x="870" y="251"/>
                    </a:cubicBezTo>
                    <a:close/>
                    <a:moveTo>
                      <a:pt x="1190" y="244"/>
                    </a:moveTo>
                    <a:cubicBezTo>
                      <a:pt x="1191" y="246"/>
                      <a:pt x="1191" y="244"/>
                      <a:pt x="1190" y="244"/>
                    </a:cubicBezTo>
                    <a:moveTo>
                      <a:pt x="1190" y="244"/>
                    </a:moveTo>
                    <a:cubicBezTo>
                      <a:pt x="1184" y="231"/>
                      <a:pt x="1173" y="222"/>
                      <a:pt x="1162" y="213"/>
                    </a:cubicBezTo>
                    <a:cubicBezTo>
                      <a:pt x="1143" y="221"/>
                      <a:pt x="1120" y="224"/>
                      <a:pt x="1099" y="230"/>
                    </a:cubicBezTo>
                    <a:cubicBezTo>
                      <a:pt x="1131" y="233"/>
                      <a:pt x="1160" y="239"/>
                      <a:pt x="1190" y="244"/>
                    </a:cubicBezTo>
                    <a:moveTo>
                      <a:pt x="632" y="214"/>
                    </a:moveTo>
                    <a:cubicBezTo>
                      <a:pt x="625" y="223"/>
                      <a:pt x="622" y="237"/>
                      <a:pt x="618" y="250"/>
                    </a:cubicBezTo>
                    <a:cubicBezTo>
                      <a:pt x="622" y="250"/>
                      <a:pt x="626" y="250"/>
                      <a:pt x="630" y="250"/>
                    </a:cubicBezTo>
                    <a:cubicBezTo>
                      <a:pt x="631" y="238"/>
                      <a:pt x="633" y="225"/>
                      <a:pt x="635" y="214"/>
                    </a:cubicBezTo>
                    <a:cubicBezTo>
                      <a:pt x="634" y="214"/>
                      <a:pt x="633" y="214"/>
                      <a:pt x="632" y="214"/>
                    </a:cubicBezTo>
                    <a:close/>
                    <a:moveTo>
                      <a:pt x="515" y="222"/>
                    </a:moveTo>
                    <a:cubicBezTo>
                      <a:pt x="512" y="228"/>
                      <a:pt x="507" y="233"/>
                      <a:pt x="505" y="239"/>
                    </a:cubicBezTo>
                    <a:cubicBezTo>
                      <a:pt x="541" y="243"/>
                      <a:pt x="576" y="248"/>
                      <a:pt x="615" y="249"/>
                    </a:cubicBezTo>
                    <a:cubicBezTo>
                      <a:pt x="619" y="237"/>
                      <a:pt x="623" y="226"/>
                      <a:pt x="628" y="215"/>
                    </a:cubicBezTo>
                    <a:cubicBezTo>
                      <a:pt x="589" y="216"/>
                      <a:pt x="552" y="218"/>
                      <a:pt x="515" y="222"/>
                    </a:cubicBezTo>
                    <a:close/>
                    <a:moveTo>
                      <a:pt x="941" y="247"/>
                    </a:moveTo>
                    <a:cubicBezTo>
                      <a:pt x="956" y="246"/>
                      <a:pt x="972" y="245"/>
                      <a:pt x="986" y="242"/>
                    </a:cubicBezTo>
                    <a:cubicBezTo>
                      <a:pt x="980" y="235"/>
                      <a:pt x="978" y="225"/>
                      <a:pt x="971" y="219"/>
                    </a:cubicBezTo>
                    <a:cubicBezTo>
                      <a:pt x="960" y="218"/>
                      <a:pt x="947" y="217"/>
                      <a:pt x="935" y="216"/>
                    </a:cubicBezTo>
                    <a:cubicBezTo>
                      <a:pt x="936" y="227"/>
                      <a:pt x="939" y="236"/>
                      <a:pt x="941" y="247"/>
                    </a:cubicBezTo>
                    <a:close/>
                    <a:moveTo>
                      <a:pt x="370" y="238"/>
                    </a:moveTo>
                    <a:cubicBezTo>
                      <a:pt x="369" y="238"/>
                      <a:pt x="370" y="239"/>
                      <a:pt x="370" y="238"/>
                    </a:cubicBezTo>
                    <a:moveTo>
                      <a:pt x="370" y="238"/>
                    </a:moveTo>
                    <a:cubicBezTo>
                      <a:pt x="384" y="235"/>
                      <a:pt x="401" y="237"/>
                      <a:pt x="406" y="225"/>
                    </a:cubicBezTo>
                    <a:cubicBezTo>
                      <a:pt x="396" y="224"/>
                      <a:pt x="389" y="220"/>
                      <a:pt x="379" y="219"/>
                    </a:cubicBezTo>
                    <a:cubicBezTo>
                      <a:pt x="377" y="226"/>
                      <a:pt x="372" y="230"/>
                      <a:pt x="370" y="238"/>
                    </a:cubicBezTo>
                    <a:moveTo>
                      <a:pt x="989" y="242"/>
                    </a:moveTo>
                    <a:cubicBezTo>
                      <a:pt x="1017" y="239"/>
                      <a:pt x="1047" y="238"/>
                      <a:pt x="1071" y="230"/>
                    </a:cubicBezTo>
                    <a:cubicBezTo>
                      <a:pt x="1042" y="224"/>
                      <a:pt x="1008" y="222"/>
                      <a:pt x="976" y="219"/>
                    </a:cubicBezTo>
                    <a:cubicBezTo>
                      <a:pt x="980" y="227"/>
                      <a:pt x="984" y="235"/>
                      <a:pt x="989" y="242"/>
                    </a:cubicBezTo>
                    <a:close/>
                    <a:moveTo>
                      <a:pt x="497" y="223"/>
                    </a:moveTo>
                    <a:cubicBezTo>
                      <a:pt x="494" y="227"/>
                      <a:pt x="494" y="233"/>
                      <a:pt x="491" y="238"/>
                    </a:cubicBezTo>
                    <a:cubicBezTo>
                      <a:pt x="495" y="237"/>
                      <a:pt x="497" y="239"/>
                      <a:pt x="502" y="239"/>
                    </a:cubicBezTo>
                    <a:cubicBezTo>
                      <a:pt x="504" y="232"/>
                      <a:pt x="509" y="228"/>
                      <a:pt x="511" y="222"/>
                    </a:cubicBezTo>
                    <a:cubicBezTo>
                      <a:pt x="507" y="223"/>
                      <a:pt x="503" y="224"/>
                      <a:pt x="497" y="223"/>
                    </a:cubicBezTo>
                    <a:close/>
                    <a:moveTo>
                      <a:pt x="1178" y="224"/>
                    </a:moveTo>
                    <a:cubicBezTo>
                      <a:pt x="1177" y="224"/>
                      <a:pt x="1178" y="225"/>
                      <a:pt x="1178" y="224"/>
                    </a:cubicBezTo>
                    <a:close/>
                    <a:moveTo>
                      <a:pt x="445" y="231"/>
                    </a:moveTo>
                    <a:cubicBezTo>
                      <a:pt x="460" y="233"/>
                      <a:pt x="475" y="235"/>
                      <a:pt x="489" y="238"/>
                    </a:cubicBezTo>
                    <a:cubicBezTo>
                      <a:pt x="490" y="232"/>
                      <a:pt x="492" y="229"/>
                      <a:pt x="493" y="224"/>
                    </a:cubicBezTo>
                    <a:cubicBezTo>
                      <a:pt x="477" y="226"/>
                      <a:pt x="459" y="226"/>
                      <a:pt x="445" y="231"/>
                    </a:cubicBezTo>
                    <a:close/>
                    <a:moveTo>
                      <a:pt x="421" y="230"/>
                    </a:moveTo>
                    <a:cubicBezTo>
                      <a:pt x="423" y="230"/>
                      <a:pt x="429" y="229"/>
                      <a:pt x="424" y="229"/>
                    </a:cubicBezTo>
                    <a:cubicBezTo>
                      <a:pt x="419" y="228"/>
                      <a:pt x="414" y="227"/>
                      <a:pt x="409" y="226"/>
                    </a:cubicBezTo>
                    <a:cubicBezTo>
                      <a:pt x="407" y="229"/>
                      <a:pt x="404" y="230"/>
                      <a:pt x="403" y="233"/>
                    </a:cubicBezTo>
                    <a:cubicBezTo>
                      <a:pt x="409" y="232"/>
                      <a:pt x="416" y="231"/>
                      <a:pt x="421" y="230"/>
                    </a:cubicBezTo>
                    <a:close/>
                    <a:moveTo>
                      <a:pt x="1079" y="230"/>
                    </a:moveTo>
                    <a:cubicBezTo>
                      <a:pt x="1078" y="229"/>
                      <a:pt x="1073" y="228"/>
                      <a:pt x="1073" y="230"/>
                    </a:cubicBezTo>
                    <a:cubicBezTo>
                      <a:pt x="1074" y="231"/>
                      <a:pt x="1078" y="232"/>
                      <a:pt x="1079" y="230"/>
                    </a:cubicBezTo>
                    <a:close/>
                    <a:moveTo>
                      <a:pt x="309" y="418"/>
                    </a:moveTo>
                    <a:cubicBezTo>
                      <a:pt x="307" y="419"/>
                      <a:pt x="309" y="419"/>
                      <a:pt x="309" y="418"/>
                    </a:cubicBezTo>
                    <a:moveTo>
                      <a:pt x="309" y="418"/>
                    </a:moveTo>
                    <a:cubicBezTo>
                      <a:pt x="345" y="412"/>
                      <a:pt x="381" y="406"/>
                      <a:pt x="418" y="401"/>
                    </a:cubicBezTo>
                    <a:cubicBezTo>
                      <a:pt x="436" y="359"/>
                      <a:pt x="455" y="318"/>
                      <a:pt x="477" y="281"/>
                    </a:cubicBezTo>
                    <a:cubicBezTo>
                      <a:pt x="479" y="266"/>
                      <a:pt x="484" y="253"/>
                      <a:pt x="488" y="239"/>
                    </a:cubicBezTo>
                    <a:cubicBezTo>
                      <a:pt x="458" y="236"/>
                      <a:pt x="431" y="227"/>
                      <a:pt x="401" y="236"/>
                    </a:cubicBezTo>
                    <a:cubicBezTo>
                      <a:pt x="376" y="263"/>
                      <a:pt x="355" y="294"/>
                      <a:pt x="333" y="324"/>
                    </a:cubicBezTo>
                    <a:cubicBezTo>
                      <a:pt x="324" y="355"/>
                      <a:pt x="314" y="384"/>
                      <a:pt x="309" y="418"/>
                    </a:cubicBezTo>
                    <a:moveTo>
                      <a:pt x="1092" y="232"/>
                    </a:moveTo>
                    <a:cubicBezTo>
                      <a:pt x="1137" y="288"/>
                      <a:pt x="1175" y="350"/>
                      <a:pt x="1208" y="417"/>
                    </a:cubicBezTo>
                    <a:cubicBezTo>
                      <a:pt x="1224" y="419"/>
                      <a:pt x="1240" y="426"/>
                      <a:pt x="1256" y="425"/>
                    </a:cubicBezTo>
                    <a:cubicBezTo>
                      <a:pt x="1244" y="360"/>
                      <a:pt x="1220" y="299"/>
                      <a:pt x="1192" y="247"/>
                    </a:cubicBezTo>
                    <a:cubicBezTo>
                      <a:pt x="1159" y="242"/>
                      <a:pt x="1128" y="235"/>
                      <a:pt x="1092" y="232"/>
                    </a:cubicBezTo>
                    <a:moveTo>
                      <a:pt x="1092" y="232"/>
                    </a:moveTo>
                    <a:cubicBezTo>
                      <a:pt x="1092" y="230"/>
                      <a:pt x="1091" y="232"/>
                      <a:pt x="1092" y="232"/>
                    </a:cubicBezTo>
                    <a:moveTo>
                      <a:pt x="1104" y="252"/>
                    </a:moveTo>
                    <a:cubicBezTo>
                      <a:pt x="1096" y="241"/>
                      <a:pt x="1089" y="225"/>
                      <a:pt x="1075" y="235"/>
                    </a:cubicBezTo>
                    <a:cubicBezTo>
                      <a:pt x="1096" y="285"/>
                      <a:pt x="1109" y="342"/>
                      <a:pt x="1119" y="403"/>
                    </a:cubicBezTo>
                    <a:cubicBezTo>
                      <a:pt x="1148" y="406"/>
                      <a:pt x="1178" y="413"/>
                      <a:pt x="1205" y="415"/>
                    </a:cubicBezTo>
                    <a:cubicBezTo>
                      <a:pt x="1178" y="360"/>
                      <a:pt x="1141" y="300"/>
                      <a:pt x="1104" y="252"/>
                    </a:cubicBezTo>
                    <a:close/>
                    <a:moveTo>
                      <a:pt x="990" y="245"/>
                    </a:moveTo>
                    <a:cubicBezTo>
                      <a:pt x="1015" y="293"/>
                      <a:pt x="1038" y="342"/>
                      <a:pt x="1057" y="395"/>
                    </a:cubicBezTo>
                    <a:cubicBezTo>
                      <a:pt x="1077" y="398"/>
                      <a:pt x="1097" y="399"/>
                      <a:pt x="1116" y="403"/>
                    </a:cubicBezTo>
                    <a:cubicBezTo>
                      <a:pt x="1108" y="349"/>
                      <a:pt x="1096" y="297"/>
                      <a:pt x="1080" y="252"/>
                    </a:cubicBezTo>
                    <a:cubicBezTo>
                      <a:pt x="1078" y="246"/>
                      <a:pt x="1076" y="238"/>
                      <a:pt x="1070" y="235"/>
                    </a:cubicBezTo>
                    <a:cubicBezTo>
                      <a:pt x="1044" y="239"/>
                      <a:pt x="1018" y="243"/>
                      <a:pt x="990" y="245"/>
                    </a:cubicBezTo>
                    <a:close/>
                    <a:moveTo>
                      <a:pt x="368" y="240"/>
                    </a:moveTo>
                    <a:cubicBezTo>
                      <a:pt x="357" y="263"/>
                      <a:pt x="345" y="288"/>
                      <a:pt x="339" y="312"/>
                    </a:cubicBezTo>
                    <a:cubicBezTo>
                      <a:pt x="353" y="289"/>
                      <a:pt x="373" y="265"/>
                      <a:pt x="390" y="245"/>
                    </a:cubicBezTo>
                    <a:cubicBezTo>
                      <a:pt x="392" y="243"/>
                      <a:pt x="395" y="239"/>
                      <a:pt x="394" y="237"/>
                    </a:cubicBezTo>
                    <a:cubicBezTo>
                      <a:pt x="386" y="238"/>
                      <a:pt x="378" y="240"/>
                      <a:pt x="368" y="240"/>
                    </a:cubicBezTo>
                    <a:close/>
                    <a:moveTo>
                      <a:pt x="483" y="268"/>
                    </a:moveTo>
                    <a:cubicBezTo>
                      <a:pt x="480" y="268"/>
                      <a:pt x="484" y="272"/>
                      <a:pt x="483" y="268"/>
                    </a:cubicBezTo>
                    <a:moveTo>
                      <a:pt x="483" y="268"/>
                    </a:moveTo>
                    <a:cubicBezTo>
                      <a:pt x="489" y="260"/>
                      <a:pt x="494" y="251"/>
                      <a:pt x="499" y="241"/>
                    </a:cubicBezTo>
                    <a:cubicBezTo>
                      <a:pt x="496" y="241"/>
                      <a:pt x="494" y="240"/>
                      <a:pt x="490" y="240"/>
                    </a:cubicBezTo>
                    <a:cubicBezTo>
                      <a:pt x="488" y="250"/>
                      <a:pt x="484" y="258"/>
                      <a:pt x="483" y="268"/>
                    </a:cubicBezTo>
                    <a:moveTo>
                      <a:pt x="327" y="249"/>
                    </a:moveTo>
                    <a:cubicBezTo>
                      <a:pt x="315" y="252"/>
                      <a:pt x="301" y="252"/>
                      <a:pt x="294" y="256"/>
                    </a:cubicBezTo>
                    <a:cubicBezTo>
                      <a:pt x="288" y="259"/>
                      <a:pt x="279" y="270"/>
                      <a:pt x="273" y="277"/>
                    </a:cubicBezTo>
                    <a:cubicBezTo>
                      <a:pt x="242" y="313"/>
                      <a:pt x="211" y="348"/>
                      <a:pt x="198" y="402"/>
                    </a:cubicBezTo>
                    <a:cubicBezTo>
                      <a:pt x="222" y="411"/>
                      <a:pt x="245" y="420"/>
                      <a:pt x="271" y="426"/>
                    </a:cubicBezTo>
                    <a:cubicBezTo>
                      <a:pt x="285" y="399"/>
                      <a:pt x="300" y="372"/>
                      <a:pt x="316" y="347"/>
                    </a:cubicBezTo>
                    <a:cubicBezTo>
                      <a:pt x="321" y="339"/>
                      <a:pt x="328" y="330"/>
                      <a:pt x="332" y="322"/>
                    </a:cubicBezTo>
                    <a:cubicBezTo>
                      <a:pt x="344" y="296"/>
                      <a:pt x="348" y="268"/>
                      <a:pt x="365" y="243"/>
                    </a:cubicBezTo>
                    <a:cubicBezTo>
                      <a:pt x="364" y="243"/>
                      <a:pt x="365" y="241"/>
                      <a:pt x="364" y="241"/>
                    </a:cubicBezTo>
                    <a:cubicBezTo>
                      <a:pt x="353" y="243"/>
                      <a:pt x="340" y="246"/>
                      <a:pt x="327" y="249"/>
                    </a:cubicBezTo>
                    <a:close/>
                    <a:moveTo>
                      <a:pt x="504" y="242"/>
                    </a:moveTo>
                    <a:cubicBezTo>
                      <a:pt x="472" y="274"/>
                      <a:pt x="465" y="338"/>
                      <a:pt x="457" y="396"/>
                    </a:cubicBezTo>
                    <a:cubicBezTo>
                      <a:pt x="495" y="392"/>
                      <a:pt x="535" y="389"/>
                      <a:pt x="575" y="385"/>
                    </a:cubicBezTo>
                    <a:cubicBezTo>
                      <a:pt x="587" y="340"/>
                      <a:pt x="599" y="294"/>
                      <a:pt x="614" y="252"/>
                    </a:cubicBezTo>
                    <a:cubicBezTo>
                      <a:pt x="576" y="250"/>
                      <a:pt x="540" y="246"/>
                      <a:pt x="504" y="242"/>
                    </a:cubicBezTo>
                    <a:close/>
                    <a:moveTo>
                      <a:pt x="1194" y="244"/>
                    </a:moveTo>
                    <a:cubicBezTo>
                      <a:pt x="1194" y="245"/>
                      <a:pt x="1194" y="245"/>
                      <a:pt x="1195" y="245"/>
                    </a:cubicBezTo>
                    <a:moveTo>
                      <a:pt x="1195" y="245"/>
                    </a:moveTo>
                    <a:cubicBezTo>
                      <a:pt x="1196" y="247"/>
                      <a:pt x="1196" y="245"/>
                      <a:pt x="1195" y="245"/>
                    </a:cubicBezTo>
                    <a:moveTo>
                      <a:pt x="1195" y="245"/>
                    </a:moveTo>
                    <a:cubicBezTo>
                      <a:pt x="1195" y="244"/>
                      <a:pt x="1195" y="244"/>
                      <a:pt x="1194" y="244"/>
                    </a:cubicBezTo>
                    <a:moveTo>
                      <a:pt x="1194" y="244"/>
                    </a:moveTo>
                    <a:cubicBezTo>
                      <a:pt x="1193" y="243"/>
                      <a:pt x="1193" y="244"/>
                      <a:pt x="1194" y="244"/>
                    </a:cubicBezTo>
                    <a:moveTo>
                      <a:pt x="942" y="250"/>
                    </a:moveTo>
                    <a:cubicBezTo>
                      <a:pt x="949" y="294"/>
                      <a:pt x="955" y="339"/>
                      <a:pt x="960" y="386"/>
                    </a:cubicBezTo>
                    <a:cubicBezTo>
                      <a:pt x="991" y="389"/>
                      <a:pt x="1024" y="391"/>
                      <a:pt x="1054" y="395"/>
                    </a:cubicBezTo>
                    <a:cubicBezTo>
                      <a:pt x="1035" y="342"/>
                      <a:pt x="1013" y="293"/>
                      <a:pt x="988" y="246"/>
                    </a:cubicBezTo>
                    <a:cubicBezTo>
                      <a:pt x="972" y="247"/>
                      <a:pt x="957" y="249"/>
                      <a:pt x="942" y="250"/>
                    </a:cubicBezTo>
                    <a:close/>
                    <a:moveTo>
                      <a:pt x="1259" y="424"/>
                    </a:moveTo>
                    <a:cubicBezTo>
                      <a:pt x="1279" y="419"/>
                      <a:pt x="1296" y="412"/>
                      <a:pt x="1314" y="407"/>
                    </a:cubicBezTo>
                    <a:cubicBezTo>
                      <a:pt x="1282" y="347"/>
                      <a:pt x="1242" y="296"/>
                      <a:pt x="1198" y="249"/>
                    </a:cubicBezTo>
                    <a:cubicBezTo>
                      <a:pt x="1197" y="249"/>
                      <a:pt x="1196" y="249"/>
                      <a:pt x="1196" y="250"/>
                    </a:cubicBezTo>
                    <a:cubicBezTo>
                      <a:pt x="1224" y="301"/>
                      <a:pt x="1245" y="359"/>
                      <a:pt x="1259" y="424"/>
                    </a:cubicBezTo>
                    <a:close/>
                    <a:moveTo>
                      <a:pt x="871" y="255"/>
                    </a:moveTo>
                    <a:cubicBezTo>
                      <a:pt x="883" y="296"/>
                      <a:pt x="891" y="339"/>
                      <a:pt x="899" y="383"/>
                    </a:cubicBezTo>
                    <a:cubicBezTo>
                      <a:pt x="918" y="384"/>
                      <a:pt x="938" y="384"/>
                      <a:pt x="957" y="386"/>
                    </a:cubicBezTo>
                    <a:cubicBezTo>
                      <a:pt x="953" y="345"/>
                      <a:pt x="948" y="301"/>
                      <a:pt x="942" y="264"/>
                    </a:cubicBezTo>
                    <a:cubicBezTo>
                      <a:pt x="941" y="260"/>
                      <a:pt x="941" y="252"/>
                      <a:pt x="936" y="250"/>
                    </a:cubicBezTo>
                    <a:cubicBezTo>
                      <a:pt x="915" y="253"/>
                      <a:pt x="892" y="252"/>
                      <a:pt x="871" y="255"/>
                    </a:cubicBezTo>
                    <a:close/>
                    <a:moveTo>
                      <a:pt x="1317" y="405"/>
                    </a:moveTo>
                    <a:cubicBezTo>
                      <a:pt x="1328" y="400"/>
                      <a:pt x="1340" y="395"/>
                      <a:pt x="1350" y="388"/>
                    </a:cubicBezTo>
                    <a:cubicBezTo>
                      <a:pt x="1332" y="347"/>
                      <a:pt x="1314" y="307"/>
                      <a:pt x="1289" y="273"/>
                    </a:cubicBezTo>
                    <a:cubicBezTo>
                      <a:pt x="1263" y="264"/>
                      <a:pt x="1231" y="255"/>
                      <a:pt x="1204" y="251"/>
                    </a:cubicBezTo>
                    <a:cubicBezTo>
                      <a:pt x="1247" y="297"/>
                      <a:pt x="1284" y="348"/>
                      <a:pt x="1317" y="405"/>
                    </a:cubicBezTo>
                    <a:close/>
                    <a:moveTo>
                      <a:pt x="616" y="253"/>
                    </a:moveTo>
                    <a:cubicBezTo>
                      <a:pt x="602" y="296"/>
                      <a:pt x="589" y="340"/>
                      <a:pt x="578" y="385"/>
                    </a:cubicBezTo>
                    <a:cubicBezTo>
                      <a:pt x="591" y="385"/>
                      <a:pt x="603" y="384"/>
                      <a:pt x="617" y="383"/>
                    </a:cubicBezTo>
                    <a:cubicBezTo>
                      <a:pt x="619" y="338"/>
                      <a:pt x="624" y="295"/>
                      <a:pt x="630" y="253"/>
                    </a:cubicBezTo>
                    <a:cubicBezTo>
                      <a:pt x="625" y="254"/>
                      <a:pt x="618" y="252"/>
                      <a:pt x="616" y="253"/>
                    </a:cubicBezTo>
                    <a:close/>
                    <a:moveTo>
                      <a:pt x="632" y="256"/>
                    </a:moveTo>
                    <a:cubicBezTo>
                      <a:pt x="628" y="298"/>
                      <a:pt x="623" y="339"/>
                      <a:pt x="621" y="383"/>
                    </a:cubicBezTo>
                    <a:cubicBezTo>
                      <a:pt x="658" y="381"/>
                      <a:pt x="697" y="381"/>
                      <a:pt x="735" y="380"/>
                    </a:cubicBezTo>
                    <a:cubicBezTo>
                      <a:pt x="737" y="339"/>
                      <a:pt x="739" y="298"/>
                      <a:pt x="740" y="257"/>
                    </a:cubicBezTo>
                    <a:cubicBezTo>
                      <a:pt x="704" y="257"/>
                      <a:pt x="670" y="255"/>
                      <a:pt x="634" y="254"/>
                    </a:cubicBezTo>
                    <a:cubicBezTo>
                      <a:pt x="634" y="252"/>
                      <a:pt x="632" y="254"/>
                      <a:pt x="632" y="256"/>
                    </a:cubicBezTo>
                    <a:close/>
                    <a:moveTo>
                      <a:pt x="788" y="257"/>
                    </a:moveTo>
                    <a:cubicBezTo>
                      <a:pt x="789" y="297"/>
                      <a:pt x="790" y="338"/>
                      <a:pt x="790" y="380"/>
                    </a:cubicBezTo>
                    <a:cubicBezTo>
                      <a:pt x="825" y="380"/>
                      <a:pt x="860" y="381"/>
                      <a:pt x="894" y="383"/>
                    </a:cubicBezTo>
                    <a:cubicBezTo>
                      <a:pt x="888" y="338"/>
                      <a:pt x="878" y="296"/>
                      <a:pt x="868" y="255"/>
                    </a:cubicBezTo>
                    <a:cubicBezTo>
                      <a:pt x="841" y="255"/>
                      <a:pt x="815" y="257"/>
                      <a:pt x="788" y="257"/>
                    </a:cubicBezTo>
                    <a:close/>
                    <a:moveTo>
                      <a:pt x="744" y="257"/>
                    </a:moveTo>
                    <a:cubicBezTo>
                      <a:pt x="740" y="296"/>
                      <a:pt x="740" y="339"/>
                      <a:pt x="738" y="380"/>
                    </a:cubicBezTo>
                    <a:cubicBezTo>
                      <a:pt x="755" y="380"/>
                      <a:pt x="771" y="380"/>
                      <a:pt x="788" y="380"/>
                    </a:cubicBezTo>
                    <a:cubicBezTo>
                      <a:pt x="788" y="338"/>
                      <a:pt x="786" y="298"/>
                      <a:pt x="786" y="257"/>
                    </a:cubicBezTo>
                    <a:cubicBezTo>
                      <a:pt x="772" y="257"/>
                      <a:pt x="758" y="257"/>
                      <a:pt x="744" y="257"/>
                    </a:cubicBezTo>
                    <a:close/>
                    <a:moveTo>
                      <a:pt x="286" y="259"/>
                    </a:moveTo>
                    <a:cubicBezTo>
                      <a:pt x="277" y="260"/>
                      <a:pt x="270" y="263"/>
                      <a:pt x="262" y="264"/>
                    </a:cubicBezTo>
                    <a:cubicBezTo>
                      <a:pt x="249" y="285"/>
                      <a:pt x="237" y="306"/>
                      <a:pt x="227" y="329"/>
                    </a:cubicBezTo>
                    <a:moveTo>
                      <a:pt x="227" y="329"/>
                    </a:moveTo>
                    <a:cubicBezTo>
                      <a:pt x="226" y="329"/>
                      <a:pt x="227" y="330"/>
                      <a:pt x="226" y="331"/>
                    </a:cubicBezTo>
                    <a:moveTo>
                      <a:pt x="226" y="331"/>
                    </a:moveTo>
                    <a:cubicBezTo>
                      <a:pt x="225" y="331"/>
                      <a:pt x="226" y="332"/>
                      <a:pt x="226" y="331"/>
                    </a:cubicBezTo>
                    <a:moveTo>
                      <a:pt x="226" y="331"/>
                    </a:moveTo>
                    <a:cubicBezTo>
                      <a:pt x="227" y="331"/>
                      <a:pt x="227" y="330"/>
                      <a:pt x="227" y="329"/>
                    </a:cubicBezTo>
                    <a:moveTo>
                      <a:pt x="286" y="259"/>
                    </a:moveTo>
                    <a:cubicBezTo>
                      <a:pt x="266" y="281"/>
                      <a:pt x="246" y="305"/>
                      <a:pt x="227" y="329"/>
                    </a:cubicBezTo>
                    <a:moveTo>
                      <a:pt x="286" y="259"/>
                    </a:moveTo>
                    <a:cubicBezTo>
                      <a:pt x="287" y="258"/>
                      <a:pt x="286" y="258"/>
                      <a:pt x="286" y="259"/>
                    </a:cubicBezTo>
                    <a:moveTo>
                      <a:pt x="257" y="266"/>
                    </a:moveTo>
                    <a:cubicBezTo>
                      <a:pt x="237" y="271"/>
                      <a:pt x="219" y="278"/>
                      <a:pt x="201" y="286"/>
                    </a:cubicBezTo>
                    <a:cubicBezTo>
                      <a:pt x="180" y="309"/>
                      <a:pt x="160" y="334"/>
                      <a:pt x="143" y="361"/>
                    </a:cubicBezTo>
                    <a:cubicBezTo>
                      <a:pt x="152" y="377"/>
                      <a:pt x="168" y="386"/>
                      <a:pt x="184" y="394"/>
                    </a:cubicBezTo>
                    <a:cubicBezTo>
                      <a:pt x="194" y="377"/>
                      <a:pt x="205" y="359"/>
                      <a:pt x="218" y="344"/>
                    </a:cubicBezTo>
                    <a:cubicBezTo>
                      <a:pt x="228" y="316"/>
                      <a:pt x="243" y="291"/>
                      <a:pt x="257" y="266"/>
                    </a:cubicBezTo>
                    <a:moveTo>
                      <a:pt x="257" y="266"/>
                    </a:moveTo>
                    <a:cubicBezTo>
                      <a:pt x="258" y="266"/>
                      <a:pt x="257" y="265"/>
                      <a:pt x="257" y="266"/>
                    </a:cubicBezTo>
                    <a:moveTo>
                      <a:pt x="1292" y="270"/>
                    </a:moveTo>
                    <a:cubicBezTo>
                      <a:pt x="1293" y="272"/>
                      <a:pt x="1293" y="270"/>
                      <a:pt x="1292" y="270"/>
                    </a:cubicBezTo>
                    <a:moveTo>
                      <a:pt x="1292" y="270"/>
                    </a:moveTo>
                    <a:cubicBezTo>
                      <a:pt x="1291" y="269"/>
                      <a:pt x="1291" y="270"/>
                      <a:pt x="1292" y="270"/>
                    </a:cubicBezTo>
                    <a:moveTo>
                      <a:pt x="1295" y="275"/>
                    </a:moveTo>
                    <a:cubicBezTo>
                      <a:pt x="1316" y="310"/>
                      <a:pt x="1336" y="347"/>
                      <a:pt x="1351" y="387"/>
                    </a:cubicBezTo>
                    <a:cubicBezTo>
                      <a:pt x="1360" y="383"/>
                      <a:pt x="1368" y="378"/>
                      <a:pt x="1373" y="371"/>
                    </a:cubicBezTo>
                    <a:cubicBezTo>
                      <a:pt x="1349" y="337"/>
                      <a:pt x="1324" y="306"/>
                      <a:pt x="1298" y="275"/>
                    </a:cubicBezTo>
                    <a:cubicBezTo>
                      <a:pt x="1297" y="275"/>
                      <a:pt x="1296" y="275"/>
                      <a:pt x="1295" y="275"/>
                    </a:cubicBezTo>
                    <a:moveTo>
                      <a:pt x="1295" y="275"/>
                    </a:moveTo>
                    <a:cubicBezTo>
                      <a:pt x="1294" y="274"/>
                      <a:pt x="1294" y="275"/>
                      <a:pt x="1295" y="275"/>
                    </a:cubicBezTo>
                    <a:moveTo>
                      <a:pt x="1375" y="370"/>
                    </a:moveTo>
                    <a:cubicBezTo>
                      <a:pt x="1380" y="364"/>
                      <a:pt x="1385" y="359"/>
                      <a:pt x="1387" y="350"/>
                    </a:cubicBezTo>
                    <a:cubicBezTo>
                      <a:pt x="1378" y="334"/>
                      <a:pt x="1367" y="319"/>
                      <a:pt x="1357" y="303"/>
                    </a:cubicBezTo>
                    <a:cubicBezTo>
                      <a:pt x="1341" y="294"/>
                      <a:pt x="1322" y="283"/>
                      <a:pt x="1303" y="279"/>
                    </a:cubicBezTo>
                    <a:cubicBezTo>
                      <a:pt x="1330" y="307"/>
                      <a:pt x="1352" y="339"/>
                      <a:pt x="1375" y="370"/>
                    </a:cubicBezTo>
                    <a:close/>
                    <a:moveTo>
                      <a:pt x="194" y="289"/>
                    </a:moveTo>
                    <a:cubicBezTo>
                      <a:pt x="177" y="295"/>
                      <a:pt x="173" y="313"/>
                      <a:pt x="164" y="326"/>
                    </a:cubicBezTo>
                    <a:moveTo>
                      <a:pt x="164" y="326"/>
                    </a:moveTo>
                    <a:cubicBezTo>
                      <a:pt x="163" y="326"/>
                      <a:pt x="163" y="326"/>
                      <a:pt x="163" y="327"/>
                    </a:cubicBezTo>
                    <a:moveTo>
                      <a:pt x="163" y="327"/>
                    </a:moveTo>
                    <a:cubicBezTo>
                      <a:pt x="162" y="327"/>
                      <a:pt x="162" y="328"/>
                      <a:pt x="162" y="329"/>
                    </a:cubicBezTo>
                    <a:moveTo>
                      <a:pt x="162" y="329"/>
                    </a:moveTo>
                    <a:cubicBezTo>
                      <a:pt x="161" y="329"/>
                      <a:pt x="162" y="330"/>
                      <a:pt x="162" y="329"/>
                    </a:cubicBezTo>
                    <a:moveTo>
                      <a:pt x="162" y="329"/>
                    </a:moveTo>
                    <a:cubicBezTo>
                      <a:pt x="163" y="329"/>
                      <a:pt x="163" y="328"/>
                      <a:pt x="163" y="327"/>
                    </a:cubicBezTo>
                    <a:moveTo>
                      <a:pt x="163" y="327"/>
                    </a:moveTo>
                    <a:cubicBezTo>
                      <a:pt x="164" y="327"/>
                      <a:pt x="164" y="326"/>
                      <a:pt x="164" y="326"/>
                    </a:cubicBezTo>
                    <a:moveTo>
                      <a:pt x="164" y="326"/>
                    </a:moveTo>
                    <a:cubicBezTo>
                      <a:pt x="174" y="314"/>
                      <a:pt x="184" y="302"/>
                      <a:pt x="194" y="289"/>
                    </a:cubicBezTo>
                    <a:moveTo>
                      <a:pt x="194" y="289"/>
                    </a:moveTo>
                    <a:cubicBezTo>
                      <a:pt x="195" y="289"/>
                      <a:pt x="194" y="288"/>
                      <a:pt x="194" y="289"/>
                    </a:cubicBezTo>
                    <a:moveTo>
                      <a:pt x="472" y="295"/>
                    </a:moveTo>
                    <a:cubicBezTo>
                      <a:pt x="472" y="295"/>
                      <a:pt x="471" y="295"/>
                      <a:pt x="471" y="295"/>
                    </a:cubicBezTo>
                    <a:cubicBezTo>
                      <a:pt x="454" y="329"/>
                      <a:pt x="436" y="362"/>
                      <a:pt x="422" y="400"/>
                    </a:cubicBezTo>
                    <a:moveTo>
                      <a:pt x="422" y="400"/>
                    </a:moveTo>
                    <a:cubicBezTo>
                      <a:pt x="421" y="400"/>
                      <a:pt x="422" y="401"/>
                      <a:pt x="422" y="400"/>
                    </a:cubicBezTo>
                    <a:moveTo>
                      <a:pt x="422" y="400"/>
                    </a:moveTo>
                    <a:cubicBezTo>
                      <a:pt x="434" y="400"/>
                      <a:pt x="442" y="397"/>
                      <a:pt x="454" y="397"/>
                    </a:cubicBezTo>
                    <a:cubicBezTo>
                      <a:pt x="458" y="361"/>
                      <a:pt x="466" y="329"/>
                      <a:pt x="472" y="295"/>
                    </a:cubicBezTo>
                    <a:moveTo>
                      <a:pt x="472" y="295"/>
                    </a:moveTo>
                    <a:cubicBezTo>
                      <a:pt x="475" y="295"/>
                      <a:pt x="471" y="291"/>
                      <a:pt x="472" y="295"/>
                    </a:cubicBezTo>
                    <a:moveTo>
                      <a:pt x="178" y="297"/>
                    </a:moveTo>
                    <a:cubicBezTo>
                      <a:pt x="158" y="308"/>
                      <a:pt x="126" y="328"/>
                      <a:pt x="141" y="359"/>
                    </a:cubicBezTo>
                    <a:cubicBezTo>
                      <a:pt x="153" y="338"/>
                      <a:pt x="165" y="317"/>
                      <a:pt x="178" y="297"/>
                    </a:cubicBezTo>
                    <a:moveTo>
                      <a:pt x="178" y="297"/>
                    </a:moveTo>
                    <a:cubicBezTo>
                      <a:pt x="180" y="296"/>
                      <a:pt x="178" y="296"/>
                      <a:pt x="178" y="297"/>
                    </a:cubicBezTo>
                    <a:moveTo>
                      <a:pt x="1364" y="309"/>
                    </a:moveTo>
                    <a:cubicBezTo>
                      <a:pt x="1364" y="309"/>
                      <a:pt x="1364" y="310"/>
                      <a:pt x="1365" y="310"/>
                    </a:cubicBezTo>
                    <a:moveTo>
                      <a:pt x="1365" y="310"/>
                    </a:moveTo>
                    <a:cubicBezTo>
                      <a:pt x="1365" y="310"/>
                      <a:pt x="1365" y="310"/>
                      <a:pt x="1366" y="311"/>
                    </a:cubicBezTo>
                    <a:moveTo>
                      <a:pt x="1366" y="311"/>
                    </a:moveTo>
                    <a:cubicBezTo>
                      <a:pt x="1366" y="312"/>
                      <a:pt x="1366" y="312"/>
                      <a:pt x="1367" y="312"/>
                    </a:cubicBezTo>
                    <a:moveTo>
                      <a:pt x="1367" y="312"/>
                    </a:moveTo>
                    <a:cubicBezTo>
                      <a:pt x="1367" y="313"/>
                      <a:pt x="1367" y="313"/>
                      <a:pt x="1368" y="313"/>
                    </a:cubicBezTo>
                    <a:moveTo>
                      <a:pt x="1368" y="313"/>
                    </a:moveTo>
                    <a:cubicBezTo>
                      <a:pt x="1374" y="324"/>
                      <a:pt x="1380" y="335"/>
                      <a:pt x="1388" y="345"/>
                    </a:cubicBezTo>
                    <a:cubicBezTo>
                      <a:pt x="1386" y="330"/>
                      <a:pt x="1375" y="324"/>
                      <a:pt x="1368" y="313"/>
                    </a:cubicBezTo>
                    <a:moveTo>
                      <a:pt x="1368" y="313"/>
                    </a:moveTo>
                    <a:cubicBezTo>
                      <a:pt x="1368" y="313"/>
                      <a:pt x="1367" y="312"/>
                      <a:pt x="1367" y="312"/>
                    </a:cubicBezTo>
                    <a:moveTo>
                      <a:pt x="1367" y="312"/>
                    </a:moveTo>
                    <a:cubicBezTo>
                      <a:pt x="1367" y="311"/>
                      <a:pt x="1367" y="311"/>
                      <a:pt x="1366" y="311"/>
                    </a:cubicBezTo>
                    <a:moveTo>
                      <a:pt x="1366" y="311"/>
                    </a:moveTo>
                    <a:cubicBezTo>
                      <a:pt x="1366" y="310"/>
                      <a:pt x="1365" y="310"/>
                      <a:pt x="1365" y="310"/>
                    </a:cubicBezTo>
                    <a:moveTo>
                      <a:pt x="1365" y="310"/>
                    </a:moveTo>
                    <a:cubicBezTo>
                      <a:pt x="1365" y="309"/>
                      <a:pt x="1365" y="309"/>
                      <a:pt x="1364" y="309"/>
                    </a:cubicBezTo>
                    <a:moveTo>
                      <a:pt x="1364" y="309"/>
                    </a:moveTo>
                    <a:cubicBezTo>
                      <a:pt x="1363" y="307"/>
                      <a:pt x="1363" y="309"/>
                      <a:pt x="1364" y="309"/>
                    </a:cubicBezTo>
                    <a:moveTo>
                      <a:pt x="1379" y="323"/>
                    </a:moveTo>
                    <a:cubicBezTo>
                      <a:pt x="1380" y="324"/>
                      <a:pt x="1380" y="323"/>
                      <a:pt x="1379" y="323"/>
                    </a:cubicBezTo>
                    <a:moveTo>
                      <a:pt x="1379" y="323"/>
                    </a:moveTo>
                    <a:cubicBezTo>
                      <a:pt x="1379" y="322"/>
                      <a:pt x="1378" y="323"/>
                      <a:pt x="1379" y="323"/>
                    </a:cubicBezTo>
                    <a:moveTo>
                      <a:pt x="160" y="332"/>
                    </a:moveTo>
                    <a:cubicBezTo>
                      <a:pt x="159" y="332"/>
                      <a:pt x="160" y="333"/>
                      <a:pt x="160" y="332"/>
                    </a:cubicBezTo>
                    <a:moveTo>
                      <a:pt x="160" y="332"/>
                    </a:moveTo>
                    <a:cubicBezTo>
                      <a:pt x="161" y="331"/>
                      <a:pt x="160" y="330"/>
                      <a:pt x="160" y="332"/>
                    </a:cubicBezTo>
                    <a:moveTo>
                      <a:pt x="224" y="334"/>
                    </a:moveTo>
                    <a:cubicBezTo>
                      <a:pt x="224" y="333"/>
                      <a:pt x="225" y="334"/>
                      <a:pt x="224" y="334"/>
                    </a:cubicBezTo>
                    <a:close/>
                    <a:moveTo>
                      <a:pt x="326" y="336"/>
                    </a:moveTo>
                    <a:cubicBezTo>
                      <a:pt x="307" y="364"/>
                      <a:pt x="290" y="395"/>
                      <a:pt x="274" y="426"/>
                    </a:cubicBezTo>
                    <a:cubicBezTo>
                      <a:pt x="285" y="423"/>
                      <a:pt x="296" y="421"/>
                      <a:pt x="306" y="419"/>
                    </a:cubicBezTo>
                    <a:cubicBezTo>
                      <a:pt x="311" y="390"/>
                      <a:pt x="319" y="364"/>
                      <a:pt x="326" y="336"/>
                    </a:cubicBezTo>
                    <a:moveTo>
                      <a:pt x="326" y="336"/>
                    </a:moveTo>
                    <a:cubicBezTo>
                      <a:pt x="329" y="336"/>
                      <a:pt x="325" y="332"/>
                      <a:pt x="326" y="336"/>
                    </a:cubicBezTo>
                    <a:moveTo>
                      <a:pt x="44" y="524"/>
                    </a:moveTo>
                    <a:cubicBezTo>
                      <a:pt x="49" y="523"/>
                      <a:pt x="54" y="514"/>
                      <a:pt x="59" y="510"/>
                    </a:cubicBezTo>
                    <a:cubicBezTo>
                      <a:pt x="80" y="455"/>
                      <a:pt x="109" y="407"/>
                      <a:pt x="139" y="360"/>
                    </a:cubicBezTo>
                    <a:cubicBezTo>
                      <a:pt x="134" y="356"/>
                      <a:pt x="135" y="347"/>
                      <a:pt x="133" y="339"/>
                    </a:cubicBezTo>
                    <a:cubicBezTo>
                      <a:pt x="97" y="394"/>
                      <a:pt x="66" y="454"/>
                      <a:pt x="44" y="524"/>
                    </a:cubicBezTo>
                    <a:close/>
                    <a:moveTo>
                      <a:pt x="1483" y="528"/>
                    </a:moveTo>
                    <a:cubicBezTo>
                      <a:pt x="1482" y="532"/>
                      <a:pt x="1486" y="529"/>
                      <a:pt x="1483" y="528"/>
                    </a:cubicBezTo>
                    <a:moveTo>
                      <a:pt x="1483" y="528"/>
                    </a:moveTo>
                    <a:cubicBezTo>
                      <a:pt x="1460" y="465"/>
                      <a:pt x="1432" y="396"/>
                      <a:pt x="1393" y="347"/>
                    </a:cubicBezTo>
                    <a:cubicBezTo>
                      <a:pt x="1393" y="347"/>
                      <a:pt x="1391" y="343"/>
                      <a:pt x="1390" y="345"/>
                    </a:cubicBezTo>
                    <a:cubicBezTo>
                      <a:pt x="1401" y="371"/>
                      <a:pt x="1415" y="395"/>
                      <a:pt x="1425" y="421"/>
                    </a:cubicBezTo>
                    <a:cubicBezTo>
                      <a:pt x="1436" y="447"/>
                      <a:pt x="1448" y="473"/>
                      <a:pt x="1455" y="503"/>
                    </a:cubicBezTo>
                    <a:cubicBezTo>
                      <a:pt x="1466" y="510"/>
                      <a:pt x="1474" y="519"/>
                      <a:pt x="1483" y="528"/>
                    </a:cubicBezTo>
                    <a:moveTo>
                      <a:pt x="1376" y="374"/>
                    </a:moveTo>
                    <a:cubicBezTo>
                      <a:pt x="1396" y="402"/>
                      <a:pt x="1417" y="437"/>
                      <a:pt x="1432" y="470"/>
                    </a:cubicBezTo>
                    <a:cubicBezTo>
                      <a:pt x="1437" y="481"/>
                      <a:pt x="1440" y="496"/>
                      <a:pt x="1452" y="499"/>
                    </a:cubicBezTo>
                    <a:cubicBezTo>
                      <a:pt x="1435" y="446"/>
                      <a:pt x="1415" y="397"/>
                      <a:pt x="1389" y="354"/>
                    </a:cubicBezTo>
                    <a:cubicBezTo>
                      <a:pt x="1386" y="362"/>
                      <a:pt x="1380" y="367"/>
                      <a:pt x="1376" y="374"/>
                    </a:cubicBezTo>
                    <a:close/>
                    <a:moveTo>
                      <a:pt x="212" y="356"/>
                    </a:moveTo>
                    <a:cubicBezTo>
                      <a:pt x="212" y="355"/>
                      <a:pt x="213" y="356"/>
                      <a:pt x="212" y="356"/>
                    </a:cubicBezTo>
                    <a:close/>
                    <a:moveTo>
                      <a:pt x="211" y="358"/>
                    </a:moveTo>
                    <a:cubicBezTo>
                      <a:pt x="202" y="370"/>
                      <a:pt x="193" y="382"/>
                      <a:pt x="186" y="396"/>
                    </a:cubicBezTo>
                    <a:cubicBezTo>
                      <a:pt x="190" y="396"/>
                      <a:pt x="192" y="399"/>
                      <a:pt x="196" y="400"/>
                    </a:cubicBezTo>
                    <a:cubicBezTo>
                      <a:pt x="201" y="386"/>
                      <a:pt x="206" y="372"/>
                      <a:pt x="211" y="358"/>
                    </a:cubicBezTo>
                    <a:moveTo>
                      <a:pt x="211" y="358"/>
                    </a:moveTo>
                    <a:cubicBezTo>
                      <a:pt x="212" y="357"/>
                      <a:pt x="211" y="356"/>
                      <a:pt x="211" y="358"/>
                    </a:cubicBezTo>
                    <a:moveTo>
                      <a:pt x="94" y="487"/>
                    </a:moveTo>
                    <a:cubicBezTo>
                      <a:pt x="109" y="477"/>
                      <a:pt x="127" y="470"/>
                      <a:pt x="146" y="463"/>
                    </a:cubicBezTo>
                    <a:cubicBezTo>
                      <a:pt x="156" y="439"/>
                      <a:pt x="170" y="418"/>
                      <a:pt x="182" y="396"/>
                    </a:cubicBezTo>
                    <a:cubicBezTo>
                      <a:pt x="166" y="389"/>
                      <a:pt x="152" y="378"/>
                      <a:pt x="141" y="365"/>
                    </a:cubicBezTo>
                    <a:cubicBezTo>
                      <a:pt x="123" y="403"/>
                      <a:pt x="103" y="444"/>
                      <a:pt x="94" y="487"/>
                    </a:cubicBezTo>
                    <a:close/>
                    <a:moveTo>
                      <a:pt x="132" y="376"/>
                    </a:moveTo>
                    <a:cubicBezTo>
                      <a:pt x="132" y="375"/>
                      <a:pt x="133" y="376"/>
                      <a:pt x="132" y="376"/>
                    </a:cubicBezTo>
                    <a:close/>
                    <a:moveTo>
                      <a:pt x="1374" y="375"/>
                    </a:moveTo>
                    <a:cubicBezTo>
                      <a:pt x="1368" y="382"/>
                      <a:pt x="1359" y="386"/>
                      <a:pt x="1352" y="391"/>
                    </a:cubicBezTo>
                    <a:cubicBezTo>
                      <a:pt x="1362" y="413"/>
                      <a:pt x="1369" y="437"/>
                      <a:pt x="1375" y="462"/>
                    </a:cubicBezTo>
                    <a:cubicBezTo>
                      <a:pt x="1398" y="469"/>
                      <a:pt x="1420" y="482"/>
                      <a:pt x="1439" y="490"/>
                    </a:cubicBezTo>
                    <a:cubicBezTo>
                      <a:pt x="1419" y="450"/>
                      <a:pt x="1399" y="409"/>
                      <a:pt x="1374" y="375"/>
                    </a:cubicBezTo>
                    <a:close/>
                    <a:moveTo>
                      <a:pt x="131" y="378"/>
                    </a:moveTo>
                    <a:cubicBezTo>
                      <a:pt x="131" y="378"/>
                      <a:pt x="131" y="378"/>
                      <a:pt x="130" y="378"/>
                    </a:cubicBezTo>
                    <a:cubicBezTo>
                      <a:pt x="106" y="418"/>
                      <a:pt x="82" y="459"/>
                      <a:pt x="64" y="505"/>
                    </a:cubicBezTo>
                    <a:moveTo>
                      <a:pt x="64" y="505"/>
                    </a:moveTo>
                    <a:cubicBezTo>
                      <a:pt x="63" y="506"/>
                      <a:pt x="64" y="507"/>
                      <a:pt x="64" y="505"/>
                    </a:cubicBezTo>
                    <a:moveTo>
                      <a:pt x="64" y="505"/>
                    </a:moveTo>
                    <a:cubicBezTo>
                      <a:pt x="73" y="500"/>
                      <a:pt x="80" y="494"/>
                      <a:pt x="90" y="489"/>
                    </a:cubicBezTo>
                    <a:cubicBezTo>
                      <a:pt x="100" y="448"/>
                      <a:pt x="116" y="413"/>
                      <a:pt x="131" y="378"/>
                    </a:cubicBezTo>
                    <a:moveTo>
                      <a:pt x="131" y="378"/>
                    </a:moveTo>
                    <a:cubicBezTo>
                      <a:pt x="133" y="377"/>
                      <a:pt x="131" y="377"/>
                      <a:pt x="131" y="378"/>
                    </a:cubicBezTo>
                    <a:moveTo>
                      <a:pt x="620" y="385"/>
                    </a:moveTo>
                    <a:cubicBezTo>
                      <a:pt x="619" y="415"/>
                      <a:pt x="617" y="444"/>
                      <a:pt x="616" y="473"/>
                    </a:cubicBezTo>
                    <a:cubicBezTo>
                      <a:pt x="654" y="475"/>
                      <a:pt x="693" y="476"/>
                      <a:pt x="732" y="477"/>
                    </a:cubicBezTo>
                    <a:cubicBezTo>
                      <a:pt x="733" y="445"/>
                      <a:pt x="734" y="414"/>
                      <a:pt x="735" y="383"/>
                    </a:cubicBezTo>
                    <a:cubicBezTo>
                      <a:pt x="695" y="382"/>
                      <a:pt x="658" y="384"/>
                      <a:pt x="620" y="385"/>
                    </a:cubicBezTo>
                    <a:close/>
                    <a:moveTo>
                      <a:pt x="739" y="383"/>
                    </a:moveTo>
                    <a:cubicBezTo>
                      <a:pt x="736" y="412"/>
                      <a:pt x="736" y="445"/>
                      <a:pt x="735" y="477"/>
                    </a:cubicBezTo>
                    <a:cubicBezTo>
                      <a:pt x="753" y="477"/>
                      <a:pt x="771" y="477"/>
                      <a:pt x="789" y="477"/>
                    </a:cubicBezTo>
                    <a:cubicBezTo>
                      <a:pt x="789" y="445"/>
                      <a:pt x="787" y="415"/>
                      <a:pt x="788" y="383"/>
                    </a:cubicBezTo>
                    <a:cubicBezTo>
                      <a:pt x="772" y="383"/>
                      <a:pt x="755" y="383"/>
                      <a:pt x="739" y="383"/>
                    </a:cubicBezTo>
                    <a:close/>
                    <a:moveTo>
                      <a:pt x="792" y="383"/>
                    </a:moveTo>
                    <a:cubicBezTo>
                      <a:pt x="790" y="412"/>
                      <a:pt x="791" y="446"/>
                      <a:pt x="791" y="477"/>
                    </a:cubicBezTo>
                    <a:cubicBezTo>
                      <a:pt x="831" y="476"/>
                      <a:pt x="871" y="475"/>
                      <a:pt x="910" y="473"/>
                    </a:cubicBezTo>
                    <a:cubicBezTo>
                      <a:pt x="905" y="443"/>
                      <a:pt x="901" y="414"/>
                      <a:pt x="895" y="385"/>
                    </a:cubicBezTo>
                    <a:cubicBezTo>
                      <a:pt x="862" y="384"/>
                      <a:pt x="827" y="382"/>
                      <a:pt x="792" y="383"/>
                    </a:cubicBezTo>
                    <a:close/>
                    <a:moveTo>
                      <a:pt x="616" y="385"/>
                    </a:moveTo>
                    <a:cubicBezTo>
                      <a:pt x="616" y="385"/>
                      <a:pt x="615" y="385"/>
                      <a:pt x="615" y="385"/>
                    </a:cubicBezTo>
                    <a:cubicBezTo>
                      <a:pt x="603" y="387"/>
                      <a:pt x="589" y="387"/>
                      <a:pt x="577" y="388"/>
                    </a:cubicBezTo>
                    <a:cubicBezTo>
                      <a:pt x="571" y="416"/>
                      <a:pt x="564" y="441"/>
                      <a:pt x="559" y="470"/>
                    </a:cubicBezTo>
                    <a:cubicBezTo>
                      <a:pt x="578" y="470"/>
                      <a:pt x="595" y="472"/>
                      <a:pt x="613" y="473"/>
                    </a:cubicBezTo>
                    <a:cubicBezTo>
                      <a:pt x="612" y="443"/>
                      <a:pt x="617" y="409"/>
                      <a:pt x="616" y="385"/>
                    </a:cubicBezTo>
                    <a:close/>
                    <a:moveTo>
                      <a:pt x="914" y="473"/>
                    </a:moveTo>
                    <a:cubicBezTo>
                      <a:pt x="930" y="472"/>
                      <a:pt x="946" y="470"/>
                      <a:pt x="963" y="470"/>
                    </a:cubicBezTo>
                    <a:cubicBezTo>
                      <a:pt x="960" y="443"/>
                      <a:pt x="960" y="414"/>
                      <a:pt x="957" y="388"/>
                    </a:cubicBezTo>
                    <a:cubicBezTo>
                      <a:pt x="937" y="388"/>
                      <a:pt x="919" y="386"/>
                      <a:pt x="900" y="385"/>
                    </a:cubicBezTo>
                    <a:cubicBezTo>
                      <a:pt x="904" y="415"/>
                      <a:pt x="910" y="442"/>
                      <a:pt x="914" y="473"/>
                    </a:cubicBezTo>
                    <a:close/>
                    <a:moveTo>
                      <a:pt x="456" y="399"/>
                    </a:moveTo>
                    <a:cubicBezTo>
                      <a:pt x="454" y="419"/>
                      <a:pt x="451" y="438"/>
                      <a:pt x="450" y="459"/>
                    </a:cubicBezTo>
                    <a:cubicBezTo>
                      <a:pt x="486" y="462"/>
                      <a:pt x="520" y="467"/>
                      <a:pt x="557" y="469"/>
                    </a:cubicBezTo>
                    <a:cubicBezTo>
                      <a:pt x="561" y="441"/>
                      <a:pt x="569" y="416"/>
                      <a:pt x="574" y="388"/>
                    </a:cubicBezTo>
                    <a:cubicBezTo>
                      <a:pt x="534" y="391"/>
                      <a:pt x="494" y="394"/>
                      <a:pt x="456" y="399"/>
                    </a:cubicBezTo>
                    <a:close/>
                    <a:moveTo>
                      <a:pt x="960" y="389"/>
                    </a:moveTo>
                    <a:cubicBezTo>
                      <a:pt x="962" y="415"/>
                      <a:pt x="964" y="441"/>
                      <a:pt x="965" y="469"/>
                    </a:cubicBezTo>
                    <a:cubicBezTo>
                      <a:pt x="1003" y="467"/>
                      <a:pt x="1042" y="464"/>
                      <a:pt x="1076" y="457"/>
                    </a:cubicBezTo>
                    <a:cubicBezTo>
                      <a:pt x="1068" y="438"/>
                      <a:pt x="1062" y="417"/>
                      <a:pt x="1055" y="397"/>
                    </a:cubicBezTo>
                    <a:cubicBezTo>
                      <a:pt x="1023" y="395"/>
                      <a:pt x="993" y="391"/>
                      <a:pt x="960" y="389"/>
                    </a:cubicBezTo>
                    <a:close/>
                    <a:moveTo>
                      <a:pt x="1349" y="392"/>
                    </a:moveTo>
                    <a:cubicBezTo>
                      <a:pt x="1340" y="398"/>
                      <a:pt x="1329" y="402"/>
                      <a:pt x="1319" y="407"/>
                    </a:cubicBezTo>
                    <a:cubicBezTo>
                      <a:pt x="1327" y="421"/>
                      <a:pt x="1335" y="436"/>
                      <a:pt x="1343" y="451"/>
                    </a:cubicBezTo>
                    <a:cubicBezTo>
                      <a:pt x="1354" y="453"/>
                      <a:pt x="1362" y="458"/>
                      <a:pt x="1373" y="460"/>
                    </a:cubicBezTo>
                    <a:cubicBezTo>
                      <a:pt x="1366" y="439"/>
                      <a:pt x="1359" y="407"/>
                      <a:pt x="1349" y="392"/>
                    </a:cubicBezTo>
                    <a:close/>
                    <a:moveTo>
                      <a:pt x="184" y="398"/>
                    </a:moveTo>
                    <a:cubicBezTo>
                      <a:pt x="173" y="419"/>
                      <a:pt x="160" y="439"/>
                      <a:pt x="150" y="461"/>
                    </a:cubicBezTo>
                    <a:cubicBezTo>
                      <a:pt x="160" y="458"/>
                      <a:pt x="170" y="454"/>
                      <a:pt x="181" y="451"/>
                    </a:cubicBezTo>
                    <a:cubicBezTo>
                      <a:pt x="185" y="434"/>
                      <a:pt x="190" y="419"/>
                      <a:pt x="195" y="403"/>
                    </a:cubicBezTo>
                    <a:cubicBezTo>
                      <a:pt x="191" y="401"/>
                      <a:pt x="188" y="399"/>
                      <a:pt x="184" y="398"/>
                    </a:cubicBezTo>
                    <a:close/>
                    <a:moveTo>
                      <a:pt x="1079" y="458"/>
                    </a:moveTo>
                    <a:cubicBezTo>
                      <a:pt x="1094" y="457"/>
                      <a:pt x="1108" y="454"/>
                      <a:pt x="1123" y="453"/>
                    </a:cubicBezTo>
                    <a:cubicBezTo>
                      <a:pt x="1122" y="436"/>
                      <a:pt x="1119" y="421"/>
                      <a:pt x="1117" y="405"/>
                    </a:cubicBezTo>
                    <a:cubicBezTo>
                      <a:pt x="1097" y="404"/>
                      <a:pt x="1077" y="398"/>
                      <a:pt x="1058" y="399"/>
                    </a:cubicBezTo>
                    <a:cubicBezTo>
                      <a:pt x="1066" y="417"/>
                      <a:pt x="1071" y="439"/>
                      <a:pt x="1079" y="458"/>
                    </a:cubicBezTo>
                    <a:close/>
                    <a:moveTo>
                      <a:pt x="420" y="403"/>
                    </a:moveTo>
                    <a:cubicBezTo>
                      <a:pt x="414" y="419"/>
                      <a:pt x="407" y="435"/>
                      <a:pt x="401" y="453"/>
                    </a:cubicBezTo>
                    <a:cubicBezTo>
                      <a:pt x="417" y="454"/>
                      <a:pt x="431" y="457"/>
                      <a:pt x="447" y="458"/>
                    </a:cubicBezTo>
                    <a:cubicBezTo>
                      <a:pt x="449" y="438"/>
                      <a:pt x="451" y="418"/>
                      <a:pt x="454" y="399"/>
                    </a:cubicBezTo>
                    <a:cubicBezTo>
                      <a:pt x="453" y="399"/>
                      <a:pt x="453" y="399"/>
                      <a:pt x="452" y="399"/>
                    </a:cubicBezTo>
                    <a:cubicBezTo>
                      <a:pt x="442" y="401"/>
                      <a:pt x="431" y="402"/>
                      <a:pt x="420" y="403"/>
                    </a:cubicBezTo>
                    <a:close/>
                    <a:moveTo>
                      <a:pt x="185" y="450"/>
                    </a:moveTo>
                    <a:cubicBezTo>
                      <a:pt x="210" y="440"/>
                      <a:pt x="240" y="435"/>
                      <a:pt x="266" y="427"/>
                    </a:cubicBezTo>
                    <a:cubicBezTo>
                      <a:pt x="241" y="421"/>
                      <a:pt x="219" y="413"/>
                      <a:pt x="198" y="404"/>
                    </a:cubicBezTo>
                    <a:cubicBezTo>
                      <a:pt x="193" y="418"/>
                      <a:pt x="187" y="436"/>
                      <a:pt x="185" y="450"/>
                    </a:cubicBezTo>
                    <a:close/>
                    <a:moveTo>
                      <a:pt x="308" y="421"/>
                    </a:moveTo>
                    <a:cubicBezTo>
                      <a:pt x="307" y="425"/>
                      <a:pt x="307" y="430"/>
                      <a:pt x="305" y="434"/>
                    </a:cubicBezTo>
                    <a:cubicBezTo>
                      <a:pt x="335" y="441"/>
                      <a:pt x="366" y="447"/>
                      <a:pt x="398" y="452"/>
                    </a:cubicBezTo>
                    <a:cubicBezTo>
                      <a:pt x="401" y="444"/>
                      <a:pt x="405" y="436"/>
                      <a:pt x="408" y="428"/>
                    </a:cubicBezTo>
                    <a:cubicBezTo>
                      <a:pt x="411" y="419"/>
                      <a:pt x="416" y="410"/>
                      <a:pt x="414" y="404"/>
                    </a:cubicBezTo>
                    <a:cubicBezTo>
                      <a:pt x="378" y="409"/>
                      <a:pt x="343" y="415"/>
                      <a:pt x="308" y="421"/>
                    </a:cubicBezTo>
                    <a:close/>
                    <a:moveTo>
                      <a:pt x="1126" y="452"/>
                    </a:moveTo>
                    <a:cubicBezTo>
                      <a:pt x="1156" y="447"/>
                      <a:pt x="1185" y="442"/>
                      <a:pt x="1213" y="435"/>
                    </a:cubicBezTo>
                    <a:cubicBezTo>
                      <a:pt x="1212" y="429"/>
                      <a:pt x="1208" y="425"/>
                      <a:pt x="1206" y="419"/>
                    </a:cubicBezTo>
                    <a:cubicBezTo>
                      <a:pt x="1178" y="415"/>
                      <a:pt x="1148" y="407"/>
                      <a:pt x="1119" y="407"/>
                    </a:cubicBezTo>
                    <a:cubicBezTo>
                      <a:pt x="1123" y="420"/>
                      <a:pt x="1123" y="437"/>
                      <a:pt x="1126" y="452"/>
                    </a:cubicBezTo>
                    <a:close/>
                    <a:moveTo>
                      <a:pt x="1317" y="408"/>
                    </a:moveTo>
                    <a:cubicBezTo>
                      <a:pt x="1298" y="416"/>
                      <a:pt x="1277" y="420"/>
                      <a:pt x="1260" y="429"/>
                    </a:cubicBezTo>
                    <a:cubicBezTo>
                      <a:pt x="1288" y="434"/>
                      <a:pt x="1313" y="441"/>
                      <a:pt x="1338" y="449"/>
                    </a:cubicBezTo>
                    <a:cubicBezTo>
                      <a:pt x="1332" y="434"/>
                      <a:pt x="1323" y="423"/>
                      <a:pt x="1317" y="408"/>
                    </a:cubicBezTo>
                    <a:close/>
                    <a:moveTo>
                      <a:pt x="1216" y="434"/>
                    </a:moveTo>
                    <a:cubicBezTo>
                      <a:pt x="1226" y="433"/>
                      <a:pt x="1237" y="431"/>
                      <a:pt x="1245" y="427"/>
                    </a:cubicBezTo>
                    <a:cubicBezTo>
                      <a:pt x="1232" y="426"/>
                      <a:pt x="1220" y="420"/>
                      <a:pt x="1209" y="421"/>
                    </a:cubicBezTo>
                    <a:cubicBezTo>
                      <a:pt x="1213" y="424"/>
                      <a:pt x="1214" y="430"/>
                      <a:pt x="1216" y="434"/>
                    </a:cubicBezTo>
                    <a:close/>
                    <a:moveTo>
                      <a:pt x="279" y="427"/>
                    </a:moveTo>
                    <a:cubicBezTo>
                      <a:pt x="285" y="431"/>
                      <a:pt x="295" y="431"/>
                      <a:pt x="303" y="433"/>
                    </a:cubicBezTo>
                    <a:cubicBezTo>
                      <a:pt x="303" y="429"/>
                      <a:pt x="305" y="426"/>
                      <a:pt x="305" y="422"/>
                    </a:cubicBezTo>
                    <a:cubicBezTo>
                      <a:pt x="296" y="423"/>
                      <a:pt x="289" y="426"/>
                      <a:pt x="279" y="427"/>
                    </a:cubicBezTo>
                    <a:close/>
                    <a:moveTo>
                      <a:pt x="1218" y="437"/>
                    </a:moveTo>
                    <a:cubicBezTo>
                      <a:pt x="1240" y="486"/>
                      <a:pt x="1259" y="538"/>
                      <a:pt x="1277" y="593"/>
                    </a:cubicBezTo>
                    <a:cubicBezTo>
                      <a:pt x="1275" y="533"/>
                      <a:pt x="1270" y="478"/>
                      <a:pt x="1257" y="430"/>
                    </a:cubicBezTo>
                    <a:cubicBezTo>
                      <a:pt x="1244" y="429"/>
                      <a:pt x="1232" y="435"/>
                      <a:pt x="1218" y="437"/>
                    </a:cubicBezTo>
                    <a:close/>
                    <a:moveTo>
                      <a:pt x="183" y="453"/>
                    </a:moveTo>
                    <a:cubicBezTo>
                      <a:pt x="169" y="514"/>
                      <a:pt x="159" y="583"/>
                      <a:pt x="163" y="659"/>
                    </a:cubicBezTo>
                    <a:cubicBezTo>
                      <a:pt x="171" y="655"/>
                      <a:pt x="179" y="652"/>
                      <a:pt x="188" y="650"/>
                    </a:cubicBezTo>
                    <a:cubicBezTo>
                      <a:pt x="208" y="570"/>
                      <a:pt x="235" y="496"/>
                      <a:pt x="270" y="430"/>
                    </a:cubicBezTo>
                    <a:cubicBezTo>
                      <a:pt x="269" y="430"/>
                      <a:pt x="268" y="430"/>
                      <a:pt x="268" y="430"/>
                    </a:cubicBezTo>
                    <a:cubicBezTo>
                      <a:pt x="239" y="437"/>
                      <a:pt x="210" y="444"/>
                      <a:pt x="183" y="453"/>
                    </a:cubicBezTo>
                    <a:close/>
                    <a:moveTo>
                      <a:pt x="192" y="648"/>
                    </a:moveTo>
                    <a:cubicBezTo>
                      <a:pt x="190" y="649"/>
                      <a:pt x="192" y="650"/>
                      <a:pt x="192" y="648"/>
                    </a:cubicBezTo>
                    <a:moveTo>
                      <a:pt x="192" y="648"/>
                    </a:moveTo>
                    <a:cubicBezTo>
                      <a:pt x="223" y="640"/>
                      <a:pt x="254" y="630"/>
                      <a:pt x="289" y="623"/>
                    </a:cubicBezTo>
                    <a:cubicBezTo>
                      <a:pt x="287" y="555"/>
                      <a:pt x="293" y="494"/>
                      <a:pt x="302" y="436"/>
                    </a:cubicBezTo>
                    <a:cubicBezTo>
                      <a:pt x="292" y="434"/>
                      <a:pt x="283" y="431"/>
                      <a:pt x="272" y="430"/>
                    </a:cubicBezTo>
                    <a:cubicBezTo>
                      <a:pt x="239" y="496"/>
                      <a:pt x="211" y="568"/>
                      <a:pt x="192" y="648"/>
                    </a:cubicBezTo>
                    <a:moveTo>
                      <a:pt x="1275" y="515"/>
                    </a:moveTo>
                    <a:cubicBezTo>
                      <a:pt x="1279" y="557"/>
                      <a:pt x="1276" y="605"/>
                      <a:pt x="1288" y="636"/>
                    </a:cubicBezTo>
                    <a:cubicBezTo>
                      <a:pt x="1316" y="643"/>
                      <a:pt x="1341" y="652"/>
                      <a:pt x="1367" y="660"/>
                    </a:cubicBezTo>
                    <a:cubicBezTo>
                      <a:pt x="1377" y="657"/>
                      <a:pt x="1386" y="652"/>
                      <a:pt x="1397" y="648"/>
                    </a:cubicBezTo>
                    <a:cubicBezTo>
                      <a:pt x="1395" y="622"/>
                      <a:pt x="1398" y="600"/>
                      <a:pt x="1394" y="577"/>
                    </a:cubicBezTo>
                    <a:cubicBezTo>
                      <a:pt x="1392" y="567"/>
                      <a:pt x="1386" y="555"/>
                      <a:pt x="1382" y="545"/>
                    </a:cubicBezTo>
                    <a:cubicBezTo>
                      <a:pt x="1370" y="512"/>
                      <a:pt x="1354" y="481"/>
                      <a:pt x="1340" y="452"/>
                    </a:cubicBezTo>
                    <a:cubicBezTo>
                      <a:pt x="1314" y="444"/>
                      <a:pt x="1288" y="437"/>
                      <a:pt x="1261" y="431"/>
                    </a:cubicBezTo>
                    <a:cubicBezTo>
                      <a:pt x="1266" y="456"/>
                      <a:pt x="1272" y="485"/>
                      <a:pt x="1275" y="515"/>
                    </a:cubicBezTo>
                    <a:close/>
                    <a:moveTo>
                      <a:pt x="305" y="437"/>
                    </a:moveTo>
                    <a:cubicBezTo>
                      <a:pt x="295" y="493"/>
                      <a:pt x="288" y="559"/>
                      <a:pt x="293" y="623"/>
                    </a:cubicBezTo>
                    <a:cubicBezTo>
                      <a:pt x="311" y="617"/>
                      <a:pt x="332" y="615"/>
                      <a:pt x="351" y="610"/>
                    </a:cubicBezTo>
                    <a:cubicBezTo>
                      <a:pt x="364" y="556"/>
                      <a:pt x="379" y="504"/>
                      <a:pt x="397" y="455"/>
                    </a:cubicBezTo>
                    <a:cubicBezTo>
                      <a:pt x="366" y="449"/>
                      <a:pt x="335" y="444"/>
                      <a:pt x="305" y="437"/>
                    </a:cubicBezTo>
                    <a:close/>
                    <a:moveTo>
                      <a:pt x="1126" y="455"/>
                    </a:moveTo>
                    <a:cubicBezTo>
                      <a:pt x="1131" y="501"/>
                      <a:pt x="1133" y="551"/>
                      <a:pt x="1133" y="603"/>
                    </a:cubicBezTo>
                    <a:cubicBezTo>
                      <a:pt x="1182" y="612"/>
                      <a:pt x="1231" y="620"/>
                      <a:pt x="1277" y="633"/>
                    </a:cubicBezTo>
                    <a:cubicBezTo>
                      <a:pt x="1279" y="602"/>
                      <a:pt x="1270" y="583"/>
                      <a:pt x="1263" y="561"/>
                    </a:cubicBezTo>
                    <a:cubicBezTo>
                      <a:pt x="1248" y="517"/>
                      <a:pt x="1234" y="477"/>
                      <a:pt x="1215" y="438"/>
                    </a:cubicBezTo>
                    <a:cubicBezTo>
                      <a:pt x="1214" y="438"/>
                      <a:pt x="1214" y="438"/>
                      <a:pt x="1213" y="438"/>
                    </a:cubicBezTo>
                    <a:cubicBezTo>
                      <a:pt x="1185" y="445"/>
                      <a:pt x="1156" y="450"/>
                      <a:pt x="1126" y="455"/>
                    </a:cubicBezTo>
                    <a:close/>
                    <a:moveTo>
                      <a:pt x="179" y="454"/>
                    </a:moveTo>
                    <a:cubicBezTo>
                      <a:pt x="168" y="457"/>
                      <a:pt x="158" y="461"/>
                      <a:pt x="147" y="465"/>
                    </a:cubicBezTo>
                    <a:cubicBezTo>
                      <a:pt x="123" y="516"/>
                      <a:pt x="101" y="568"/>
                      <a:pt x="85" y="627"/>
                    </a:cubicBezTo>
                    <a:cubicBezTo>
                      <a:pt x="108" y="640"/>
                      <a:pt x="131" y="652"/>
                      <a:pt x="159" y="660"/>
                    </a:cubicBezTo>
                    <a:cubicBezTo>
                      <a:pt x="157" y="583"/>
                      <a:pt x="168" y="513"/>
                      <a:pt x="179" y="454"/>
                    </a:cubicBezTo>
                    <a:close/>
                    <a:moveTo>
                      <a:pt x="1392" y="564"/>
                    </a:moveTo>
                    <a:cubicBezTo>
                      <a:pt x="1388" y="528"/>
                      <a:pt x="1381" y="495"/>
                      <a:pt x="1374" y="463"/>
                    </a:cubicBezTo>
                    <a:cubicBezTo>
                      <a:pt x="1363" y="461"/>
                      <a:pt x="1354" y="457"/>
                      <a:pt x="1345" y="454"/>
                    </a:cubicBezTo>
                    <a:cubicBezTo>
                      <a:pt x="1362" y="489"/>
                      <a:pt x="1378" y="525"/>
                      <a:pt x="1392" y="564"/>
                    </a:cubicBezTo>
                    <a:close/>
                    <a:moveTo>
                      <a:pt x="401" y="455"/>
                    </a:moveTo>
                    <a:cubicBezTo>
                      <a:pt x="382" y="503"/>
                      <a:pt x="367" y="556"/>
                      <a:pt x="354" y="610"/>
                    </a:cubicBezTo>
                    <a:cubicBezTo>
                      <a:pt x="383" y="605"/>
                      <a:pt x="412" y="600"/>
                      <a:pt x="442" y="597"/>
                    </a:cubicBezTo>
                    <a:cubicBezTo>
                      <a:pt x="442" y="550"/>
                      <a:pt x="443" y="504"/>
                      <a:pt x="447" y="461"/>
                    </a:cubicBezTo>
                    <a:cubicBezTo>
                      <a:pt x="432" y="459"/>
                      <a:pt x="415" y="458"/>
                      <a:pt x="401" y="455"/>
                    </a:cubicBezTo>
                    <a:close/>
                    <a:moveTo>
                      <a:pt x="1080" y="461"/>
                    </a:moveTo>
                    <a:cubicBezTo>
                      <a:pt x="1093" y="507"/>
                      <a:pt x="1106" y="553"/>
                      <a:pt x="1116" y="601"/>
                    </a:cubicBezTo>
                    <a:cubicBezTo>
                      <a:pt x="1121" y="602"/>
                      <a:pt x="1125" y="602"/>
                      <a:pt x="1130" y="603"/>
                    </a:cubicBezTo>
                    <a:cubicBezTo>
                      <a:pt x="1130" y="551"/>
                      <a:pt x="1129" y="501"/>
                      <a:pt x="1123" y="455"/>
                    </a:cubicBezTo>
                    <a:cubicBezTo>
                      <a:pt x="1108" y="457"/>
                      <a:pt x="1094" y="459"/>
                      <a:pt x="1080" y="461"/>
                    </a:cubicBezTo>
                    <a:close/>
                    <a:moveTo>
                      <a:pt x="445" y="596"/>
                    </a:moveTo>
                    <a:cubicBezTo>
                      <a:pt x="475" y="592"/>
                      <a:pt x="505" y="589"/>
                      <a:pt x="535" y="586"/>
                    </a:cubicBezTo>
                    <a:cubicBezTo>
                      <a:pt x="542" y="548"/>
                      <a:pt x="548" y="509"/>
                      <a:pt x="556" y="472"/>
                    </a:cubicBezTo>
                    <a:cubicBezTo>
                      <a:pt x="519" y="469"/>
                      <a:pt x="483" y="466"/>
                      <a:pt x="449" y="461"/>
                    </a:cubicBezTo>
                    <a:cubicBezTo>
                      <a:pt x="446" y="504"/>
                      <a:pt x="444" y="549"/>
                      <a:pt x="445" y="596"/>
                    </a:cubicBezTo>
                    <a:close/>
                    <a:moveTo>
                      <a:pt x="965" y="472"/>
                    </a:moveTo>
                    <a:cubicBezTo>
                      <a:pt x="967" y="507"/>
                      <a:pt x="966" y="546"/>
                      <a:pt x="966" y="584"/>
                    </a:cubicBezTo>
                    <a:cubicBezTo>
                      <a:pt x="1016" y="589"/>
                      <a:pt x="1065" y="594"/>
                      <a:pt x="1113" y="600"/>
                    </a:cubicBezTo>
                    <a:cubicBezTo>
                      <a:pt x="1102" y="553"/>
                      <a:pt x="1092" y="503"/>
                      <a:pt x="1075" y="461"/>
                    </a:cubicBezTo>
                    <a:cubicBezTo>
                      <a:pt x="1039" y="466"/>
                      <a:pt x="1003" y="470"/>
                      <a:pt x="965" y="472"/>
                    </a:cubicBezTo>
                    <a:close/>
                    <a:moveTo>
                      <a:pt x="1388" y="521"/>
                    </a:moveTo>
                    <a:cubicBezTo>
                      <a:pt x="1391" y="540"/>
                      <a:pt x="1392" y="559"/>
                      <a:pt x="1396" y="577"/>
                    </a:cubicBezTo>
                    <a:cubicBezTo>
                      <a:pt x="1400" y="600"/>
                      <a:pt x="1412" y="620"/>
                      <a:pt x="1416" y="640"/>
                    </a:cubicBezTo>
                    <a:cubicBezTo>
                      <a:pt x="1437" y="628"/>
                      <a:pt x="1459" y="617"/>
                      <a:pt x="1473" y="599"/>
                    </a:cubicBezTo>
                    <a:cubicBezTo>
                      <a:pt x="1470" y="557"/>
                      <a:pt x="1454" y="529"/>
                      <a:pt x="1442" y="496"/>
                    </a:cubicBezTo>
                    <a:cubicBezTo>
                      <a:pt x="1421" y="484"/>
                      <a:pt x="1400" y="473"/>
                      <a:pt x="1376" y="465"/>
                    </a:cubicBezTo>
                    <a:cubicBezTo>
                      <a:pt x="1381" y="483"/>
                      <a:pt x="1385" y="502"/>
                      <a:pt x="1388" y="521"/>
                    </a:cubicBezTo>
                    <a:close/>
                    <a:moveTo>
                      <a:pt x="91" y="491"/>
                    </a:moveTo>
                    <a:cubicBezTo>
                      <a:pt x="82" y="531"/>
                      <a:pt x="72" y="570"/>
                      <a:pt x="69" y="616"/>
                    </a:cubicBezTo>
                    <a:cubicBezTo>
                      <a:pt x="73" y="619"/>
                      <a:pt x="78" y="623"/>
                      <a:pt x="83" y="625"/>
                    </a:cubicBezTo>
                    <a:cubicBezTo>
                      <a:pt x="98" y="568"/>
                      <a:pt x="121" y="515"/>
                      <a:pt x="142" y="467"/>
                    </a:cubicBezTo>
                    <a:cubicBezTo>
                      <a:pt x="124" y="474"/>
                      <a:pt x="107" y="482"/>
                      <a:pt x="91" y="491"/>
                    </a:cubicBezTo>
                    <a:close/>
                    <a:moveTo>
                      <a:pt x="558" y="472"/>
                    </a:moveTo>
                    <a:cubicBezTo>
                      <a:pt x="551" y="509"/>
                      <a:pt x="545" y="548"/>
                      <a:pt x="538" y="586"/>
                    </a:cubicBezTo>
                    <a:cubicBezTo>
                      <a:pt x="562" y="584"/>
                      <a:pt x="586" y="582"/>
                      <a:pt x="611" y="581"/>
                    </a:cubicBezTo>
                    <a:cubicBezTo>
                      <a:pt x="611" y="545"/>
                      <a:pt x="613" y="511"/>
                      <a:pt x="612" y="476"/>
                    </a:cubicBezTo>
                    <a:cubicBezTo>
                      <a:pt x="594" y="474"/>
                      <a:pt x="576" y="474"/>
                      <a:pt x="558" y="472"/>
                    </a:cubicBezTo>
                    <a:close/>
                    <a:moveTo>
                      <a:pt x="915" y="476"/>
                    </a:moveTo>
                    <a:cubicBezTo>
                      <a:pt x="919" y="511"/>
                      <a:pt x="925" y="546"/>
                      <a:pt x="928" y="582"/>
                    </a:cubicBezTo>
                    <a:cubicBezTo>
                      <a:pt x="941" y="582"/>
                      <a:pt x="952" y="584"/>
                      <a:pt x="965" y="584"/>
                    </a:cubicBezTo>
                    <a:cubicBezTo>
                      <a:pt x="965" y="546"/>
                      <a:pt x="963" y="510"/>
                      <a:pt x="963" y="473"/>
                    </a:cubicBezTo>
                    <a:cubicBezTo>
                      <a:pt x="946" y="473"/>
                      <a:pt x="930" y="474"/>
                      <a:pt x="915" y="476"/>
                    </a:cubicBezTo>
                    <a:close/>
                    <a:moveTo>
                      <a:pt x="617" y="476"/>
                    </a:moveTo>
                    <a:cubicBezTo>
                      <a:pt x="614" y="508"/>
                      <a:pt x="615" y="545"/>
                      <a:pt x="615" y="580"/>
                    </a:cubicBezTo>
                    <a:cubicBezTo>
                      <a:pt x="653" y="579"/>
                      <a:pt x="691" y="577"/>
                      <a:pt x="729" y="576"/>
                    </a:cubicBezTo>
                    <a:cubicBezTo>
                      <a:pt x="731" y="545"/>
                      <a:pt x="731" y="511"/>
                      <a:pt x="732" y="479"/>
                    </a:cubicBezTo>
                    <a:cubicBezTo>
                      <a:pt x="693" y="479"/>
                      <a:pt x="654" y="478"/>
                      <a:pt x="617" y="476"/>
                    </a:cubicBezTo>
                    <a:close/>
                    <a:moveTo>
                      <a:pt x="791" y="479"/>
                    </a:moveTo>
                    <a:cubicBezTo>
                      <a:pt x="791" y="513"/>
                      <a:pt x="791" y="544"/>
                      <a:pt x="791" y="576"/>
                    </a:cubicBezTo>
                    <a:cubicBezTo>
                      <a:pt x="836" y="577"/>
                      <a:pt x="881" y="579"/>
                      <a:pt x="924" y="581"/>
                    </a:cubicBezTo>
                    <a:cubicBezTo>
                      <a:pt x="920" y="546"/>
                      <a:pt x="915" y="511"/>
                      <a:pt x="911" y="476"/>
                    </a:cubicBezTo>
                    <a:cubicBezTo>
                      <a:pt x="872" y="478"/>
                      <a:pt x="831" y="479"/>
                      <a:pt x="791" y="479"/>
                    </a:cubicBezTo>
                    <a:close/>
                    <a:moveTo>
                      <a:pt x="736" y="479"/>
                    </a:moveTo>
                    <a:cubicBezTo>
                      <a:pt x="732" y="509"/>
                      <a:pt x="734" y="545"/>
                      <a:pt x="732" y="576"/>
                    </a:cubicBezTo>
                    <a:cubicBezTo>
                      <a:pt x="751" y="576"/>
                      <a:pt x="770" y="576"/>
                      <a:pt x="789" y="576"/>
                    </a:cubicBezTo>
                    <a:cubicBezTo>
                      <a:pt x="789" y="544"/>
                      <a:pt x="789" y="512"/>
                      <a:pt x="789" y="479"/>
                    </a:cubicBezTo>
                    <a:cubicBezTo>
                      <a:pt x="771" y="479"/>
                      <a:pt x="754" y="479"/>
                      <a:pt x="736" y="479"/>
                    </a:cubicBezTo>
                    <a:close/>
                    <a:moveTo>
                      <a:pt x="60" y="512"/>
                    </a:moveTo>
                    <a:cubicBezTo>
                      <a:pt x="53" y="535"/>
                      <a:pt x="44" y="556"/>
                      <a:pt x="37" y="580"/>
                    </a:cubicBezTo>
                    <a:cubicBezTo>
                      <a:pt x="45" y="593"/>
                      <a:pt x="53" y="606"/>
                      <a:pt x="67" y="613"/>
                    </a:cubicBezTo>
                    <a:cubicBezTo>
                      <a:pt x="69" y="569"/>
                      <a:pt x="81" y="529"/>
                      <a:pt x="87" y="493"/>
                    </a:cubicBezTo>
                    <a:cubicBezTo>
                      <a:pt x="78" y="499"/>
                      <a:pt x="69" y="505"/>
                      <a:pt x="60" y="512"/>
                    </a:cubicBezTo>
                    <a:close/>
                    <a:moveTo>
                      <a:pt x="1462" y="539"/>
                    </a:moveTo>
                    <a:cubicBezTo>
                      <a:pt x="1461" y="543"/>
                      <a:pt x="1465" y="539"/>
                      <a:pt x="1462" y="539"/>
                    </a:cubicBezTo>
                    <a:moveTo>
                      <a:pt x="1462" y="539"/>
                    </a:moveTo>
                    <a:cubicBezTo>
                      <a:pt x="1458" y="526"/>
                      <a:pt x="1458" y="502"/>
                      <a:pt x="1446" y="501"/>
                    </a:cubicBezTo>
                    <a:cubicBezTo>
                      <a:pt x="1452" y="512"/>
                      <a:pt x="1456" y="526"/>
                      <a:pt x="1462" y="539"/>
                    </a:cubicBezTo>
                    <a:moveTo>
                      <a:pt x="1480" y="592"/>
                    </a:moveTo>
                    <a:cubicBezTo>
                      <a:pt x="1504" y="563"/>
                      <a:pt x="1482" y="521"/>
                      <a:pt x="1457" y="507"/>
                    </a:cubicBezTo>
                    <a:cubicBezTo>
                      <a:pt x="1465" y="535"/>
                      <a:pt x="1469" y="567"/>
                      <a:pt x="1480" y="592"/>
                    </a:cubicBezTo>
                    <a:close/>
                    <a:moveTo>
                      <a:pt x="36" y="575"/>
                    </a:moveTo>
                    <a:cubicBezTo>
                      <a:pt x="40" y="555"/>
                      <a:pt x="51" y="536"/>
                      <a:pt x="54" y="517"/>
                    </a:cubicBezTo>
                    <a:cubicBezTo>
                      <a:pt x="42" y="529"/>
                      <a:pt x="28" y="553"/>
                      <a:pt x="36" y="575"/>
                    </a:cubicBezTo>
                    <a:close/>
                    <a:moveTo>
                      <a:pt x="1463" y="544"/>
                    </a:moveTo>
                    <a:cubicBezTo>
                      <a:pt x="1462" y="543"/>
                      <a:pt x="1463" y="544"/>
                      <a:pt x="1463" y="544"/>
                    </a:cubicBezTo>
                    <a:close/>
                    <a:moveTo>
                      <a:pt x="1480" y="597"/>
                    </a:moveTo>
                    <a:cubicBezTo>
                      <a:pt x="1494" y="642"/>
                      <a:pt x="1503" y="692"/>
                      <a:pt x="1508" y="747"/>
                    </a:cubicBezTo>
                    <a:cubicBezTo>
                      <a:pt x="1512" y="753"/>
                      <a:pt x="1516" y="760"/>
                      <a:pt x="1519" y="767"/>
                    </a:cubicBezTo>
                    <a:cubicBezTo>
                      <a:pt x="1521" y="690"/>
                      <a:pt x="1511" y="622"/>
                      <a:pt x="1494" y="563"/>
                    </a:cubicBezTo>
                    <a:cubicBezTo>
                      <a:pt x="1493" y="578"/>
                      <a:pt x="1486" y="587"/>
                      <a:pt x="1480" y="597"/>
                    </a:cubicBezTo>
                    <a:close/>
                    <a:moveTo>
                      <a:pt x="17" y="654"/>
                    </a:moveTo>
                    <a:cubicBezTo>
                      <a:pt x="21" y="628"/>
                      <a:pt x="28" y="604"/>
                      <a:pt x="34" y="580"/>
                    </a:cubicBezTo>
                    <a:cubicBezTo>
                      <a:pt x="33" y="577"/>
                      <a:pt x="32" y="573"/>
                      <a:pt x="30" y="570"/>
                    </a:cubicBezTo>
                    <a:cubicBezTo>
                      <a:pt x="26" y="597"/>
                      <a:pt x="18" y="626"/>
                      <a:pt x="17" y="654"/>
                    </a:cubicBezTo>
                    <a:close/>
                    <a:moveTo>
                      <a:pt x="615" y="583"/>
                    </a:moveTo>
                    <a:cubicBezTo>
                      <a:pt x="616" y="635"/>
                      <a:pt x="617" y="686"/>
                      <a:pt x="620" y="736"/>
                    </a:cubicBezTo>
                    <a:cubicBezTo>
                      <a:pt x="655" y="737"/>
                      <a:pt x="690" y="739"/>
                      <a:pt x="726" y="739"/>
                    </a:cubicBezTo>
                    <a:cubicBezTo>
                      <a:pt x="728" y="686"/>
                      <a:pt x="729" y="633"/>
                      <a:pt x="729" y="579"/>
                    </a:cubicBezTo>
                    <a:cubicBezTo>
                      <a:pt x="690" y="580"/>
                      <a:pt x="652" y="581"/>
                      <a:pt x="615" y="583"/>
                    </a:cubicBezTo>
                    <a:close/>
                    <a:moveTo>
                      <a:pt x="729" y="739"/>
                    </a:moveTo>
                    <a:cubicBezTo>
                      <a:pt x="750" y="738"/>
                      <a:pt x="769" y="740"/>
                      <a:pt x="788" y="739"/>
                    </a:cubicBezTo>
                    <a:cubicBezTo>
                      <a:pt x="788" y="685"/>
                      <a:pt x="790" y="633"/>
                      <a:pt x="789" y="579"/>
                    </a:cubicBezTo>
                    <a:cubicBezTo>
                      <a:pt x="770" y="579"/>
                      <a:pt x="752" y="579"/>
                      <a:pt x="733" y="579"/>
                    </a:cubicBezTo>
                    <a:cubicBezTo>
                      <a:pt x="730" y="630"/>
                      <a:pt x="731" y="686"/>
                      <a:pt x="729" y="739"/>
                    </a:cubicBezTo>
                    <a:close/>
                    <a:moveTo>
                      <a:pt x="791" y="582"/>
                    </a:moveTo>
                    <a:cubicBezTo>
                      <a:pt x="791" y="634"/>
                      <a:pt x="791" y="687"/>
                      <a:pt x="791" y="739"/>
                    </a:cubicBezTo>
                    <a:cubicBezTo>
                      <a:pt x="842" y="739"/>
                      <a:pt x="890" y="736"/>
                      <a:pt x="938" y="734"/>
                    </a:cubicBezTo>
                    <a:cubicBezTo>
                      <a:pt x="934" y="683"/>
                      <a:pt x="930" y="633"/>
                      <a:pt x="924" y="584"/>
                    </a:cubicBezTo>
                    <a:cubicBezTo>
                      <a:pt x="881" y="581"/>
                      <a:pt x="837" y="580"/>
                      <a:pt x="792" y="579"/>
                    </a:cubicBezTo>
                    <a:cubicBezTo>
                      <a:pt x="791" y="579"/>
                      <a:pt x="791" y="581"/>
                      <a:pt x="791" y="582"/>
                    </a:cubicBezTo>
                    <a:close/>
                    <a:moveTo>
                      <a:pt x="538" y="588"/>
                    </a:moveTo>
                    <a:cubicBezTo>
                      <a:pt x="531" y="634"/>
                      <a:pt x="526" y="681"/>
                      <a:pt x="521" y="729"/>
                    </a:cubicBezTo>
                    <a:cubicBezTo>
                      <a:pt x="552" y="732"/>
                      <a:pt x="584" y="734"/>
                      <a:pt x="616" y="736"/>
                    </a:cubicBezTo>
                    <a:cubicBezTo>
                      <a:pt x="612" y="686"/>
                      <a:pt x="615" y="630"/>
                      <a:pt x="609" y="583"/>
                    </a:cubicBezTo>
                    <a:cubicBezTo>
                      <a:pt x="586" y="585"/>
                      <a:pt x="562" y="587"/>
                      <a:pt x="538" y="588"/>
                    </a:cubicBezTo>
                    <a:close/>
                    <a:moveTo>
                      <a:pt x="929" y="584"/>
                    </a:moveTo>
                    <a:cubicBezTo>
                      <a:pt x="933" y="634"/>
                      <a:pt x="939" y="682"/>
                      <a:pt x="942" y="734"/>
                    </a:cubicBezTo>
                    <a:cubicBezTo>
                      <a:pt x="946" y="733"/>
                      <a:pt x="953" y="733"/>
                      <a:pt x="959" y="733"/>
                    </a:cubicBezTo>
                    <a:cubicBezTo>
                      <a:pt x="962" y="685"/>
                      <a:pt x="963" y="636"/>
                      <a:pt x="965" y="587"/>
                    </a:cubicBezTo>
                    <a:cubicBezTo>
                      <a:pt x="953" y="585"/>
                      <a:pt x="941" y="585"/>
                      <a:pt x="929" y="584"/>
                    </a:cubicBezTo>
                    <a:close/>
                    <a:moveTo>
                      <a:pt x="13" y="752"/>
                    </a:moveTo>
                    <a:cubicBezTo>
                      <a:pt x="25" y="732"/>
                      <a:pt x="46" y="719"/>
                      <a:pt x="63" y="704"/>
                    </a:cubicBezTo>
                    <a:cubicBezTo>
                      <a:pt x="63" y="674"/>
                      <a:pt x="63" y="645"/>
                      <a:pt x="66" y="618"/>
                    </a:cubicBezTo>
                    <a:cubicBezTo>
                      <a:pt x="54" y="609"/>
                      <a:pt x="45" y="597"/>
                      <a:pt x="35" y="585"/>
                    </a:cubicBezTo>
                    <a:cubicBezTo>
                      <a:pt x="23" y="635"/>
                      <a:pt x="7" y="690"/>
                      <a:pt x="13" y="752"/>
                    </a:cubicBezTo>
                    <a:close/>
                    <a:moveTo>
                      <a:pt x="967" y="587"/>
                    </a:moveTo>
                    <a:cubicBezTo>
                      <a:pt x="965" y="635"/>
                      <a:pt x="965" y="686"/>
                      <a:pt x="961" y="732"/>
                    </a:cubicBezTo>
                    <a:cubicBezTo>
                      <a:pt x="1017" y="729"/>
                      <a:pt x="1071" y="723"/>
                      <a:pt x="1123" y="716"/>
                    </a:cubicBezTo>
                    <a:cubicBezTo>
                      <a:pt x="1132" y="675"/>
                      <a:pt x="1121" y="639"/>
                      <a:pt x="1114" y="603"/>
                    </a:cubicBezTo>
                    <a:cubicBezTo>
                      <a:pt x="1067" y="597"/>
                      <a:pt x="1018" y="591"/>
                      <a:pt x="967" y="587"/>
                    </a:cubicBezTo>
                    <a:close/>
                    <a:moveTo>
                      <a:pt x="1476" y="597"/>
                    </a:moveTo>
                    <a:cubicBezTo>
                      <a:pt x="1478" y="594"/>
                      <a:pt x="1476" y="589"/>
                      <a:pt x="1474" y="587"/>
                    </a:cubicBezTo>
                    <a:cubicBezTo>
                      <a:pt x="1475" y="590"/>
                      <a:pt x="1475" y="594"/>
                      <a:pt x="1476" y="597"/>
                    </a:cubicBezTo>
                    <a:close/>
                    <a:moveTo>
                      <a:pt x="445" y="599"/>
                    </a:moveTo>
                    <a:cubicBezTo>
                      <a:pt x="446" y="641"/>
                      <a:pt x="448" y="683"/>
                      <a:pt x="452" y="722"/>
                    </a:cubicBezTo>
                    <a:cubicBezTo>
                      <a:pt x="474" y="725"/>
                      <a:pt x="496" y="727"/>
                      <a:pt x="518" y="729"/>
                    </a:cubicBezTo>
                    <a:cubicBezTo>
                      <a:pt x="523" y="682"/>
                      <a:pt x="528" y="634"/>
                      <a:pt x="535" y="589"/>
                    </a:cubicBezTo>
                    <a:cubicBezTo>
                      <a:pt x="504" y="591"/>
                      <a:pt x="475" y="595"/>
                      <a:pt x="445" y="599"/>
                    </a:cubicBezTo>
                    <a:close/>
                    <a:moveTo>
                      <a:pt x="1398" y="592"/>
                    </a:moveTo>
                    <a:cubicBezTo>
                      <a:pt x="1398" y="610"/>
                      <a:pt x="1399" y="628"/>
                      <a:pt x="1399" y="647"/>
                    </a:cubicBezTo>
                    <a:cubicBezTo>
                      <a:pt x="1404" y="644"/>
                      <a:pt x="1410" y="644"/>
                      <a:pt x="1412" y="640"/>
                    </a:cubicBezTo>
                    <a:cubicBezTo>
                      <a:pt x="1407" y="624"/>
                      <a:pt x="1403" y="607"/>
                      <a:pt x="1398" y="592"/>
                    </a:cubicBezTo>
                    <a:moveTo>
                      <a:pt x="1398" y="592"/>
                    </a:moveTo>
                    <a:cubicBezTo>
                      <a:pt x="1399" y="587"/>
                      <a:pt x="1395" y="591"/>
                      <a:pt x="1398" y="592"/>
                    </a:cubicBezTo>
                    <a:moveTo>
                      <a:pt x="354" y="612"/>
                    </a:moveTo>
                    <a:cubicBezTo>
                      <a:pt x="346" y="641"/>
                      <a:pt x="341" y="673"/>
                      <a:pt x="335" y="705"/>
                    </a:cubicBezTo>
                    <a:cubicBezTo>
                      <a:pt x="372" y="712"/>
                      <a:pt x="409" y="718"/>
                      <a:pt x="449" y="721"/>
                    </a:cubicBezTo>
                    <a:cubicBezTo>
                      <a:pt x="445" y="682"/>
                      <a:pt x="445" y="639"/>
                      <a:pt x="441" y="599"/>
                    </a:cubicBezTo>
                    <a:cubicBezTo>
                      <a:pt x="412" y="603"/>
                      <a:pt x="383" y="607"/>
                      <a:pt x="354" y="612"/>
                    </a:cubicBezTo>
                    <a:close/>
                    <a:moveTo>
                      <a:pt x="1483" y="721"/>
                    </a:moveTo>
                    <a:cubicBezTo>
                      <a:pt x="1487" y="724"/>
                      <a:pt x="1490" y="729"/>
                      <a:pt x="1494" y="733"/>
                    </a:cubicBezTo>
                    <a:cubicBezTo>
                      <a:pt x="1498" y="736"/>
                      <a:pt x="1504" y="743"/>
                      <a:pt x="1505" y="742"/>
                    </a:cubicBezTo>
                    <a:cubicBezTo>
                      <a:pt x="1499" y="690"/>
                      <a:pt x="1492" y="641"/>
                      <a:pt x="1477" y="599"/>
                    </a:cubicBezTo>
                    <a:cubicBezTo>
                      <a:pt x="1480" y="635"/>
                      <a:pt x="1484" y="678"/>
                      <a:pt x="1483" y="721"/>
                    </a:cubicBezTo>
                    <a:close/>
                    <a:moveTo>
                      <a:pt x="1416" y="642"/>
                    </a:moveTo>
                    <a:cubicBezTo>
                      <a:pt x="1419" y="657"/>
                      <a:pt x="1423" y="671"/>
                      <a:pt x="1425" y="686"/>
                    </a:cubicBezTo>
                    <a:cubicBezTo>
                      <a:pt x="1441" y="692"/>
                      <a:pt x="1456" y="703"/>
                      <a:pt x="1468" y="711"/>
                    </a:cubicBezTo>
                    <a:cubicBezTo>
                      <a:pt x="1472" y="714"/>
                      <a:pt x="1478" y="718"/>
                      <a:pt x="1480" y="718"/>
                    </a:cubicBezTo>
                    <a:cubicBezTo>
                      <a:pt x="1480" y="677"/>
                      <a:pt x="1480" y="637"/>
                      <a:pt x="1473" y="603"/>
                    </a:cubicBezTo>
                    <a:cubicBezTo>
                      <a:pt x="1457" y="619"/>
                      <a:pt x="1438" y="632"/>
                      <a:pt x="1416" y="642"/>
                    </a:cubicBezTo>
                    <a:close/>
                    <a:moveTo>
                      <a:pt x="1128" y="658"/>
                    </a:moveTo>
                    <a:cubicBezTo>
                      <a:pt x="1128" y="640"/>
                      <a:pt x="1129" y="623"/>
                      <a:pt x="1130" y="605"/>
                    </a:cubicBezTo>
                    <a:cubicBezTo>
                      <a:pt x="1124" y="606"/>
                      <a:pt x="1122" y="604"/>
                      <a:pt x="1117" y="604"/>
                    </a:cubicBezTo>
                    <a:cubicBezTo>
                      <a:pt x="1120" y="623"/>
                      <a:pt x="1124" y="640"/>
                      <a:pt x="1128" y="658"/>
                    </a:cubicBezTo>
                    <a:close/>
                    <a:moveTo>
                      <a:pt x="1134" y="606"/>
                    </a:moveTo>
                    <a:cubicBezTo>
                      <a:pt x="1132" y="607"/>
                      <a:pt x="1132" y="607"/>
                      <a:pt x="1132" y="609"/>
                    </a:cubicBezTo>
                    <a:cubicBezTo>
                      <a:pt x="1131" y="648"/>
                      <a:pt x="1128" y="682"/>
                      <a:pt x="1136" y="714"/>
                    </a:cubicBezTo>
                    <a:cubicBezTo>
                      <a:pt x="1184" y="707"/>
                      <a:pt x="1230" y="698"/>
                      <a:pt x="1274" y="688"/>
                    </a:cubicBezTo>
                    <a:cubicBezTo>
                      <a:pt x="1276" y="671"/>
                      <a:pt x="1276" y="653"/>
                      <a:pt x="1277" y="635"/>
                    </a:cubicBezTo>
                    <a:cubicBezTo>
                      <a:pt x="1230" y="624"/>
                      <a:pt x="1183" y="614"/>
                      <a:pt x="1134" y="606"/>
                    </a:cubicBezTo>
                    <a:close/>
                    <a:moveTo>
                      <a:pt x="349" y="613"/>
                    </a:moveTo>
                    <a:cubicBezTo>
                      <a:pt x="330" y="617"/>
                      <a:pt x="311" y="621"/>
                      <a:pt x="292" y="624"/>
                    </a:cubicBezTo>
                    <a:cubicBezTo>
                      <a:pt x="292" y="650"/>
                      <a:pt x="293" y="674"/>
                      <a:pt x="295" y="697"/>
                    </a:cubicBezTo>
                    <a:cubicBezTo>
                      <a:pt x="307" y="700"/>
                      <a:pt x="319" y="703"/>
                      <a:pt x="332" y="704"/>
                    </a:cubicBezTo>
                    <a:cubicBezTo>
                      <a:pt x="337" y="674"/>
                      <a:pt x="345" y="641"/>
                      <a:pt x="349" y="613"/>
                    </a:cubicBezTo>
                    <a:close/>
                    <a:moveTo>
                      <a:pt x="1279" y="634"/>
                    </a:moveTo>
                    <a:cubicBezTo>
                      <a:pt x="1282" y="634"/>
                      <a:pt x="1283" y="634"/>
                      <a:pt x="1284" y="635"/>
                    </a:cubicBezTo>
                    <a:cubicBezTo>
                      <a:pt x="1283" y="628"/>
                      <a:pt x="1282" y="622"/>
                      <a:pt x="1279" y="617"/>
                    </a:cubicBezTo>
                    <a:cubicBezTo>
                      <a:pt x="1279" y="623"/>
                      <a:pt x="1279" y="628"/>
                      <a:pt x="1279" y="634"/>
                    </a:cubicBezTo>
                    <a:close/>
                    <a:moveTo>
                      <a:pt x="67" y="699"/>
                    </a:moveTo>
                    <a:cubicBezTo>
                      <a:pt x="70" y="674"/>
                      <a:pt x="76" y="651"/>
                      <a:pt x="82" y="628"/>
                    </a:cubicBezTo>
                    <a:cubicBezTo>
                      <a:pt x="77" y="626"/>
                      <a:pt x="74" y="621"/>
                      <a:pt x="68" y="620"/>
                    </a:cubicBezTo>
                    <a:cubicBezTo>
                      <a:pt x="67" y="645"/>
                      <a:pt x="64" y="674"/>
                      <a:pt x="67" y="699"/>
                    </a:cubicBezTo>
                    <a:close/>
                    <a:moveTo>
                      <a:pt x="288" y="625"/>
                    </a:moveTo>
                    <a:cubicBezTo>
                      <a:pt x="255" y="634"/>
                      <a:pt x="221" y="642"/>
                      <a:pt x="190" y="652"/>
                    </a:cubicBezTo>
                    <a:cubicBezTo>
                      <a:pt x="189" y="659"/>
                      <a:pt x="188" y="664"/>
                      <a:pt x="186" y="670"/>
                    </a:cubicBezTo>
                    <a:cubicBezTo>
                      <a:pt x="220" y="680"/>
                      <a:pt x="255" y="690"/>
                      <a:pt x="293" y="696"/>
                    </a:cubicBezTo>
                    <a:cubicBezTo>
                      <a:pt x="290" y="673"/>
                      <a:pt x="291" y="648"/>
                      <a:pt x="288" y="625"/>
                    </a:cubicBezTo>
                    <a:close/>
                    <a:moveTo>
                      <a:pt x="69" y="701"/>
                    </a:moveTo>
                    <a:cubicBezTo>
                      <a:pt x="95" y="687"/>
                      <a:pt x="122" y="673"/>
                      <a:pt x="152" y="663"/>
                    </a:cubicBezTo>
                    <a:cubicBezTo>
                      <a:pt x="130" y="651"/>
                      <a:pt x="104" y="643"/>
                      <a:pt x="84" y="629"/>
                    </a:cubicBezTo>
                    <a:cubicBezTo>
                      <a:pt x="79" y="653"/>
                      <a:pt x="73" y="676"/>
                      <a:pt x="69" y="701"/>
                    </a:cubicBezTo>
                    <a:close/>
                    <a:moveTo>
                      <a:pt x="1277" y="687"/>
                    </a:moveTo>
                    <a:cubicBezTo>
                      <a:pt x="1283" y="685"/>
                      <a:pt x="1289" y="684"/>
                      <a:pt x="1296" y="682"/>
                    </a:cubicBezTo>
                    <a:cubicBezTo>
                      <a:pt x="1292" y="667"/>
                      <a:pt x="1290" y="652"/>
                      <a:pt x="1285" y="638"/>
                    </a:cubicBezTo>
                    <a:cubicBezTo>
                      <a:pt x="1284" y="637"/>
                      <a:pt x="1281" y="637"/>
                      <a:pt x="1279" y="636"/>
                    </a:cubicBezTo>
                    <a:cubicBezTo>
                      <a:pt x="1278" y="652"/>
                      <a:pt x="1278" y="670"/>
                      <a:pt x="1277" y="687"/>
                    </a:cubicBezTo>
                    <a:close/>
                    <a:moveTo>
                      <a:pt x="1298" y="681"/>
                    </a:moveTo>
                    <a:cubicBezTo>
                      <a:pt x="1320" y="675"/>
                      <a:pt x="1342" y="670"/>
                      <a:pt x="1362" y="661"/>
                    </a:cubicBezTo>
                    <a:cubicBezTo>
                      <a:pt x="1338" y="654"/>
                      <a:pt x="1315" y="645"/>
                      <a:pt x="1289" y="639"/>
                    </a:cubicBezTo>
                    <a:cubicBezTo>
                      <a:pt x="1291" y="653"/>
                      <a:pt x="1296" y="666"/>
                      <a:pt x="1298" y="681"/>
                    </a:cubicBezTo>
                    <a:close/>
                    <a:moveTo>
                      <a:pt x="1399" y="649"/>
                    </a:moveTo>
                    <a:cubicBezTo>
                      <a:pt x="1399" y="657"/>
                      <a:pt x="1399" y="665"/>
                      <a:pt x="1399" y="673"/>
                    </a:cubicBezTo>
                    <a:cubicBezTo>
                      <a:pt x="1407" y="677"/>
                      <a:pt x="1415" y="680"/>
                      <a:pt x="1422" y="684"/>
                    </a:cubicBezTo>
                    <a:cubicBezTo>
                      <a:pt x="1419" y="671"/>
                      <a:pt x="1418" y="655"/>
                      <a:pt x="1412" y="644"/>
                    </a:cubicBezTo>
                    <a:cubicBezTo>
                      <a:pt x="1409" y="646"/>
                      <a:pt x="1404" y="648"/>
                      <a:pt x="1399" y="649"/>
                    </a:cubicBezTo>
                    <a:close/>
                    <a:moveTo>
                      <a:pt x="1371" y="662"/>
                    </a:moveTo>
                    <a:cubicBezTo>
                      <a:pt x="1379" y="665"/>
                      <a:pt x="1388" y="668"/>
                      <a:pt x="1397" y="672"/>
                    </a:cubicBezTo>
                    <a:cubicBezTo>
                      <a:pt x="1396" y="666"/>
                      <a:pt x="1398" y="656"/>
                      <a:pt x="1396" y="651"/>
                    </a:cubicBezTo>
                    <a:cubicBezTo>
                      <a:pt x="1388" y="655"/>
                      <a:pt x="1379" y="658"/>
                      <a:pt x="1371" y="662"/>
                    </a:cubicBezTo>
                    <a:close/>
                    <a:moveTo>
                      <a:pt x="162" y="662"/>
                    </a:moveTo>
                    <a:cubicBezTo>
                      <a:pt x="169" y="664"/>
                      <a:pt x="175" y="668"/>
                      <a:pt x="184" y="669"/>
                    </a:cubicBezTo>
                    <a:cubicBezTo>
                      <a:pt x="184" y="663"/>
                      <a:pt x="187" y="659"/>
                      <a:pt x="187" y="653"/>
                    </a:cubicBezTo>
                    <a:cubicBezTo>
                      <a:pt x="178" y="656"/>
                      <a:pt x="170" y="658"/>
                      <a:pt x="162" y="662"/>
                    </a:cubicBezTo>
                    <a:close/>
                    <a:moveTo>
                      <a:pt x="109" y="683"/>
                    </a:moveTo>
                    <a:cubicBezTo>
                      <a:pt x="98" y="688"/>
                      <a:pt x="72" y="698"/>
                      <a:pt x="68" y="707"/>
                    </a:cubicBezTo>
                    <a:cubicBezTo>
                      <a:pt x="63" y="717"/>
                      <a:pt x="68" y="742"/>
                      <a:pt x="70" y="755"/>
                    </a:cubicBezTo>
                    <a:cubicBezTo>
                      <a:pt x="76" y="807"/>
                      <a:pt x="83" y="853"/>
                      <a:pt x="96" y="893"/>
                    </a:cubicBezTo>
                    <a:cubicBezTo>
                      <a:pt x="107" y="898"/>
                      <a:pt x="117" y="903"/>
                      <a:pt x="127" y="908"/>
                    </a:cubicBezTo>
                    <a:cubicBezTo>
                      <a:pt x="138" y="901"/>
                      <a:pt x="150" y="898"/>
                      <a:pt x="158" y="889"/>
                    </a:cubicBezTo>
                    <a:cubicBezTo>
                      <a:pt x="157" y="859"/>
                      <a:pt x="160" y="834"/>
                      <a:pt x="162" y="808"/>
                    </a:cubicBezTo>
                    <a:cubicBezTo>
                      <a:pt x="163" y="790"/>
                      <a:pt x="168" y="772"/>
                      <a:pt x="168" y="756"/>
                    </a:cubicBezTo>
                    <a:cubicBezTo>
                      <a:pt x="168" y="741"/>
                      <a:pt x="163" y="727"/>
                      <a:pt x="162" y="712"/>
                    </a:cubicBezTo>
                    <a:cubicBezTo>
                      <a:pt x="161" y="696"/>
                      <a:pt x="161" y="681"/>
                      <a:pt x="159" y="665"/>
                    </a:cubicBezTo>
                    <a:cubicBezTo>
                      <a:pt x="159" y="664"/>
                      <a:pt x="159" y="664"/>
                      <a:pt x="158" y="664"/>
                    </a:cubicBezTo>
                    <a:cubicBezTo>
                      <a:pt x="145" y="667"/>
                      <a:pt x="128" y="674"/>
                      <a:pt x="109" y="683"/>
                    </a:cubicBezTo>
                    <a:close/>
                    <a:moveTo>
                      <a:pt x="1367" y="664"/>
                    </a:moveTo>
                    <a:cubicBezTo>
                      <a:pt x="1347" y="670"/>
                      <a:pt x="1321" y="678"/>
                      <a:pt x="1299" y="685"/>
                    </a:cubicBezTo>
                    <a:cubicBezTo>
                      <a:pt x="1311" y="742"/>
                      <a:pt x="1319" y="805"/>
                      <a:pt x="1322" y="872"/>
                    </a:cubicBezTo>
                    <a:cubicBezTo>
                      <a:pt x="1336" y="877"/>
                      <a:pt x="1347" y="884"/>
                      <a:pt x="1362" y="888"/>
                    </a:cubicBezTo>
                    <a:cubicBezTo>
                      <a:pt x="1380" y="824"/>
                      <a:pt x="1394" y="754"/>
                      <a:pt x="1397" y="674"/>
                    </a:cubicBezTo>
                    <a:cubicBezTo>
                      <a:pt x="1386" y="672"/>
                      <a:pt x="1378" y="666"/>
                      <a:pt x="1367" y="664"/>
                    </a:cubicBezTo>
                    <a:close/>
                    <a:moveTo>
                      <a:pt x="170" y="745"/>
                    </a:moveTo>
                    <a:cubicBezTo>
                      <a:pt x="172" y="719"/>
                      <a:pt x="178" y="695"/>
                      <a:pt x="183" y="671"/>
                    </a:cubicBezTo>
                    <a:cubicBezTo>
                      <a:pt x="175" y="670"/>
                      <a:pt x="169" y="667"/>
                      <a:pt x="162" y="665"/>
                    </a:cubicBezTo>
                    <a:cubicBezTo>
                      <a:pt x="164" y="692"/>
                      <a:pt x="164" y="722"/>
                      <a:pt x="170" y="745"/>
                    </a:cubicBezTo>
                    <a:close/>
                    <a:moveTo>
                      <a:pt x="185" y="672"/>
                    </a:moveTo>
                    <a:cubicBezTo>
                      <a:pt x="185" y="673"/>
                      <a:pt x="185" y="674"/>
                      <a:pt x="185" y="675"/>
                    </a:cubicBezTo>
                    <a:cubicBezTo>
                      <a:pt x="182" y="704"/>
                      <a:pt x="169" y="731"/>
                      <a:pt x="171" y="761"/>
                    </a:cubicBezTo>
                    <a:cubicBezTo>
                      <a:pt x="172" y="801"/>
                      <a:pt x="188" y="839"/>
                      <a:pt x="195" y="875"/>
                    </a:cubicBezTo>
                    <a:cubicBezTo>
                      <a:pt x="232" y="860"/>
                      <a:pt x="272" y="848"/>
                      <a:pt x="314" y="837"/>
                    </a:cubicBezTo>
                    <a:cubicBezTo>
                      <a:pt x="306" y="792"/>
                      <a:pt x="297" y="749"/>
                      <a:pt x="294" y="700"/>
                    </a:cubicBezTo>
                    <a:cubicBezTo>
                      <a:pt x="256" y="692"/>
                      <a:pt x="219" y="683"/>
                      <a:pt x="185" y="672"/>
                    </a:cubicBezTo>
                    <a:close/>
                    <a:moveTo>
                      <a:pt x="1364" y="890"/>
                    </a:moveTo>
                    <a:cubicBezTo>
                      <a:pt x="1375" y="896"/>
                      <a:pt x="1385" y="902"/>
                      <a:pt x="1397" y="908"/>
                    </a:cubicBezTo>
                    <a:cubicBezTo>
                      <a:pt x="1411" y="900"/>
                      <a:pt x="1428" y="894"/>
                      <a:pt x="1441" y="885"/>
                    </a:cubicBezTo>
                    <a:cubicBezTo>
                      <a:pt x="1442" y="811"/>
                      <a:pt x="1435" y="747"/>
                      <a:pt x="1423" y="687"/>
                    </a:cubicBezTo>
                    <a:cubicBezTo>
                      <a:pt x="1415" y="684"/>
                      <a:pt x="1408" y="679"/>
                      <a:pt x="1398" y="676"/>
                    </a:cubicBezTo>
                    <a:cubicBezTo>
                      <a:pt x="1397" y="757"/>
                      <a:pt x="1382" y="826"/>
                      <a:pt x="1364" y="890"/>
                    </a:cubicBezTo>
                    <a:close/>
                    <a:moveTo>
                      <a:pt x="1127" y="716"/>
                    </a:moveTo>
                    <a:cubicBezTo>
                      <a:pt x="1127" y="713"/>
                      <a:pt x="1132" y="715"/>
                      <a:pt x="1134" y="715"/>
                    </a:cubicBezTo>
                    <a:cubicBezTo>
                      <a:pt x="1132" y="705"/>
                      <a:pt x="1131" y="694"/>
                      <a:pt x="1129" y="685"/>
                    </a:cubicBezTo>
                    <a:cubicBezTo>
                      <a:pt x="1128" y="694"/>
                      <a:pt x="1125" y="707"/>
                      <a:pt x="1127" y="716"/>
                    </a:cubicBezTo>
                    <a:close/>
                    <a:moveTo>
                      <a:pt x="1277" y="690"/>
                    </a:moveTo>
                    <a:cubicBezTo>
                      <a:pt x="1272" y="746"/>
                      <a:pt x="1263" y="798"/>
                      <a:pt x="1252" y="848"/>
                    </a:cubicBezTo>
                    <a:cubicBezTo>
                      <a:pt x="1275" y="855"/>
                      <a:pt x="1298" y="862"/>
                      <a:pt x="1319" y="871"/>
                    </a:cubicBezTo>
                    <a:cubicBezTo>
                      <a:pt x="1316" y="804"/>
                      <a:pt x="1310" y="740"/>
                      <a:pt x="1295" y="685"/>
                    </a:cubicBezTo>
                    <a:cubicBezTo>
                      <a:pt x="1289" y="687"/>
                      <a:pt x="1283" y="688"/>
                      <a:pt x="1277" y="690"/>
                    </a:cubicBezTo>
                    <a:close/>
                    <a:moveTo>
                      <a:pt x="1443" y="884"/>
                    </a:moveTo>
                    <a:cubicBezTo>
                      <a:pt x="1447" y="884"/>
                      <a:pt x="1454" y="877"/>
                      <a:pt x="1459" y="875"/>
                    </a:cubicBezTo>
                    <a:cubicBezTo>
                      <a:pt x="1470" y="828"/>
                      <a:pt x="1478" y="779"/>
                      <a:pt x="1480" y="723"/>
                    </a:cubicBezTo>
                    <a:cubicBezTo>
                      <a:pt x="1465" y="709"/>
                      <a:pt x="1446" y="699"/>
                      <a:pt x="1426" y="689"/>
                    </a:cubicBezTo>
                    <a:cubicBezTo>
                      <a:pt x="1437" y="748"/>
                      <a:pt x="1446" y="814"/>
                      <a:pt x="1443" y="884"/>
                    </a:cubicBezTo>
                    <a:close/>
                    <a:moveTo>
                      <a:pt x="1136" y="718"/>
                    </a:moveTo>
                    <a:cubicBezTo>
                      <a:pt x="1142" y="751"/>
                      <a:pt x="1146" y="785"/>
                      <a:pt x="1148" y="822"/>
                    </a:cubicBezTo>
                    <a:cubicBezTo>
                      <a:pt x="1182" y="830"/>
                      <a:pt x="1216" y="838"/>
                      <a:pt x="1249" y="847"/>
                    </a:cubicBezTo>
                    <a:cubicBezTo>
                      <a:pt x="1260" y="798"/>
                      <a:pt x="1269" y="747"/>
                      <a:pt x="1274" y="691"/>
                    </a:cubicBezTo>
                    <a:cubicBezTo>
                      <a:pt x="1273" y="691"/>
                      <a:pt x="1272" y="691"/>
                      <a:pt x="1272" y="691"/>
                    </a:cubicBezTo>
                    <a:cubicBezTo>
                      <a:pt x="1229" y="702"/>
                      <a:pt x="1181" y="708"/>
                      <a:pt x="1136" y="718"/>
                    </a:cubicBezTo>
                    <a:close/>
                    <a:moveTo>
                      <a:pt x="317" y="834"/>
                    </a:moveTo>
                    <a:cubicBezTo>
                      <a:pt x="320" y="790"/>
                      <a:pt x="325" y="747"/>
                      <a:pt x="332" y="707"/>
                    </a:cubicBezTo>
                    <a:cubicBezTo>
                      <a:pt x="319" y="706"/>
                      <a:pt x="307" y="703"/>
                      <a:pt x="295" y="700"/>
                    </a:cubicBezTo>
                    <a:cubicBezTo>
                      <a:pt x="301" y="747"/>
                      <a:pt x="306" y="792"/>
                      <a:pt x="317" y="834"/>
                    </a:cubicBezTo>
                    <a:close/>
                    <a:moveTo>
                      <a:pt x="334" y="708"/>
                    </a:moveTo>
                    <a:cubicBezTo>
                      <a:pt x="329" y="749"/>
                      <a:pt x="320" y="792"/>
                      <a:pt x="320" y="836"/>
                    </a:cubicBezTo>
                    <a:cubicBezTo>
                      <a:pt x="364" y="824"/>
                      <a:pt x="411" y="815"/>
                      <a:pt x="460" y="809"/>
                    </a:cubicBezTo>
                    <a:cubicBezTo>
                      <a:pt x="456" y="781"/>
                      <a:pt x="452" y="754"/>
                      <a:pt x="450" y="724"/>
                    </a:cubicBezTo>
                    <a:cubicBezTo>
                      <a:pt x="410" y="721"/>
                      <a:pt x="372" y="714"/>
                      <a:pt x="334" y="708"/>
                    </a:cubicBezTo>
                    <a:close/>
                    <a:moveTo>
                      <a:pt x="12" y="759"/>
                    </a:moveTo>
                    <a:cubicBezTo>
                      <a:pt x="10" y="769"/>
                      <a:pt x="13" y="784"/>
                      <a:pt x="14" y="796"/>
                    </a:cubicBezTo>
                    <a:cubicBezTo>
                      <a:pt x="15" y="809"/>
                      <a:pt x="15" y="823"/>
                      <a:pt x="18" y="833"/>
                    </a:cubicBezTo>
                    <a:cubicBezTo>
                      <a:pt x="21" y="843"/>
                      <a:pt x="38" y="854"/>
                      <a:pt x="45" y="860"/>
                    </a:cubicBezTo>
                    <a:cubicBezTo>
                      <a:pt x="48" y="862"/>
                      <a:pt x="50" y="867"/>
                      <a:pt x="54" y="865"/>
                    </a:cubicBezTo>
                    <a:cubicBezTo>
                      <a:pt x="52" y="809"/>
                      <a:pt x="59" y="757"/>
                      <a:pt x="63" y="710"/>
                    </a:cubicBezTo>
                    <a:cubicBezTo>
                      <a:pt x="63" y="709"/>
                      <a:pt x="63" y="709"/>
                      <a:pt x="62" y="709"/>
                    </a:cubicBezTo>
                    <a:cubicBezTo>
                      <a:pt x="50" y="719"/>
                      <a:pt x="16" y="741"/>
                      <a:pt x="12" y="759"/>
                    </a:cubicBezTo>
                    <a:close/>
                    <a:moveTo>
                      <a:pt x="1134" y="718"/>
                    </a:moveTo>
                    <a:cubicBezTo>
                      <a:pt x="1133" y="716"/>
                      <a:pt x="1129" y="719"/>
                      <a:pt x="1126" y="718"/>
                    </a:cubicBezTo>
                    <a:cubicBezTo>
                      <a:pt x="1122" y="751"/>
                      <a:pt x="1118" y="785"/>
                      <a:pt x="1112" y="816"/>
                    </a:cubicBezTo>
                    <a:cubicBezTo>
                      <a:pt x="1124" y="818"/>
                      <a:pt x="1134" y="821"/>
                      <a:pt x="1146" y="822"/>
                    </a:cubicBezTo>
                    <a:cubicBezTo>
                      <a:pt x="1143" y="787"/>
                      <a:pt x="1139" y="752"/>
                      <a:pt x="1134" y="718"/>
                    </a:cubicBezTo>
                    <a:close/>
                    <a:moveTo>
                      <a:pt x="961" y="735"/>
                    </a:moveTo>
                    <a:cubicBezTo>
                      <a:pt x="960" y="755"/>
                      <a:pt x="958" y="775"/>
                      <a:pt x="956" y="795"/>
                    </a:cubicBezTo>
                    <a:cubicBezTo>
                      <a:pt x="1009" y="801"/>
                      <a:pt x="1060" y="807"/>
                      <a:pt x="1110" y="815"/>
                    </a:cubicBezTo>
                    <a:cubicBezTo>
                      <a:pt x="1113" y="784"/>
                      <a:pt x="1123" y="748"/>
                      <a:pt x="1121" y="719"/>
                    </a:cubicBezTo>
                    <a:cubicBezTo>
                      <a:pt x="1070" y="726"/>
                      <a:pt x="1016" y="732"/>
                      <a:pt x="961" y="735"/>
                    </a:cubicBezTo>
                    <a:close/>
                    <a:moveTo>
                      <a:pt x="1462" y="872"/>
                    </a:moveTo>
                    <a:cubicBezTo>
                      <a:pt x="1480" y="862"/>
                      <a:pt x="1495" y="848"/>
                      <a:pt x="1507" y="832"/>
                    </a:cubicBezTo>
                    <a:cubicBezTo>
                      <a:pt x="1507" y="814"/>
                      <a:pt x="1508" y="802"/>
                      <a:pt x="1507" y="786"/>
                    </a:cubicBezTo>
                    <a:cubicBezTo>
                      <a:pt x="1506" y="773"/>
                      <a:pt x="1508" y="759"/>
                      <a:pt x="1506" y="750"/>
                    </a:cubicBezTo>
                    <a:cubicBezTo>
                      <a:pt x="1503" y="738"/>
                      <a:pt x="1488" y="733"/>
                      <a:pt x="1482" y="724"/>
                    </a:cubicBezTo>
                    <a:cubicBezTo>
                      <a:pt x="1481" y="779"/>
                      <a:pt x="1472" y="827"/>
                      <a:pt x="1462" y="872"/>
                    </a:cubicBezTo>
                    <a:close/>
                    <a:moveTo>
                      <a:pt x="462" y="808"/>
                    </a:moveTo>
                    <a:cubicBezTo>
                      <a:pt x="479" y="806"/>
                      <a:pt x="496" y="804"/>
                      <a:pt x="512" y="801"/>
                    </a:cubicBezTo>
                    <a:cubicBezTo>
                      <a:pt x="515" y="778"/>
                      <a:pt x="516" y="755"/>
                      <a:pt x="518" y="732"/>
                    </a:cubicBezTo>
                    <a:cubicBezTo>
                      <a:pt x="496" y="729"/>
                      <a:pt x="474" y="727"/>
                      <a:pt x="452" y="725"/>
                    </a:cubicBezTo>
                    <a:cubicBezTo>
                      <a:pt x="455" y="753"/>
                      <a:pt x="458" y="780"/>
                      <a:pt x="462" y="808"/>
                    </a:cubicBezTo>
                    <a:close/>
                    <a:moveTo>
                      <a:pt x="56" y="868"/>
                    </a:moveTo>
                    <a:cubicBezTo>
                      <a:pt x="66" y="877"/>
                      <a:pt x="79" y="884"/>
                      <a:pt x="92" y="890"/>
                    </a:cubicBezTo>
                    <a:cubicBezTo>
                      <a:pt x="79" y="840"/>
                      <a:pt x="69" y="787"/>
                      <a:pt x="64" y="728"/>
                    </a:cubicBezTo>
                    <a:cubicBezTo>
                      <a:pt x="58" y="772"/>
                      <a:pt x="55" y="818"/>
                      <a:pt x="56" y="868"/>
                    </a:cubicBezTo>
                    <a:close/>
                    <a:moveTo>
                      <a:pt x="522" y="732"/>
                    </a:moveTo>
                    <a:cubicBezTo>
                      <a:pt x="518" y="753"/>
                      <a:pt x="518" y="778"/>
                      <a:pt x="515" y="801"/>
                    </a:cubicBezTo>
                    <a:cubicBezTo>
                      <a:pt x="549" y="797"/>
                      <a:pt x="584" y="794"/>
                      <a:pt x="619" y="791"/>
                    </a:cubicBezTo>
                    <a:cubicBezTo>
                      <a:pt x="619" y="773"/>
                      <a:pt x="617" y="756"/>
                      <a:pt x="616" y="739"/>
                    </a:cubicBezTo>
                    <a:cubicBezTo>
                      <a:pt x="585" y="736"/>
                      <a:pt x="553" y="735"/>
                      <a:pt x="522" y="732"/>
                    </a:cubicBezTo>
                    <a:close/>
                    <a:moveTo>
                      <a:pt x="8" y="761"/>
                    </a:moveTo>
                    <a:cubicBezTo>
                      <a:pt x="10" y="754"/>
                      <a:pt x="10" y="740"/>
                      <a:pt x="8" y="733"/>
                    </a:cubicBezTo>
                    <a:cubicBezTo>
                      <a:pt x="10" y="743"/>
                      <a:pt x="6" y="753"/>
                      <a:pt x="8" y="761"/>
                    </a:cubicBezTo>
                    <a:close/>
                    <a:moveTo>
                      <a:pt x="942" y="737"/>
                    </a:moveTo>
                    <a:cubicBezTo>
                      <a:pt x="943" y="757"/>
                      <a:pt x="945" y="775"/>
                      <a:pt x="945" y="795"/>
                    </a:cubicBezTo>
                    <a:cubicBezTo>
                      <a:pt x="948" y="795"/>
                      <a:pt x="950" y="795"/>
                      <a:pt x="953" y="795"/>
                    </a:cubicBezTo>
                    <a:cubicBezTo>
                      <a:pt x="956" y="776"/>
                      <a:pt x="957" y="756"/>
                      <a:pt x="958" y="736"/>
                    </a:cubicBezTo>
                    <a:cubicBezTo>
                      <a:pt x="953" y="736"/>
                      <a:pt x="946" y="735"/>
                      <a:pt x="942" y="737"/>
                    </a:cubicBezTo>
                    <a:close/>
                    <a:moveTo>
                      <a:pt x="790" y="742"/>
                    </a:moveTo>
                    <a:cubicBezTo>
                      <a:pt x="790" y="757"/>
                      <a:pt x="790" y="772"/>
                      <a:pt x="790" y="788"/>
                    </a:cubicBezTo>
                    <a:cubicBezTo>
                      <a:pt x="843" y="788"/>
                      <a:pt x="892" y="791"/>
                      <a:pt x="942" y="794"/>
                    </a:cubicBezTo>
                    <a:cubicBezTo>
                      <a:pt x="940" y="776"/>
                      <a:pt x="940" y="755"/>
                      <a:pt x="938" y="737"/>
                    </a:cubicBezTo>
                    <a:cubicBezTo>
                      <a:pt x="889" y="739"/>
                      <a:pt x="841" y="742"/>
                      <a:pt x="790" y="742"/>
                    </a:cubicBezTo>
                    <a:close/>
                    <a:moveTo>
                      <a:pt x="621" y="739"/>
                    </a:moveTo>
                    <a:cubicBezTo>
                      <a:pt x="619" y="755"/>
                      <a:pt x="623" y="774"/>
                      <a:pt x="623" y="791"/>
                    </a:cubicBezTo>
                    <a:cubicBezTo>
                      <a:pt x="657" y="790"/>
                      <a:pt x="691" y="788"/>
                      <a:pt x="726" y="788"/>
                    </a:cubicBezTo>
                    <a:cubicBezTo>
                      <a:pt x="726" y="772"/>
                      <a:pt x="726" y="757"/>
                      <a:pt x="726" y="742"/>
                    </a:cubicBezTo>
                    <a:cubicBezTo>
                      <a:pt x="690" y="742"/>
                      <a:pt x="656" y="740"/>
                      <a:pt x="621" y="739"/>
                    </a:cubicBezTo>
                    <a:close/>
                    <a:moveTo>
                      <a:pt x="729" y="742"/>
                    </a:moveTo>
                    <a:cubicBezTo>
                      <a:pt x="729" y="757"/>
                      <a:pt x="729" y="772"/>
                      <a:pt x="729" y="788"/>
                    </a:cubicBezTo>
                    <a:cubicBezTo>
                      <a:pt x="749" y="788"/>
                      <a:pt x="768" y="788"/>
                      <a:pt x="787" y="788"/>
                    </a:cubicBezTo>
                    <a:cubicBezTo>
                      <a:pt x="788" y="773"/>
                      <a:pt x="788" y="757"/>
                      <a:pt x="788" y="742"/>
                    </a:cubicBezTo>
                    <a:cubicBezTo>
                      <a:pt x="768" y="742"/>
                      <a:pt x="749" y="742"/>
                      <a:pt x="729" y="742"/>
                    </a:cubicBezTo>
                    <a:close/>
                    <a:moveTo>
                      <a:pt x="1508" y="753"/>
                    </a:moveTo>
                    <a:cubicBezTo>
                      <a:pt x="1508" y="753"/>
                      <a:pt x="1509" y="754"/>
                      <a:pt x="1508" y="753"/>
                    </a:cubicBezTo>
                    <a:close/>
                    <a:moveTo>
                      <a:pt x="1511" y="827"/>
                    </a:moveTo>
                    <a:cubicBezTo>
                      <a:pt x="1520" y="808"/>
                      <a:pt x="1524" y="768"/>
                      <a:pt x="1509" y="754"/>
                    </a:cubicBezTo>
                    <a:cubicBezTo>
                      <a:pt x="1510" y="778"/>
                      <a:pt x="1509" y="804"/>
                      <a:pt x="1511" y="827"/>
                    </a:cubicBezTo>
                    <a:close/>
                    <a:moveTo>
                      <a:pt x="15" y="828"/>
                    </a:moveTo>
                    <a:cubicBezTo>
                      <a:pt x="12" y="808"/>
                      <a:pt x="12" y="784"/>
                      <a:pt x="8" y="765"/>
                    </a:cubicBezTo>
                    <a:cubicBezTo>
                      <a:pt x="6" y="784"/>
                      <a:pt x="4" y="816"/>
                      <a:pt x="15" y="828"/>
                    </a:cubicBezTo>
                    <a:close/>
                    <a:moveTo>
                      <a:pt x="162" y="890"/>
                    </a:moveTo>
                    <a:cubicBezTo>
                      <a:pt x="171" y="884"/>
                      <a:pt x="184" y="881"/>
                      <a:pt x="193" y="875"/>
                    </a:cubicBezTo>
                    <a:cubicBezTo>
                      <a:pt x="182" y="842"/>
                      <a:pt x="176" y="805"/>
                      <a:pt x="169" y="768"/>
                    </a:cubicBezTo>
                    <a:cubicBezTo>
                      <a:pt x="165" y="806"/>
                      <a:pt x="159" y="852"/>
                      <a:pt x="162" y="890"/>
                    </a:cubicBezTo>
                    <a:close/>
                    <a:moveTo>
                      <a:pt x="5" y="797"/>
                    </a:moveTo>
                    <a:cubicBezTo>
                      <a:pt x="5" y="793"/>
                      <a:pt x="5" y="784"/>
                      <a:pt x="4" y="780"/>
                    </a:cubicBezTo>
                    <a:cubicBezTo>
                      <a:pt x="2" y="787"/>
                      <a:pt x="4" y="811"/>
                      <a:pt x="5" y="797"/>
                    </a:cubicBezTo>
                    <a:close/>
                    <a:moveTo>
                      <a:pt x="624" y="794"/>
                    </a:moveTo>
                    <a:cubicBezTo>
                      <a:pt x="627" y="863"/>
                      <a:pt x="635" y="934"/>
                      <a:pt x="643" y="1001"/>
                    </a:cubicBezTo>
                    <a:cubicBezTo>
                      <a:pt x="670" y="999"/>
                      <a:pt x="698" y="998"/>
                      <a:pt x="726" y="997"/>
                    </a:cubicBezTo>
                    <a:cubicBezTo>
                      <a:pt x="726" y="928"/>
                      <a:pt x="725" y="858"/>
                      <a:pt x="726" y="791"/>
                    </a:cubicBezTo>
                    <a:cubicBezTo>
                      <a:pt x="694" y="790"/>
                      <a:pt x="656" y="792"/>
                      <a:pt x="624" y="794"/>
                    </a:cubicBezTo>
                    <a:close/>
                    <a:moveTo>
                      <a:pt x="729" y="792"/>
                    </a:moveTo>
                    <a:cubicBezTo>
                      <a:pt x="727" y="859"/>
                      <a:pt x="729" y="929"/>
                      <a:pt x="728" y="997"/>
                    </a:cubicBezTo>
                    <a:cubicBezTo>
                      <a:pt x="747" y="997"/>
                      <a:pt x="765" y="997"/>
                      <a:pt x="783" y="997"/>
                    </a:cubicBezTo>
                    <a:cubicBezTo>
                      <a:pt x="785" y="929"/>
                      <a:pt x="787" y="860"/>
                      <a:pt x="787" y="790"/>
                    </a:cubicBezTo>
                    <a:cubicBezTo>
                      <a:pt x="768" y="790"/>
                      <a:pt x="749" y="790"/>
                      <a:pt x="730" y="790"/>
                    </a:cubicBezTo>
                    <a:cubicBezTo>
                      <a:pt x="729" y="790"/>
                      <a:pt x="729" y="791"/>
                      <a:pt x="729" y="792"/>
                    </a:cubicBezTo>
                    <a:close/>
                    <a:moveTo>
                      <a:pt x="790" y="792"/>
                    </a:moveTo>
                    <a:cubicBezTo>
                      <a:pt x="789" y="861"/>
                      <a:pt x="788" y="929"/>
                      <a:pt x="786" y="997"/>
                    </a:cubicBezTo>
                    <a:cubicBezTo>
                      <a:pt x="834" y="997"/>
                      <a:pt x="881" y="1003"/>
                      <a:pt x="927" y="998"/>
                    </a:cubicBezTo>
                    <a:cubicBezTo>
                      <a:pt x="937" y="935"/>
                      <a:pt x="950" y="870"/>
                      <a:pt x="942" y="797"/>
                    </a:cubicBezTo>
                    <a:cubicBezTo>
                      <a:pt x="894" y="792"/>
                      <a:pt x="842" y="791"/>
                      <a:pt x="791" y="790"/>
                    </a:cubicBezTo>
                    <a:cubicBezTo>
                      <a:pt x="790" y="790"/>
                      <a:pt x="790" y="791"/>
                      <a:pt x="790" y="792"/>
                    </a:cubicBezTo>
                    <a:close/>
                    <a:moveTo>
                      <a:pt x="1521" y="796"/>
                    </a:moveTo>
                    <a:cubicBezTo>
                      <a:pt x="1521" y="795"/>
                      <a:pt x="1522" y="788"/>
                      <a:pt x="1520" y="791"/>
                    </a:cubicBezTo>
                    <a:cubicBezTo>
                      <a:pt x="1520" y="793"/>
                      <a:pt x="1520" y="799"/>
                      <a:pt x="1521" y="796"/>
                    </a:cubicBezTo>
                    <a:close/>
                    <a:moveTo>
                      <a:pt x="515" y="804"/>
                    </a:moveTo>
                    <a:cubicBezTo>
                      <a:pt x="511" y="864"/>
                      <a:pt x="510" y="926"/>
                      <a:pt x="510" y="991"/>
                    </a:cubicBezTo>
                    <a:cubicBezTo>
                      <a:pt x="552" y="995"/>
                      <a:pt x="598" y="999"/>
                      <a:pt x="640" y="1000"/>
                    </a:cubicBezTo>
                    <a:cubicBezTo>
                      <a:pt x="631" y="934"/>
                      <a:pt x="624" y="865"/>
                      <a:pt x="620" y="794"/>
                    </a:cubicBezTo>
                    <a:cubicBezTo>
                      <a:pt x="584" y="797"/>
                      <a:pt x="549" y="799"/>
                      <a:pt x="515" y="804"/>
                    </a:cubicBezTo>
                    <a:close/>
                    <a:moveTo>
                      <a:pt x="948" y="845"/>
                    </a:moveTo>
                    <a:cubicBezTo>
                      <a:pt x="950" y="830"/>
                      <a:pt x="952" y="814"/>
                      <a:pt x="953" y="798"/>
                    </a:cubicBezTo>
                    <a:cubicBezTo>
                      <a:pt x="950" y="798"/>
                      <a:pt x="949" y="797"/>
                      <a:pt x="945" y="797"/>
                    </a:cubicBezTo>
                    <a:cubicBezTo>
                      <a:pt x="947" y="812"/>
                      <a:pt x="946" y="830"/>
                      <a:pt x="948" y="845"/>
                    </a:cubicBezTo>
                    <a:close/>
                    <a:moveTo>
                      <a:pt x="950" y="997"/>
                    </a:moveTo>
                    <a:cubicBezTo>
                      <a:pt x="991" y="993"/>
                      <a:pt x="1030" y="989"/>
                      <a:pt x="1070" y="985"/>
                    </a:cubicBezTo>
                    <a:cubicBezTo>
                      <a:pt x="1087" y="933"/>
                      <a:pt x="1099" y="877"/>
                      <a:pt x="1110" y="818"/>
                    </a:cubicBezTo>
                    <a:cubicBezTo>
                      <a:pt x="1061" y="809"/>
                      <a:pt x="1009" y="803"/>
                      <a:pt x="957" y="798"/>
                    </a:cubicBezTo>
                    <a:cubicBezTo>
                      <a:pt x="944" y="857"/>
                      <a:pt x="952" y="927"/>
                      <a:pt x="950" y="997"/>
                    </a:cubicBezTo>
                    <a:close/>
                    <a:moveTo>
                      <a:pt x="462" y="811"/>
                    </a:moveTo>
                    <a:cubicBezTo>
                      <a:pt x="470" y="866"/>
                      <a:pt x="483" y="925"/>
                      <a:pt x="495" y="975"/>
                    </a:cubicBezTo>
                    <a:cubicBezTo>
                      <a:pt x="497" y="982"/>
                      <a:pt x="496" y="993"/>
                      <a:pt x="508" y="991"/>
                    </a:cubicBezTo>
                    <a:cubicBezTo>
                      <a:pt x="507" y="935"/>
                      <a:pt x="508" y="873"/>
                      <a:pt x="511" y="820"/>
                    </a:cubicBezTo>
                    <a:cubicBezTo>
                      <a:pt x="512" y="816"/>
                      <a:pt x="515" y="807"/>
                      <a:pt x="510" y="804"/>
                    </a:cubicBezTo>
                    <a:cubicBezTo>
                      <a:pt x="494" y="807"/>
                      <a:pt x="477" y="808"/>
                      <a:pt x="462" y="811"/>
                    </a:cubicBezTo>
                    <a:close/>
                    <a:moveTo>
                      <a:pt x="318" y="839"/>
                    </a:moveTo>
                    <a:cubicBezTo>
                      <a:pt x="326" y="887"/>
                      <a:pt x="341" y="928"/>
                      <a:pt x="354" y="970"/>
                    </a:cubicBezTo>
                    <a:cubicBezTo>
                      <a:pt x="400" y="977"/>
                      <a:pt x="448" y="987"/>
                      <a:pt x="496" y="988"/>
                    </a:cubicBezTo>
                    <a:cubicBezTo>
                      <a:pt x="480" y="933"/>
                      <a:pt x="470" y="871"/>
                      <a:pt x="459" y="811"/>
                    </a:cubicBezTo>
                    <a:cubicBezTo>
                      <a:pt x="411" y="819"/>
                      <a:pt x="363" y="827"/>
                      <a:pt x="318" y="839"/>
                    </a:cubicBezTo>
                    <a:close/>
                    <a:moveTo>
                      <a:pt x="1113" y="819"/>
                    </a:moveTo>
                    <a:cubicBezTo>
                      <a:pt x="1113" y="819"/>
                      <a:pt x="1113" y="818"/>
                      <a:pt x="1112" y="818"/>
                    </a:cubicBezTo>
                    <a:cubicBezTo>
                      <a:pt x="1102" y="876"/>
                      <a:pt x="1089" y="932"/>
                      <a:pt x="1074" y="984"/>
                    </a:cubicBezTo>
                    <a:cubicBezTo>
                      <a:pt x="1100" y="981"/>
                      <a:pt x="1126" y="978"/>
                      <a:pt x="1151" y="973"/>
                    </a:cubicBezTo>
                    <a:cubicBezTo>
                      <a:pt x="1151" y="922"/>
                      <a:pt x="1149" y="873"/>
                      <a:pt x="1146" y="825"/>
                    </a:cubicBezTo>
                    <a:cubicBezTo>
                      <a:pt x="1135" y="823"/>
                      <a:pt x="1125" y="820"/>
                      <a:pt x="1113" y="819"/>
                    </a:cubicBezTo>
                    <a:close/>
                    <a:moveTo>
                      <a:pt x="46" y="1018"/>
                    </a:moveTo>
                    <a:cubicBezTo>
                      <a:pt x="45" y="1002"/>
                      <a:pt x="48" y="990"/>
                      <a:pt x="54" y="980"/>
                    </a:cubicBezTo>
                    <a:cubicBezTo>
                      <a:pt x="37" y="936"/>
                      <a:pt x="24" y="889"/>
                      <a:pt x="17" y="837"/>
                    </a:cubicBezTo>
                    <a:cubicBezTo>
                      <a:pt x="13" y="832"/>
                      <a:pt x="11" y="826"/>
                      <a:pt x="7" y="821"/>
                    </a:cubicBezTo>
                    <a:cubicBezTo>
                      <a:pt x="12" y="895"/>
                      <a:pt x="24" y="961"/>
                      <a:pt x="46" y="1018"/>
                    </a:cubicBezTo>
                    <a:close/>
                    <a:moveTo>
                      <a:pt x="1507" y="887"/>
                    </a:moveTo>
                    <a:cubicBezTo>
                      <a:pt x="1509" y="865"/>
                      <a:pt x="1516" y="844"/>
                      <a:pt x="1515" y="823"/>
                    </a:cubicBezTo>
                    <a:cubicBezTo>
                      <a:pt x="1506" y="838"/>
                      <a:pt x="1508" y="868"/>
                      <a:pt x="1507" y="887"/>
                    </a:cubicBezTo>
                    <a:close/>
                    <a:moveTo>
                      <a:pt x="1149" y="826"/>
                    </a:moveTo>
                    <a:cubicBezTo>
                      <a:pt x="1152" y="873"/>
                      <a:pt x="1154" y="922"/>
                      <a:pt x="1154" y="973"/>
                    </a:cubicBezTo>
                    <a:cubicBezTo>
                      <a:pt x="1174" y="969"/>
                      <a:pt x="1195" y="965"/>
                      <a:pt x="1215" y="961"/>
                    </a:cubicBezTo>
                    <a:cubicBezTo>
                      <a:pt x="1227" y="925"/>
                      <a:pt x="1240" y="889"/>
                      <a:pt x="1248" y="849"/>
                    </a:cubicBezTo>
                    <a:cubicBezTo>
                      <a:pt x="1215" y="841"/>
                      <a:pt x="1184" y="832"/>
                      <a:pt x="1149" y="826"/>
                    </a:cubicBezTo>
                    <a:close/>
                    <a:moveTo>
                      <a:pt x="1461" y="878"/>
                    </a:moveTo>
                    <a:cubicBezTo>
                      <a:pt x="1455" y="899"/>
                      <a:pt x="1449" y="921"/>
                      <a:pt x="1442" y="941"/>
                    </a:cubicBezTo>
                    <a:cubicBezTo>
                      <a:pt x="1456" y="956"/>
                      <a:pt x="1469" y="972"/>
                      <a:pt x="1476" y="993"/>
                    </a:cubicBezTo>
                    <a:cubicBezTo>
                      <a:pt x="1493" y="949"/>
                      <a:pt x="1507" y="896"/>
                      <a:pt x="1506" y="837"/>
                    </a:cubicBezTo>
                    <a:cubicBezTo>
                      <a:pt x="1495" y="854"/>
                      <a:pt x="1476" y="865"/>
                      <a:pt x="1461" y="878"/>
                    </a:cubicBezTo>
                    <a:close/>
                    <a:moveTo>
                      <a:pt x="196" y="877"/>
                    </a:moveTo>
                    <a:cubicBezTo>
                      <a:pt x="201" y="898"/>
                      <a:pt x="208" y="918"/>
                      <a:pt x="215" y="938"/>
                    </a:cubicBezTo>
                    <a:cubicBezTo>
                      <a:pt x="247" y="946"/>
                      <a:pt x="278" y="956"/>
                      <a:pt x="313" y="961"/>
                    </a:cubicBezTo>
                    <a:cubicBezTo>
                      <a:pt x="311" y="919"/>
                      <a:pt x="316" y="878"/>
                      <a:pt x="315" y="839"/>
                    </a:cubicBezTo>
                    <a:cubicBezTo>
                      <a:pt x="314" y="839"/>
                      <a:pt x="313" y="839"/>
                      <a:pt x="313" y="839"/>
                    </a:cubicBezTo>
                    <a:cubicBezTo>
                      <a:pt x="272" y="850"/>
                      <a:pt x="233" y="863"/>
                      <a:pt x="196" y="877"/>
                    </a:cubicBezTo>
                    <a:close/>
                    <a:moveTo>
                      <a:pt x="55" y="977"/>
                    </a:moveTo>
                    <a:cubicBezTo>
                      <a:pt x="56" y="970"/>
                      <a:pt x="61" y="968"/>
                      <a:pt x="63" y="962"/>
                    </a:cubicBezTo>
                    <a:cubicBezTo>
                      <a:pt x="57" y="935"/>
                      <a:pt x="56" y="902"/>
                      <a:pt x="54" y="871"/>
                    </a:cubicBezTo>
                    <a:cubicBezTo>
                      <a:pt x="42" y="861"/>
                      <a:pt x="30" y="852"/>
                      <a:pt x="20" y="840"/>
                    </a:cubicBezTo>
                    <a:cubicBezTo>
                      <a:pt x="27" y="890"/>
                      <a:pt x="39" y="936"/>
                      <a:pt x="55" y="977"/>
                    </a:cubicBezTo>
                    <a:close/>
                    <a:moveTo>
                      <a:pt x="1251" y="851"/>
                    </a:moveTo>
                    <a:cubicBezTo>
                      <a:pt x="1241" y="889"/>
                      <a:pt x="1230" y="925"/>
                      <a:pt x="1218" y="960"/>
                    </a:cubicBezTo>
                    <a:cubicBezTo>
                      <a:pt x="1253" y="953"/>
                      <a:pt x="1288" y="945"/>
                      <a:pt x="1320" y="935"/>
                    </a:cubicBezTo>
                    <a:cubicBezTo>
                      <a:pt x="1320" y="914"/>
                      <a:pt x="1320" y="893"/>
                      <a:pt x="1319" y="873"/>
                    </a:cubicBezTo>
                    <a:cubicBezTo>
                      <a:pt x="1296" y="866"/>
                      <a:pt x="1275" y="857"/>
                      <a:pt x="1251" y="851"/>
                    </a:cubicBezTo>
                    <a:close/>
                    <a:moveTo>
                      <a:pt x="316" y="962"/>
                    </a:moveTo>
                    <a:cubicBezTo>
                      <a:pt x="327" y="965"/>
                      <a:pt x="339" y="967"/>
                      <a:pt x="351" y="969"/>
                    </a:cubicBezTo>
                    <a:cubicBezTo>
                      <a:pt x="338" y="932"/>
                      <a:pt x="328" y="893"/>
                      <a:pt x="318" y="853"/>
                    </a:cubicBezTo>
                    <a:cubicBezTo>
                      <a:pt x="316" y="889"/>
                      <a:pt x="315" y="925"/>
                      <a:pt x="316" y="962"/>
                    </a:cubicBezTo>
                    <a:close/>
                    <a:moveTo>
                      <a:pt x="65" y="959"/>
                    </a:moveTo>
                    <a:cubicBezTo>
                      <a:pt x="75" y="948"/>
                      <a:pt x="90" y="935"/>
                      <a:pt x="102" y="923"/>
                    </a:cubicBezTo>
                    <a:cubicBezTo>
                      <a:pt x="99" y="914"/>
                      <a:pt x="96" y="904"/>
                      <a:pt x="94" y="894"/>
                    </a:cubicBezTo>
                    <a:cubicBezTo>
                      <a:pt x="80" y="889"/>
                      <a:pt x="69" y="880"/>
                      <a:pt x="56" y="873"/>
                    </a:cubicBezTo>
                    <a:cubicBezTo>
                      <a:pt x="59" y="902"/>
                      <a:pt x="60" y="932"/>
                      <a:pt x="65" y="959"/>
                    </a:cubicBezTo>
                    <a:close/>
                    <a:moveTo>
                      <a:pt x="1322" y="934"/>
                    </a:moveTo>
                    <a:cubicBezTo>
                      <a:pt x="1332" y="932"/>
                      <a:pt x="1340" y="928"/>
                      <a:pt x="1350" y="925"/>
                    </a:cubicBezTo>
                    <a:cubicBezTo>
                      <a:pt x="1354" y="914"/>
                      <a:pt x="1357" y="903"/>
                      <a:pt x="1360" y="891"/>
                    </a:cubicBezTo>
                    <a:cubicBezTo>
                      <a:pt x="1347" y="886"/>
                      <a:pt x="1335" y="880"/>
                      <a:pt x="1322" y="875"/>
                    </a:cubicBezTo>
                    <a:cubicBezTo>
                      <a:pt x="1323" y="895"/>
                      <a:pt x="1323" y="913"/>
                      <a:pt x="1322" y="934"/>
                    </a:cubicBezTo>
                    <a:close/>
                    <a:moveTo>
                      <a:pt x="194" y="879"/>
                    </a:moveTo>
                    <a:cubicBezTo>
                      <a:pt x="181" y="882"/>
                      <a:pt x="173" y="889"/>
                      <a:pt x="161" y="892"/>
                    </a:cubicBezTo>
                    <a:cubicBezTo>
                      <a:pt x="161" y="902"/>
                      <a:pt x="161" y="911"/>
                      <a:pt x="161" y="921"/>
                    </a:cubicBezTo>
                    <a:cubicBezTo>
                      <a:pt x="179" y="925"/>
                      <a:pt x="195" y="935"/>
                      <a:pt x="212" y="935"/>
                    </a:cubicBezTo>
                    <a:cubicBezTo>
                      <a:pt x="205" y="917"/>
                      <a:pt x="199" y="899"/>
                      <a:pt x="194" y="879"/>
                    </a:cubicBezTo>
                    <a:close/>
                    <a:moveTo>
                      <a:pt x="1457" y="881"/>
                    </a:moveTo>
                    <a:cubicBezTo>
                      <a:pt x="1457" y="880"/>
                      <a:pt x="1456" y="880"/>
                      <a:pt x="1455" y="880"/>
                    </a:cubicBezTo>
                    <a:cubicBezTo>
                      <a:pt x="1452" y="883"/>
                      <a:pt x="1447" y="885"/>
                      <a:pt x="1443" y="887"/>
                    </a:cubicBezTo>
                    <a:cubicBezTo>
                      <a:pt x="1443" y="905"/>
                      <a:pt x="1440" y="923"/>
                      <a:pt x="1441" y="937"/>
                    </a:cubicBezTo>
                    <a:cubicBezTo>
                      <a:pt x="1443" y="919"/>
                      <a:pt x="1456" y="899"/>
                      <a:pt x="1457" y="881"/>
                    </a:cubicBezTo>
                    <a:close/>
                    <a:moveTo>
                      <a:pt x="1505" y="889"/>
                    </a:moveTo>
                    <a:cubicBezTo>
                      <a:pt x="1506" y="893"/>
                      <a:pt x="1506" y="886"/>
                      <a:pt x="1505" y="889"/>
                    </a:cubicBezTo>
                    <a:close/>
                    <a:moveTo>
                      <a:pt x="1399" y="909"/>
                    </a:moveTo>
                    <a:cubicBezTo>
                      <a:pt x="1411" y="918"/>
                      <a:pt x="1425" y="927"/>
                      <a:pt x="1437" y="936"/>
                    </a:cubicBezTo>
                    <a:cubicBezTo>
                      <a:pt x="1438" y="922"/>
                      <a:pt x="1441" y="904"/>
                      <a:pt x="1439" y="889"/>
                    </a:cubicBezTo>
                    <a:cubicBezTo>
                      <a:pt x="1427" y="897"/>
                      <a:pt x="1413" y="903"/>
                      <a:pt x="1399" y="909"/>
                    </a:cubicBezTo>
                    <a:close/>
                    <a:moveTo>
                      <a:pt x="1354" y="924"/>
                    </a:moveTo>
                    <a:cubicBezTo>
                      <a:pt x="1366" y="919"/>
                      <a:pt x="1379" y="914"/>
                      <a:pt x="1392" y="910"/>
                    </a:cubicBezTo>
                    <a:cubicBezTo>
                      <a:pt x="1384" y="902"/>
                      <a:pt x="1373" y="898"/>
                      <a:pt x="1363" y="893"/>
                    </a:cubicBezTo>
                    <a:cubicBezTo>
                      <a:pt x="1360" y="903"/>
                      <a:pt x="1354" y="915"/>
                      <a:pt x="1354" y="924"/>
                    </a:cubicBezTo>
                    <a:close/>
                    <a:moveTo>
                      <a:pt x="131" y="910"/>
                    </a:moveTo>
                    <a:cubicBezTo>
                      <a:pt x="141" y="912"/>
                      <a:pt x="148" y="917"/>
                      <a:pt x="158" y="919"/>
                    </a:cubicBezTo>
                    <a:cubicBezTo>
                      <a:pt x="158" y="911"/>
                      <a:pt x="159" y="901"/>
                      <a:pt x="157" y="894"/>
                    </a:cubicBezTo>
                    <a:cubicBezTo>
                      <a:pt x="149" y="900"/>
                      <a:pt x="139" y="903"/>
                      <a:pt x="131" y="910"/>
                    </a:cubicBezTo>
                    <a:close/>
                    <a:moveTo>
                      <a:pt x="929" y="998"/>
                    </a:moveTo>
                    <a:cubicBezTo>
                      <a:pt x="936" y="999"/>
                      <a:pt x="939" y="996"/>
                      <a:pt x="945" y="997"/>
                    </a:cubicBezTo>
                    <a:cubicBezTo>
                      <a:pt x="947" y="964"/>
                      <a:pt x="945" y="928"/>
                      <a:pt x="944" y="895"/>
                    </a:cubicBezTo>
                    <a:cubicBezTo>
                      <a:pt x="941" y="931"/>
                      <a:pt x="935" y="964"/>
                      <a:pt x="929" y="998"/>
                    </a:cubicBezTo>
                    <a:close/>
                    <a:moveTo>
                      <a:pt x="98" y="897"/>
                    </a:moveTo>
                    <a:cubicBezTo>
                      <a:pt x="99" y="906"/>
                      <a:pt x="103" y="913"/>
                      <a:pt x="104" y="922"/>
                    </a:cubicBezTo>
                    <a:cubicBezTo>
                      <a:pt x="112" y="918"/>
                      <a:pt x="119" y="915"/>
                      <a:pt x="125" y="909"/>
                    </a:cubicBezTo>
                    <a:cubicBezTo>
                      <a:pt x="115" y="906"/>
                      <a:pt x="107" y="900"/>
                      <a:pt x="98" y="897"/>
                    </a:cubicBezTo>
                    <a:moveTo>
                      <a:pt x="98" y="897"/>
                    </a:moveTo>
                    <a:cubicBezTo>
                      <a:pt x="97" y="896"/>
                      <a:pt x="97" y="897"/>
                      <a:pt x="98" y="897"/>
                    </a:cubicBezTo>
                    <a:moveTo>
                      <a:pt x="128" y="911"/>
                    </a:moveTo>
                    <a:cubicBezTo>
                      <a:pt x="121" y="916"/>
                      <a:pt x="111" y="919"/>
                      <a:pt x="106" y="927"/>
                    </a:cubicBezTo>
                    <a:cubicBezTo>
                      <a:pt x="126" y="981"/>
                      <a:pt x="148" y="1032"/>
                      <a:pt x="176" y="1078"/>
                    </a:cubicBezTo>
                    <a:cubicBezTo>
                      <a:pt x="166" y="1030"/>
                      <a:pt x="160" y="978"/>
                      <a:pt x="158" y="922"/>
                    </a:cubicBezTo>
                    <a:cubicBezTo>
                      <a:pt x="148" y="919"/>
                      <a:pt x="138" y="915"/>
                      <a:pt x="128" y="911"/>
                    </a:cubicBezTo>
                    <a:close/>
                    <a:moveTo>
                      <a:pt x="1396" y="911"/>
                    </a:moveTo>
                    <a:cubicBezTo>
                      <a:pt x="1381" y="916"/>
                      <a:pt x="1367" y="923"/>
                      <a:pt x="1351" y="927"/>
                    </a:cubicBezTo>
                    <a:cubicBezTo>
                      <a:pt x="1341" y="957"/>
                      <a:pt x="1330" y="985"/>
                      <a:pt x="1317" y="1011"/>
                    </a:cubicBezTo>
                    <a:cubicBezTo>
                      <a:pt x="1313" y="1047"/>
                      <a:pt x="1308" y="1080"/>
                      <a:pt x="1301" y="1111"/>
                    </a:cubicBezTo>
                    <a:cubicBezTo>
                      <a:pt x="1314" y="1119"/>
                      <a:pt x="1324" y="1130"/>
                      <a:pt x="1336" y="1139"/>
                    </a:cubicBezTo>
                    <a:cubicBezTo>
                      <a:pt x="1376" y="1079"/>
                      <a:pt x="1414" y="1018"/>
                      <a:pt x="1437" y="941"/>
                    </a:cubicBezTo>
                    <a:cubicBezTo>
                      <a:pt x="1425" y="929"/>
                      <a:pt x="1410" y="920"/>
                      <a:pt x="1396" y="911"/>
                    </a:cubicBezTo>
                    <a:close/>
                    <a:moveTo>
                      <a:pt x="161" y="927"/>
                    </a:moveTo>
                    <a:cubicBezTo>
                      <a:pt x="163" y="985"/>
                      <a:pt x="170" y="1038"/>
                      <a:pt x="181" y="1087"/>
                    </a:cubicBezTo>
                    <a:cubicBezTo>
                      <a:pt x="190" y="1099"/>
                      <a:pt x="197" y="1113"/>
                      <a:pt x="206" y="1125"/>
                    </a:cubicBezTo>
                    <a:cubicBezTo>
                      <a:pt x="227" y="1107"/>
                      <a:pt x="251" y="1093"/>
                      <a:pt x="277" y="1081"/>
                    </a:cubicBezTo>
                    <a:cubicBezTo>
                      <a:pt x="255" y="1036"/>
                      <a:pt x="231" y="992"/>
                      <a:pt x="214" y="940"/>
                    </a:cubicBezTo>
                    <a:cubicBezTo>
                      <a:pt x="195" y="936"/>
                      <a:pt x="179" y="929"/>
                      <a:pt x="161" y="924"/>
                    </a:cubicBezTo>
                    <a:cubicBezTo>
                      <a:pt x="161" y="925"/>
                      <a:pt x="161" y="926"/>
                      <a:pt x="161" y="927"/>
                    </a:cubicBezTo>
                    <a:close/>
                    <a:moveTo>
                      <a:pt x="66" y="965"/>
                    </a:moveTo>
                    <a:cubicBezTo>
                      <a:pt x="64" y="977"/>
                      <a:pt x="71" y="992"/>
                      <a:pt x="74" y="1005"/>
                    </a:cubicBezTo>
                    <a:cubicBezTo>
                      <a:pt x="77" y="1019"/>
                      <a:pt x="78" y="1032"/>
                      <a:pt x="82" y="1043"/>
                    </a:cubicBezTo>
                    <a:cubicBezTo>
                      <a:pt x="93" y="1070"/>
                      <a:pt x="112" y="1092"/>
                      <a:pt x="122" y="1112"/>
                    </a:cubicBezTo>
                    <a:cubicBezTo>
                      <a:pt x="142" y="1123"/>
                      <a:pt x="164" y="1137"/>
                      <a:pt x="186" y="1144"/>
                    </a:cubicBezTo>
                    <a:cubicBezTo>
                      <a:pt x="195" y="1137"/>
                      <a:pt x="189" y="1127"/>
                      <a:pt x="186" y="1118"/>
                    </a:cubicBezTo>
                    <a:cubicBezTo>
                      <a:pt x="183" y="1108"/>
                      <a:pt x="181" y="1097"/>
                      <a:pt x="179" y="1087"/>
                    </a:cubicBezTo>
                    <a:cubicBezTo>
                      <a:pt x="149" y="1039"/>
                      <a:pt x="124" y="986"/>
                      <a:pt x="104" y="928"/>
                    </a:cubicBezTo>
                    <a:cubicBezTo>
                      <a:pt x="104" y="927"/>
                      <a:pt x="104" y="927"/>
                      <a:pt x="103" y="927"/>
                    </a:cubicBezTo>
                    <a:cubicBezTo>
                      <a:pt x="95" y="937"/>
                      <a:pt x="68" y="952"/>
                      <a:pt x="66" y="965"/>
                    </a:cubicBezTo>
                    <a:close/>
                    <a:moveTo>
                      <a:pt x="1322" y="936"/>
                    </a:moveTo>
                    <a:cubicBezTo>
                      <a:pt x="1322" y="959"/>
                      <a:pt x="1319" y="983"/>
                      <a:pt x="1319" y="1003"/>
                    </a:cubicBezTo>
                    <a:cubicBezTo>
                      <a:pt x="1329" y="979"/>
                      <a:pt x="1339" y="954"/>
                      <a:pt x="1349" y="929"/>
                    </a:cubicBezTo>
                    <a:cubicBezTo>
                      <a:pt x="1339" y="930"/>
                      <a:pt x="1332" y="935"/>
                      <a:pt x="1322" y="936"/>
                    </a:cubicBezTo>
                    <a:close/>
                    <a:moveTo>
                      <a:pt x="1216" y="963"/>
                    </a:moveTo>
                    <a:cubicBezTo>
                      <a:pt x="1206" y="996"/>
                      <a:pt x="1192" y="1025"/>
                      <a:pt x="1179" y="1055"/>
                    </a:cubicBezTo>
                    <a:cubicBezTo>
                      <a:pt x="1212" y="1065"/>
                      <a:pt x="1242" y="1078"/>
                      <a:pt x="1271" y="1093"/>
                    </a:cubicBezTo>
                    <a:cubicBezTo>
                      <a:pt x="1278" y="1080"/>
                      <a:pt x="1286" y="1067"/>
                      <a:pt x="1294" y="1053"/>
                    </a:cubicBezTo>
                    <a:cubicBezTo>
                      <a:pt x="1300" y="1041"/>
                      <a:pt x="1312" y="1023"/>
                      <a:pt x="1315" y="1010"/>
                    </a:cubicBezTo>
                    <a:cubicBezTo>
                      <a:pt x="1320" y="988"/>
                      <a:pt x="1316" y="966"/>
                      <a:pt x="1319" y="938"/>
                    </a:cubicBezTo>
                    <a:cubicBezTo>
                      <a:pt x="1318" y="938"/>
                      <a:pt x="1318" y="938"/>
                      <a:pt x="1317" y="938"/>
                    </a:cubicBezTo>
                    <a:cubicBezTo>
                      <a:pt x="1285" y="948"/>
                      <a:pt x="1252" y="957"/>
                      <a:pt x="1216" y="963"/>
                    </a:cubicBezTo>
                    <a:close/>
                    <a:moveTo>
                      <a:pt x="280" y="1079"/>
                    </a:moveTo>
                    <a:cubicBezTo>
                      <a:pt x="293" y="1075"/>
                      <a:pt x="305" y="1068"/>
                      <a:pt x="319" y="1064"/>
                    </a:cubicBezTo>
                    <a:cubicBezTo>
                      <a:pt x="315" y="1033"/>
                      <a:pt x="314" y="998"/>
                      <a:pt x="313" y="964"/>
                    </a:cubicBezTo>
                    <a:cubicBezTo>
                      <a:pt x="279" y="958"/>
                      <a:pt x="248" y="950"/>
                      <a:pt x="217" y="941"/>
                    </a:cubicBezTo>
                    <a:cubicBezTo>
                      <a:pt x="234" y="991"/>
                      <a:pt x="256" y="1036"/>
                      <a:pt x="280" y="1079"/>
                    </a:cubicBezTo>
                    <a:close/>
                    <a:moveTo>
                      <a:pt x="1403" y="1111"/>
                    </a:moveTo>
                    <a:cubicBezTo>
                      <a:pt x="1431" y="1098"/>
                      <a:pt x="1442" y="1073"/>
                      <a:pt x="1454" y="1045"/>
                    </a:cubicBezTo>
                    <a:cubicBezTo>
                      <a:pt x="1461" y="1029"/>
                      <a:pt x="1470" y="1013"/>
                      <a:pt x="1474" y="997"/>
                    </a:cubicBezTo>
                    <a:cubicBezTo>
                      <a:pt x="1468" y="975"/>
                      <a:pt x="1455" y="958"/>
                      <a:pt x="1440" y="944"/>
                    </a:cubicBezTo>
                    <a:cubicBezTo>
                      <a:pt x="1433" y="1004"/>
                      <a:pt x="1418" y="1062"/>
                      <a:pt x="1403" y="1111"/>
                    </a:cubicBezTo>
                    <a:close/>
                    <a:moveTo>
                      <a:pt x="1491" y="959"/>
                    </a:moveTo>
                    <a:cubicBezTo>
                      <a:pt x="1492" y="962"/>
                      <a:pt x="1492" y="955"/>
                      <a:pt x="1491" y="959"/>
                    </a:cubicBezTo>
                    <a:close/>
                    <a:moveTo>
                      <a:pt x="1434" y="961"/>
                    </a:moveTo>
                    <a:cubicBezTo>
                      <a:pt x="1434" y="961"/>
                      <a:pt x="1435" y="962"/>
                      <a:pt x="1434" y="961"/>
                    </a:cubicBezTo>
                    <a:close/>
                    <a:moveTo>
                      <a:pt x="1490" y="963"/>
                    </a:moveTo>
                    <a:cubicBezTo>
                      <a:pt x="1489" y="963"/>
                      <a:pt x="1489" y="963"/>
                      <a:pt x="1489" y="963"/>
                    </a:cubicBezTo>
                    <a:cubicBezTo>
                      <a:pt x="1487" y="979"/>
                      <a:pt x="1474" y="992"/>
                      <a:pt x="1479" y="1008"/>
                    </a:cubicBezTo>
                    <a:cubicBezTo>
                      <a:pt x="1482" y="992"/>
                      <a:pt x="1488" y="980"/>
                      <a:pt x="1490" y="963"/>
                    </a:cubicBezTo>
                    <a:moveTo>
                      <a:pt x="1490" y="963"/>
                    </a:moveTo>
                    <a:cubicBezTo>
                      <a:pt x="1493" y="962"/>
                      <a:pt x="1489" y="958"/>
                      <a:pt x="1490" y="963"/>
                    </a:cubicBezTo>
                    <a:moveTo>
                      <a:pt x="1350" y="1123"/>
                    </a:moveTo>
                    <a:cubicBezTo>
                      <a:pt x="1346" y="1129"/>
                      <a:pt x="1339" y="1135"/>
                      <a:pt x="1338" y="1144"/>
                    </a:cubicBezTo>
                    <a:cubicBezTo>
                      <a:pt x="1361" y="1136"/>
                      <a:pt x="1379" y="1125"/>
                      <a:pt x="1398" y="1114"/>
                    </a:cubicBezTo>
                    <a:cubicBezTo>
                      <a:pt x="1414" y="1068"/>
                      <a:pt x="1429" y="1017"/>
                      <a:pt x="1433" y="963"/>
                    </a:cubicBezTo>
                    <a:cubicBezTo>
                      <a:pt x="1411" y="1021"/>
                      <a:pt x="1383" y="1076"/>
                      <a:pt x="1350" y="1123"/>
                    </a:cubicBezTo>
                    <a:close/>
                    <a:moveTo>
                      <a:pt x="1213" y="965"/>
                    </a:moveTo>
                    <a:cubicBezTo>
                      <a:pt x="1195" y="967"/>
                      <a:pt x="1173" y="973"/>
                      <a:pt x="1153" y="976"/>
                    </a:cubicBezTo>
                    <a:cubicBezTo>
                      <a:pt x="1153" y="1000"/>
                      <a:pt x="1152" y="1023"/>
                      <a:pt x="1150" y="1046"/>
                    </a:cubicBezTo>
                    <a:cubicBezTo>
                      <a:pt x="1160" y="1048"/>
                      <a:pt x="1167" y="1052"/>
                      <a:pt x="1177" y="1054"/>
                    </a:cubicBezTo>
                    <a:cubicBezTo>
                      <a:pt x="1190" y="1025"/>
                      <a:pt x="1202" y="996"/>
                      <a:pt x="1213" y="965"/>
                    </a:cubicBezTo>
                    <a:close/>
                    <a:moveTo>
                      <a:pt x="321" y="1062"/>
                    </a:moveTo>
                    <a:cubicBezTo>
                      <a:pt x="341" y="1057"/>
                      <a:pt x="360" y="1049"/>
                      <a:pt x="380" y="1044"/>
                    </a:cubicBezTo>
                    <a:cubicBezTo>
                      <a:pt x="370" y="1020"/>
                      <a:pt x="361" y="996"/>
                      <a:pt x="352" y="972"/>
                    </a:cubicBezTo>
                    <a:cubicBezTo>
                      <a:pt x="339" y="970"/>
                      <a:pt x="328" y="967"/>
                      <a:pt x="316" y="965"/>
                    </a:cubicBezTo>
                    <a:cubicBezTo>
                      <a:pt x="316" y="999"/>
                      <a:pt x="319" y="1030"/>
                      <a:pt x="321" y="1062"/>
                    </a:cubicBezTo>
                    <a:close/>
                    <a:moveTo>
                      <a:pt x="75" y="1024"/>
                    </a:moveTo>
                    <a:cubicBezTo>
                      <a:pt x="70" y="1006"/>
                      <a:pt x="68" y="985"/>
                      <a:pt x="62" y="968"/>
                    </a:cubicBezTo>
                    <a:cubicBezTo>
                      <a:pt x="50" y="986"/>
                      <a:pt x="69" y="1007"/>
                      <a:pt x="75" y="1024"/>
                    </a:cubicBezTo>
                    <a:close/>
                    <a:moveTo>
                      <a:pt x="382" y="1043"/>
                    </a:moveTo>
                    <a:cubicBezTo>
                      <a:pt x="421" y="1032"/>
                      <a:pt x="463" y="1025"/>
                      <a:pt x="504" y="1016"/>
                    </a:cubicBezTo>
                    <a:cubicBezTo>
                      <a:pt x="501" y="1009"/>
                      <a:pt x="499" y="1001"/>
                      <a:pt x="497" y="992"/>
                    </a:cubicBezTo>
                    <a:cubicBezTo>
                      <a:pt x="448" y="988"/>
                      <a:pt x="402" y="981"/>
                      <a:pt x="356" y="973"/>
                    </a:cubicBezTo>
                    <a:cubicBezTo>
                      <a:pt x="363" y="998"/>
                      <a:pt x="374" y="1019"/>
                      <a:pt x="382" y="1043"/>
                    </a:cubicBezTo>
                    <a:close/>
                    <a:moveTo>
                      <a:pt x="1150" y="976"/>
                    </a:moveTo>
                    <a:cubicBezTo>
                      <a:pt x="1125" y="981"/>
                      <a:pt x="1099" y="984"/>
                      <a:pt x="1073" y="987"/>
                    </a:cubicBezTo>
                    <a:cubicBezTo>
                      <a:pt x="1069" y="1000"/>
                      <a:pt x="1065" y="1012"/>
                      <a:pt x="1062" y="1025"/>
                    </a:cubicBezTo>
                    <a:cubicBezTo>
                      <a:pt x="1092" y="1029"/>
                      <a:pt x="1121" y="1039"/>
                      <a:pt x="1148" y="1044"/>
                    </a:cubicBezTo>
                    <a:cubicBezTo>
                      <a:pt x="1148" y="1021"/>
                      <a:pt x="1151" y="996"/>
                      <a:pt x="1150" y="976"/>
                    </a:cubicBezTo>
                    <a:close/>
                    <a:moveTo>
                      <a:pt x="95" y="1092"/>
                    </a:moveTo>
                    <a:cubicBezTo>
                      <a:pt x="95" y="1093"/>
                      <a:pt x="96" y="1092"/>
                      <a:pt x="95" y="1092"/>
                    </a:cubicBezTo>
                    <a:moveTo>
                      <a:pt x="95" y="1092"/>
                    </a:moveTo>
                    <a:cubicBezTo>
                      <a:pt x="84" y="1053"/>
                      <a:pt x="70" y="1017"/>
                      <a:pt x="54" y="984"/>
                    </a:cubicBezTo>
                    <a:cubicBezTo>
                      <a:pt x="36" y="1032"/>
                      <a:pt x="67" y="1071"/>
                      <a:pt x="95" y="1092"/>
                    </a:cubicBezTo>
                    <a:moveTo>
                      <a:pt x="950" y="1000"/>
                    </a:moveTo>
                    <a:cubicBezTo>
                      <a:pt x="950" y="1002"/>
                      <a:pt x="950" y="1004"/>
                      <a:pt x="950" y="1007"/>
                    </a:cubicBezTo>
                    <a:cubicBezTo>
                      <a:pt x="986" y="1013"/>
                      <a:pt x="1024" y="1017"/>
                      <a:pt x="1059" y="1024"/>
                    </a:cubicBezTo>
                    <a:cubicBezTo>
                      <a:pt x="1063" y="1013"/>
                      <a:pt x="1066" y="1000"/>
                      <a:pt x="1070" y="988"/>
                    </a:cubicBezTo>
                    <a:cubicBezTo>
                      <a:pt x="1030" y="992"/>
                      <a:pt x="990" y="996"/>
                      <a:pt x="950" y="1000"/>
                    </a:cubicBezTo>
                    <a:close/>
                    <a:moveTo>
                      <a:pt x="508" y="1016"/>
                    </a:moveTo>
                    <a:cubicBezTo>
                      <a:pt x="508" y="1009"/>
                      <a:pt x="508" y="1001"/>
                      <a:pt x="508" y="994"/>
                    </a:cubicBezTo>
                    <a:cubicBezTo>
                      <a:pt x="506" y="993"/>
                      <a:pt x="503" y="993"/>
                      <a:pt x="500" y="993"/>
                    </a:cubicBezTo>
                    <a:cubicBezTo>
                      <a:pt x="502" y="1001"/>
                      <a:pt x="502" y="1011"/>
                      <a:pt x="508" y="1016"/>
                    </a:cubicBezTo>
                    <a:close/>
                    <a:moveTo>
                      <a:pt x="510" y="994"/>
                    </a:moveTo>
                    <a:cubicBezTo>
                      <a:pt x="511" y="1001"/>
                      <a:pt x="509" y="1011"/>
                      <a:pt x="511" y="1016"/>
                    </a:cubicBezTo>
                    <a:cubicBezTo>
                      <a:pt x="545" y="1009"/>
                      <a:pt x="584" y="1008"/>
                      <a:pt x="619" y="1002"/>
                    </a:cubicBezTo>
                    <a:cubicBezTo>
                      <a:pt x="581" y="1001"/>
                      <a:pt x="546" y="997"/>
                      <a:pt x="510" y="994"/>
                    </a:cubicBezTo>
                    <a:close/>
                    <a:moveTo>
                      <a:pt x="684" y="1002"/>
                    </a:moveTo>
                    <a:cubicBezTo>
                      <a:pt x="696" y="1003"/>
                      <a:pt x="716" y="1005"/>
                      <a:pt x="726" y="1001"/>
                    </a:cubicBezTo>
                    <a:cubicBezTo>
                      <a:pt x="714" y="999"/>
                      <a:pt x="697" y="1001"/>
                      <a:pt x="684" y="1002"/>
                    </a:cubicBezTo>
                    <a:close/>
                    <a:moveTo>
                      <a:pt x="728" y="1002"/>
                    </a:moveTo>
                    <a:cubicBezTo>
                      <a:pt x="729" y="1002"/>
                      <a:pt x="729" y="1003"/>
                      <a:pt x="730" y="1003"/>
                    </a:cubicBezTo>
                    <a:cubicBezTo>
                      <a:pt x="740" y="1004"/>
                      <a:pt x="752" y="1004"/>
                      <a:pt x="763" y="1004"/>
                    </a:cubicBezTo>
                    <a:cubicBezTo>
                      <a:pt x="770" y="1004"/>
                      <a:pt x="780" y="1006"/>
                      <a:pt x="783" y="1001"/>
                    </a:cubicBezTo>
                    <a:cubicBezTo>
                      <a:pt x="767" y="1000"/>
                      <a:pt x="743" y="998"/>
                      <a:pt x="728" y="1002"/>
                    </a:cubicBezTo>
                    <a:close/>
                    <a:moveTo>
                      <a:pt x="786" y="1002"/>
                    </a:moveTo>
                    <a:cubicBezTo>
                      <a:pt x="802" y="1003"/>
                      <a:pt x="826" y="1004"/>
                      <a:pt x="840" y="1001"/>
                    </a:cubicBezTo>
                    <a:cubicBezTo>
                      <a:pt x="822" y="1003"/>
                      <a:pt x="801" y="997"/>
                      <a:pt x="786" y="1002"/>
                    </a:cubicBezTo>
                    <a:close/>
                    <a:moveTo>
                      <a:pt x="928" y="1005"/>
                    </a:moveTo>
                    <a:cubicBezTo>
                      <a:pt x="933" y="1006"/>
                      <a:pt x="939" y="1006"/>
                      <a:pt x="945" y="1007"/>
                    </a:cubicBezTo>
                    <a:cubicBezTo>
                      <a:pt x="945" y="1004"/>
                      <a:pt x="945" y="1002"/>
                      <a:pt x="945" y="1000"/>
                    </a:cubicBezTo>
                    <a:cubicBezTo>
                      <a:pt x="939" y="1001"/>
                      <a:pt x="929" y="998"/>
                      <a:pt x="928" y="1005"/>
                    </a:cubicBezTo>
                    <a:close/>
                    <a:moveTo>
                      <a:pt x="905" y="1003"/>
                    </a:moveTo>
                    <a:cubicBezTo>
                      <a:pt x="911" y="1002"/>
                      <a:pt x="924" y="1008"/>
                      <a:pt x="926" y="1002"/>
                    </a:cubicBezTo>
                    <a:cubicBezTo>
                      <a:pt x="921" y="1001"/>
                      <a:pt x="911" y="1002"/>
                      <a:pt x="905" y="1003"/>
                    </a:cubicBezTo>
                    <a:close/>
                    <a:moveTo>
                      <a:pt x="510" y="1018"/>
                    </a:moveTo>
                    <a:cubicBezTo>
                      <a:pt x="512" y="1043"/>
                      <a:pt x="518" y="1061"/>
                      <a:pt x="525" y="1080"/>
                    </a:cubicBezTo>
                    <a:cubicBezTo>
                      <a:pt x="539" y="1124"/>
                      <a:pt x="556" y="1165"/>
                      <a:pt x="573" y="1204"/>
                    </a:cubicBezTo>
                    <a:cubicBezTo>
                      <a:pt x="605" y="1200"/>
                      <a:pt x="636" y="1195"/>
                      <a:pt x="671" y="1193"/>
                    </a:cubicBezTo>
                    <a:cubicBezTo>
                      <a:pt x="658" y="1137"/>
                      <a:pt x="651" y="1072"/>
                      <a:pt x="641" y="1014"/>
                    </a:cubicBezTo>
                    <a:cubicBezTo>
                      <a:pt x="641" y="1011"/>
                      <a:pt x="643" y="1004"/>
                      <a:pt x="637" y="1004"/>
                    </a:cubicBezTo>
                    <a:cubicBezTo>
                      <a:pt x="594" y="1007"/>
                      <a:pt x="552" y="1012"/>
                      <a:pt x="510" y="1018"/>
                    </a:cubicBezTo>
                    <a:close/>
                    <a:moveTo>
                      <a:pt x="675" y="1192"/>
                    </a:moveTo>
                    <a:cubicBezTo>
                      <a:pt x="693" y="1192"/>
                      <a:pt x="708" y="1189"/>
                      <a:pt x="726" y="1190"/>
                    </a:cubicBezTo>
                    <a:cubicBezTo>
                      <a:pt x="727" y="1128"/>
                      <a:pt x="725" y="1068"/>
                      <a:pt x="726" y="1006"/>
                    </a:cubicBezTo>
                    <a:cubicBezTo>
                      <a:pt x="697" y="1006"/>
                      <a:pt x="672" y="1004"/>
                      <a:pt x="645" y="1004"/>
                    </a:cubicBezTo>
                    <a:cubicBezTo>
                      <a:pt x="650" y="1067"/>
                      <a:pt x="663" y="1131"/>
                      <a:pt x="675" y="1192"/>
                    </a:cubicBezTo>
                    <a:close/>
                    <a:moveTo>
                      <a:pt x="786" y="1006"/>
                    </a:moveTo>
                    <a:cubicBezTo>
                      <a:pt x="784" y="1067"/>
                      <a:pt x="782" y="1128"/>
                      <a:pt x="780" y="1189"/>
                    </a:cubicBezTo>
                    <a:cubicBezTo>
                      <a:pt x="815" y="1190"/>
                      <a:pt x="851" y="1191"/>
                      <a:pt x="883" y="1196"/>
                    </a:cubicBezTo>
                    <a:cubicBezTo>
                      <a:pt x="899" y="1135"/>
                      <a:pt x="913" y="1072"/>
                      <a:pt x="925" y="1007"/>
                    </a:cubicBezTo>
                    <a:cubicBezTo>
                      <a:pt x="882" y="1000"/>
                      <a:pt x="834" y="1007"/>
                      <a:pt x="786" y="1006"/>
                    </a:cubicBezTo>
                    <a:close/>
                    <a:moveTo>
                      <a:pt x="1439" y="1083"/>
                    </a:moveTo>
                    <a:cubicBezTo>
                      <a:pt x="1437" y="1084"/>
                      <a:pt x="1439" y="1084"/>
                      <a:pt x="1439" y="1083"/>
                    </a:cubicBezTo>
                    <a:moveTo>
                      <a:pt x="1439" y="1083"/>
                    </a:moveTo>
                    <a:cubicBezTo>
                      <a:pt x="1439" y="1083"/>
                      <a:pt x="1440" y="1083"/>
                      <a:pt x="1440" y="1083"/>
                    </a:cubicBezTo>
                    <a:cubicBezTo>
                      <a:pt x="1458" y="1065"/>
                      <a:pt x="1478" y="1037"/>
                      <a:pt x="1474" y="1004"/>
                    </a:cubicBezTo>
                    <a:cubicBezTo>
                      <a:pt x="1465" y="1033"/>
                      <a:pt x="1451" y="1057"/>
                      <a:pt x="1439" y="1083"/>
                    </a:cubicBezTo>
                    <a:moveTo>
                      <a:pt x="729" y="1190"/>
                    </a:moveTo>
                    <a:cubicBezTo>
                      <a:pt x="744" y="1188"/>
                      <a:pt x="762" y="1189"/>
                      <a:pt x="777" y="1189"/>
                    </a:cubicBezTo>
                    <a:cubicBezTo>
                      <a:pt x="780" y="1129"/>
                      <a:pt x="782" y="1067"/>
                      <a:pt x="783" y="1006"/>
                    </a:cubicBezTo>
                    <a:cubicBezTo>
                      <a:pt x="765" y="1006"/>
                      <a:pt x="747" y="1006"/>
                      <a:pt x="729" y="1006"/>
                    </a:cubicBezTo>
                    <a:cubicBezTo>
                      <a:pt x="727" y="1066"/>
                      <a:pt x="729" y="1129"/>
                      <a:pt x="729" y="1190"/>
                    </a:cubicBezTo>
                    <a:close/>
                    <a:moveTo>
                      <a:pt x="928" y="1007"/>
                    </a:moveTo>
                    <a:cubicBezTo>
                      <a:pt x="915" y="1072"/>
                      <a:pt x="903" y="1136"/>
                      <a:pt x="885" y="1196"/>
                    </a:cubicBezTo>
                    <a:cubicBezTo>
                      <a:pt x="903" y="1197"/>
                      <a:pt x="920" y="1200"/>
                      <a:pt x="937" y="1202"/>
                    </a:cubicBezTo>
                    <a:cubicBezTo>
                      <a:pt x="941" y="1140"/>
                      <a:pt x="945" y="1077"/>
                      <a:pt x="945" y="1009"/>
                    </a:cubicBezTo>
                    <a:cubicBezTo>
                      <a:pt x="940" y="1009"/>
                      <a:pt x="934" y="1008"/>
                      <a:pt x="928" y="1007"/>
                    </a:cubicBezTo>
                    <a:close/>
                    <a:moveTo>
                      <a:pt x="951" y="1010"/>
                    </a:moveTo>
                    <a:cubicBezTo>
                      <a:pt x="947" y="1074"/>
                      <a:pt x="947" y="1142"/>
                      <a:pt x="941" y="1203"/>
                    </a:cubicBezTo>
                    <a:cubicBezTo>
                      <a:pt x="955" y="1205"/>
                      <a:pt x="968" y="1208"/>
                      <a:pt x="981" y="1211"/>
                    </a:cubicBezTo>
                    <a:cubicBezTo>
                      <a:pt x="1010" y="1153"/>
                      <a:pt x="1037" y="1093"/>
                      <a:pt x="1058" y="1026"/>
                    </a:cubicBezTo>
                    <a:cubicBezTo>
                      <a:pt x="1022" y="1020"/>
                      <a:pt x="989" y="1013"/>
                      <a:pt x="951" y="1010"/>
                    </a:cubicBezTo>
                    <a:close/>
                    <a:moveTo>
                      <a:pt x="507" y="1020"/>
                    </a:moveTo>
                    <a:cubicBezTo>
                      <a:pt x="508" y="1024"/>
                      <a:pt x="508" y="1016"/>
                      <a:pt x="507" y="1020"/>
                    </a:cubicBezTo>
                    <a:close/>
                    <a:moveTo>
                      <a:pt x="384" y="1045"/>
                    </a:moveTo>
                    <a:cubicBezTo>
                      <a:pt x="411" y="1107"/>
                      <a:pt x="441" y="1167"/>
                      <a:pt x="479" y="1218"/>
                    </a:cubicBezTo>
                    <a:cubicBezTo>
                      <a:pt x="493" y="1223"/>
                      <a:pt x="508" y="1219"/>
                      <a:pt x="522" y="1216"/>
                    </a:cubicBezTo>
                    <a:cubicBezTo>
                      <a:pt x="517" y="1173"/>
                      <a:pt x="513" y="1126"/>
                      <a:pt x="510" y="1081"/>
                    </a:cubicBezTo>
                    <a:cubicBezTo>
                      <a:pt x="509" y="1066"/>
                      <a:pt x="511" y="1049"/>
                      <a:pt x="509" y="1034"/>
                    </a:cubicBezTo>
                    <a:cubicBezTo>
                      <a:pt x="508" y="1030"/>
                      <a:pt x="506" y="1023"/>
                      <a:pt x="502" y="1020"/>
                    </a:cubicBezTo>
                    <a:cubicBezTo>
                      <a:pt x="460" y="1026"/>
                      <a:pt x="422" y="1036"/>
                      <a:pt x="384" y="1045"/>
                    </a:cubicBezTo>
                    <a:close/>
                    <a:moveTo>
                      <a:pt x="1274" y="1095"/>
                    </a:moveTo>
                    <a:cubicBezTo>
                      <a:pt x="1283" y="1099"/>
                      <a:pt x="1290" y="1105"/>
                      <a:pt x="1299" y="1109"/>
                    </a:cubicBezTo>
                    <a:cubicBezTo>
                      <a:pt x="1304" y="1081"/>
                      <a:pt x="1312" y="1050"/>
                      <a:pt x="1312" y="1021"/>
                    </a:cubicBezTo>
                    <a:cubicBezTo>
                      <a:pt x="1301" y="1047"/>
                      <a:pt x="1286" y="1070"/>
                      <a:pt x="1274" y="1095"/>
                    </a:cubicBezTo>
                    <a:close/>
                    <a:moveTo>
                      <a:pt x="508" y="1025"/>
                    </a:moveTo>
                    <a:cubicBezTo>
                      <a:pt x="507" y="1024"/>
                      <a:pt x="508" y="1025"/>
                      <a:pt x="508" y="1025"/>
                    </a:cubicBezTo>
                    <a:close/>
                    <a:moveTo>
                      <a:pt x="75" y="1026"/>
                    </a:moveTo>
                    <a:cubicBezTo>
                      <a:pt x="75" y="1026"/>
                      <a:pt x="74" y="1025"/>
                      <a:pt x="75" y="1026"/>
                    </a:cubicBezTo>
                    <a:close/>
                    <a:moveTo>
                      <a:pt x="1062" y="1027"/>
                    </a:moveTo>
                    <a:cubicBezTo>
                      <a:pt x="1038" y="1091"/>
                      <a:pt x="1014" y="1154"/>
                      <a:pt x="984" y="1211"/>
                    </a:cubicBezTo>
                    <a:cubicBezTo>
                      <a:pt x="1013" y="1223"/>
                      <a:pt x="1049" y="1219"/>
                      <a:pt x="1083" y="1213"/>
                    </a:cubicBezTo>
                    <a:cubicBezTo>
                      <a:pt x="1092" y="1199"/>
                      <a:pt x="1103" y="1185"/>
                      <a:pt x="1112" y="1170"/>
                    </a:cubicBezTo>
                    <a:cubicBezTo>
                      <a:pt x="1121" y="1156"/>
                      <a:pt x="1134" y="1140"/>
                      <a:pt x="1139" y="1124"/>
                    </a:cubicBezTo>
                    <a:cubicBezTo>
                      <a:pt x="1146" y="1101"/>
                      <a:pt x="1143" y="1075"/>
                      <a:pt x="1147" y="1047"/>
                    </a:cubicBezTo>
                    <a:cubicBezTo>
                      <a:pt x="1119" y="1040"/>
                      <a:pt x="1091" y="1033"/>
                      <a:pt x="1062" y="1027"/>
                    </a:cubicBezTo>
                    <a:close/>
                    <a:moveTo>
                      <a:pt x="526" y="1215"/>
                    </a:moveTo>
                    <a:cubicBezTo>
                      <a:pt x="539" y="1211"/>
                      <a:pt x="555" y="1208"/>
                      <a:pt x="570" y="1205"/>
                    </a:cubicBezTo>
                    <a:cubicBezTo>
                      <a:pt x="548" y="1154"/>
                      <a:pt x="529" y="1101"/>
                      <a:pt x="511" y="1046"/>
                    </a:cubicBezTo>
                    <a:cubicBezTo>
                      <a:pt x="514" y="1104"/>
                      <a:pt x="518" y="1162"/>
                      <a:pt x="526" y="1215"/>
                    </a:cubicBezTo>
                    <a:close/>
                    <a:moveTo>
                      <a:pt x="322" y="1065"/>
                    </a:moveTo>
                    <a:cubicBezTo>
                      <a:pt x="325" y="1103"/>
                      <a:pt x="332" y="1137"/>
                      <a:pt x="339" y="1171"/>
                    </a:cubicBezTo>
                    <a:cubicBezTo>
                      <a:pt x="345" y="1180"/>
                      <a:pt x="353" y="1188"/>
                      <a:pt x="359" y="1198"/>
                    </a:cubicBezTo>
                    <a:cubicBezTo>
                      <a:pt x="396" y="1205"/>
                      <a:pt x="436" y="1213"/>
                      <a:pt x="474" y="1217"/>
                    </a:cubicBezTo>
                    <a:cubicBezTo>
                      <a:pt x="441" y="1168"/>
                      <a:pt x="410" y="1113"/>
                      <a:pt x="386" y="1057"/>
                    </a:cubicBezTo>
                    <a:cubicBezTo>
                      <a:pt x="384" y="1054"/>
                      <a:pt x="384" y="1048"/>
                      <a:pt x="379" y="1047"/>
                    </a:cubicBezTo>
                    <a:cubicBezTo>
                      <a:pt x="359" y="1052"/>
                      <a:pt x="341" y="1059"/>
                      <a:pt x="322" y="1065"/>
                    </a:cubicBezTo>
                    <a:close/>
                    <a:moveTo>
                      <a:pt x="1144" y="1118"/>
                    </a:moveTo>
                    <a:cubicBezTo>
                      <a:pt x="1154" y="1097"/>
                      <a:pt x="1166" y="1078"/>
                      <a:pt x="1175" y="1055"/>
                    </a:cubicBezTo>
                    <a:cubicBezTo>
                      <a:pt x="1166" y="1054"/>
                      <a:pt x="1159" y="1050"/>
                      <a:pt x="1150" y="1049"/>
                    </a:cubicBezTo>
                    <a:cubicBezTo>
                      <a:pt x="1149" y="1072"/>
                      <a:pt x="1144" y="1097"/>
                      <a:pt x="1144" y="1118"/>
                    </a:cubicBezTo>
                    <a:close/>
                    <a:moveTo>
                      <a:pt x="87" y="1057"/>
                    </a:moveTo>
                    <a:cubicBezTo>
                      <a:pt x="94" y="1077"/>
                      <a:pt x="96" y="1100"/>
                      <a:pt x="115" y="1107"/>
                    </a:cubicBezTo>
                    <a:cubicBezTo>
                      <a:pt x="106" y="1091"/>
                      <a:pt x="96" y="1074"/>
                      <a:pt x="87" y="1057"/>
                    </a:cubicBezTo>
                    <a:moveTo>
                      <a:pt x="87" y="1057"/>
                    </a:moveTo>
                    <a:cubicBezTo>
                      <a:pt x="88" y="1053"/>
                      <a:pt x="84" y="1057"/>
                      <a:pt x="87" y="1057"/>
                    </a:cubicBezTo>
                    <a:moveTo>
                      <a:pt x="1177" y="1057"/>
                    </a:moveTo>
                    <a:cubicBezTo>
                      <a:pt x="1172" y="1069"/>
                      <a:pt x="1167" y="1081"/>
                      <a:pt x="1160" y="1093"/>
                    </a:cubicBezTo>
                    <a:cubicBezTo>
                      <a:pt x="1155" y="1103"/>
                      <a:pt x="1146" y="1113"/>
                      <a:pt x="1142" y="1125"/>
                    </a:cubicBezTo>
                    <a:cubicBezTo>
                      <a:pt x="1138" y="1137"/>
                      <a:pt x="1139" y="1152"/>
                      <a:pt x="1136" y="1165"/>
                    </a:cubicBezTo>
                    <a:cubicBezTo>
                      <a:pt x="1134" y="1178"/>
                      <a:pt x="1131" y="1190"/>
                      <a:pt x="1129" y="1204"/>
                    </a:cubicBezTo>
                    <a:cubicBezTo>
                      <a:pt x="1155" y="1201"/>
                      <a:pt x="1179" y="1194"/>
                      <a:pt x="1204" y="1189"/>
                    </a:cubicBezTo>
                    <a:cubicBezTo>
                      <a:pt x="1227" y="1159"/>
                      <a:pt x="1250" y="1129"/>
                      <a:pt x="1269" y="1095"/>
                    </a:cubicBezTo>
                    <a:cubicBezTo>
                      <a:pt x="1240" y="1080"/>
                      <a:pt x="1211" y="1066"/>
                      <a:pt x="1177" y="1057"/>
                    </a:cubicBezTo>
                    <a:close/>
                    <a:moveTo>
                      <a:pt x="64" y="1065"/>
                    </a:moveTo>
                    <a:cubicBezTo>
                      <a:pt x="88" y="1121"/>
                      <a:pt x="118" y="1171"/>
                      <a:pt x="154" y="1215"/>
                    </a:cubicBezTo>
                    <a:moveTo>
                      <a:pt x="154" y="1215"/>
                    </a:moveTo>
                    <a:cubicBezTo>
                      <a:pt x="154" y="1216"/>
                      <a:pt x="155" y="1216"/>
                      <a:pt x="155" y="1216"/>
                    </a:cubicBezTo>
                    <a:moveTo>
                      <a:pt x="155" y="1216"/>
                    </a:moveTo>
                    <a:cubicBezTo>
                      <a:pt x="155" y="1217"/>
                      <a:pt x="155" y="1218"/>
                      <a:pt x="156" y="1218"/>
                    </a:cubicBezTo>
                    <a:moveTo>
                      <a:pt x="156" y="1218"/>
                    </a:moveTo>
                    <a:cubicBezTo>
                      <a:pt x="156" y="1219"/>
                      <a:pt x="157" y="1219"/>
                      <a:pt x="157" y="1219"/>
                    </a:cubicBezTo>
                    <a:moveTo>
                      <a:pt x="157" y="1219"/>
                    </a:moveTo>
                    <a:cubicBezTo>
                      <a:pt x="158" y="1220"/>
                      <a:pt x="158" y="1219"/>
                      <a:pt x="157" y="1219"/>
                    </a:cubicBezTo>
                    <a:moveTo>
                      <a:pt x="157" y="1219"/>
                    </a:moveTo>
                    <a:cubicBezTo>
                      <a:pt x="157" y="1218"/>
                      <a:pt x="157" y="1218"/>
                      <a:pt x="156" y="1218"/>
                    </a:cubicBezTo>
                    <a:moveTo>
                      <a:pt x="156" y="1218"/>
                    </a:moveTo>
                    <a:cubicBezTo>
                      <a:pt x="156" y="1217"/>
                      <a:pt x="156" y="1216"/>
                      <a:pt x="155" y="1216"/>
                    </a:cubicBezTo>
                    <a:moveTo>
                      <a:pt x="155" y="1216"/>
                    </a:moveTo>
                    <a:cubicBezTo>
                      <a:pt x="155" y="1215"/>
                      <a:pt x="155" y="1215"/>
                      <a:pt x="154" y="1215"/>
                    </a:cubicBezTo>
                    <a:moveTo>
                      <a:pt x="154" y="1215"/>
                    </a:moveTo>
                    <a:cubicBezTo>
                      <a:pt x="134" y="1178"/>
                      <a:pt x="113" y="1142"/>
                      <a:pt x="99" y="1099"/>
                    </a:cubicBezTo>
                    <a:cubicBezTo>
                      <a:pt x="85" y="1089"/>
                      <a:pt x="75" y="1077"/>
                      <a:pt x="64" y="1065"/>
                    </a:cubicBezTo>
                    <a:moveTo>
                      <a:pt x="64" y="1065"/>
                    </a:moveTo>
                    <a:cubicBezTo>
                      <a:pt x="63" y="1064"/>
                      <a:pt x="63" y="1065"/>
                      <a:pt x="64" y="1065"/>
                    </a:cubicBezTo>
                    <a:moveTo>
                      <a:pt x="282" y="1081"/>
                    </a:moveTo>
                    <a:cubicBezTo>
                      <a:pt x="297" y="1111"/>
                      <a:pt x="315" y="1138"/>
                      <a:pt x="335" y="1164"/>
                    </a:cubicBezTo>
                    <a:cubicBezTo>
                      <a:pt x="327" y="1133"/>
                      <a:pt x="324" y="1098"/>
                      <a:pt x="318" y="1066"/>
                    </a:cubicBezTo>
                    <a:cubicBezTo>
                      <a:pt x="307" y="1072"/>
                      <a:pt x="294" y="1076"/>
                      <a:pt x="282" y="1081"/>
                    </a:cubicBezTo>
                    <a:close/>
                    <a:moveTo>
                      <a:pt x="1457" y="1068"/>
                    </a:moveTo>
                    <a:cubicBezTo>
                      <a:pt x="1458" y="1069"/>
                      <a:pt x="1457" y="1068"/>
                      <a:pt x="1457" y="1068"/>
                    </a:cubicBezTo>
                    <a:close/>
                    <a:moveTo>
                      <a:pt x="1361" y="1232"/>
                    </a:moveTo>
                    <a:cubicBezTo>
                      <a:pt x="1360" y="1233"/>
                      <a:pt x="1361" y="1233"/>
                      <a:pt x="1361" y="1232"/>
                    </a:cubicBezTo>
                    <a:moveTo>
                      <a:pt x="1361" y="1232"/>
                    </a:moveTo>
                    <a:cubicBezTo>
                      <a:pt x="1399" y="1185"/>
                      <a:pt x="1434" y="1129"/>
                      <a:pt x="1456" y="1069"/>
                    </a:cubicBezTo>
                    <a:cubicBezTo>
                      <a:pt x="1450" y="1078"/>
                      <a:pt x="1442" y="1085"/>
                      <a:pt x="1433" y="1092"/>
                    </a:cubicBezTo>
                    <a:cubicBezTo>
                      <a:pt x="1414" y="1130"/>
                      <a:pt x="1388" y="1162"/>
                      <a:pt x="1365" y="1196"/>
                    </a:cubicBezTo>
                    <a:cubicBezTo>
                      <a:pt x="1367" y="1209"/>
                      <a:pt x="1364" y="1221"/>
                      <a:pt x="1361" y="1232"/>
                    </a:cubicBezTo>
                    <a:moveTo>
                      <a:pt x="341" y="1193"/>
                    </a:moveTo>
                    <a:cubicBezTo>
                      <a:pt x="341" y="1194"/>
                      <a:pt x="342" y="1193"/>
                      <a:pt x="341" y="1193"/>
                    </a:cubicBezTo>
                    <a:moveTo>
                      <a:pt x="341" y="1193"/>
                    </a:moveTo>
                    <a:cubicBezTo>
                      <a:pt x="340" y="1185"/>
                      <a:pt x="337" y="1179"/>
                      <a:pt x="337" y="1172"/>
                    </a:cubicBezTo>
                    <a:cubicBezTo>
                      <a:pt x="315" y="1144"/>
                      <a:pt x="298" y="1113"/>
                      <a:pt x="278" y="1083"/>
                    </a:cubicBezTo>
                    <a:cubicBezTo>
                      <a:pt x="261" y="1092"/>
                      <a:pt x="240" y="1102"/>
                      <a:pt x="222" y="1114"/>
                    </a:cubicBezTo>
                    <a:cubicBezTo>
                      <a:pt x="220" y="1116"/>
                      <a:pt x="207" y="1125"/>
                      <a:pt x="207" y="1127"/>
                    </a:cubicBezTo>
                    <a:cubicBezTo>
                      <a:pt x="207" y="1129"/>
                      <a:pt x="219" y="1144"/>
                      <a:pt x="221" y="1146"/>
                    </a:cubicBezTo>
                    <a:cubicBezTo>
                      <a:pt x="226" y="1153"/>
                      <a:pt x="230" y="1157"/>
                      <a:pt x="234" y="1164"/>
                    </a:cubicBezTo>
                    <a:cubicBezTo>
                      <a:pt x="269" y="1174"/>
                      <a:pt x="303" y="1186"/>
                      <a:pt x="341" y="1193"/>
                    </a:cubicBezTo>
                    <a:moveTo>
                      <a:pt x="183" y="1096"/>
                    </a:moveTo>
                    <a:cubicBezTo>
                      <a:pt x="183" y="1095"/>
                      <a:pt x="184" y="1096"/>
                      <a:pt x="183" y="1096"/>
                    </a:cubicBezTo>
                    <a:close/>
                    <a:moveTo>
                      <a:pt x="195" y="1134"/>
                    </a:moveTo>
                    <a:cubicBezTo>
                      <a:pt x="197" y="1130"/>
                      <a:pt x="202" y="1130"/>
                      <a:pt x="203" y="1125"/>
                    </a:cubicBezTo>
                    <a:cubicBezTo>
                      <a:pt x="196" y="1116"/>
                      <a:pt x="191" y="1106"/>
                      <a:pt x="184" y="1097"/>
                    </a:cubicBezTo>
                    <a:cubicBezTo>
                      <a:pt x="187" y="1110"/>
                      <a:pt x="190" y="1123"/>
                      <a:pt x="195" y="1134"/>
                    </a:cubicBezTo>
                    <a:close/>
                    <a:moveTo>
                      <a:pt x="1271" y="1097"/>
                    </a:moveTo>
                    <a:cubicBezTo>
                      <a:pt x="1271" y="1098"/>
                      <a:pt x="1270" y="1099"/>
                      <a:pt x="1270" y="1100"/>
                    </a:cubicBezTo>
                    <a:cubicBezTo>
                      <a:pt x="1254" y="1126"/>
                      <a:pt x="1234" y="1154"/>
                      <a:pt x="1216" y="1177"/>
                    </a:cubicBezTo>
                    <a:cubicBezTo>
                      <a:pt x="1214" y="1180"/>
                      <a:pt x="1210" y="1183"/>
                      <a:pt x="1210" y="1187"/>
                    </a:cubicBezTo>
                    <a:cubicBezTo>
                      <a:pt x="1235" y="1180"/>
                      <a:pt x="1261" y="1174"/>
                      <a:pt x="1284" y="1165"/>
                    </a:cubicBezTo>
                    <a:cubicBezTo>
                      <a:pt x="1289" y="1147"/>
                      <a:pt x="1294" y="1131"/>
                      <a:pt x="1298" y="1112"/>
                    </a:cubicBezTo>
                    <a:cubicBezTo>
                      <a:pt x="1289" y="1107"/>
                      <a:pt x="1281" y="1100"/>
                      <a:pt x="1271" y="1097"/>
                    </a:cubicBezTo>
                    <a:close/>
                    <a:moveTo>
                      <a:pt x="1426" y="1099"/>
                    </a:moveTo>
                    <a:cubicBezTo>
                      <a:pt x="1417" y="1104"/>
                      <a:pt x="1408" y="1111"/>
                      <a:pt x="1399" y="1117"/>
                    </a:cubicBezTo>
                    <a:cubicBezTo>
                      <a:pt x="1394" y="1137"/>
                      <a:pt x="1385" y="1154"/>
                      <a:pt x="1377" y="1173"/>
                    </a:cubicBezTo>
                    <a:moveTo>
                      <a:pt x="1377" y="1173"/>
                    </a:moveTo>
                    <a:cubicBezTo>
                      <a:pt x="1376" y="1173"/>
                      <a:pt x="1377" y="1174"/>
                      <a:pt x="1376" y="1175"/>
                    </a:cubicBezTo>
                    <a:moveTo>
                      <a:pt x="1376" y="1175"/>
                    </a:moveTo>
                    <a:cubicBezTo>
                      <a:pt x="1375" y="1175"/>
                      <a:pt x="1377" y="1176"/>
                      <a:pt x="1376" y="1175"/>
                    </a:cubicBezTo>
                    <a:moveTo>
                      <a:pt x="1376" y="1175"/>
                    </a:moveTo>
                    <a:cubicBezTo>
                      <a:pt x="1377" y="1174"/>
                      <a:pt x="1377" y="1173"/>
                      <a:pt x="1377" y="1173"/>
                    </a:cubicBezTo>
                    <a:moveTo>
                      <a:pt x="1377" y="1173"/>
                    </a:moveTo>
                    <a:cubicBezTo>
                      <a:pt x="1396" y="1150"/>
                      <a:pt x="1412" y="1125"/>
                      <a:pt x="1426" y="1099"/>
                    </a:cubicBezTo>
                    <a:moveTo>
                      <a:pt x="1426" y="1099"/>
                    </a:moveTo>
                    <a:cubicBezTo>
                      <a:pt x="1428" y="1098"/>
                      <a:pt x="1426" y="1098"/>
                      <a:pt x="1426" y="1099"/>
                    </a:cubicBezTo>
                    <a:moveTo>
                      <a:pt x="159" y="1216"/>
                    </a:moveTo>
                    <a:cubicBezTo>
                      <a:pt x="156" y="1201"/>
                      <a:pt x="160" y="1188"/>
                      <a:pt x="164" y="1176"/>
                    </a:cubicBezTo>
                    <a:cubicBezTo>
                      <a:pt x="148" y="1157"/>
                      <a:pt x="133" y="1136"/>
                      <a:pt x="120" y="1113"/>
                    </a:cubicBezTo>
                    <a:cubicBezTo>
                      <a:pt x="113" y="1111"/>
                      <a:pt x="109" y="1105"/>
                      <a:pt x="102" y="1103"/>
                    </a:cubicBezTo>
                    <a:cubicBezTo>
                      <a:pt x="118" y="1144"/>
                      <a:pt x="137" y="1181"/>
                      <a:pt x="159" y="1216"/>
                    </a:cubicBezTo>
                    <a:close/>
                    <a:moveTo>
                      <a:pt x="1287" y="1164"/>
                    </a:moveTo>
                    <a:cubicBezTo>
                      <a:pt x="1303" y="1157"/>
                      <a:pt x="1323" y="1155"/>
                      <a:pt x="1333" y="1143"/>
                    </a:cubicBezTo>
                    <a:cubicBezTo>
                      <a:pt x="1325" y="1131"/>
                      <a:pt x="1312" y="1123"/>
                      <a:pt x="1301" y="1114"/>
                    </a:cubicBezTo>
                    <a:cubicBezTo>
                      <a:pt x="1296" y="1131"/>
                      <a:pt x="1292" y="1148"/>
                      <a:pt x="1287" y="1164"/>
                    </a:cubicBezTo>
                    <a:close/>
                    <a:moveTo>
                      <a:pt x="126" y="1118"/>
                    </a:moveTo>
                    <a:cubicBezTo>
                      <a:pt x="138" y="1138"/>
                      <a:pt x="150" y="1157"/>
                      <a:pt x="166" y="1174"/>
                    </a:cubicBezTo>
                    <a:cubicBezTo>
                      <a:pt x="169" y="1162"/>
                      <a:pt x="177" y="1155"/>
                      <a:pt x="182" y="1146"/>
                    </a:cubicBezTo>
                    <a:cubicBezTo>
                      <a:pt x="161" y="1138"/>
                      <a:pt x="144" y="1127"/>
                      <a:pt x="126" y="1118"/>
                    </a:cubicBezTo>
                    <a:moveTo>
                      <a:pt x="126" y="1118"/>
                    </a:moveTo>
                    <a:cubicBezTo>
                      <a:pt x="125" y="1116"/>
                      <a:pt x="124" y="1118"/>
                      <a:pt x="126" y="1118"/>
                    </a:cubicBezTo>
                    <a:moveTo>
                      <a:pt x="1342" y="1146"/>
                    </a:moveTo>
                    <a:cubicBezTo>
                      <a:pt x="1351" y="1159"/>
                      <a:pt x="1360" y="1173"/>
                      <a:pt x="1365" y="1190"/>
                    </a:cubicBezTo>
                    <a:cubicBezTo>
                      <a:pt x="1377" y="1168"/>
                      <a:pt x="1387" y="1145"/>
                      <a:pt x="1396" y="1120"/>
                    </a:cubicBezTo>
                    <a:cubicBezTo>
                      <a:pt x="1397" y="1120"/>
                      <a:pt x="1396" y="1119"/>
                      <a:pt x="1395" y="1119"/>
                    </a:cubicBezTo>
                    <a:cubicBezTo>
                      <a:pt x="1379" y="1129"/>
                      <a:pt x="1361" y="1138"/>
                      <a:pt x="1342" y="1146"/>
                    </a:cubicBezTo>
                    <a:close/>
                    <a:moveTo>
                      <a:pt x="204" y="1128"/>
                    </a:moveTo>
                    <a:cubicBezTo>
                      <a:pt x="202" y="1133"/>
                      <a:pt x="196" y="1134"/>
                      <a:pt x="195" y="1139"/>
                    </a:cubicBezTo>
                    <a:cubicBezTo>
                      <a:pt x="197" y="1142"/>
                      <a:pt x="198" y="1146"/>
                      <a:pt x="198" y="1151"/>
                    </a:cubicBezTo>
                    <a:cubicBezTo>
                      <a:pt x="209" y="1153"/>
                      <a:pt x="219" y="1160"/>
                      <a:pt x="229" y="1160"/>
                    </a:cubicBezTo>
                    <a:cubicBezTo>
                      <a:pt x="220" y="1151"/>
                      <a:pt x="214" y="1138"/>
                      <a:pt x="204" y="1128"/>
                    </a:cubicBezTo>
                    <a:close/>
                    <a:moveTo>
                      <a:pt x="1100" y="1194"/>
                    </a:moveTo>
                    <a:cubicBezTo>
                      <a:pt x="1095" y="1200"/>
                      <a:pt x="1088" y="1206"/>
                      <a:pt x="1088" y="1212"/>
                    </a:cubicBezTo>
                    <a:cubicBezTo>
                      <a:pt x="1101" y="1209"/>
                      <a:pt x="1114" y="1208"/>
                      <a:pt x="1126" y="1205"/>
                    </a:cubicBezTo>
                    <a:cubicBezTo>
                      <a:pt x="1129" y="1181"/>
                      <a:pt x="1137" y="1156"/>
                      <a:pt x="1137" y="1132"/>
                    </a:cubicBezTo>
                    <a:cubicBezTo>
                      <a:pt x="1126" y="1153"/>
                      <a:pt x="1113" y="1175"/>
                      <a:pt x="1100" y="1194"/>
                    </a:cubicBezTo>
                    <a:close/>
                    <a:moveTo>
                      <a:pt x="187" y="1146"/>
                    </a:moveTo>
                    <a:cubicBezTo>
                      <a:pt x="190" y="1145"/>
                      <a:pt x="194" y="1150"/>
                      <a:pt x="196" y="1148"/>
                    </a:cubicBezTo>
                    <a:cubicBezTo>
                      <a:pt x="193" y="1146"/>
                      <a:pt x="194" y="1141"/>
                      <a:pt x="192" y="1140"/>
                    </a:cubicBezTo>
                    <a:cubicBezTo>
                      <a:pt x="191" y="1142"/>
                      <a:pt x="188" y="1143"/>
                      <a:pt x="187" y="1146"/>
                    </a:cubicBezTo>
                    <a:close/>
                    <a:moveTo>
                      <a:pt x="1333" y="1147"/>
                    </a:moveTo>
                    <a:cubicBezTo>
                      <a:pt x="1335" y="1147"/>
                      <a:pt x="1336" y="1146"/>
                      <a:pt x="1337" y="1145"/>
                    </a:cubicBezTo>
                    <a:cubicBezTo>
                      <a:pt x="1335" y="1143"/>
                      <a:pt x="1334" y="1145"/>
                      <a:pt x="1333" y="1147"/>
                    </a:cubicBezTo>
                    <a:close/>
                    <a:moveTo>
                      <a:pt x="241" y="1257"/>
                    </a:moveTo>
                    <a:cubicBezTo>
                      <a:pt x="241" y="1258"/>
                      <a:pt x="242" y="1257"/>
                      <a:pt x="241" y="1257"/>
                    </a:cubicBezTo>
                    <a:moveTo>
                      <a:pt x="241" y="1257"/>
                    </a:moveTo>
                    <a:cubicBezTo>
                      <a:pt x="224" y="1224"/>
                      <a:pt x="209" y="1190"/>
                      <a:pt x="197" y="1152"/>
                    </a:cubicBezTo>
                    <a:cubicBezTo>
                      <a:pt x="194" y="1150"/>
                      <a:pt x="189" y="1150"/>
                      <a:pt x="187" y="1148"/>
                    </a:cubicBezTo>
                    <a:cubicBezTo>
                      <a:pt x="177" y="1154"/>
                      <a:pt x="173" y="1166"/>
                      <a:pt x="167" y="1175"/>
                    </a:cubicBezTo>
                    <a:cubicBezTo>
                      <a:pt x="189" y="1205"/>
                      <a:pt x="214" y="1232"/>
                      <a:pt x="241" y="1257"/>
                    </a:cubicBezTo>
                    <a:moveTo>
                      <a:pt x="1207" y="1335"/>
                    </a:moveTo>
                    <a:cubicBezTo>
                      <a:pt x="1206" y="1335"/>
                      <a:pt x="1208" y="1336"/>
                      <a:pt x="1207" y="1335"/>
                    </a:cubicBezTo>
                    <a:moveTo>
                      <a:pt x="1207" y="1335"/>
                    </a:moveTo>
                    <a:cubicBezTo>
                      <a:pt x="1267" y="1295"/>
                      <a:pt x="1319" y="1248"/>
                      <a:pt x="1362" y="1192"/>
                    </a:cubicBezTo>
                    <a:cubicBezTo>
                      <a:pt x="1357" y="1174"/>
                      <a:pt x="1350" y="1158"/>
                      <a:pt x="1337" y="1148"/>
                    </a:cubicBezTo>
                    <a:cubicBezTo>
                      <a:pt x="1322" y="1158"/>
                      <a:pt x="1312" y="1174"/>
                      <a:pt x="1300" y="1189"/>
                    </a:cubicBezTo>
                    <a:cubicBezTo>
                      <a:pt x="1294" y="1196"/>
                      <a:pt x="1288" y="1203"/>
                      <a:pt x="1281" y="1210"/>
                    </a:cubicBezTo>
                    <a:cubicBezTo>
                      <a:pt x="1275" y="1217"/>
                      <a:pt x="1267" y="1223"/>
                      <a:pt x="1263" y="1230"/>
                    </a:cubicBezTo>
                    <a:cubicBezTo>
                      <a:pt x="1258" y="1239"/>
                      <a:pt x="1255" y="1249"/>
                      <a:pt x="1251" y="1258"/>
                    </a:cubicBezTo>
                    <a:cubicBezTo>
                      <a:pt x="1237" y="1285"/>
                      <a:pt x="1225" y="1311"/>
                      <a:pt x="1207" y="1335"/>
                    </a:cubicBezTo>
                    <a:moveTo>
                      <a:pt x="1324" y="1154"/>
                    </a:moveTo>
                    <a:cubicBezTo>
                      <a:pt x="1310" y="1158"/>
                      <a:pt x="1300" y="1164"/>
                      <a:pt x="1286" y="1167"/>
                    </a:cubicBezTo>
                    <a:cubicBezTo>
                      <a:pt x="1282" y="1186"/>
                      <a:pt x="1272" y="1204"/>
                      <a:pt x="1269" y="1221"/>
                    </a:cubicBezTo>
                    <a:cubicBezTo>
                      <a:pt x="1287" y="1199"/>
                      <a:pt x="1307" y="1178"/>
                      <a:pt x="1324" y="1154"/>
                    </a:cubicBezTo>
                    <a:moveTo>
                      <a:pt x="1324" y="1154"/>
                    </a:moveTo>
                    <a:cubicBezTo>
                      <a:pt x="1325" y="1154"/>
                      <a:pt x="1324" y="1153"/>
                      <a:pt x="1324" y="1154"/>
                    </a:cubicBezTo>
                    <a:moveTo>
                      <a:pt x="222" y="1212"/>
                    </a:moveTo>
                    <a:cubicBezTo>
                      <a:pt x="231" y="1230"/>
                      <a:pt x="237" y="1251"/>
                      <a:pt x="247" y="1264"/>
                    </a:cubicBezTo>
                    <a:cubicBezTo>
                      <a:pt x="252" y="1270"/>
                      <a:pt x="260" y="1275"/>
                      <a:pt x="267" y="1280"/>
                    </a:cubicBezTo>
                    <a:cubicBezTo>
                      <a:pt x="287" y="1297"/>
                      <a:pt x="306" y="1314"/>
                      <a:pt x="328" y="1328"/>
                    </a:cubicBezTo>
                    <a:cubicBezTo>
                      <a:pt x="334" y="1313"/>
                      <a:pt x="344" y="1302"/>
                      <a:pt x="354" y="1291"/>
                    </a:cubicBezTo>
                    <a:cubicBezTo>
                      <a:pt x="308" y="1254"/>
                      <a:pt x="269" y="1211"/>
                      <a:pt x="232" y="1165"/>
                    </a:cubicBezTo>
                    <a:cubicBezTo>
                      <a:pt x="220" y="1162"/>
                      <a:pt x="212" y="1157"/>
                      <a:pt x="200" y="1154"/>
                    </a:cubicBezTo>
                    <a:cubicBezTo>
                      <a:pt x="206" y="1174"/>
                      <a:pt x="214" y="1193"/>
                      <a:pt x="222" y="1212"/>
                    </a:cubicBezTo>
                    <a:close/>
                    <a:moveTo>
                      <a:pt x="356" y="1290"/>
                    </a:moveTo>
                    <a:cubicBezTo>
                      <a:pt x="359" y="1285"/>
                      <a:pt x="365" y="1284"/>
                      <a:pt x="367" y="1278"/>
                    </a:cubicBezTo>
                    <a:cubicBezTo>
                      <a:pt x="358" y="1252"/>
                      <a:pt x="349" y="1226"/>
                      <a:pt x="342" y="1197"/>
                    </a:cubicBezTo>
                    <a:cubicBezTo>
                      <a:pt x="306" y="1189"/>
                      <a:pt x="270" y="1177"/>
                      <a:pt x="238" y="1169"/>
                    </a:cubicBezTo>
                    <a:cubicBezTo>
                      <a:pt x="274" y="1212"/>
                      <a:pt x="312" y="1254"/>
                      <a:pt x="356" y="1290"/>
                    </a:cubicBezTo>
                    <a:close/>
                    <a:moveTo>
                      <a:pt x="1223" y="1265"/>
                    </a:moveTo>
                    <a:cubicBezTo>
                      <a:pt x="1235" y="1254"/>
                      <a:pt x="1255" y="1239"/>
                      <a:pt x="1263" y="1225"/>
                    </a:cubicBezTo>
                    <a:cubicBezTo>
                      <a:pt x="1273" y="1209"/>
                      <a:pt x="1274" y="1190"/>
                      <a:pt x="1282" y="1170"/>
                    </a:cubicBezTo>
                    <a:cubicBezTo>
                      <a:pt x="1282" y="1169"/>
                      <a:pt x="1282" y="1169"/>
                      <a:pt x="1281" y="1169"/>
                    </a:cubicBezTo>
                    <a:cubicBezTo>
                      <a:pt x="1257" y="1177"/>
                      <a:pt x="1232" y="1184"/>
                      <a:pt x="1206" y="1191"/>
                    </a:cubicBezTo>
                    <a:cubicBezTo>
                      <a:pt x="1184" y="1218"/>
                      <a:pt x="1160" y="1242"/>
                      <a:pt x="1137" y="1268"/>
                    </a:cubicBezTo>
                    <a:cubicBezTo>
                      <a:pt x="1155" y="1276"/>
                      <a:pt x="1167" y="1289"/>
                      <a:pt x="1181" y="1301"/>
                    </a:cubicBezTo>
                    <a:cubicBezTo>
                      <a:pt x="1195" y="1290"/>
                      <a:pt x="1208" y="1278"/>
                      <a:pt x="1223" y="1265"/>
                    </a:cubicBezTo>
                    <a:close/>
                    <a:moveTo>
                      <a:pt x="344" y="1195"/>
                    </a:moveTo>
                    <a:cubicBezTo>
                      <a:pt x="349" y="1194"/>
                      <a:pt x="353" y="1198"/>
                      <a:pt x="355" y="1196"/>
                    </a:cubicBezTo>
                    <a:cubicBezTo>
                      <a:pt x="350" y="1190"/>
                      <a:pt x="346" y="1183"/>
                      <a:pt x="341" y="1178"/>
                    </a:cubicBezTo>
                    <a:cubicBezTo>
                      <a:pt x="342" y="1184"/>
                      <a:pt x="343" y="1189"/>
                      <a:pt x="344" y="1195"/>
                    </a:cubicBezTo>
                    <a:close/>
                    <a:moveTo>
                      <a:pt x="289" y="1331"/>
                    </a:moveTo>
                    <a:cubicBezTo>
                      <a:pt x="289" y="1332"/>
                      <a:pt x="290" y="1331"/>
                      <a:pt x="289" y="1331"/>
                    </a:cubicBezTo>
                    <a:moveTo>
                      <a:pt x="289" y="1331"/>
                    </a:moveTo>
                    <a:cubicBezTo>
                      <a:pt x="274" y="1310"/>
                      <a:pt x="258" y="1290"/>
                      <a:pt x="246" y="1266"/>
                    </a:cubicBezTo>
                    <a:cubicBezTo>
                      <a:pt x="216" y="1240"/>
                      <a:pt x="192" y="1209"/>
                      <a:pt x="165" y="1180"/>
                    </a:cubicBezTo>
                    <a:cubicBezTo>
                      <a:pt x="163" y="1194"/>
                      <a:pt x="158" y="1209"/>
                      <a:pt x="163" y="1223"/>
                    </a:cubicBezTo>
                    <a:cubicBezTo>
                      <a:pt x="169" y="1238"/>
                      <a:pt x="189" y="1257"/>
                      <a:pt x="203" y="1271"/>
                    </a:cubicBezTo>
                    <a:cubicBezTo>
                      <a:pt x="217" y="1284"/>
                      <a:pt x="236" y="1304"/>
                      <a:pt x="249" y="1313"/>
                    </a:cubicBezTo>
                    <a:cubicBezTo>
                      <a:pt x="261" y="1321"/>
                      <a:pt x="278" y="1326"/>
                      <a:pt x="289" y="1331"/>
                    </a:cubicBezTo>
                    <a:moveTo>
                      <a:pt x="676" y="1195"/>
                    </a:moveTo>
                    <a:cubicBezTo>
                      <a:pt x="677" y="1209"/>
                      <a:pt x="682" y="1221"/>
                      <a:pt x="683" y="1235"/>
                    </a:cubicBezTo>
                    <a:cubicBezTo>
                      <a:pt x="697" y="1236"/>
                      <a:pt x="712" y="1236"/>
                      <a:pt x="727" y="1236"/>
                    </a:cubicBezTo>
                    <a:cubicBezTo>
                      <a:pt x="726" y="1222"/>
                      <a:pt x="730" y="1202"/>
                      <a:pt x="725" y="1192"/>
                    </a:cubicBezTo>
                    <a:cubicBezTo>
                      <a:pt x="709" y="1193"/>
                      <a:pt x="691" y="1193"/>
                      <a:pt x="676" y="1195"/>
                    </a:cubicBezTo>
                    <a:close/>
                    <a:moveTo>
                      <a:pt x="729" y="1192"/>
                    </a:moveTo>
                    <a:cubicBezTo>
                      <a:pt x="729" y="1207"/>
                      <a:pt x="731" y="1220"/>
                      <a:pt x="730" y="1236"/>
                    </a:cubicBezTo>
                    <a:cubicBezTo>
                      <a:pt x="744" y="1238"/>
                      <a:pt x="761" y="1236"/>
                      <a:pt x="775" y="1237"/>
                    </a:cubicBezTo>
                    <a:cubicBezTo>
                      <a:pt x="777" y="1222"/>
                      <a:pt x="777" y="1207"/>
                      <a:pt x="777" y="1192"/>
                    </a:cubicBezTo>
                    <a:cubicBezTo>
                      <a:pt x="761" y="1192"/>
                      <a:pt x="745" y="1192"/>
                      <a:pt x="729" y="1192"/>
                    </a:cubicBezTo>
                    <a:close/>
                    <a:moveTo>
                      <a:pt x="780" y="1192"/>
                    </a:moveTo>
                    <a:cubicBezTo>
                      <a:pt x="779" y="1206"/>
                      <a:pt x="779" y="1222"/>
                      <a:pt x="778" y="1237"/>
                    </a:cubicBezTo>
                    <a:cubicBezTo>
                      <a:pt x="809" y="1235"/>
                      <a:pt x="841" y="1236"/>
                      <a:pt x="871" y="1234"/>
                    </a:cubicBezTo>
                    <a:cubicBezTo>
                      <a:pt x="875" y="1222"/>
                      <a:pt x="879" y="1210"/>
                      <a:pt x="882" y="1198"/>
                    </a:cubicBezTo>
                    <a:cubicBezTo>
                      <a:pt x="849" y="1195"/>
                      <a:pt x="816" y="1192"/>
                      <a:pt x="780" y="1192"/>
                    </a:cubicBezTo>
                    <a:close/>
                    <a:moveTo>
                      <a:pt x="1200" y="1193"/>
                    </a:moveTo>
                    <a:cubicBezTo>
                      <a:pt x="1176" y="1197"/>
                      <a:pt x="1153" y="1204"/>
                      <a:pt x="1128" y="1207"/>
                    </a:cubicBezTo>
                    <a:cubicBezTo>
                      <a:pt x="1124" y="1224"/>
                      <a:pt x="1120" y="1239"/>
                      <a:pt x="1116" y="1255"/>
                    </a:cubicBezTo>
                    <a:cubicBezTo>
                      <a:pt x="1122" y="1258"/>
                      <a:pt x="1128" y="1262"/>
                      <a:pt x="1134" y="1265"/>
                    </a:cubicBezTo>
                    <a:cubicBezTo>
                      <a:pt x="1158" y="1242"/>
                      <a:pt x="1180" y="1219"/>
                      <a:pt x="1200" y="1193"/>
                    </a:cubicBezTo>
                    <a:moveTo>
                      <a:pt x="1200" y="1193"/>
                    </a:moveTo>
                    <a:cubicBezTo>
                      <a:pt x="1201" y="1192"/>
                      <a:pt x="1200" y="1192"/>
                      <a:pt x="1200" y="1193"/>
                    </a:cubicBezTo>
                    <a:moveTo>
                      <a:pt x="671" y="1195"/>
                    </a:moveTo>
                    <a:cubicBezTo>
                      <a:pt x="638" y="1198"/>
                      <a:pt x="605" y="1201"/>
                      <a:pt x="575" y="1207"/>
                    </a:cubicBezTo>
                    <a:cubicBezTo>
                      <a:pt x="578" y="1215"/>
                      <a:pt x="580" y="1224"/>
                      <a:pt x="586" y="1229"/>
                    </a:cubicBezTo>
                    <a:cubicBezTo>
                      <a:pt x="616" y="1232"/>
                      <a:pt x="650" y="1235"/>
                      <a:pt x="680" y="1234"/>
                    </a:cubicBezTo>
                    <a:cubicBezTo>
                      <a:pt x="676" y="1222"/>
                      <a:pt x="675" y="1207"/>
                      <a:pt x="671" y="1195"/>
                    </a:cubicBezTo>
                    <a:close/>
                    <a:moveTo>
                      <a:pt x="369" y="1277"/>
                    </a:moveTo>
                    <a:cubicBezTo>
                      <a:pt x="382" y="1271"/>
                      <a:pt x="394" y="1263"/>
                      <a:pt x="406" y="1255"/>
                    </a:cubicBezTo>
                    <a:cubicBezTo>
                      <a:pt x="389" y="1237"/>
                      <a:pt x="373" y="1219"/>
                      <a:pt x="358" y="1199"/>
                    </a:cubicBezTo>
                    <a:cubicBezTo>
                      <a:pt x="353" y="1200"/>
                      <a:pt x="350" y="1197"/>
                      <a:pt x="345" y="1198"/>
                    </a:cubicBezTo>
                    <a:cubicBezTo>
                      <a:pt x="352" y="1226"/>
                      <a:pt x="361" y="1251"/>
                      <a:pt x="369" y="1277"/>
                    </a:cubicBezTo>
                    <a:close/>
                    <a:moveTo>
                      <a:pt x="884" y="1199"/>
                    </a:moveTo>
                    <a:cubicBezTo>
                      <a:pt x="882" y="1211"/>
                      <a:pt x="877" y="1221"/>
                      <a:pt x="874" y="1234"/>
                    </a:cubicBezTo>
                    <a:cubicBezTo>
                      <a:pt x="894" y="1233"/>
                      <a:pt x="914" y="1231"/>
                      <a:pt x="934" y="1230"/>
                    </a:cubicBezTo>
                    <a:cubicBezTo>
                      <a:pt x="934" y="1221"/>
                      <a:pt x="936" y="1215"/>
                      <a:pt x="936" y="1205"/>
                    </a:cubicBezTo>
                    <a:cubicBezTo>
                      <a:pt x="919" y="1202"/>
                      <a:pt x="903" y="1199"/>
                      <a:pt x="884" y="1199"/>
                    </a:cubicBezTo>
                    <a:close/>
                    <a:moveTo>
                      <a:pt x="1360" y="1199"/>
                    </a:moveTo>
                    <a:cubicBezTo>
                      <a:pt x="1360" y="1199"/>
                      <a:pt x="1361" y="1200"/>
                      <a:pt x="1360" y="1199"/>
                    </a:cubicBezTo>
                    <a:close/>
                    <a:moveTo>
                      <a:pt x="363" y="1201"/>
                    </a:moveTo>
                    <a:cubicBezTo>
                      <a:pt x="378" y="1220"/>
                      <a:pt x="392" y="1239"/>
                      <a:pt x="410" y="1254"/>
                    </a:cubicBezTo>
                    <a:cubicBezTo>
                      <a:pt x="432" y="1244"/>
                      <a:pt x="454" y="1234"/>
                      <a:pt x="480" y="1227"/>
                    </a:cubicBezTo>
                    <a:cubicBezTo>
                      <a:pt x="477" y="1217"/>
                      <a:pt x="463" y="1219"/>
                      <a:pt x="454" y="1218"/>
                    </a:cubicBezTo>
                    <a:cubicBezTo>
                      <a:pt x="424" y="1213"/>
                      <a:pt x="391" y="1206"/>
                      <a:pt x="363" y="1201"/>
                    </a:cubicBezTo>
                    <a:moveTo>
                      <a:pt x="363" y="1201"/>
                    </a:moveTo>
                    <a:cubicBezTo>
                      <a:pt x="362" y="1200"/>
                      <a:pt x="361" y="1201"/>
                      <a:pt x="363" y="1201"/>
                    </a:cubicBezTo>
                    <a:moveTo>
                      <a:pt x="1359" y="1201"/>
                    </a:moveTo>
                    <a:cubicBezTo>
                      <a:pt x="1318" y="1253"/>
                      <a:pt x="1263" y="1298"/>
                      <a:pt x="1208" y="1338"/>
                    </a:cubicBezTo>
                    <a:cubicBezTo>
                      <a:pt x="1206" y="1339"/>
                      <a:pt x="1201" y="1341"/>
                      <a:pt x="1202" y="1345"/>
                    </a:cubicBezTo>
                    <a:cubicBezTo>
                      <a:pt x="1217" y="1339"/>
                      <a:pt x="1232" y="1333"/>
                      <a:pt x="1247" y="1326"/>
                    </a:cubicBezTo>
                    <a:cubicBezTo>
                      <a:pt x="1261" y="1320"/>
                      <a:pt x="1277" y="1313"/>
                      <a:pt x="1289" y="1304"/>
                    </a:cubicBezTo>
                    <a:cubicBezTo>
                      <a:pt x="1303" y="1293"/>
                      <a:pt x="1316" y="1270"/>
                      <a:pt x="1326" y="1255"/>
                    </a:cubicBezTo>
                    <a:cubicBezTo>
                      <a:pt x="1338" y="1238"/>
                      <a:pt x="1350" y="1220"/>
                      <a:pt x="1359" y="1201"/>
                    </a:cubicBezTo>
                    <a:moveTo>
                      <a:pt x="1359" y="1201"/>
                    </a:moveTo>
                    <a:cubicBezTo>
                      <a:pt x="1361" y="1201"/>
                      <a:pt x="1359" y="1200"/>
                      <a:pt x="1359" y="1201"/>
                    </a:cubicBezTo>
                    <a:moveTo>
                      <a:pt x="1301" y="1295"/>
                    </a:moveTo>
                    <a:cubicBezTo>
                      <a:pt x="1299" y="1296"/>
                      <a:pt x="1301" y="1297"/>
                      <a:pt x="1301" y="1295"/>
                    </a:cubicBezTo>
                    <a:moveTo>
                      <a:pt x="1301" y="1295"/>
                    </a:moveTo>
                    <a:cubicBezTo>
                      <a:pt x="1315" y="1282"/>
                      <a:pt x="1343" y="1260"/>
                      <a:pt x="1354" y="1241"/>
                    </a:cubicBezTo>
                    <a:cubicBezTo>
                      <a:pt x="1360" y="1231"/>
                      <a:pt x="1364" y="1215"/>
                      <a:pt x="1362" y="1201"/>
                    </a:cubicBezTo>
                    <a:cubicBezTo>
                      <a:pt x="1345" y="1236"/>
                      <a:pt x="1323" y="1266"/>
                      <a:pt x="1301" y="1295"/>
                    </a:cubicBezTo>
                    <a:moveTo>
                      <a:pt x="938" y="1229"/>
                    </a:moveTo>
                    <a:cubicBezTo>
                      <a:pt x="950" y="1230"/>
                      <a:pt x="958" y="1227"/>
                      <a:pt x="970" y="1227"/>
                    </a:cubicBezTo>
                    <a:cubicBezTo>
                      <a:pt x="975" y="1224"/>
                      <a:pt x="977" y="1218"/>
                      <a:pt x="979" y="1213"/>
                    </a:cubicBezTo>
                    <a:cubicBezTo>
                      <a:pt x="967" y="1210"/>
                      <a:pt x="953" y="1208"/>
                      <a:pt x="941" y="1205"/>
                    </a:cubicBezTo>
                    <a:cubicBezTo>
                      <a:pt x="939" y="1212"/>
                      <a:pt x="940" y="1222"/>
                      <a:pt x="938" y="1229"/>
                    </a:cubicBezTo>
                    <a:close/>
                    <a:moveTo>
                      <a:pt x="526" y="1219"/>
                    </a:moveTo>
                    <a:cubicBezTo>
                      <a:pt x="526" y="1221"/>
                      <a:pt x="526" y="1222"/>
                      <a:pt x="527" y="1223"/>
                    </a:cubicBezTo>
                    <a:cubicBezTo>
                      <a:pt x="544" y="1226"/>
                      <a:pt x="565" y="1229"/>
                      <a:pt x="582" y="1228"/>
                    </a:cubicBezTo>
                    <a:cubicBezTo>
                      <a:pt x="577" y="1222"/>
                      <a:pt x="575" y="1213"/>
                      <a:pt x="571" y="1207"/>
                    </a:cubicBezTo>
                    <a:cubicBezTo>
                      <a:pt x="557" y="1212"/>
                      <a:pt x="538" y="1212"/>
                      <a:pt x="526" y="1219"/>
                    </a:cubicBezTo>
                    <a:close/>
                    <a:moveTo>
                      <a:pt x="1084" y="1215"/>
                    </a:moveTo>
                    <a:cubicBezTo>
                      <a:pt x="1080" y="1223"/>
                      <a:pt x="1071" y="1229"/>
                      <a:pt x="1070" y="1236"/>
                    </a:cubicBezTo>
                    <a:cubicBezTo>
                      <a:pt x="1086" y="1240"/>
                      <a:pt x="1099" y="1248"/>
                      <a:pt x="1113" y="1253"/>
                    </a:cubicBezTo>
                    <a:cubicBezTo>
                      <a:pt x="1118" y="1240"/>
                      <a:pt x="1120" y="1224"/>
                      <a:pt x="1125" y="1210"/>
                    </a:cubicBezTo>
                    <a:cubicBezTo>
                      <a:pt x="1125" y="1209"/>
                      <a:pt x="1125" y="1208"/>
                      <a:pt x="1123" y="1208"/>
                    </a:cubicBezTo>
                    <a:cubicBezTo>
                      <a:pt x="1111" y="1211"/>
                      <a:pt x="1097" y="1213"/>
                      <a:pt x="1084" y="1215"/>
                    </a:cubicBezTo>
                    <a:close/>
                    <a:moveTo>
                      <a:pt x="982" y="1214"/>
                    </a:moveTo>
                    <a:cubicBezTo>
                      <a:pt x="980" y="1218"/>
                      <a:pt x="977" y="1222"/>
                      <a:pt x="975" y="1226"/>
                    </a:cubicBezTo>
                    <a:cubicBezTo>
                      <a:pt x="988" y="1225"/>
                      <a:pt x="1003" y="1224"/>
                      <a:pt x="1015" y="1222"/>
                    </a:cubicBezTo>
                    <a:cubicBezTo>
                      <a:pt x="1005" y="1219"/>
                      <a:pt x="994" y="1216"/>
                      <a:pt x="982" y="1214"/>
                    </a:cubicBezTo>
                    <a:close/>
                    <a:moveTo>
                      <a:pt x="1031" y="1223"/>
                    </a:moveTo>
                    <a:cubicBezTo>
                      <a:pt x="1044" y="1226"/>
                      <a:pt x="1054" y="1231"/>
                      <a:pt x="1066" y="1234"/>
                    </a:cubicBezTo>
                    <a:cubicBezTo>
                      <a:pt x="1070" y="1229"/>
                      <a:pt x="1080" y="1220"/>
                      <a:pt x="1078" y="1216"/>
                    </a:cubicBezTo>
                    <a:cubicBezTo>
                      <a:pt x="1063" y="1219"/>
                      <a:pt x="1045" y="1220"/>
                      <a:pt x="1031" y="1223"/>
                    </a:cubicBezTo>
                    <a:close/>
                    <a:moveTo>
                      <a:pt x="509" y="1223"/>
                    </a:moveTo>
                    <a:cubicBezTo>
                      <a:pt x="515" y="1222"/>
                      <a:pt x="518" y="1224"/>
                      <a:pt x="524" y="1223"/>
                    </a:cubicBezTo>
                    <a:cubicBezTo>
                      <a:pt x="523" y="1222"/>
                      <a:pt x="524" y="1217"/>
                      <a:pt x="521" y="1218"/>
                    </a:cubicBezTo>
                    <a:cubicBezTo>
                      <a:pt x="518" y="1220"/>
                      <a:pt x="511" y="1219"/>
                      <a:pt x="509" y="1223"/>
                    </a:cubicBezTo>
                    <a:close/>
                    <a:moveTo>
                      <a:pt x="482" y="1225"/>
                    </a:moveTo>
                    <a:cubicBezTo>
                      <a:pt x="487" y="1226"/>
                      <a:pt x="490" y="1224"/>
                      <a:pt x="493" y="1223"/>
                    </a:cubicBezTo>
                    <a:cubicBezTo>
                      <a:pt x="488" y="1223"/>
                      <a:pt x="483" y="1220"/>
                      <a:pt x="480" y="1223"/>
                    </a:cubicBezTo>
                    <a:cubicBezTo>
                      <a:pt x="481" y="1223"/>
                      <a:pt x="482" y="1224"/>
                      <a:pt x="482" y="1225"/>
                    </a:cubicBezTo>
                    <a:close/>
                    <a:moveTo>
                      <a:pt x="535" y="1295"/>
                    </a:moveTo>
                    <a:cubicBezTo>
                      <a:pt x="536" y="1296"/>
                      <a:pt x="537" y="1294"/>
                      <a:pt x="535" y="1295"/>
                    </a:cubicBezTo>
                    <a:moveTo>
                      <a:pt x="535" y="1295"/>
                    </a:moveTo>
                    <a:cubicBezTo>
                      <a:pt x="532" y="1272"/>
                      <a:pt x="527" y="1251"/>
                      <a:pt x="525" y="1227"/>
                    </a:cubicBezTo>
                    <a:cubicBezTo>
                      <a:pt x="512" y="1224"/>
                      <a:pt x="497" y="1223"/>
                      <a:pt x="486" y="1227"/>
                    </a:cubicBezTo>
                    <a:cubicBezTo>
                      <a:pt x="498" y="1250"/>
                      <a:pt x="518" y="1273"/>
                      <a:pt x="535" y="1295"/>
                    </a:cubicBezTo>
                    <a:moveTo>
                      <a:pt x="1022" y="1223"/>
                    </a:moveTo>
                    <a:cubicBezTo>
                      <a:pt x="1007" y="1223"/>
                      <a:pt x="991" y="1230"/>
                      <a:pt x="973" y="1229"/>
                    </a:cubicBezTo>
                    <a:cubicBezTo>
                      <a:pt x="960" y="1255"/>
                      <a:pt x="945" y="1280"/>
                      <a:pt x="928" y="1303"/>
                    </a:cubicBezTo>
                    <a:cubicBezTo>
                      <a:pt x="927" y="1316"/>
                      <a:pt x="925" y="1329"/>
                      <a:pt x="922" y="1342"/>
                    </a:cubicBezTo>
                    <a:cubicBezTo>
                      <a:pt x="920" y="1353"/>
                      <a:pt x="915" y="1367"/>
                      <a:pt x="917" y="1376"/>
                    </a:cubicBezTo>
                    <a:cubicBezTo>
                      <a:pt x="925" y="1381"/>
                      <a:pt x="933" y="1372"/>
                      <a:pt x="939" y="1367"/>
                    </a:cubicBezTo>
                    <a:cubicBezTo>
                      <a:pt x="986" y="1330"/>
                      <a:pt x="1029" y="1283"/>
                      <a:pt x="1064" y="1236"/>
                    </a:cubicBezTo>
                    <a:cubicBezTo>
                      <a:pt x="1050" y="1234"/>
                      <a:pt x="1038" y="1224"/>
                      <a:pt x="1022" y="1223"/>
                    </a:cubicBezTo>
                    <a:close/>
                    <a:moveTo>
                      <a:pt x="539" y="1299"/>
                    </a:moveTo>
                    <a:cubicBezTo>
                      <a:pt x="563" y="1325"/>
                      <a:pt x="587" y="1352"/>
                      <a:pt x="615" y="1374"/>
                    </a:cubicBezTo>
                    <a:cubicBezTo>
                      <a:pt x="628" y="1368"/>
                      <a:pt x="645" y="1367"/>
                      <a:pt x="658" y="1362"/>
                    </a:cubicBezTo>
                    <a:cubicBezTo>
                      <a:pt x="630" y="1322"/>
                      <a:pt x="605" y="1279"/>
                      <a:pt x="583" y="1232"/>
                    </a:cubicBezTo>
                    <a:cubicBezTo>
                      <a:pt x="564" y="1230"/>
                      <a:pt x="545" y="1229"/>
                      <a:pt x="527" y="1226"/>
                    </a:cubicBezTo>
                    <a:cubicBezTo>
                      <a:pt x="530" y="1251"/>
                      <a:pt x="535" y="1275"/>
                      <a:pt x="539" y="1299"/>
                    </a:cubicBezTo>
                    <a:close/>
                    <a:moveTo>
                      <a:pt x="537" y="1300"/>
                    </a:moveTo>
                    <a:cubicBezTo>
                      <a:pt x="517" y="1278"/>
                      <a:pt x="500" y="1252"/>
                      <a:pt x="481" y="1229"/>
                    </a:cubicBezTo>
                    <a:cubicBezTo>
                      <a:pt x="456" y="1237"/>
                      <a:pt x="433" y="1246"/>
                      <a:pt x="412" y="1256"/>
                    </a:cubicBezTo>
                    <a:cubicBezTo>
                      <a:pt x="452" y="1302"/>
                      <a:pt x="504" y="1344"/>
                      <a:pt x="558" y="1379"/>
                    </a:cubicBezTo>
                    <a:cubicBezTo>
                      <a:pt x="550" y="1354"/>
                      <a:pt x="543" y="1328"/>
                      <a:pt x="537" y="1300"/>
                    </a:cubicBezTo>
                    <a:close/>
                    <a:moveTo>
                      <a:pt x="938" y="1232"/>
                    </a:moveTo>
                    <a:cubicBezTo>
                      <a:pt x="936" y="1253"/>
                      <a:pt x="931" y="1276"/>
                      <a:pt x="931" y="1295"/>
                    </a:cubicBezTo>
                    <a:cubicBezTo>
                      <a:pt x="945" y="1275"/>
                      <a:pt x="957" y="1253"/>
                      <a:pt x="970" y="1231"/>
                    </a:cubicBezTo>
                    <a:cubicBezTo>
                      <a:pt x="970" y="1230"/>
                      <a:pt x="970" y="1229"/>
                      <a:pt x="968" y="1229"/>
                    </a:cubicBezTo>
                    <a:cubicBezTo>
                      <a:pt x="959" y="1231"/>
                      <a:pt x="948" y="1232"/>
                      <a:pt x="938" y="1232"/>
                    </a:cubicBezTo>
                    <a:close/>
                    <a:moveTo>
                      <a:pt x="663" y="1362"/>
                    </a:moveTo>
                    <a:cubicBezTo>
                      <a:pt x="679" y="1359"/>
                      <a:pt x="696" y="1357"/>
                      <a:pt x="712" y="1355"/>
                    </a:cubicBezTo>
                    <a:cubicBezTo>
                      <a:pt x="700" y="1317"/>
                      <a:pt x="690" y="1278"/>
                      <a:pt x="680" y="1238"/>
                    </a:cubicBezTo>
                    <a:cubicBezTo>
                      <a:pt x="649" y="1236"/>
                      <a:pt x="616" y="1235"/>
                      <a:pt x="586" y="1232"/>
                    </a:cubicBezTo>
                    <a:cubicBezTo>
                      <a:pt x="608" y="1279"/>
                      <a:pt x="632" y="1324"/>
                      <a:pt x="663" y="1362"/>
                    </a:cubicBezTo>
                    <a:close/>
                    <a:moveTo>
                      <a:pt x="872" y="1237"/>
                    </a:moveTo>
                    <a:cubicBezTo>
                      <a:pt x="861" y="1280"/>
                      <a:pt x="845" y="1318"/>
                      <a:pt x="829" y="1357"/>
                    </a:cubicBezTo>
                    <a:cubicBezTo>
                      <a:pt x="845" y="1360"/>
                      <a:pt x="862" y="1361"/>
                      <a:pt x="876" y="1366"/>
                    </a:cubicBezTo>
                    <a:cubicBezTo>
                      <a:pt x="895" y="1349"/>
                      <a:pt x="908" y="1326"/>
                      <a:pt x="924" y="1306"/>
                    </a:cubicBezTo>
                    <a:cubicBezTo>
                      <a:pt x="927" y="1282"/>
                      <a:pt x="932" y="1259"/>
                      <a:pt x="933" y="1233"/>
                    </a:cubicBezTo>
                    <a:cubicBezTo>
                      <a:pt x="912" y="1234"/>
                      <a:pt x="892" y="1235"/>
                      <a:pt x="872" y="1237"/>
                    </a:cubicBezTo>
                    <a:close/>
                    <a:moveTo>
                      <a:pt x="1182" y="1304"/>
                    </a:moveTo>
                    <a:cubicBezTo>
                      <a:pt x="1190" y="1314"/>
                      <a:pt x="1196" y="1326"/>
                      <a:pt x="1200" y="1341"/>
                    </a:cubicBezTo>
                    <a:cubicBezTo>
                      <a:pt x="1222" y="1309"/>
                      <a:pt x="1244" y="1273"/>
                      <a:pt x="1257" y="1235"/>
                    </a:cubicBezTo>
                    <a:cubicBezTo>
                      <a:pt x="1234" y="1260"/>
                      <a:pt x="1208" y="1282"/>
                      <a:pt x="1182" y="1304"/>
                    </a:cubicBezTo>
                    <a:close/>
                    <a:moveTo>
                      <a:pt x="778" y="1239"/>
                    </a:moveTo>
                    <a:cubicBezTo>
                      <a:pt x="776" y="1277"/>
                      <a:pt x="774" y="1315"/>
                      <a:pt x="773" y="1353"/>
                    </a:cubicBezTo>
                    <a:cubicBezTo>
                      <a:pt x="791" y="1354"/>
                      <a:pt x="810" y="1355"/>
                      <a:pt x="826" y="1357"/>
                    </a:cubicBezTo>
                    <a:cubicBezTo>
                      <a:pt x="843" y="1319"/>
                      <a:pt x="857" y="1279"/>
                      <a:pt x="870" y="1237"/>
                    </a:cubicBezTo>
                    <a:cubicBezTo>
                      <a:pt x="840" y="1238"/>
                      <a:pt x="810" y="1239"/>
                      <a:pt x="778" y="1239"/>
                    </a:cubicBezTo>
                    <a:close/>
                    <a:moveTo>
                      <a:pt x="170" y="1239"/>
                    </a:moveTo>
                    <a:cubicBezTo>
                      <a:pt x="177" y="1254"/>
                      <a:pt x="187" y="1266"/>
                      <a:pt x="198" y="1276"/>
                    </a:cubicBezTo>
                    <a:moveTo>
                      <a:pt x="198" y="1276"/>
                    </a:moveTo>
                    <a:cubicBezTo>
                      <a:pt x="199" y="1278"/>
                      <a:pt x="200" y="1276"/>
                      <a:pt x="198" y="1276"/>
                    </a:cubicBezTo>
                    <a:moveTo>
                      <a:pt x="198" y="1276"/>
                    </a:moveTo>
                    <a:cubicBezTo>
                      <a:pt x="189" y="1264"/>
                      <a:pt x="180" y="1250"/>
                      <a:pt x="170" y="1239"/>
                    </a:cubicBezTo>
                    <a:moveTo>
                      <a:pt x="170" y="1239"/>
                    </a:moveTo>
                    <a:cubicBezTo>
                      <a:pt x="169" y="1237"/>
                      <a:pt x="169" y="1239"/>
                      <a:pt x="170" y="1239"/>
                    </a:cubicBezTo>
                    <a:moveTo>
                      <a:pt x="716" y="1355"/>
                    </a:moveTo>
                    <a:cubicBezTo>
                      <a:pt x="722" y="1356"/>
                      <a:pt x="725" y="1353"/>
                      <a:pt x="731" y="1354"/>
                    </a:cubicBezTo>
                    <a:cubicBezTo>
                      <a:pt x="729" y="1317"/>
                      <a:pt x="729" y="1277"/>
                      <a:pt x="727" y="1239"/>
                    </a:cubicBezTo>
                    <a:cubicBezTo>
                      <a:pt x="713" y="1240"/>
                      <a:pt x="696" y="1237"/>
                      <a:pt x="684" y="1239"/>
                    </a:cubicBezTo>
                    <a:cubicBezTo>
                      <a:pt x="694" y="1278"/>
                      <a:pt x="704" y="1318"/>
                      <a:pt x="716" y="1355"/>
                    </a:cubicBezTo>
                    <a:close/>
                    <a:moveTo>
                      <a:pt x="1067" y="1238"/>
                    </a:moveTo>
                    <a:cubicBezTo>
                      <a:pt x="1026" y="1291"/>
                      <a:pt x="978" y="1338"/>
                      <a:pt x="927" y="1381"/>
                    </a:cubicBezTo>
                    <a:cubicBezTo>
                      <a:pt x="939" y="1385"/>
                      <a:pt x="948" y="1391"/>
                      <a:pt x="959" y="1396"/>
                    </a:cubicBezTo>
                    <a:cubicBezTo>
                      <a:pt x="1011" y="1367"/>
                      <a:pt x="1058" y="1334"/>
                      <a:pt x="1101" y="1296"/>
                    </a:cubicBezTo>
                    <a:cubicBezTo>
                      <a:pt x="1104" y="1282"/>
                      <a:pt x="1110" y="1271"/>
                      <a:pt x="1112" y="1256"/>
                    </a:cubicBezTo>
                    <a:cubicBezTo>
                      <a:pt x="1098" y="1249"/>
                      <a:pt x="1084" y="1242"/>
                      <a:pt x="1067" y="1238"/>
                    </a:cubicBezTo>
                    <a:close/>
                    <a:moveTo>
                      <a:pt x="731" y="1239"/>
                    </a:moveTo>
                    <a:cubicBezTo>
                      <a:pt x="730" y="1276"/>
                      <a:pt x="733" y="1316"/>
                      <a:pt x="733" y="1354"/>
                    </a:cubicBezTo>
                    <a:cubicBezTo>
                      <a:pt x="745" y="1354"/>
                      <a:pt x="757" y="1353"/>
                      <a:pt x="770" y="1353"/>
                    </a:cubicBezTo>
                    <a:cubicBezTo>
                      <a:pt x="772" y="1316"/>
                      <a:pt x="774" y="1278"/>
                      <a:pt x="775" y="1240"/>
                    </a:cubicBezTo>
                    <a:cubicBezTo>
                      <a:pt x="761" y="1239"/>
                      <a:pt x="747" y="1238"/>
                      <a:pt x="731" y="1239"/>
                    </a:cubicBezTo>
                    <a:close/>
                    <a:moveTo>
                      <a:pt x="559" y="1383"/>
                    </a:moveTo>
                    <a:cubicBezTo>
                      <a:pt x="502" y="1348"/>
                      <a:pt x="454" y="1304"/>
                      <a:pt x="408" y="1258"/>
                    </a:cubicBezTo>
                    <a:cubicBezTo>
                      <a:pt x="395" y="1265"/>
                      <a:pt x="383" y="1272"/>
                      <a:pt x="371" y="1280"/>
                    </a:cubicBezTo>
                    <a:cubicBezTo>
                      <a:pt x="377" y="1308"/>
                      <a:pt x="393" y="1320"/>
                      <a:pt x="414" y="1334"/>
                    </a:cubicBezTo>
                    <a:cubicBezTo>
                      <a:pt x="445" y="1356"/>
                      <a:pt x="480" y="1376"/>
                      <a:pt x="511" y="1392"/>
                    </a:cubicBezTo>
                    <a:cubicBezTo>
                      <a:pt x="529" y="1393"/>
                      <a:pt x="548" y="1399"/>
                      <a:pt x="564" y="1398"/>
                    </a:cubicBezTo>
                    <a:cubicBezTo>
                      <a:pt x="563" y="1393"/>
                      <a:pt x="560" y="1389"/>
                      <a:pt x="559" y="1383"/>
                    </a:cubicBezTo>
                    <a:close/>
                    <a:moveTo>
                      <a:pt x="1106" y="1293"/>
                    </a:moveTo>
                    <a:cubicBezTo>
                      <a:pt x="1114" y="1284"/>
                      <a:pt x="1124" y="1276"/>
                      <a:pt x="1133" y="1267"/>
                    </a:cubicBezTo>
                    <a:cubicBezTo>
                      <a:pt x="1126" y="1264"/>
                      <a:pt x="1122" y="1260"/>
                      <a:pt x="1115" y="1258"/>
                    </a:cubicBezTo>
                    <a:cubicBezTo>
                      <a:pt x="1112" y="1269"/>
                      <a:pt x="1106" y="1282"/>
                      <a:pt x="1106" y="1293"/>
                    </a:cubicBezTo>
                    <a:close/>
                    <a:moveTo>
                      <a:pt x="193" y="1264"/>
                    </a:moveTo>
                    <a:cubicBezTo>
                      <a:pt x="193" y="1265"/>
                      <a:pt x="193" y="1265"/>
                      <a:pt x="194" y="1265"/>
                    </a:cubicBezTo>
                    <a:moveTo>
                      <a:pt x="194" y="1265"/>
                    </a:moveTo>
                    <a:cubicBezTo>
                      <a:pt x="194" y="1266"/>
                      <a:pt x="194" y="1266"/>
                      <a:pt x="195" y="1266"/>
                    </a:cubicBezTo>
                    <a:moveTo>
                      <a:pt x="195" y="1266"/>
                    </a:moveTo>
                    <a:cubicBezTo>
                      <a:pt x="205" y="1280"/>
                      <a:pt x="216" y="1293"/>
                      <a:pt x="232" y="1301"/>
                    </a:cubicBezTo>
                    <a:moveTo>
                      <a:pt x="232" y="1301"/>
                    </a:moveTo>
                    <a:cubicBezTo>
                      <a:pt x="232" y="1302"/>
                      <a:pt x="232" y="1302"/>
                      <a:pt x="233" y="1302"/>
                    </a:cubicBezTo>
                    <a:moveTo>
                      <a:pt x="233" y="1302"/>
                    </a:moveTo>
                    <a:cubicBezTo>
                      <a:pt x="234" y="1304"/>
                      <a:pt x="234" y="1302"/>
                      <a:pt x="233" y="1302"/>
                    </a:cubicBezTo>
                    <a:moveTo>
                      <a:pt x="233" y="1302"/>
                    </a:moveTo>
                    <a:cubicBezTo>
                      <a:pt x="233" y="1301"/>
                      <a:pt x="233" y="1301"/>
                      <a:pt x="232" y="1301"/>
                    </a:cubicBezTo>
                    <a:moveTo>
                      <a:pt x="195" y="1266"/>
                    </a:moveTo>
                    <a:cubicBezTo>
                      <a:pt x="207" y="1278"/>
                      <a:pt x="219" y="1290"/>
                      <a:pt x="232" y="1301"/>
                    </a:cubicBezTo>
                    <a:moveTo>
                      <a:pt x="195" y="1266"/>
                    </a:moveTo>
                    <a:cubicBezTo>
                      <a:pt x="195" y="1265"/>
                      <a:pt x="194" y="1265"/>
                      <a:pt x="194" y="1265"/>
                    </a:cubicBezTo>
                    <a:moveTo>
                      <a:pt x="194" y="1265"/>
                    </a:moveTo>
                    <a:cubicBezTo>
                      <a:pt x="194" y="1264"/>
                      <a:pt x="193" y="1264"/>
                      <a:pt x="193" y="1264"/>
                    </a:cubicBezTo>
                    <a:moveTo>
                      <a:pt x="193" y="1264"/>
                    </a:moveTo>
                    <a:cubicBezTo>
                      <a:pt x="192" y="1262"/>
                      <a:pt x="192" y="1264"/>
                      <a:pt x="193" y="1264"/>
                    </a:cubicBezTo>
                    <a:moveTo>
                      <a:pt x="1071" y="1373"/>
                    </a:moveTo>
                    <a:cubicBezTo>
                      <a:pt x="1070" y="1374"/>
                      <a:pt x="1071" y="1374"/>
                      <a:pt x="1071" y="1373"/>
                    </a:cubicBezTo>
                    <a:moveTo>
                      <a:pt x="1071" y="1373"/>
                    </a:moveTo>
                    <a:cubicBezTo>
                      <a:pt x="1096" y="1361"/>
                      <a:pt x="1127" y="1341"/>
                      <a:pt x="1154" y="1321"/>
                    </a:cubicBezTo>
                    <a:cubicBezTo>
                      <a:pt x="1159" y="1318"/>
                      <a:pt x="1178" y="1306"/>
                      <a:pt x="1178" y="1302"/>
                    </a:cubicBezTo>
                    <a:cubicBezTo>
                      <a:pt x="1178" y="1299"/>
                      <a:pt x="1160" y="1286"/>
                      <a:pt x="1158" y="1284"/>
                    </a:cubicBezTo>
                    <a:cubicBezTo>
                      <a:pt x="1149" y="1277"/>
                      <a:pt x="1143" y="1273"/>
                      <a:pt x="1134" y="1269"/>
                    </a:cubicBezTo>
                    <a:cubicBezTo>
                      <a:pt x="1124" y="1279"/>
                      <a:pt x="1114" y="1289"/>
                      <a:pt x="1102" y="1298"/>
                    </a:cubicBezTo>
                    <a:cubicBezTo>
                      <a:pt x="1094" y="1326"/>
                      <a:pt x="1082" y="1349"/>
                      <a:pt x="1071" y="1373"/>
                    </a:cubicBezTo>
                    <a:moveTo>
                      <a:pt x="253" y="1272"/>
                    </a:moveTo>
                    <a:cubicBezTo>
                      <a:pt x="253" y="1273"/>
                      <a:pt x="254" y="1273"/>
                      <a:pt x="254" y="1273"/>
                    </a:cubicBezTo>
                    <a:moveTo>
                      <a:pt x="254" y="1273"/>
                    </a:moveTo>
                    <a:cubicBezTo>
                      <a:pt x="266" y="1296"/>
                      <a:pt x="280" y="1316"/>
                      <a:pt x="295" y="1335"/>
                    </a:cubicBezTo>
                    <a:cubicBezTo>
                      <a:pt x="305" y="1338"/>
                      <a:pt x="314" y="1343"/>
                      <a:pt x="324" y="1345"/>
                    </a:cubicBezTo>
                    <a:cubicBezTo>
                      <a:pt x="324" y="1340"/>
                      <a:pt x="326" y="1335"/>
                      <a:pt x="327" y="1331"/>
                    </a:cubicBezTo>
                    <a:cubicBezTo>
                      <a:pt x="302" y="1313"/>
                      <a:pt x="277" y="1294"/>
                      <a:pt x="254" y="1273"/>
                    </a:cubicBezTo>
                    <a:moveTo>
                      <a:pt x="254" y="1273"/>
                    </a:moveTo>
                    <a:cubicBezTo>
                      <a:pt x="254" y="1273"/>
                      <a:pt x="254" y="1272"/>
                      <a:pt x="253" y="1272"/>
                    </a:cubicBezTo>
                    <a:moveTo>
                      <a:pt x="253" y="1272"/>
                    </a:moveTo>
                    <a:cubicBezTo>
                      <a:pt x="253" y="1271"/>
                      <a:pt x="252" y="1273"/>
                      <a:pt x="253" y="1272"/>
                    </a:cubicBezTo>
                    <a:moveTo>
                      <a:pt x="379" y="1308"/>
                    </a:moveTo>
                    <a:cubicBezTo>
                      <a:pt x="380" y="1309"/>
                      <a:pt x="380" y="1308"/>
                      <a:pt x="379" y="1308"/>
                    </a:cubicBezTo>
                    <a:moveTo>
                      <a:pt x="379" y="1308"/>
                    </a:moveTo>
                    <a:cubicBezTo>
                      <a:pt x="376" y="1299"/>
                      <a:pt x="372" y="1290"/>
                      <a:pt x="368" y="1282"/>
                    </a:cubicBezTo>
                    <a:cubicBezTo>
                      <a:pt x="365" y="1285"/>
                      <a:pt x="361" y="1288"/>
                      <a:pt x="358" y="1292"/>
                    </a:cubicBezTo>
                    <a:cubicBezTo>
                      <a:pt x="365" y="1297"/>
                      <a:pt x="371" y="1303"/>
                      <a:pt x="379" y="1308"/>
                    </a:cubicBezTo>
                    <a:moveTo>
                      <a:pt x="383" y="1315"/>
                    </a:moveTo>
                    <a:cubicBezTo>
                      <a:pt x="373" y="1308"/>
                      <a:pt x="366" y="1299"/>
                      <a:pt x="355" y="1294"/>
                    </a:cubicBezTo>
                    <a:cubicBezTo>
                      <a:pt x="345" y="1304"/>
                      <a:pt x="335" y="1315"/>
                      <a:pt x="330" y="1330"/>
                    </a:cubicBezTo>
                    <a:cubicBezTo>
                      <a:pt x="356" y="1345"/>
                      <a:pt x="378" y="1368"/>
                      <a:pt x="413" y="1371"/>
                    </a:cubicBezTo>
                    <a:cubicBezTo>
                      <a:pt x="401" y="1354"/>
                      <a:pt x="391" y="1335"/>
                      <a:pt x="383" y="1315"/>
                    </a:cubicBezTo>
                    <a:close/>
                    <a:moveTo>
                      <a:pt x="929" y="1297"/>
                    </a:moveTo>
                    <a:cubicBezTo>
                      <a:pt x="929" y="1297"/>
                      <a:pt x="930" y="1298"/>
                      <a:pt x="929" y="1297"/>
                    </a:cubicBezTo>
                    <a:close/>
                    <a:moveTo>
                      <a:pt x="224" y="1300"/>
                    </a:moveTo>
                    <a:cubicBezTo>
                      <a:pt x="224" y="1301"/>
                      <a:pt x="225" y="1301"/>
                      <a:pt x="225" y="1301"/>
                    </a:cubicBezTo>
                    <a:moveTo>
                      <a:pt x="225" y="1301"/>
                    </a:moveTo>
                    <a:cubicBezTo>
                      <a:pt x="259" y="1340"/>
                      <a:pt x="299" y="1371"/>
                      <a:pt x="343" y="1399"/>
                    </a:cubicBezTo>
                    <a:cubicBezTo>
                      <a:pt x="340" y="1392"/>
                      <a:pt x="333" y="1387"/>
                      <a:pt x="331" y="1378"/>
                    </a:cubicBezTo>
                    <a:cubicBezTo>
                      <a:pt x="326" y="1374"/>
                      <a:pt x="321" y="1369"/>
                      <a:pt x="317" y="1364"/>
                    </a:cubicBezTo>
                    <a:cubicBezTo>
                      <a:pt x="283" y="1346"/>
                      <a:pt x="259" y="1319"/>
                      <a:pt x="225" y="1301"/>
                    </a:cubicBezTo>
                    <a:moveTo>
                      <a:pt x="225" y="1301"/>
                    </a:moveTo>
                    <a:cubicBezTo>
                      <a:pt x="226" y="1300"/>
                      <a:pt x="225" y="1300"/>
                      <a:pt x="224" y="1300"/>
                    </a:cubicBezTo>
                    <a:moveTo>
                      <a:pt x="224" y="1300"/>
                    </a:moveTo>
                    <a:cubicBezTo>
                      <a:pt x="224" y="1299"/>
                      <a:pt x="223" y="1300"/>
                      <a:pt x="224" y="1300"/>
                    </a:cubicBezTo>
                    <a:moveTo>
                      <a:pt x="961" y="1398"/>
                    </a:moveTo>
                    <a:cubicBezTo>
                      <a:pt x="996" y="1395"/>
                      <a:pt x="1039" y="1392"/>
                      <a:pt x="1066" y="1377"/>
                    </a:cubicBezTo>
                    <a:cubicBezTo>
                      <a:pt x="1077" y="1353"/>
                      <a:pt x="1091" y="1328"/>
                      <a:pt x="1097" y="1302"/>
                    </a:cubicBezTo>
                    <a:cubicBezTo>
                      <a:pt x="1057" y="1339"/>
                      <a:pt x="1010" y="1370"/>
                      <a:pt x="961" y="1398"/>
                    </a:cubicBezTo>
                    <a:close/>
                    <a:moveTo>
                      <a:pt x="1294" y="1304"/>
                    </a:moveTo>
                    <a:cubicBezTo>
                      <a:pt x="1293" y="1304"/>
                      <a:pt x="1294" y="1305"/>
                      <a:pt x="1294" y="1304"/>
                    </a:cubicBezTo>
                    <a:close/>
                    <a:moveTo>
                      <a:pt x="1292" y="1305"/>
                    </a:moveTo>
                    <a:cubicBezTo>
                      <a:pt x="1292" y="1305"/>
                      <a:pt x="1293" y="1306"/>
                      <a:pt x="1292" y="1305"/>
                    </a:cubicBezTo>
                    <a:close/>
                    <a:moveTo>
                      <a:pt x="561" y="1382"/>
                    </a:moveTo>
                    <a:cubicBezTo>
                      <a:pt x="567" y="1384"/>
                      <a:pt x="571" y="1388"/>
                      <a:pt x="577" y="1391"/>
                    </a:cubicBezTo>
                    <a:cubicBezTo>
                      <a:pt x="587" y="1385"/>
                      <a:pt x="597" y="1379"/>
                      <a:pt x="610" y="1376"/>
                    </a:cubicBezTo>
                    <a:cubicBezTo>
                      <a:pt x="587" y="1352"/>
                      <a:pt x="562" y="1331"/>
                      <a:pt x="541" y="1305"/>
                    </a:cubicBezTo>
                    <a:cubicBezTo>
                      <a:pt x="546" y="1332"/>
                      <a:pt x="554" y="1357"/>
                      <a:pt x="561" y="1382"/>
                    </a:cubicBezTo>
                    <a:close/>
                    <a:moveTo>
                      <a:pt x="1179" y="1305"/>
                    </a:moveTo>
                    <a:cubicBezTo>
                      <a:pt x="1162" y="1320"/>
                      <a:pt x="1142" y="1333"/>
                      <a:pt x="1122" y="1345"/>
                    </a:cubicBezTo>
                    <a:cubicBezTo>
                      <a:pt x="1103" y="1357"/>
                      <a:pt x="1083" y="1369"/>
                      <a:pt x="1066" y="1382"/>
                    </a:cubicBezTo>
                    <a:cubicBezTo>
                      <a:pt x="1112" y="1371"/>
                      <a:pt x="1168" y="1364"/>
                      <a:pt x="1197" y="1341"/>
                    </a:cubicBezTo>
                    <a:cubicBezTo>
                      <a:pt x="1194" y="1326"/>
                      <a:pt x="1188" y="1314"/>
                      <a:pt x="1179" y="1305"/>
                    </a:cubicBezTo>
                    <a:close/>
                    <a:moveTo>
                      <a:pt x="1283" y="1311"/>
                    </a:moveTo>
                    <a:cubicBezTo>
                      <a:pt x="1257" y="1325"/>
                      <a:pt x="1230" y="1338"/>
                      <a:pt x="1200" y="1348"/>
                    </a:cubicBezTo>
                    <a:cubicBezTo>
                      <a:pt x="1201" y="1361"/>
                      <a:pt x="1197" y="1369"/>
                      <a:pt x="1194" y="1378"/>
                    </a:cubicBezTo>
                    <a:moveTo>
                      <a:pt x="1194" y="1378"/>
                    </a:moveTo>
                    <a:cubicBezTo>
                      <a:pt x="1193" y="1379"/>
                      <a:pt x="1194" y="1379"/>
                      <a:pt x="1194" y="1378"/>
                    </a:cubicBezTo>
                    <a:moveTo>
                      <a:pt x="1194" y="1378"/>
                    </a:moveTo>
                    <a:cubicBezTo>
                      <a:pt x="1227" y="1358"/>
                      <a:pt x="1258" y="1338"/>
                      <a:pt x="1283" y="1311"/>
                    </a:cubicBezTo>
                    <a:moveTo>
                      <a:pt x="1283" y="1311"/>
                    </a:moveTo>
                    <a:cubicBezTo>
                      <a:pt x="1285" y="1310"/>
                      <a:pt x="1283" y="1310"/>
                      <a:pt x="1283" y="1311"/>
                    </a:cubicBezTo>
                    <a:moveTo>
                      <a:pt x="881" y="1367"/>
                    </a:moveTo>
                    <a:cubicBezTo>
                      <a:pt x="892" y="1368"/>
                      <a:pt x="901" y="1372"/>
                      <a:pt x="911" y="1374"/>
                    </a:cubicBezTo>
                    <a:cubicBezTo>
                      <a:pt x="916" y="1355"/>
                      <a:pt x="921" y="1331"/>
                      <a:pt x="922" y="1312"/>
                    </a:cubicBezTo>
                    <a:cubicBezTo>
                      <a:pt x="910" y="1331"/>
                      <a:pt x="895" y="1349"/>
                      <a:pt x="881" y="1367"/>
                    </a:cubicBezTo>
                    <a:close/>
                    <a:moveTo>
                      <a:pt x="388" y="1319"/>
                    </a:moveTo>
                    <a:cubicBezTo>
                      <a:pt x="395" y="1338"/>
                      <a:pt x="406" y="1356"/>
                      <a:pt x="416" y="1373"/>
                    </a:cubicBezTo>
                    <a:cubicBezTo>
                      <a:pt x="444" y="1379"/>
                      <a:pt x="470" y="1386"/>
                      <a:pt x="500" y="1390"/>
                    </a:cubicBezTo>
                    <a:moveTo>
                      <a:pt x="500" y="1390"/>
                    </a:moveTo>
                    <a:cubicBezTo>
                      <a:pt x="500" y="1392"/>
                      <a:pt x="504" y="1389"/>
                      <a:pt x="500" y="1390"/>
                    </a:cubicBezTo>
                    <a:moveTo>
                      <a:pt x="388" y="1319"/>
                    </a:moveTo>
                    <a:cubicBezTo>
                      <a:pt x="423" y="1344"/>
                      <a:pt x="460" y="1368"/>
                      <a:pt x="500" y="1390"/>
                    </a:cubicBezTo>
                    <a:moveTo>
                      <a:pt x="388" y="1319"/>
                    </a:moveTo>
                    <a:cubicBezTo>
                      <a:pt x="387" y="1317"/>
                      <a:pt x="386" y="1319"/>
                      <a:pt x="388" y="1319"/>
                    </a:cubicBezTo>
                    <a:moveTo>
                      <a:pt x="261" y="1322"/>
                    </a:moveTo>
                    <a:cubicBezTo>
                      <a:pt x="260" y="1322"/>
                      <a:pt x="262" y="1323"/>
                      <a:pt x="261" y="1322"/>
                    </a:cubicBezTo>
                    <a:close/>
                    <a:moveTo>
                      <a:pt x="264" y="1323"/>
                    </a:moveTo>
                    <a:cubicBezTo>
                      <a:pt x="264" y="1324"/>
                      <a:pt x="264" y="1324"/>
                      <a:pt x="264" y="1324"/>
                    </a:cubicBezTo>
                    <a:cubicBezTo>
                      <a:pt x="279" y="1334"/>
                      <a:pt x="292" y="1346"/>
                      <a:pt x="308" y="1355"/>
                    </a:cubicBezTo>
                    <a:moveTo>
                      <a:pt x="308" y="1355"/>
                    </a:moveTo>
                    <a:cubicBezTo>
                      <a:pt x="308" y="1356"/>
                      <a:pt x="308" y="1356"/>
                      <a:pt x="309" y="1356"/>
                    </a:cubicBezTo>
                    <a:moveTo>
                      <a:pt x="309" y="1356"/>
                    </a:moveTo>
                    <a:cubicBezTo>
                      <a:pt x="309" y="1357"/>
                      <a:pt x="310" y="1356"/>
                      <a:pt x="309" y="1356"/>
                    </a:cubicBezTo>
                    <a:moveTo>
                      <a:pt x="309" y="1356"/>
                    </a:moveTo>
                    <a:cubicBezTo>
                      <a:pt x="309" y="1355"/>
                      <a:pt x="309" y="1355"/>
                      <a:pt x="308" y="1355"/>
                    </a:cubicBezTo>
                    <a:moveTo>
                      <a:pt x="308" y="1355"/>
                    </a:moveTo>
                    <a:cubicBezTo>
                      <a:pt x="299" y="1338"/>
                      <a:pt x="282" y="1330"/>
                      <a:pt x="264" y="1323"/>
                    </a:cubicBezTo>
                    <a:moveTo>
                      <a:pt x="264" y="1323"/>
                    </a:moveTo>
                    <a:cubicBezTo>
                      <a:pt x="263" y="1322"/>
                      <a:pt x="263" y="1323"/>
                      <a:pt x="264" y="1323"/>
                    </a:cubicBezTo>
                    <a:moveTo>
                      <a:pt x="327" y="1347"/>
                    </a:moveTo>
                    <a:cubicBezTo>
                      <a:pt x="343" y="1351"/>
                      <a:pt x="359" y="1360"/>
                      <a:pt x="374" y="1361"/>
                    </a:cubicBezTo>
                    <a:cubicBezTo>
                      <a:pt x="358" y="1353"/>
                      <a:pt x="345" y="1342"/>
                      <a:pt x="329" y="1333"/>
                    </a:cubicBezTo>
                    <a:cubicBezTo>
                      <a:pt x="328" y="1337"/>
                      <a:pt x="327" y="1341"/>
                      <a:pt x="327" y="1347"/>
                    </a:cubicBezTo>
                    <a:close/>
                    <a:moveTo>
                      <a:pt x="299" y="1340"/>
                    </a:moveTo>
                    <a:cubicBezTo>
                      <a:pt x="308" y="1349"/>
                      <a:pt x="314" y="1361"/>
                      <a:pt x="326" y="1367"/>
                    </a:cubicBezTo>
                    <a:cubicBezTo>
                      <a:pt x="325" y="1362"/>
                      <a:pt x="324" y="1356"/>
                      <a:pt x="324" y="1348"/>
                    </a:cubicBezTo>
                    <a:cubicBezTo>
                      <a:pt x="315" y="1346"/>
                      <a:pt x="309" y="1342"/>
                      <a:pt x="299" y="1340"/>
                    </a:cubicBezTo>
                    <a:moveTo>
                      <a:pt x="299" y="1340"/>
                    </a:moveTo>
                    <a:cubicBezTo>
                      <a:pt x="299" y="1338"/>
                      <a:pt x="298" y="1340"/>
                      <a:pt x="299" y="1340"/>
                    </a:cubicBezTo>
                    <a:moveTo>
                      <a:pt x="1254" y="1341"/>
                    </a:moveTo>
                    <a:cubicBezTo>
                      <a:pt x="1254" y="1340"/>
                      <a:pt x="1254" y="1341"/>
                      <a:pt x="1254" y="1342"/>
                    </a:cubicBezTo>
                    <a:moveTo>
                      <a:pt x="1254" y="1342"/>
                    </a:moveTo>
                    <a:cubicBezTo>
                      <a:pt x="1253" y="1341"/>
                      <a:pt x="1253" y="1342"/>
                      <a:pt x="1253" y="1343"/>
                    </a:cubicBezTo>
                    <a:moveTo>
                      <a:pt x="1253" y="1343"/>
                    </a:moveTo>
                    <a:cubicBezTo>
                      <a:pt x="1252" y="1342"/>
                      <a:pt x="1252" y="1343"/>
                      <a:pt x="1252" y="1343"/>
                    </a:cubicBezTo>
                    <a:moveTo>
                      <a:pt x="1252" y="1343"/>
                    </a:moveTo>
                    <a:cubicBezTo>
                      <a:pt x="1231" y="1356"/>
                      <a:pt x="1213" y="1372"/>
                      <a:pt x="1191" y="1383"/>
                    </a:cubicBezTo>
                    <a:cubicBezTo>
                      <a:pt x="1188" y="1390"/>
                      <a:pt x="1182" y="1395"/>
                      <a:pt x="1178" y="1402"/>
                    </a:cubicBezTo>
                    <a:moveTo>
                      <a:pt x="1178" y="1402"/>
                    </a:moveTo>
                    <a:cubicBezTo>
                      <a:pt x="1177" y="1402"/>
                      <a:pt x="1177" y="1402"/>
                      <a:pt x="1177" y="1403"/>
                    </a:cubicBezTo>
                    <a:moveTo>
                      <a:pt x="1177" y="1403"/>
                    </a:moveTo>
                    <a:cubicBezTo>
                      <a:pt x="1175" y="1404"/>
                      <a:pt x="1177" y="1404"/>
                      <a:pt x="1177" y="1403"/>
                    </a:cubicBezTo>
                    <a:moveTo>
                      <a:pt x="1177" y="1403"/>
                    </a:moveTo>
                    <a:cubicBezTo>
                      <a:pt x="1178" y="1403"/>
                      <a:pt x="1178" y="1403"/>
                      <a:pt x="1178" y="1402"/>
                    </a:cubicBezTo>
                    <a:moveTo>
                      <a:pt x="1178" y="1402"/>
                    </a:moveTo>
                    <a:cubicBezTo>
                      <a:pt x="1205" y="1385"/>
                      <a:pt x="1229" y="1365"/>
                      <a:pt x="1252" y="1343"/>
                    </a:cubicBezTo>
                    <a:moveTo>
                      <a:pt x="1252" y="1343"/>
                    </a:moveTo>
                    <a:cubicBezTo>
                      <a:pt x="1252" y="1344"/>
                      <a:pt x="1253" y="1343"/>
                      <a:pt x="1253" y="1343"/>
                    </a:cubicBezTo>
                    <a:moveTo>
                      <a:pt x="1253" y="1343"/>
                    </a:moveTo>
                    <a:cubicBezTo>
                      <a:pt x="1253" y="1343"/>
                      <a:pt x="1253" y="1342"/>
                      <a:pt x="1254" y="1342"/>
                    </a:cubicBezTo>
                    <a:moveTo>
                      <a:pt x="1254" y="1342"/>
                    </a:moveTo>
                    <a:cubicBezTo>
                      <a:pt x="1254" y="1342"/>
                      <a:pt x="1254" y="1341"/>
                      <a:pt x="1254" y="1341"/>
                    </a:cubicBezTo>
                    <a:moveTo>
                      <a:pt x="1254" y="1341"/>
                    </a:moveTo>
                    <a:cubicBezTo>
                      <a:pt x="1256" y="1340"/>
                      <a:pt x="1254" y="1339"/>
                      <a:pt x="1254" y="1341"/>
                    </a:cubicBezTo>
                    <a:moveTo>
                      <a:pt x="1193" y="1348"/>
                    </a:moveTo>
                    <a:cubicBezTo>
                      <a:pt x="1193" y="1348"/>
                      <a:pt x="1194" y="1349"/>
                      <a:pt x="1193" y="1348"/>
                    </a:cubicBezTo>
                    <a:close/>
                    <a:moveTo>
                      <a:pt x="330" y="1369"/>
                    </a:moveTo>
                    <a:cubicBezTo>
                      <a:pt x="368" y="1393"/>
                      <a:pt x="409" y="1413"/>
                      <a:pt x="454" y="1429"/>
                    </a:cubicBezTo>
                    <a:cubicBezTo>
                      <a:pt x="444" y="1415"/>
                      <a:pt x="432" y="1403"/>
                      <a:pt x="423" y="1388"/>
                    </a:cubicBezTo>
                    <a:cubicBezTo>
                      <a:pt x="395" y="1370"/>
                      <a:pt x="360" y="1360"/>
                      <a:pt x="326" y="1349"/>
                    </a:cubicBezTo>
                    <a:cubicBezTo>
                      <a:pt x="327" y="1357"/>
                      <a:pt x="327" y="1364"/>
                      <a:pt x="330" y="1369"/>
                    </a:cubicBezTo>
                    <a:close/>
                    <a:moveTo>
                      <a:pt x="1151" y="1402"/>
                    </a:moveTo>
                    <a:cubicBezTo>
                      <a:pt x="1149" y="1403"/>
                      <a:pt x="1151" y="1403"/>
                      <a:pt x="1151" y="1402"/>
                    </a:cubicBezTo>
                    <a:moveTo>
                      <a:pt x="1151" y="1402"/>
                    </a:moveTo>
                    <a:cubicBezTo>
                      <a:pt x="1165" y="1397"/>
                      <a:pt x="1176" y="1388"/>
                      <a:pt x="1189" y="1382"/>
                    </a:cubicBezTo>
                    <a:cubicBezTo>
                      <a:pt x="1193" y="1373"/>
                      <a:pt x="1197" y="1363"/>
                      <a:pt x="1198" y="1350"/>
                    </a:cubicBezTo>
                    <a:cubicBezTo>
                      <a:pt x="1183" y="1365"/>
                      <a:pt x="1168" y="1386"/>
                      <a:pt x="1151" y="1402"/>
                    </a:cubicBezTo>
                    <a:moveTo>
                      <a:pt x="1191" y="1352"/>
                    </a:moveTo>
                    <a:cubicBezTo>
                      <a:pt x="1142" y="1377"/>
                      <a:pt x="1096" y="1406"/>
                      <a:pt x="1039" y="1424"/>
                    </a:cubicBezTo>
                    <a:cubicBezTo>
                      <a:pt x="1033" y="1434"/>
                      <a:pt x="1025" y="1443"/>
                      <a:pt x="1017" y="1452"/>
                    </a:cubicBezTo>
                    <a:moveTo>
                      <a:pt x="1017" y="1452"/>
                    </a:moveTo>
                    <a:cubicBezTo>
                      <a:pt x="1016" y="1453"/>
                      <a:pt x="1017" y="1453"/>
                      <a:pt x="1017" y="1452"/>
                    </a:cubicBezTo>
                    <a:moveTo>
                      <a:pt x="1017" y="1452"/>
                    </a:moveTo>
                    <a:cubicBezTo>
                      <a:pt x="1063" y="1442"/>
                      <a:pt x="1102" y="1425"/>
                      <a:pt x="1141" y="1408"/>
                    </a:cubicBezTo>
                    <a:cubicBezTo>
                      <a:pt x="1159" y="1390"/>
                      <a:pt x="1176" y="1372"/>
                      <a:pt x="1191" y="1352"/>
                    </a:cubicBezTo>
                    <a:moveTo>
                      <a:pt x="1191" y="1352"/>
                    </a:moveTo>
                    <a:cubicBezTo>
                      <a:pt x="1193" y="1352"/>
                      <a:pt x="1191" y="1351"/>
                      <a:pt x="1191" y="1352"/>
                    </a:cubicBezTo>
                    <a:moveTo>
                      <a:pt x="735" y="1356"/>
                    </a:moveTo>
                    <a:cubicBezTo>
                      <a:pt x="733" y="1373"/>
                      <a:pt x="736" y="1393"/>
                      <a:pt x="736" y="1411"/>
                    </a:cubicBezTo>
                    <a:cubicBezTo>
                      <a:pt x="746" y="1411"/>
                      <a:pt x="756" y="1411"/>
                      <a:pt x="766" y="1411"/>
                    </a:cubicBezTo>
                    <a:cubicBezTo>
                      <a:pt x="768" y="1393"/>
                      <a:pt x="768" y="1374"/>
                      <a:pt x="770" y="1356"/>
                    </a:cubicBezTo>
                    <a:cubicBezTo>
                      <a:pt x="758" y="1356"/>
                      <a:pt x="747" y="1356"/>
                      <a:pt x="735" y="1356"/>
                    </a:cubicBezTo>
                    <a:close/>
                    <a:moveTo>
                      <a:pt x="773" y="1356"/>
                    </a:moveTo>
                    <a:cubicBezTo>
                      <a:pt x="771" y="1374"/>
                      <a:pt x="770" y="1392"/>
                      <a:pt x="769" y="1411"/>
                    </a:cubicBezTo>
                    <a:cubicBezTo>
                      <a:pt x="779" y="1411"/>
                      <a:pt x="789" y="1411"/>
                      <a:pt x="799" y="1411"/>
                    </a:cubicBezTo>
                    <a:cubicBezTo>
                      <a:pt x="809" y="1394"/>
                      <a:pt x="817" y="1376"/>
                      <a:pt x="825" y="1359"/>
                    </a:cubicBezTo>
                    <a:cubicBezTo>
                      <a:pt x="807" y="1358"/>
                      <a:pt x="791" y="1356"/>
                      <a:pt x="773" y="1356"/>
                    </a:cubicBezTo>
                    <a:close/>
                    <a:moveTo>
                      <a:pt x="718" y="1358"/>
                    </a:moveTo>
                    <a:cubicBezTo>
                      <a:pt x="721" y="1371"/>
                      <a:pt x="728" y="1389"/>
                      <a:pt x="733" y="1403"/>
                    </a:cubicBezTo>
                    <a:cubicBezTo>
                      <a:pt x="732" y="1388"/>
                      <a:pt x="731" y="1373"/>
                      <a:pt x="731" y="1357"/>
                    </a:cubicBezTo>
                    <a:cubicBezTo>
                      <a:pt x="727" y="1357"/>
                      <a:pt x="721" y="1356"/>
                      <a:pt x="718" y="1358"/>
                    </a:cubicBezTo>
                    <a:close/>
                    <a:moveTo>
                      <a:pt x="664" y="1365"/>
                    </a:moveTo>
                    <a:cubicBezTo>
                      <a:pt x="673" y="1379"/>
                      <a:pt x="687" y="1397"/>
                      <a:pt x="701" y="1410"/>
                    </a:cubicBezTo>
                    <a:cubicBezTo>
                      <a:pt x="712" y="1408"/>
                      <a:pt x="723" y="1413"/>
                      <a:pt x="732" y="1410"/>
                    </a:cubicBezTo>
                    <a:cubicBezTo>
                      <a:pt x="724" y="1394"/>
                      <a:pt x="719" y="1376"/>
                      <a:pt x="713" y="1358"/>
                    </a:cubicBezTo>
                    <a:cubicBezTo>
                      <a:pt x="696" y="1359"/>
                      <a:pt x="679" y="1361"/>
                      <a:pt x="664" y="1365"/>
                    </a:cubicBezTo>
                    <a:close/>
                    <a:moveTo>
                      <a:pt x="1171" y="1359"/>
                    </a:moveTo>
                    <a:cubicBezTo>
                      <a:pt x="1137" y="1369"/>
                      <a:pt x="1101" y="1378"/>
                      <a:pt x="1064" y="1386"/>
                    </a:cubicBezTo>
                    <a:cubicBezTo>
                      <a:pt x="1058" y="1397"/>
                      <a:pt x="1050" y="1409"/>
                      <a:pt x="1043" y="1420"/>
                    </a:cubicBezTo>
                    <a:cubicBezTo>
                      <a:pt x="1090" y="1404"/>
                      <a:pt x="1132" y="1383"/>
                      <a:pt x="1171" y="1359"/>
                    </a:cubicBezTo>
                    <a:moveTo>
                      <a:pt x="1171" y="1359"/>
                    </a:moveTo>
                    <a:cubicBezTo>
                      <a:pt x="1172" y="1358"/>
                      <a:pt x="1171" y="1358"/>
                      <a:pt x="1171" y="1359"/>
                    </a:cubicBezTo>
                    <a:moveTo>
                      <a:pt x="827" y="1360"/>
                    </a:moveTo>
                    <a:cubicBezTo>
                      <a:pt x="820" y="1378"/>
                      <a:pt x="811" y="1394"/>
                      <a:pt x="802" y="1411"/>
                    </a:cubicBezTo>
                    <a:cubicBezTo>
                      <a:pt x="813" y="1409"/>
                      <a:pt x="828" y="1411"/>
                      <a:pt x="838" y="1409"/>
                    </a:cubicBezTo>
                    <a:cubicBezTo>
                      <a:pt x="847" y="1399"/>
                      <a:pt x="859" y="1388"/>
                      <a:pt x="868" y="1378"/>
                    </a:cubicBezTo>
                    <a:cubicBezTo>
                      <a:pt x="871" y="1375"/>
                      <a:pt x="876" y="1371"/>
                      <a:pt x="874" y="1367"/>
                    </a:cubicBezTo>
                    <a:cubicBezTo>
                      <a:pt x="860" y="1364"/>
                      <a:pt x="844" y="1361"/>
                      <a:pt x="827" y="1360"/>
                    </a:cubicBezTo>
                    <a:close/>
                    <a:moveTo>
                      <a:pt x="375" y="1363"/>
                    </a:moveTo>
                    <a:cubicBezTo>
                      <a:pt x="375" y="1362"/>
                      <a:pt x="376" y="1363"/>
                      <a:pt x="375" y="1363"/>
                    </a:cubicBezTo>
                    <a:close/>
                    <a:moveTo>
                      <a:pt x="618" y="1375"/>
                    </a:moveTo>
                    <a:cubicBezTo>
                      <a:pt x="621" y="1381"/>
                      <a:pt x="628" y="1387"/>
                      <a:pt x="635" y="1392"/>
                    </a:cubicBezTo>
                    <a:cubicBezTo>
                      <a:pt x="641" y="1397"/>
                      <a:pt x="650" y="1406"/>
                      <a:pt x="657" y="1408"/>
                    </a:cubicBezTo>
                    <a:cubicBezTo>
                      <a:pt x="669" y="1411"/>
                      <a:pt x="681" y="1407"/>
                      <a:pt x="695" y="1410"/>
                    </a:cubicBezTo>
                    <a:cubicBezTo>
                      <a:pt x="685" y="1397"/>
                      <a:pt x="672" y="1379"/>
                      <a:pt x="659" y="1366"/>
                    </a:cubicBezTo>
                    <a:cubicBezTo>
                      <a:pt x="644" y="1368"/>
                      <a:pt x="632" y="1372"/>
                      <a:pt x="618" y="1375"/>
                    </a:cubicBezTo>
                    <a:close/>
                    <a:moveTo>
                      <a:pt x="879" y="1368"/>
                    </a:moveTo>
                    <a:cubicBezTo>
                      <a:pt x="870" y="1379"/>
                      <a:pt x="860" y="1391"/>
                      <a:pt x="850" y="1400"/>
                    </a:cubicBezTo>
                    <a:cubicBezTo>
                      <a:pt x="848" y="1403"/>
                      <a:pt x="842" y="1405"/>
                      <a:pt x="844" y="1409"/>
                    </a:cubicBezTo>
                    <a:cubicBezTo>
                      <a:pt x="857" y="1409"/>
                      <a:pt x="870" y="1407"/>
                      <a:pt x="884" y="1407"/>
                    </a:cubicBezTo>
                    <a:cubicBezTo>
                      <a:pt x="892" y="1402"/>
                      <a:pt x="900" y="1396"/>
                      <a:pt x="908" y="1391"/>
                    </a:cubicBezTo>
                    <a:cubicBezTo>
                      <a:pt x="908" y="1385"/>
                      <a:pt x="910" y="1381"/>
                      <a:pt x="911" y="1377"/>
                    </a:cubicBezTo>
                    <a:cubicBezTo>
                      <a:pt x="900" y="1374"/>
                      <a:pt x="890" y="1371"/>
                      <a:pt x="879" y="1368"/>
                    </a:cubicBezTo>
                    <a:close/>
                    <a:moveTo>
                      <a:pt x="419" y="1382"/>
                    </a:moveTo>
                    <a:cubicBezTo>
                      <a:pt x="416" y="1375"/>
                      <a:pt x="405" y="1372"/>
                      <a:pt x="398" y="1372"/>
                    </a:cubicBezTo>
                    <a:cubicBezTo>
                      <a:pt x="405" y="1375"/>
                      <a:pt x="413" y="1382"/>
                      <a:pt x="419" y="1382"/>
                    </a:cubicBezTo>
                    <a:close/>
                    <a:moveTo>
                      <a:pt x="332" y="1374"/>
                    </a:moveTo>
                    <a:cubicBezTo>
                      <a:pt x="368" y="1419"/>
                      <a:pt x="423" y="1445"/>
                      <a:pt x="487" y="1461"/>
                    </a:cubicBezTo>
                    <a:moveTo>
                      <a:pt x="487" y="1461"/>
                    </a:moveTo>
                    <a:cubicBezTo>
                      <a:pt x="488" y="1462"/>
                      <a:pt x="489" y="1461"/>
                      <a:pt x="487" y="1461"/>
                    </a:cubicBezTo>
                    <a:moveTo>
                      <a:pt x="487" y="1461"/>
                    </a:moveTo>
                    <a:cubicBezTo>
                      <a:pt x="476" y="1454"/>
                      <a:pt x="470" y="1441"/>
                      <a:pt x="458" y="1434"/>
                    </a:cubicBezTo>
                    <a:cubicBezTo>
                      <a:pt x="438" y="1423"/>
                      <a:pt x="414" y="1417"/>
                      <a:pt x="392" y="1407"/>
                    </a:cubicBezTo>
                    <a:cubicBezTo>
                      <a:pt x="371" y="1397"/>
                      <a:pt x="351" y="1384"/>
                      <a:pt x="332" y="1374"/>
                    </a:cubicBezTo>
                    <a:moveTo>
                      <a:pt x="332" y="1374"/>
                    </a:moveTo>
                    <a:cubicBezTo>
                      <a:pt x="331" y="1373"/>
                      <a:pt x="331" y="1374"/>
                      <a:pt x="332" y="1374"/>
                    </a:cubicBezTo>
                    <a:moveTo>
                      <a:pt x="419" y="1377"/>
                    </a:moveTo>
                    <a:cubicBezTo>
                      <a:pt x="420" y="1381"/>
                      <a:pt x="424" y="1383"/>
                      <a:pt x="425" y="1387"/>
                    </a:cubicBezTo>
                    <a:cubicBezTo>
                      <a:pt x="461" y="1403"/>
                      <a:pt x="496" y="1420"/>
                      <a:pt x="536" y="1431"/>
                    </a:cubicBezTo>
                    <a:cubicBezTo>
                      <a:pt x="537" y="1422"/>
                      <a:pt x="546" y="1417"/>
                      <a:pt x="546" y="1411"/>
                    </a:cubicBezTo>
                    <a:cubicBezTo>
                      <a:pt x="533" y="1406"/>
                      <a:pt x="522" y="1401"/>
                      <a:pt x="511" y="1394"/>
                    </a:cubicBezTo>
                    <a:cubicBezTo>
                      <a:pt x="479" y="1390"/>
                      <a:pt x="450" y="1383"/>
                      <a:pt x="419" y="1377"/>
                    </a:cubicBezTo>
                    <a:moveTo>
                      <a:pt x="419" y="1377"/>
                    </a:moveTo>
                    <a:cubicBezTo>
                      <a:pt x="419" y="1376"/>
                      <a:pt x="418" y="1377"/>
                      <a:pt x="419" y="1377"/>
                    </a:cubicBezTo>
                    <a:moveTo>
                      <a:pt x="612" y="1377"/>
                    </a:moveTo>
                    <a:cubicBezTo>
                      <a:pt x="601" y="1382"/>
                      <a:pt x="588" y="1386"/>
                      <a:pt x="579" y="1392"/>
                    </a:cubicBezTo>
                    <a:cubicBezTo>
                      <a:pt x="593" y="1405"/>
                      <a:pt x="625" y="1407"/>
                      <a:pt x="650" y="1406"/>
                    </a:cubicBezTo>
                    <a:cubicBezTo>
                      <a:pt x="636" y="1397"/>
                      <a:pt x="626" y="1386"/>
                      <a:pt x="612" y="1377"/>
                    </a:cubicBezTo>
                    <a:close/>
                    <a:moveTo>
                      <a:pt x="914" y="1387"/>
                    </a:moveTo>
                    <a:cubicBezTo>
                      <a:pt x="915" y="1384"/>
                      <a:pt x="920" y="1384"/>
                      <a:pt x="920" y="1380"/>
                    </a:cubicBezTo>
                    <a:cubicBezTo>
                      <a:pt x="917" y="1380"/>
                      <a:pt x="917" y="1378"/>
                      <a:pt x="914" y="1379"/>
                    </a:cubicBezTo>
                    <a:cubicBezTo>
                      <a:pt x="915" y="1382"/>
                      <a:pt x="911" y="1385"/>
                      <a:pt x="914" y="1387"/>
                    </a:cubicBezTo>
                    <a:close/>
                    <a:moveTo>
                      <a:pt x="1062" y="1382"/>
                    </a:moveTo>
                    <a:cubicBezTo>
                      <a:pt x="1061" y="1382"/>
                      <a:pt x="1059" y="1383"/>
                      <a:pt x="1059" y="1384"/>
                    </a:cubicBezTo>
                    <a:cubicBezTo>
                      <a:pt x="1061" y="1384"/>
                      <a:pt x="1062" y="1384"/>
                      <a:pt x="1062" y="1382"/>
                    </a:cubicBezTo>
                    <a:moveTo>
                      <a:pt x="1062" y="1382"/>
                    </a:moveTo>
                    <a:cubicBezTo>
                      <a:pt x="1064" y="1381"/>
                      <a:pt x="1062" y="1381"/>
                      <a:pt x="1062" y="1382"/>
                    </a:cubicBezTo>
                    <a:moveTo>
                      <a:pt x="911" y="1391"/>
                    </a:moveTo>
                    <a:cubicBezTo>
                      <a:pt x="911" y="1397"/>
                      <a:pt x="908" y="1400"/>
                      <a:pt x="908" y="1405"/>
                    </a:cubicBezTo>
                    <a:cubicBezTo>
                      <a:pt x="923" y="1401"/>
                      <a:pt x="944" y="1404"/>
                      <a:pt x="956" y="1397"/>
                    </a:cubicBezTo>
                    <a:cubicBezTo>
                      <a:pt x="941" y="1391"/>
                      <a:pt x="923" y="1374"/>
                      <a:pt x="911" y="1391"/>
                    </a:cubicBezTo>
                    <a:close/>
                    <a:moveTo>
                      <a:pt x="339" y="1387"/>
                    </a:moveTo>
                    <a:cubicBezTo>
                      <a:pt x="338" y="1387"/>
                      <a:pt x="339" y="1388"/>
                      <a:pt x="340" y="1388"/>
                    </a:cubicBezTo>
                    <a:moveTo>
                      <a:pt x="340" y="1388"/>
                    </a:moveTo>
                    <a:cubicBezTo>
                      <a:pt x="346" y="1400"/>
                      <a:pt x="356" y="1408"/>
                      <a:pt x="369" y="1414"/>
                    </a:cubicBezTo>
                    <a:moveTo>
                      <a:pt x="369" y="1414"/>
                    </a:moveTo>
                    <a:cubicBezTo>
                      <a:pt x="369" y="1414"/>
                      <a:pt x="371" y="1414"/>
                      <a:pt x="371" y="1415"/>
                    </a:cubicBezTo>
                    <a:moveTo>
                      <a:pt x="371" y="1415"/>
                    </a:moveTo>
                    <a:cubicBezTo>
                      <a:pt x="372" y="1416"/>
                      <a:pt x="372" y="1414"/>
                      <a:pt x="371" y="1415"/>
                    </a:cubicBezTo>
                    <a:moveTo>
                      <a:pt x="371" y="1415"/>
                    </a:moveTo>
                    <a:cubicBezTo>
                      <a:pt x="371" y="1414"/>
                      <a:pt x="370" y="1414"/>
                      <a:pt x="369" y="1414"/>
                    </a:cubicBezTo>
                    <a:moveTo>
                      <a:pt x="369" y="1414"/>
                    </a:moveTo>
                    <a:cubicBezTo>
                      <a:pt x="360" y="1405"/>
                      <a:pt x="349" y="1396"/>
                      <a:pt x="340" y="1388"/>
                    </a:cubicBezTo>
                    <a:moveTo>
                      <a:pt x="340" y="1388"/>
                    </a:moveTo>
                    <a:cubicBezTo>
                      <a:pt x="340" y="1387"/>
                      <a:pt x="339" y="1387"/>
                      <a:pt x="339" y="1387"/>
                    </a:cubicBezTo>
                    <a:moveTo>
                      <a:pt x="339" y="1387"/>
                    </a:moveTo>
                    <a:cubicBezTo>
                      <a:pt x="338" y="1385"/>
                      <a:pt x="337" y="1387"/>
                      <a:pt x="339" y="1387"/>
                    </a:cubicBezTo>
                    <a:moveTo>
                      <a:pt x="567" y="1396"/>
                    </a:moveTo>
                    <a:cubicBezTo>
                      <a:pt x="568" y="1393"/>
                      <a:pt x="572" y="1394"/>
                      <a:pt x="573" y="1391"/>
                    </a:cubicBezTo>
                    <a:cubicBezTo>
                      <a:pt x="570" y="1390"/>
                      <a:pt x="566" y="1388"/>
                      <a:pt x="563" y="1386"/>
                    </a:cubicBezTo>
                    <a:cubicBezTo>
                      <a:pt x="564" y="1390"/>
                      <a:pt x="565" y="1394"/>
                      <a:pt x="567" y="1396"/>
                    </a:cubicBezTo>
                    <a:close/>
                    <a:moveTo>
                      <a:pt x="982" y="1419"/>
                    </a:moveTo>
                    <a:cubicBezTo>
                      <a:pt x="986" y="1424"/>
                      <a:pt x="989" y="1430"/>
                      <a:pt x="989" y="1439"/>
                    </a:cubicBezTo>
                    <a:cubicBezTo>
                      <a:pt x="1006" y="1434"/>
                      <a:pt x="1021" y="1428"/>
                      <a:pt x="1038" y="1423"/>
                    </a:cubicBezTo>
                    <a:cubicBezTo>
                      <a:pt x="1040" y="1417"/>
                      <a:pt x="1046" y="1411"/>
                      <a:pt x="1050" y="1405"/>
                    </a:cubicBezTo>
                    <a:cubicBezTo>
                      <a:pt x="1054" y="1399"/>
                      <a:pt x="1059" y="1390"/>
                      <a:pt x="1059" y="1387"/>
                    </a:cubicBezTo>
                    <a:cubicBezTo>
                      <a:pt x="1030" y="1395"/>
                      <a:pt x="1008" y="1409"/>
                      <a:pt x="982" y="1419"/>
                    </a:cubicBezTo>
                    <a:close/>
                    <a:moveTo>
                      <a:pt x="1184" y="1388"/>
                    </a:moveTo>
                    <a:cubicBezTo>
                      <a:pt x="1153" y="1402"/>
                      <a:pt x="1127" y="1421"/>
                      <a:pt x="1103" y="1442"/>
                    </a:cubicBezTo>
                    <a:moveTo>
                      <a:pt x="1103" y="1442"/>
                    </a:moveTo>
                    <a:cubicBezTo>
                      <a:pt x="1102" y="1442"/>
                      <a:pt x="1101" y="1443"/>
                      <a:pt x="1101" y="1443"/>
                    </a:cubicBezTo>
                    <a:moveTo>
                      <a:pt x="1101" y="1443"/>
                    </a:moveTo>
                    <a:cubicBezTo>
                      <a:pt x="1099" y="1444"/>
                      <a:pt x="1101" y="1444"/>
                      <a:pt x="1101" y="1443"/>
                    </a:cubicBezTo>
                    <a:moveTo>
                      <a:pt x="1101" y="1443"/>
                    </a:moveTo>
                    <a:cubicBezTo>
                      <a:pt x="1102" y="1443"/>
                      <a:pt x="1103" y="1443"/>
                      <a:pt x="1103" y="1442"/>
                    </a:cubicBezTo>
                    <a:moveTo>
                      <a:pt x="1103" y="1442"/>
                    </a:moveTo>
                    <a:cubicBezTo>
                      <a:pt x="1134" y="1428"/>
                      <a:pt x="1167" y="1416"/>
                      <a:pt x="1184" y="1388"/>
                    </a:cubicBezTo>
                    <a:moveTo>
                      <a:pt x="1184" y="1388"/>
                    </a:moveTo>
                    <a:cubicBezTo>
                      <a:pt x="1186" y="1387"/>
                      <a:pt x="1184" y="1386"/>
                      <a:pt x="1184" y="1388"/>
                    </a:cubicBezTo>
                    <a:moveTo>
                      <a:pt x="429" y="1391"/>
                    </a:moveTo>
                    <a:cubicBezTo>
                      <a:pt x="438" y="1406"/>
                      <a:pt x="450" y="1419"/>
                      <a:pt x="461" y="1432"/>
                    </a:cubicBezTo>
                    <a:cubicBezTo>
                      <a:pt x="485" y="1439"/>
                      <a:pt x="511" y="1450"/>
                      <a:pt x="537" y="1452"/>
                    </a:cubicBezTo>
                    <a:cubicBezTo>
                      <a:pt x="534" y="1448"/>
                      <a:pt x="536" y="1440"/>
                      <a:pt x="535" y="1434"/>
                    </a:cubicBezTo>
                    <a:cubicBezTo>
                      <a:pt x="497" y="1422"/>
                      <a:pt x="463" y="1407"/>
                      <a:pt x="429" y="1391"/>
                    </a:cubicBezTo>
                    <a:moveTo>
                      <a:pt x="429" y="1391"/>
                    </a:moveTo>
                    <a:cubicBezTo>
                      <a:pt x="428" y="1390"/>
                      <a:pt x="428" y="1392"/>
                      <a:pt x="429" y="1391"/>
                    </a:cubicBezTo>
                    <a:moveTo>
                      <a:pt x="966" y="1402"/>
                    </a:moveTo>
                    <a:cubicBezTo>
                      <a:pt x="971" y="1406"/>
                      <a:pt x="976" y="1410"/>
                      <a:pt x="980" y="1416"/>
                    </a:cubicBezTo>
                    <a:cubicBezTo>
                      <a:pt x="1001" y="1409"/>
                      <a:pt x="1020" y="1400"/>
                      <a:pt x="1038" y="1391"/>
                    </a:cubicBezTo>
                    <a:cubicBezTo>
                      <a:pt x="1015" y="1395"/>
                      <a:pt x="989" y="1397"/>
                      <a:pt x="966" y="1402"/>
                    </a:cubicBezTo>
                    <a:close/>
                    <a:moveTo>
                      <a:pt x="567" y="1399"/>
                    </a:moveTo>
                    <a:cubicBezTo>
                      <a:pt x="573" y="1400"/>
                      <a:pt x="584" y="1403"/>
                      <a:pt x="589" y="1401"/>
                    </a:cubicBezTo>
                    <a:cubicBezTo>
                      <a:pt x="581" y="1397"/>
                      <a:pt x="574" y="1390"/>
                      <a:pt x="567" y="1399"/>
                    </a:cubicBezTo>
                    <a:close/>
                    <a:moveTo>
                      <a:pt x="891" y="1406"/>
                    </a:moveTo>
                    <a:cubicBezTo>
                      <a:pt x="896" y="1407"/>
                      <a:pt x="899" y="1404"/>
                      <a:pt x="904" y="1405"/>
                    </a:cubicBezTo>
                    <a:cubicBezTo>
                      <a:pt x="903" y="1401"/>
                      <a:pt x="907" y="1397"/>
                      <a:pt x="905" y="1395"/>
                    </a:cubicBezTo>
                    <a:cubicBezTo>
                      <a:pt x="901" y="1399"/>
                      <a:pt x="895" y="1402"/>
                      <a:pt x="891" y="1406"/>
                    </a:cubicBezTo>
                    <a:close/>
                    <a:moveTo>
                      <a:pt x="548" y="1410"/>
                    </a:moveTo>
                    <a:cubicBezTo>
                      <a:pt x="552" y="1408"/>
                      <a:pt x="555" y="1404"/>
                      <a:pt x="558" y="1401"/>
                    </a:cubicBezTo>
                    <a:cubicBezTo>
                      <a:pt x="546" y="1401"/>
                      <a:pt x="532" y="1396"/>
                      <a:pt x="521" y="1397"/>
                    </a:cubicBezTo>
                    <a:cubicBezTo>
                      <a:pt x="530" y="1401"/>
                      <a:pt x="539" y="1405"/>
                      <a:pt x="548" y="1410"/>
                    </a:cubicBezTo>
                    <a:close/>
                    <a:moveTo>
                      <a:pt x="552" y="1412"/>
                    </a:moveTo>
                    <a:cubicBezTo>
                      <a:pt x="559" y="1414"/>
                      <a:pt x="565" y="1417"/>
                      <a:pt x="572" y="1419"/>
                    </a:cubicBezTo>
                    <a:cubicBezTo>
                      <a:pt x="571" y="1413"/>
                      <a:pt x="567" y="1409"/>
                      <a:pt x="566" y="1402"/>
                    </a:cubicBezTo>
                    <a:cubicBezTo>
                      <a:pt x="558" y="1402"/>
                      <a:pt x="556" y="1408"/>
                      <a:pt x="552" y="1412"/>
                    </a:cubicBezTo>
                    <a:close/>
                    <a:moveTo>
                      <a:pt x="950" y="1403"/>
                    </a:moveTo>
                    <a:cubicBezTo>
                      <a:pt x="936" y="1407"/>
                      <a:pt x="915" y="1424"/>
                      <a:pt x="901" y="1427"/>
                    </a:cubicBezTo>
                    <a:cubicBezTo>
                      <a:pt x="899" y="1433"/>
                      <a:pt x="898" y="1439"/>
                      <a:pt x="895" y="1444"/>
                    </a:cubicBezTo>
                    <a:cubicBezTo>
                      <a:pt x="925" y="1438"/>
                      <a:pt x="950" y="1427"/>
                      <a:pt x="977" y="1418"/>
                    </a:cubicBezTo>
                    <a:cubicBezTo>
                      <a:pt x="971" y="1409"/>
                      <a:pt x="964" y="1399"/>
                      <a:pt x="950" y="1403"/>
                    </a:cubicBezTo>
                    <a:close/>
                    <a:moveTo>
                      <a:pt x="576" y="1421"/>
                    </a:moveTo>
                    <a:cubicBezTo>
                      <a:pt x="625" y="1439"/>
                      <a:pt x="678" y="1457"/>
                      <a:pt x="736" y="1463"/>
                    </a:cubicBezTo>
                    <a:cubicBezTo>
                      <a:pt x="684" y="1449"/>
                      <a:pt x="638" y="1429"/>
                      <a:pt x="596" y="1405"/>
                    </a:cubicBezTo>
                    <a:cubicBezTo>
                      <a:pt x="586" y="1405"/>
                      <a:pt x="579" y="1403"/>
                      <a:pt x="569" y="1403"/>
                    </a:cubicBezTo>
                    <a:cubicBezTo>
                      <a:pt x="571" y="1409"/>
                      <a:pt x="574" y="1415"/>
                      <a:pt x="576" y="1421"/>
                    </a:cubicBezTo>
                    <a:close/>
                    <a:moveTo>
                      <a:pt x="908" y="1407"/>
                    </a:moveTo>
                    <a:cubicBezTo>
                      <a:pt x="905" y="1412"/>
                      <a:pt x="905" y="1418"/>
                      <a:pt x="902" y="1423"/>
                    </a:cubicBezTo>
                    <a:cubicBezTo>
                      <a:pt x="917" y="1418"/>
                      <a:pt x="930" y="1411"/>
                      <a:pt x="942" y="1404"/>
                    </a:cubicBezTo>
                    <a:cubicBezTo>
                      <a:pt x="931" y="1405"/>
                      <a:pt x="920" y="1407"/>
                      <a:pt x="908" y="1407"/>
                    </a:cubicBezTo>
                    <a:close/>
                    <a:moveTo>
                      <a:pt x="606" y="1407"/>
                    </a:moveTo>
                    <a:cubicBezTo>
                      <a:pt x="645" y="1429"/>
                      <a:pt x="691" y="1449"/>
                      <a:pt x="737" y="1461"/>
                    </a:cubicBezTo>
                    <a:cubicBezTo>
                      <a:pt x="716" y="1449"/>
                      <a:pt x="695" y="1437"/>
                      <a:pt x="674" y="1423"/>
                    </a:cubicBezTo>
                    <a:cubicBezTo>
                      <a:pt x="667" y="1419"/>
                      <a:pt x="660" y="1411"/>
                      <a:pt x="654" y="1410"/>
                    </a:cubicBezTo>
                    <a:cubicBezTo>
                      <a:pt x="638" y="1406"/>
                      <a:pt x="624" y="1410"/>
                      <a:pt x="606" y="1407"/>
                    </a:cubicBezTo>
                    <a:moveTo>
                      <a:pt x="606" y="1407"/>
                    </a:moveTo>
                    <a:cubicBezTo>
                      <a:pt x="605" y="1404"/>
                      <a:pt x="602" y="1408"/>
                      <a:pt x="606" y="1407"/>
                    </a:cubicBezTo>
                    <a:moveTo>
                      <a:pt x="886" y="1409"/>
                    </a:moveTo>
                    <a:cubicBezTo>
                      <a:pt x="854" y="1430"/>
                      <a:pt x="820" y="1448"/>
                      <a:pt x="783" y="1463"/>
                    </a:cubicBezTo>
                    <a:cubicBezTo>
                      <a:pt x="824" y="1454"/>
                      <a:pt x="862" y="1441"/>
                      <a:pt x="897" y="1426"/>
                    </a:cubicBezTo>
                    <a:cubicBezTo>
                      <a:pt x="899" y="1420"/>
                      <a:pt x="901" y="1413"/>
                      <a:pt x="903" y="1408"/>
                    </a:cubicBezTo>
                    <a:cubicBezTo>
                      <a:pt x="897" y="1407"/>
                      <a:pt x="893" y="1410"/>
                      <a:pt x="886" y="1409"/>
                    </a:cubicBezTo>
                    <a:close/>
                    <a:moveTo>
                      <a:pt x="839" y="1412"/>
                    </a:moveTo>
                    <a:cubicBezTo>
                      <a:pt x="819" y="1430"/>
                      <a:pt x="798" y="1447"/>
                      <a:pt x="776" y="1463"/>
                    </a:cubicBezTo>
                    <a:cubicBezTo>
                      <a:pt x="814" y="1448"/>
                      <a:pt x="848" y="1430"/>
                      <a:pt x="879" y="1410"/>
                    </a:cubicBezTo>
                    <a:cubicBezTo>
                      <a:pt x="865" y="1410"/>
                      <a:pt x="853" y="1412"/>
                      <a:pt x="839" y="1412"/>
                    </a:cubicBezTo>
                    <a:close/>
                    <a:moveTo>
                      <a:pt x="736" y="1456"/>
                    </a:moveTo>
                    <a:cubicBezTo>
                      <a:pt x="735" y="1447"/>
                      <a:pt x="725" y="1440"/>
                      <a:pt x="718" y="1433"/>
                    </a:cubicBezTo>
                    <a:cubicBezTo>
                      <a:pt x="712" y="1427"/>
                      <a:pt x="704" y="1415"/>
                      <a:pt x="697" y="1413"/>
                    </a:cubicBezTo>
                    <a:cubicBezTo>
                      <a:pt x="687" y="1409"/>
                      <a:pt x="674" y="1412"/>
                      <a:pt x="661" y="1412"/>
                    </a:cubicBezTo>
                    <a:cubicBezTo>
                      <a:pt x="685" y="1428"/>
                      <a:pt x="708" y="1444"/>
                      <a:pt x="736" y="1456"/>
                    </a:cubicBezTo>
                    <a:close/>
                    <a:moveTo>
                      <a:pt x="770" y="1463"/>
                    </a:moveTo>
                    <a:cubicBezTo>
                      <a:pt x="769" y="1462"/>
                      <a:pt x="769" y="1463"/>
                      <a:pt x="769" y="1463"/>
                    </a:cubicBezTo>
                    <a:moveTo>
                      <a:pt x="769" y="1463"/>
                    </a:moveTo>
                    <a:cubicBezTo>
                      <a:pt x="767" y="1464"/>
                      <a:pt x="769" y="1465"/>
                      <a:pt x="769" y="1463"/>
                    </a:cubicBezTo>
                    <a:moveTo>
                      <a:pt x="769" y="1463"/>
                    </a:moveTo>
                    <a:cubicBezTo>
                      <a:pt x="770" y="1464"/>
                      <a:pt x="770" y="1463"/>
                      <a:pt x="770" y="1463"/>
                    </a:cubicBezTo>
                    <a:moveTo>
                      <a:pt x="770" y="1463"/>
                    </a:moveTo>
                    <a:cubicBezTo>
                      <a:pt x="789" y="1450"/>
                      <a:pt x="811" y="1435"/>
                      <a:pt x="828" y="1418"/>
                    </a:cubicBezTo>
                    <a:cubicBezTo>
                      <a:pt x="830" y="1417"/>
                      <a:pt x="834" y="1414"/>
                      <a:pt x="832" y="1412"/>
                    </a:cubicBezTo>
                    <a:cubicBezTo>
                      <a:pt x="824" y="1414"/>
                      <a:pt x="811" y="1412"/>
                      <a:pt x="801" y="1413"/>
                    </a:cubicBezTo>
                    <a:cubicBezTo>
                      <a:pt x="792" y="1430"/>
                      <a:pt x="781" y="1446"/>
                      <a:pt x="770" y="1463"/>
                    </a:cubicBezTo>
                    <a:moveTo>
                      <a:pt x="735" y="1445"/>
                    </a:moveTo>
                    <a:cubicBezTo>
                      <a:pt x="735" y="1434"/>
                      <a:pt x="734" y="1424"/>
                      <a:pt x="733" y="1414"/>
                    </a:cubicBezTo>
                    <a:cubicBezTo>
                      <a:pt x="724" y="1414"/>
                      <a:pt x="712" y="1411"/>
                      <a:pt x="702" y="1414"/>
                    </a:cubicBezTo>
                    <a:cubicBezTo>
                      <a:pt x="713" y="1424"/>
                      <a:pt x="723" y="1436"/>
                      <a:pt x="735" y="1445"/>
                    </a:cubicBezTo>
                    <a:close/>
                    <a:moveTo>
                      <a:pt x="574" y="1423"/>
                    </a:moveTo>
                    <a:cubicBezTo>
                      <a:pt x="566" y="1420"/>
                      <a:pt x="558" y="1416"/>
                      <a:pt x="549" y="1414"/>
                    </a:cubicBezTo>
                    <a:cubicBezTo>
                      <a:pt x="545" y="1420"/>
                      <a:pt x="540" y="1423"/>
                      <a:pt x="539" y="1433"/>
                    </a:cubicBezTo>
                    <a:cubicBezTo>
                      <a:pt x="554" y="1436"/>
                      <a:pt x="571" y="1443"/>
                      <a:pt x="584" y="1444"/>
                    </a:cubicBezTo>
                    <a:cubicBezTo>
                      <a:pt x="580" y="1438"/>
                      <a:pt x="578" y="1430"/>
                      <a:pt x="574" y="1423"/>
                    </a:cubicBezTo>
                    <a:close/>
                    <a:moveTo>
                      <a:pt x="761" y="1463"/>
                    </a:moveTo>
                    <a:cubicBezTo>
                      <a:pt x="763" y="1448"/>
                      <a:pt x="764" y="1430"/>
                      <a:pt x="766" y="1414"/>
                    </a:cubicBezTo>
                    <a:cubicBezTo>
                      <a:pt x="757" y="1414"/>
                      <a:pt x="745" y="1412"/>
                      <a:pt x="737" y="1415"/>
                    </a:cubicBezTo>
                    <a:cubicBezTo>
                      <a:pt x="745" y="1431"/>
                      <a:pt x="752" y="1449"/>
                      <a:pt x="761" y="1463"/>
                    </a:cubicBezTo>
                    <a:close/>
                    <a:moveTo>
                      <a:pt x="765" y="1464"/>
                    </a:moveTo>
                    <a:cubicBezTo>
                      <a:pt x="776" y="1448"/>
                      <a:pt x="788" y="1432"/>
                      <a:pt x="798" y="1414"/>
                    </a:cubicBezTo>
                    <a:cubicBezTo>
                      <a:pt x="788" y="1414"/>
                      <a:pt x="778" y="1414"/>
                      <a:pt x="768" y="1414"/>
                    </a:cubicBezTo>
                    <a:cubicBezTo>
                      <a:pt x="768" y="1431"/>
                      <a:pt x="764" y="1449"/>
                      <a:pt x="765" y="1464"/>
                    </a:cubicBezTo>
                    <a:close/>
                    <a:moveTo>
                      <a:pt x="366" y="1415"/>
                    </a:moveTo>
                    <a:cubicBezTo>
                      <a:pt x="366" y="1416"/>
                      <a:pt x="367" y="1416"/>
                      <a:pt x="367" y="1416"/>
                    </a:cubicBezTo>
                    <a:moveTo>
                      <a:pt x="367" y="1416"/>
                    </a:moveTo>
                    <a:cubicBezTo>
                      <a:pt x="382" y="1430"/>
                      <a:pt x="403" y="1442"/>
                      <a:pt x="422" y="1448"/>
                    </a:cubicBezTo>
                    <a:cubicBezTo>
                      <a:pt x="403" y="1438"/>
                      <a:pt x="388" y="1425"/>
                      <a:pt x="367" y="1416"/>
                    </a:cubicBezTo>
                    <a:moveTo>
                      <a:pt x="367" y="1416"/>
                    </a:moveTo>
                    <a:cubicBezTo>
                      <a:pt x="367" y="1416"/>
                      <a:pt x="366" y="1416"/>
                      <a:pt x="366" y="1415"/>
                    </a:cubicBezTo>
                    <a:moveTo>
                      <a:pt x="366" y="1415"/>
                    </a:moveTo>
                    <a:cubicBezTo>
                      <a:pt x="365" y="1414"/>
                      <a:pt x="364" y="1416"/>
                      <a:pt x="366" y="1415"/>
                    </a:cubicBezTo>
                    <a:moveTo>
                      <a:pt x="1132" y="1415"/>
                    </a:moveTo>
                    <a:cubicBezTo>
                      <a:pt x="1094" y="1431"/>
                      <a:pt x="1057" y="1446"/>
                      <a:pt x="1014" y="1456"/>
                    </a:cubicBezTo>
                    <a:cubicBezTo>
                      <a:pt x="1007" y="1463"/>
                      <a:pt x="999" y="1470"/>
                      <a:pt x="991" y="1477"/>
                    </a:cubicBezTo>
                    <a:cubicBezTo>
                      <a:pt x="1048" y="1467"/>
                      <a:pt x="1099" y="1450"/>
                      <a:pt x="1132" y="1415"/>
                    </a:cubicBezTo>
                    <a:moveTo>
                      <a:pt x="1132" y="1415"/>
                    </a:moveTo>
                    <a:cubicBezTo>
                      <a:pt x="1133" y="1415"/>
                      <a:pt x="1132" y="1414"/>
                      <a:pt x="1132" y="1415"/>
                    </a:cubicBezTo>
                    <a:moveTo>
                      <a:pt x="979" y="1419"/>
                    </a:moveTo>
                    <a:cubicBezTo>
                      <a:pt x="953" y="1430"/>
                      <a:pt x="925" y="1440"/>
                      <a:pt x="894" y="1447"/>
                    </a:cubicBezTo>
                    <a:cubicBezTo>
                      <a:pt x="893" y="1451"/>
                      <a:pt x="891" y="1455"/>
                      <a:pt x="890" y="1460"/>
                    </a:cubicBezTo>
                    <a:cubicBezTo>
                      <a:pt x="924" y="1455"/>
                      <a:pt x="955" y="1447"/>
                      <a:pt x="987" y="1439"/>
                    </a:cubicBezTo>
                    <a:cubicBezTo>
                      <a:pt x="986" y="1431"/>
                      <a:pt x="983" y="1424"/>
                      <a:pt x="979" y="1419"/>
                    </a:cubicBezTo>
                    <a:close/>
                    <a:moveTo>
                      <a:pt x="755" y="1463"/>
                    </a:moveTo>
                    <a:cubicBezTo>
                      <a:pt x="756" y="1464"/>
                      <a:pt x="756" y="1462"/>
                      <a:pt x="755" y="1463"/>
                    </a:cubicBezTo>
                    <a:moveTo>
                      <a:pt x="755" y="1463"/>
                    </a:moveTo>
                    <a:cubicBezTo>
                      <a:pt x="749" y="1449"/>
                      <a:pt x="743" y="1437"/>
                      <a:pt x="737" y="1424"/>
                    </a:cubicBezTo>
                    <a:cubicBezTo>
                      <a:pt x="736" y="1433"/>
                      <a:pt x="739" y="1439"/>
                      <a:pt x="738" y="1448"/>
                    </a:cubicBezTo>
                    <a:cubicBezTo>
                      <a:pt x="743" y="1453"/>
                      <a:pt x="749" y="1458"/>
                      <a:pt x="755" y="1463"/>
                    </a:cubicBezTo>
                    <a:moveTo>
                      <a:pt x="587" y="1446"/>
                    </a:moveTo>
                    <a:cubicBezTo>
                      <a:pt x="632" y="1456"/>
                      <a:pt x="682" y="1466"/>
                      <a:pt x="733" y="1466"/>
                    </a:cubicBezTo>
                    <a:cubicBezTo>
                      <a:pt x="676" y="1459"/>
                      <a:pt x="625" y="1440"/>
                      <a:pt x="578" y="1426"/>
                    </a:cubicBezTo>
                    <a:cubicBezTo>
                      <a:pt x="582" y="1432"/>
                      <a:pt x="584" y="1439"/>
                      <a:pt x="587" y="1446"/>
                    </a:cubicBezTo>
                    <a:close/>
                    <a:moveTo>
                      <a:pt x="1034" y="1427"/>
                    </a:moveTo>
                    <a:cubicBezTo>
                      <a:pt x="1019" y="1432"/>
                      <a:pt x="1004" y="1437"/>
                      <a:pt x="989" y="1441"/>
                    </a:cubicBezTo>
                    <a:cubicBezTo>
                      <a:pt x="989" y="1450"/>
                      <a:pt x="986" y="1454"/>
                      <a:pt x="984" y="1460"/>
                    </a:cubicBezTo>
                    <a:moveTo>
                      <a:pt x="984" y="1460"/>
                    </a:moveTo>
                    <a:cubicBezTo>
                      <a:pt x="982" y="1460"/>
                      <a:pt x="984" y="1461"/>
                      <a:pt x="984" y="1460"/>
                    </a:cubicBezTo>
                    <a:moveTo>
                      <a:pt x="984" y="1460"/>
                    </a:moveTo>
                    <a:cubicBezTo>
                      <a:pt x="994" y="1459"/>
                      <a:pt x="1001" y="1456"/>
                      <a:pt x="1011" y="1455"/>
                    </a:cubicBezTo>
                    <a:cubicBezTo>
                      <a:pt x="1019" y="1446"/>
                      <a:pt x="1027" y="1437"/>
                      <a:pt x="1034" y="1427"/>
                    </a:cubicBezTo>
                    <a:moveTo>
                      <a:pt x="1034" y="1427"/>
                    </a:moveTo>
                    <a:cubicBezTo>
                      <a:pt x="1035" y="1426"/>
                      <a:pt x="1034" y="1426"/>
                      <a:pt x="1034" y="1427"/>
                    </a:cubicBezTo>
                    <a:moveTo>
                      <a:pt x="1141" y="1428"/>
                    </a:moveTo>
                    <a:cubicBezTo>
                      <a:pt x="1141" y="1428"/>
                      <a:pt x="1142" y="1429"/>
                      <a:pt x="1141" y="1428"/>
                    </a:cubicBezTo>
                    <a:close/>
                    <a:moveTo>
                      <a:pt x="1139" y="1429"/>
                    </a:moveTo>
                    <a:cubicBezTo>
                      <a:pt x="1138" y="1429"/>
                      <a:pt x="1138" y="1429"/>
                      <a:pt x="1137" y="1430"/>
                    </a:cubicBezTo>
                    <a:moveTo>
                      <a:pt x="1137" y="1430"/>
                    </a:moveTo>
                    <a:cubicBezTo>
                      <a:pt x="1136" y="1430"/>
                      <a:pt x="1136" y="1430"/>
                      <a:pt x="1135" y="1431"/>
                    </a:cubicBezTo>
                    <a:moveTo>
                      <a:pt x="1135" y="1431"/>
                    </a:moveTo>
                    <a:cubicBezTo>
                      <a:pt x="1116" y="1441"/>
                      <a:pt x="1092" y="1448"/>
                      <a:pt x="1074" y="1461"/>
                    </a:cubicBezTo>
                    <a:cubicBezTo>
                      <a:pt x="1096" y="1452"/>
                      <a:pt x="1118" y="1443"/>
                      <a:pt x="1135" y="1431"/>
                    </a:cubicBezTo>
                    <a:moveTo>
                      <a:pt x="1135" y="1431"/>
                    </a:moveTo>
                    <a:cubicBezTo>
                      <a:pt x="1137" y="1431"/>
                      <a:pt x="1137" y="1431"/>
                      <a:pt x="1137" y="1430"/>
                    </a:cubicBezTo>
                    <a:moveTo>
                      <a:pt x="1137" y="1430"/>
                    </a:moveTo>
                    <a:cubicBezTo>
                      <a:pt x="1138" y="1430"/>
                      <a:pt x="1139" y="1430"/>
                      <a:pt x="1139" y="1429"/>
                    </a:cubicBezTo>
                    <a:moveTo>
                      <a:pt x="1139" y="1429"/>
                    </a:moveTo>
                    <a:cubicBezTo>
                      <a:pt x="1141" y="1428"/>
                      <a:pt x="1139" y="1428"/>
                      <a:pt x="1139" y="1429"/>
                    </a:cubicBezTo>
                    <a:moveTo>
                      <a:pt x="789" y="1465"/>
                    </a:moveTo>
                    <a:cubicBezTo>
                      <a:pt x="825" y="1461"/>
                      <a:pt x="858" y="1454"/>
                      <a:pt x="891" y="1446"/>
                    </a:cubicBezTo>
                    <a:cubicBezTo>
                      <a:pt x="892" y="1440"/>
                      <a:pt x="897" y="1434"/>
                      <a:pt x="895" y="1429"/>
                    </a:cubicBezTo>
                    <a:cubicBezTo>
                      <a:pt x="863" y="1444"/>
                      <a:pt x="826" y="1455"/>
                      <a:pt x="789" y="1465"/>
                    </a:cubicBezTo>
                    <a:close/>
                    <a:moveTo>
                      <a:pt x="404" y="1435"/>
                    </a:moveTo>
                    <a:cubicBezTo>
                      <a:pt x="404" y="1434"/>
                      <a:pt x="405" y="1435"/>
                      <a:pt x="404" y="1435"/>
                    </a:cubicBezTo>
                    <a:close/>
                    <a:moveTo>
                      <a:pt x="407" y="1436"/>
                    </a:moveTo>
                    <a:cubicBezTo>
                      <a:pt x="407" y="1437"/>
                      <a:pt x="408" y="1436"/>
                      <a:pt x="409" y="1437"/>
                    </a:cubicBezTo>
                    <a:moveTo>
                      <a:pt x="409" y="1437"/>
                    </a:moveTo>
                    <a:cubicBezTo>
                      <a:pt x="409" y="1437"/>
                      <a:pt x="409" y="1437"/>
                      <a:pt x="409" y="1438"/>
                    </a:cubicBezTo>
                    <a:cubicBezTo>
                      <a:pt x="439" y="1456"/>
                      <a:pt x="472" y="1472"/>
                      <a:pt x="513" y="1480"/>
                    </a:cubicBezTo>
                    <a:moveTo>
                      <a:pt x="513" y="1480"/>
                    </a:moveTo>
                    <a:cubicBezTo>
                      <a:pt x="514" y="1483"/>
                      <a:pt x="517" y="1479"/>
                      <a:pt x="513" y="1480"/>
                    </a:cubicBezTo>
                    <a:moveTo>
                      <a:pt x="513" y="1480"/>
                    </a:moveTo>
                    <a:cubicBezTo>
                      <a:pt x="487" y="1457"/>
                      <a:pt x="441" y="1454"/>
                      <a:pt x="409" y="1437"/>
                    </a:cubicBezTo>
                    <a:moveTo>
                      <a:pt x="409" y="1437"/>
                    </a:moveTo>
                    <a:cubicBezTo>
                      <a:pt x="409" y="1436"/>
                      <a:pt x="408" y="1436"/>
                      <a:pt x="407" y="1436"/>
                    </a:cubicBezTo>
                    <a:moveTo>
                      <a:pt x="407" y="1436"/>
                    </a:moveTo>
                    <a:cubicBezTo>
                      <a:pt x="406" y="1434"/>
                      <a:pt x="406" y="1436"/>
                      <a:pt x="407" y="1436"/>
                    </a:cubicBezTo>
                    <a:moveTo>
                      <a:pt x="541" y="1455"/>
                    </a:moveTo>
                    <a:cubicBezTo>
                      <a:pt x="559" y="1457"/>
                      <a:pt x="575" y="1462"/>
                      <a:pt x="594" y="1463"/>
                    </a:cubicBezTo>
                    <a:cubicBezTo>
                      <a:pt x="592" y="1458"/>
                      <a:pt x="588" y="1454"/>
                      <a:pt x="586" y="1448"/>
                    </a:cubicBezTo>
                    <a:cubicBezTo>
                      <a:pt x="570" y="1444"/>
                      <a:pt x="554" y="1440"/>
                      <a:pt x="538" y="1435"/>
                    </a:cubicBezTo>
                    <a:cubicBezTo>
                      <a:pt x="536" y="1441"/>
                      <a:pt x="539" y="1450"/>
                      <a:pt x="541" y="1455"/>
                    </a:cubicBezTo>
                    <a:close/>
                    <a:moveTo>
                      <a:pt x="466" y="1437"/>
                    </a:moveTo>
                    <a:cubicBezTo>
                      <a:pt x="466" y="1437"/>
                      <a:pt x="466" y="1437"/>
                      <a:pt x="466" y="1438"/>
                    </a:cubicBezTo>
                    <a:cubicBezTo>
                      <a:pt x="476" y="1446"/>
                      <a:pt x="485" y="1455"/>
                      <a:pt x="495" y="1463"/>
                    </a:cubicBezTo>
                    <a:cubicBezTo>
                      <a:pt x="514" y="1467"/>
                      <a:pt x="531" y="1473"/>
                      <a:pt x="552" y="1474"/>
                    </a:cubicBezTo>
                    <a:moveTo>
                      <a:pt x="552" y="1474"/>
                    </a:moveTo>
                    <a:cubicBezTo>
                      <a:pt x="552" y="1475"/>
                      <a:pt x="553" y="1474"/>
                      <a:pt x="552" y="1474"/>
                    </a:cubicBezTo>
                    <a:moveTo>
                      <a:pt x="552" y="1474"/>
                    </a:moveTo>
                    <a:cubicBezTo>
                      <a:pt x="547" y="1468"/>
                      <a:pt x="542" y="1463"/>
                      <a:pt x="538" y="1456"/>
                    </a:cubicBezTo>
                    <a:cubicBezTo>
                      <a:pt x="512" y="1451"/>
                      <a:pt x="490" y="1443"/>
                      <a:pt x="466" y="1437"/>
                    </a:cubicBezTo>
                    <a:moveTo>
                      <a:pt x="466" y="1437"/>
                    </a:moveTo>
                    <a:cubicBezTo>
                      <a:pt x="466" y="1435"/>
                      <a:pt x="465" y="1437"/>
                      <a:pt x="466" y="1437"/>
                    </a:cubicBezTo>
                    <a:moveTo>
                      <a:pt x="888" y="1463"/>
                    </a:moveTo>
                    <a:cubicBezTo>
                      <a:pt x="888" y="1467"/>
                      <a:pt x="885" y="1469"/>
                      <a:pt x="884" y="1472"/>
                    </a:cubicBezTo>
                    <a:cubicBezTo>
                      <a:pt x="919" y="1472"/>
                      <a:pt x="949" y="1466"/>
                      <a:pt x="980" y="1462"/>
                    </a:cubicBezTo>
                    <a:cubicBezTo>
                      <a:pt x="982" y="1456"/>
                      <a:pt x="988" y="1448"/>
                      <a:pt x="986" y="1441"/>
                    </a:cubicBezTo>
                    <a:cubicBezTo>
                      <a:pt x="956" y="1451"/>
                      <a:pt x="922" y="1458"/>
                      <a:pt x="888" y="1463"/>
                    </a:cubicBezTo>
                    <a:close/>
                    <a:moveTo>
                      <a:pt x="1098" y="1445"/>
                    </a:moveTo>
                    <a:cubicBezTo>
                      <a:pt x="1098" y="1445"/>
                      <a:pt x="1099" y="1446"/>
                      <a:pt x="1098" y="1445"/>
                    </a:cubicBezTo>
                    <a:close/>
                    <a:moveTo>
                      <a:pt x="423" y="1450"/>
                    </a:moveTo>
                    <a:cubicBezTo>
                      <a:pt x="423" y="1450"/>
                      <a:pt x="424" y="1451"/>
                      <a:pt x="423" y="1450"/>
                    </a:cubicBezTo>
                    <a:close/>
                    <a:moveTo>
                      <a:pt x="600" y="1464"/>
                    </a:moveTo>
                    <a:cubicBezTo>
                      <a:pt x="639" y="1469"/>
                      <a:pt x="688" y="1474"/>
                      <a:pt x="730" y="1469"/>
                    </a:cubicBezTo>
                    <a:cubicBezTo>
                      <a:pt x="679" y="1467"/>
                      <a:pt x="633" y="1459"/>
                      <a:pt x="590" y="1449"/>
                    </a:cubicBezTo>
                    <a:cubicBezTo>
                      <a:pt x="593" y="1455"/>
                      <a:pt x="595" y="1461"/>
                      <a:pt x="600" y="1464"/>
                    </a:cubicBezTo>
                    <a:close/>
                    <a:moveTo>
                      <a:pt x="888" y="1449"/>
                    </a:moveTo>
                    <a:cubicBezTo>
                      <a:pt x="859" y="1457"/>
                      <a:pt x="828" y="1462"/>
                      <a:pt x="797" y="1467"/>
                    </a:cubicBezTo>
                    <a:cubicBezTo>
                      <a:pt x="795" y="1467"/>
                      <a:pt x="793" y="1467"/>
                      <a:pt x="792" y="1467"/>
                    </a:cubicBezTo>
                    <a:cubicBezTo>
                      <a:pt x="790" y="1468"/>
                      <a:pt x="792" y="1469"/>
                      <a:pt x="794" y="1468"/>
                    </a:cubicBezTo>
                    <a:cubicBezTo>
                      <a:pt x="826" y="1467"/>
                      <a:pt x="856" y="1465"/>
                      <a:pt x="885" y="1461"/>
                    </a:cubicBezTo>
                    <a:cubicBezTo>
                      <a:pt x="887" y="1457"/>
                      <a:pt x="888" y="1453"/>
                      <a:pt x="890" y="1449"/>
                    </a:cubicBezTo>
                    <a:cubicBezTo>
                      <a:pt x="889" y="1449"/>
                      <a:pt x="888" y="1449"/>
                      <a:pt x="888" y="1449"/>
                    </a:cubicBezTo>
                    <a:close/>
                    <a:moveTo>
                      <a:pt x="425" y="1451"/>
                    </a:moveTo>
                    <a:cubicBezTo>
                      <a:pt x="425" y="1451"/>
                      <a:pt x="426" y="1452"/>
                      <a:pt x="425" y="1451"/>
                    </a:cubicBezTo>
                    <a:close/>
                    <a:moveTo>
                      <a:pt x="427" y="1452"/>
                    </a:moveTo>
                    <a:cubicBezTo>
                      <a:pt x="427" y="1452"/>
                      <a:pt x="428" y="1453"/>
                      <a:pt x="427" y="1452"/>
                    </a:cubicBezTo>
                    <a:close/>
                    <a:moveTo>
                      <a:pt x="429" y="1453"/>
                    </a:moveTo>
                    <a:cubicBezTo>
                      <a:pt x="428" y="1453"/>
                      <a:pt x="430" y="1454"/>
                      <a:pt x="429" y="1453"/>
                    </a:cubicBezTo>
                    <a:close/>
                    <a:moveTo>
                      <a:pt x="749" y="1462"/>
                    </a:moveTo>
                    <a:cubicBezTo>
                      <a:pt x="749" y="1462"/>
                      <a:pt x="750" y="1462"/>
                      <a:pt x="750" y="1463"/>
                    </a:cubicBezTo>
                    <a:moveTo>
                      <a:pt x="750" y="1463"/>
                    </a:moveTo>
                    <a:cubicBezTo>
                      <a:pt x="751" y="1464"/>
                      <a:pt x="752" y="1462"/>
                      <a:pt x="750" y="1463"/>
                    </a:cubicBezTo>
                    <a:moveTo>
                      <a:pt x="750" y="1463"/>
                    </a:moveTo>
                    <a:cubicBezTo>
                      <a:pt x="750" y="1462"/>
                      <a:pt x="749" y="1462"/>
                      <a:pt x="749" y="1462"/>
                    </a:cubicBezTo>
                    <a:moveTo>
                      <a:pt x="749" y="1462"/>
                    </a:moveTo>
                    <a:cubicBezTo>
                      <a:pt x="746" y="1458"/>
                      <a:pt x="742" y="1456"/>
                      <a:pt x="739" y="1453"/>
                    </a:cubicBezTo>
                    <a:cubicBezTo>
                      <a:pt x="738" y="1460"/>
                      <a:pt x="744" y="1460"/>
                      <a:pt x="749" y="1462"/>
                    </a:cubicBezTo>
                    <a:moveTo>
                      <a:pt x="559" y="1476"/>
                    </a:moveTo>
                    <a:cubicBezTo>
                      <a:pt x="572" y="1480"/>
                      <a:pt x="590" y="1477"/>
                      <a:pt x="605" y="1480"/>
                    </a:cubicBezTo>
                    <a:cubicBezTo>
                      <a:pt x="605" y="1476"/>
                      <a:pt x="598" y="1472"/>
                      <a:pt x="597" y="1466"/>
                    </a:cubicBezTo>
                    <a:cubicBezTo>
                      <a:pt x="577" y="1465"/>
                      <a:pt x="561" y="1460"/>
                      <a:pt x="543" y="1458"/>
                    </a:cubicBezTo>
                    <a:cubicBezTo>
                      <a:pt x="547" y="1464"/>
                      <a:pt x="551" y="1473"/>
                      <a:pt x="559" y="1476"/>
                    </a:cubicBezTo>
                    <a:close/>
                    <a:moveTo>
                      <a:pt x="981" y="1463"/>
                    </a:moveTo>
                    <a:cubicBezTo>
                      <a:pt x="976" y="1471"/>
                      <a:pt x="970" y="1476"/>
                      <a:pt x="964" y="1481"/>
                    </a:cubicBezTo>
                    <a:cubicBezTo>
                      <a:pt x="972" y="1480"/>
                      <a:pt x="978" y="1479"/>
                      <a:pt x="986" y="1478"/>
                    </a:cubicBezTo>
                    <a:cubicBezTo>
                      <a:pt x="993" y="1472"/>
                      <a:pt x="1000" y="1466"/>
                      <a:pt x="1007" y="1460"/>
                    </a:cubicBezTo>
                    <a:cubicBezTo>
                      <a:pt x="1007" y="1458"/>
                      <a:pt x="1008" y="1458"/>
                      <a:pt x="1006" y="1458"/>
                    </a:cubicBezTo>
                    <a:cubicBezTo>
                      <a:pt x="998" y="1460"/>
                      <a:pt x="989" y="1461"/>
                      <a:pt x="981" y="1463"/>
                    </a:cubicBezTo>
                    <a:close/>
                    <a:moveTo>
                      <a:pt x="1069" y="1460"/>
                    </a:moveTo>
                    <a:cubicBezTo>
                      <a:pt x="1069" y="1459"/>
                      <a:pt x="1070" y="1460"/>
                      <a:pt x="1069" y="1460"/>
                    </a:cubicBezTo>
                    <a:close/>
                    <a:moveTo>
                      <a:pt x="1066" y="1461"/>
                    </a:moveTo>
                    <a:cubicBezTo>
                      <a:pt x="1041" y="1468"/>
                      <a:pt x="1016" y="1476"/>
                      <a:pt x="987" y="1480"/>
                    </a:cubicBezTo>
                    <a:cubicBezTo>
                      <a:pt x="984" y="1484"/>
                      <a:pt x="979" y="1485"/>
                      <a:pt x="976" y="1488"/>
                    </a:cubicBezTo>
                    <a:cubicBezTo>
                      <a:pt x="1008" y="1481"/>
                      <a:pt x="1042" y="1475"/>
                      <a:pt x="1066" y="1461"/>
                    </a:cubicBezTo>
                    <a:moveTo>
                      <a:pt x="1066" y="1461"/>
                    </a:moveTo>
                    <a:cubicBezTo>
                      <a:pt x="1070" y="1462"/>
                      <a:pt x="1067" y="1458"/>
                      <a:pt x="1066" y="1461"/>
                    </a:cubicBezTo>
                    <a:moveTo>
                      <a:pt x="742" y="1463"/>
                    </a:moveTo>
                    <a:cubicBezTo>
                      <a:pt x="742" y="1465"/>
                      <a:pt x="746" y="1462"/>
                      <a:pt x="742" y="1463"/>
                    </a:cubicBezTo>
                    <a:moveTo>
                      <a:pt x="742" y="1463"/>
                    </a:moveTo>
                    <a:cubicBezTo>
                      <a:pt x="741" y="1462"/>
                      <a:pt x="740" y="1461"/>
                      <a:pt x="739" y="1461"/>
                    </a:cubicBezTo>
                    <a:cubicBezTo>
                      <a:pt x="739" y="1463"/>
                      <a:pt x="740" y="1462"/>
                      <a:pt x="742" y="1463"/>
                    </a:cubicBezTo>
                    <a:moveTo>
                      <a:pt x="1072" y="1462"/>
                    </a:moveTo>
                    <a:cubicBezTo>
                      <a:pt x="1072" y="1461"/>
                      <a:pt x="1073" y="1462"/>
                      <a:pt x="1072" y="1462"/>
                    </a:cubicBezTo>
                    <a:close/>
                    <a:moveTo>
                      <a:pt x="774" y="1463"/>
                    </a:moveTo>
                    <a:cubicBezTo>
                      <a:pt x="774" y="1463"/>
                      <a:pt x="775" y="1464"/>
                      <a:pt x="774" y="1463"/>
                    </a:cubicBezTo>
                    <a:close/>
                    <a:moveTo>
                      <a:pt x="746" y="1464"/>
                    </a:moveTo>
                    <a:cubicBezTo>
                      <a:pt x="745" y="1464"/>
                      <a:pt x="746" y="1465"/>
                      <a:pt x="746" y="1464"/>
                    </a:cubicBezTo>
                    <a:close/>
                    <a:moveTo>
                      <a:pt x="780" y="1464"/>
                    </a:moveTo>
                    <a:cubicBezTo>
                      <a:pt x="780" y="1464"/>
                      <a:pt x="781" y="1465"/>
                      <a:pt x="780" y="1464"/>
                    </a:cubicBezTo>
                    <a:close/>
                    <a:moveTo>
                      <a:pt x="796" y="1472"/>
                    </a:moveTo>
                    <a:cubicBezTo>
                      <a:pt x="823" y="1473"/>
                      <a:pt x="851" y="1473"/>
                      <a:pt x="879" y="1473"/>
                    </a:cubicBezTo>
                    <a:cubicBezTo>
                      <a:pt x="879" y="1470"/>
                      <a:pt x="886" y="1464"/>
                      <a:pt x="882" y="1463"/>
                    </a:cubicBezTo>
                    <a:cubicBezTo>
                      <a:pt x="855" y="1469"/>
                      <a:pt x="823" y="1468"/>
                      <a:pt x="796" y="1472"/>
                    </a:cubicBezTo>
                    <a:close/>
                    <a:moveTo>
                      <a:pt x="882" y="1475"/>
                    </a:moveTo>
                    <a:cubicBezTo>
                      <a:pt x="882" y="1479"/>
                      <a:pt x="879" y="1481"/>
                      <a:pt x="878" y="1485"/>
                    </a:cubicBezTo>
                    <a:cubicBezTo>
                      <a:pt x="901" y="1482"/>
                      <a:pt x="937" y="1489"/>
                      <a:pt x="958" y="1482"/>
                    </a:cubicBezTo>
                    <a:cubicBezTo>
                      <a:pt x="961" y="1480"/>
                      <a:pt x="965" y="1476"/>
                      <a:pt x="968" y="1473"/>
                    </a:cubicBezTo>
                    <a:cubicBezTo>
                      <a:pt x="971" y="1470"/>
                      <a:pt x="977" y="1467"/>
                      <a:pt x="975" y="1464"/>
                    </a:cubicBezTo>
                    <a:cubicBezTo>
                      <a:pt x="946" y="1470"/>
                      <a:pt x="916" y="1474"/>
                      <a:pt x="882" y="1475"/>
                    </a:cubicBezTo>
                    <a:close/>
                    <a:moveTo>
                      <a:pt x="784" y="1466"/>
                    </a:moveTo>
                    <a:cubicBezTo>
                      <a:pt x="784" y="1466"/>
                      <a:pt x="785" y="1467"/>
                      <a:pt x="784" y="1466"/>
                    </a:cubicBezTo>
                    <a:close/>
                    <a:moveTo>
                      <a:pt x="503" y="1468"/>
                    </a:moveTo>
                    <a:cubicBezTo>
                      <a:pt x="520" y="1486"/>
                      <a:pt x="554" y="1491"/>
                      <a:pt x="582" y="1493"/>
                    </a:cubicBezTo>
                    <a:cubicBezTo>
                      <a:pt x="572" y="1490"/>
                      <a:pt x="565" y="1483"/>
                      <a:pt x="556" y="1478"/>
                    </a:cubicBezTo>
                    <a:cubicBezTo>
                      <a:pt x="537" y="1475"/>
                      <a:pt x="521" y="1471"/>
                      <a:pt x="503" y="1468"/>
                    </a:cubicBezTo>
                    <a:moveTo>
                      <a:pt x="503" y="1468"/>
                    </a:moveTo>
                    <a:cubicBezTo>
                      <a:pt x="502" y="1467"/>
                      <a:pt x="502" y="1468"/>
                      <a:pt x="503" y="1468"/>
                    </a:cubicBezTo>
                    <a:moveTo>
                      <a:pt x="611" y="1480"/>
                    </a:moveTo>
                    <a:cubicBezTo>
                      <a:pt x="653" y="1483"/>
                      <a:pt x="697" y="1480"/>
                      <a:pt x="732" y="1473"/>
                    </a:cubicBezTo>
                    <a:cubicBezTo>
                      <a:pt x="687" y="1475"/>
                      <a:pt x="642" y="1473"/>
                      <a:pt x="601" y="1467"/>
                    </a:cubicBezTo>
                    <a:cubicBezTo>
                      <a:pt x="604" y="1472"/>
                      <a:pt x="605" y="1478"/>
                      <a:pt x="611" y="1480"/>
                    </a:cubicBezTo>
                    <a:close/>
                    <a:moveTo>
                      <a:pt x="738" y="1472"/>
                    </a:moveTo>
                    <a:cubicBezTo>
                      <a:pt x="737" y="1472"/>
                      <a:pt x="736" y="1472"/>
                      <a:pt x="736" y="1473"/>
                    </a:cubicBezTo>
                    <a:cubicBezTo>
                      <a:pt x="737" y="1473"/>
                      <a:pt x="738" y="1473"/>
                      <a:pt x="738" y="1472"/>
                    </a:cubicBezTo>
                    <a:close/>
                    <a:moveTo>
                      <a:pt x="789" y="1473"/>
                    </a:moveTo>
                    <a:cubicBezTo>
                      <a:pt x="788" y="1473"/>
                      <a:pt x="786" y="1473"/>
                      <a:pt x="786" y="1474"/>
                    </a:cubicBezTo>
                    <a:cubicBezTo>
                      <a:pt x="787" y="1474"/>
                      <a:pt x="789" y="1474"/>
                      <a:pt x="789" y="1473"/>
                    </a:cubicBezTo>
                    <a:close/>
                    <a:moveTo>
                      <a:pt x="742" y="1475"/>
                    </a:moveTo>
                    <a:cubicBezTo>
                      <a:pt x="741" y="1475"/>
                      <a:pt x="742" y="1476"/>
                      <a:pt x="742" y="1475"/>
                    </a:cubicBezTo>
                    <a:close/>
                    <a:moveTo>
                      <a:pt x="745" y="1509"/>
                    </a:moveTo>
                    <a:cubicBezTo>
                      <a:pt x="748" y="1509"/>
                      <a:pt x="752" y="1509"/>
                      <a:pt x="755" y="1509"/>
                    </a:cubicBezTo>
                    <a:cubicBezTo>
                      <a:pt x="757" y="1498"/>
                      <a:pt x="761" y="1484"/>
                      <a:pt x="759" y="1474"/>
                    </a:cubicBezTo>
                    <a:cubicBezTo>
                      <a:pt x="754" y="1485"/>
                      <a:pt x="737" y="1490"/>
                      <a:pt x="745" y="1509"/>
                    </a:cubicBezTo>
                    <a:close/>
                    <a:moveTo>
                      <a:pt x="877" y="1476"/>
                    </a:moveTo>
                    <a:cubicBezTo>
                      <a:pt x="879" y="1475"/>
                      <a:pt x="877" y="1475"/>
                      <a:pt x="877" y="1476"/>
                    </a:cubicBezTo>
                    <a:moveTo>
                      <a:pt x="877" y="1476"/>
                    </a:moveTo>
                    <a:cubicBezTo>
                      <a:pt x="848" y="1477"/>
                      <a:pt x="817" y="1475"/>
                      <a:pt x="791" y="1475"/>
                    </a:cubicBezTo>
                    <a:cubicBezTo>
                      <a:pt x="817" y="1479"/>
                      <a:pt x="844" y="1483"/>
                      <a:pt x="873" y="1485"/>
                    </a:cubicBezTo>
                    <a:cubicBezTo>
                      <a:pt x="875" y="1482"/>
                      <a:pt x="877" y="1480"/>
                      <a:pt x="877" y="1476"/>
                    </a:cubicBezTo>
                    <a:moveTo>
                      <a:pt x="655" y="1493"/>
                    </a:moveTo>
                    <a:cubicBezTo>
                      <a:pt x="685" y="1490"/>
                      <a:pt x="715" y="1482"/>
                      <a:pt x="737" y="1477"/>
                    </a:cubicBezTo>
                    <a:cubicBezTo>
                      <a:pt x="737" y="1476"/>
                      <a:pt x="739" y="1475"/>
                      <a:pt x="736" y="1475"/>
                    </a:cubicBezTo>
                    <a:cubicBezTo>
                      <a:pt x="700" y="1482"/>
                      <a:pt x="655" y="1485"/>
                      <a:pt x="612" y="1483"/>
                    </a:cubicBezTo>
                    <a:cubicBezTo>
                      <a:pt x="615" y="1498"/>
                      <a:pt x="635" y="1496"/>
                      <a:pt x="655" y="1493"/>
                    </a:cubicBezTo>
                    <a:close/>
                    <a:moveTo>
                      <a:pt x="749" y="1476"/>
                    </a:moveTo>
                    <a:cubicBezTo>
                      <a:pt x="748" y="1476"/>
                      <a:pt x="749" y="1477"/>
                      <a:pt x="749" y="1476"/>
                    </a:cubicBezTo>
                    <a:close/>
                    <a:moveTo>
                      <a:pt x="754" y="1476"/>
                    </a:moveTo>
                    <a:cubicBezTo>
                      <a:pt x="749" y="1477"/>
                      <a:pt x="746" y="1481"/>
                      <a:pt x="741" y="1483"/>
                    </a:cubicBezTo>
                    <a:cubicBezTo>
                      <a:pt x="742" y="1484"/>
                      <a:pt x="741" y="1488"/>
                      <a:pt x="743" y="1489"/>
                    </a:cubicBezTo>
                    <a:cubicBezTo>
                      <a:pt x="746" y="1485"/>
                      <a:pt x="752" y="1481"/>
                      <a:pt x="754" y="1476"/>
                    </a:cubicBezTo>
                    <a:moveTo>
                      <a:pt x="754" y="1476"/>
                    </a:moveTo>
                    <a:cubicBezTo>
                      <a:pt x="756" y="1475"/>
                      <a:pt x="754" y="1475"/>
                      <a:pt x="754" y="1476"/>
                    </a:cubicBezTo>
                    <a:moveTo>
                      <a:pt x="773" y="1476"/>
                    </a:moveTo>
                    <a:cubicBezTo>
                      <a:pt x="772" y="1476"/>
                      <a:pt x="773" y="1477"/>
                      <a:pt x="773" y="1476"/>
                    </a:cubicBezTo>
                    <a:close/>
                    <a:moveTo>
                      <a:pt x="782" y="1475"/>
                    </a:moveTo>
                    <a:cubicBezTo>
                      <a:pt x="781" y="1475"/>
                      <a:pt x="780" y="1475"/>
                      <a:pt x="780" y="1476"/>
                    </a:cubicBezTo>
                    <a:cubicBezTo>
                      <a:pt x="781" y="1476"/>
                      <a:pt x="782" y="1476"/>
                      <a:pt x="782" y="1475"/>
                    </a:cubicBezTo>
                    <a:close/>
                    <a:moveTo>
                      <a:pt x="746" y="1477"/>
                    </a:moveTo>
                    <a:cubicBezTo>
                      <a:pt x="743" y="1476"/>
                      <a:pt x="739" y="1478"/>
                      <a:pt x="742" y="1480"/>
                    </a:cubicBezTo>
                    <a:cubicBezTo>
                      <a:pt x="742" y="1478"/>
                      <a:pt x="745" y="1479"/>
                      <a:pt x="746" y="1477"/>
                    </a:cubicBezTo>
                    <a:moveTo>
                      <a:pt x="746" y="1477"/>
                    </a:moveTo>
                    <a:cubicBezTo>
                      <a:pt x="750" y="1478"/>
                      <a:pt x="746" y="1474"/>
                      <a:pt x="746" y="1477"/>
                    </a:cubicBezTo>
                    <a:moveTo>
                      <a:pt x="758" y="1509"/>
                    </a:moveTo>
                    <a:cubicBezTo>
                      <a:pt x="768" y="1509"/>
                      <a:pt x="777" y="1509"/>
                      <a:pt x="787" y="1509"/>
                    </a:cubicBezTo>
                    <a:cubicBezTo>
                      <a:pt x="781" y="1500"/>
                      <a:pt x="770" y="1487"/>
                      <a:pt x="763" y="1476"/>
                    </a:cubicBezTo>
                    <a:cubicBezTo>
                      <a:pt x="761" y="1486"/>
                      <a:pt x="760" y="1498"/>
                      <a:pt x="758" y="1509"/>
                    </a:cubicBezTo>
                    <a:close/>
                    <a:moveTo>
                      <a:pt x="796" y="1509"/>
                    </a:moveTo>
                    <a:cubicBezTo>
                      <a:pt x="804" y="1511"/>
                      <a:pt x="813" y="1505"/>
                      <a:pt x="826" y="1508"/>
                    </a:cubicBezTo>
                    <a:cubicBezTo>
                      <a:pt x="807" y="1497"/>
                      <a:pt x="786" y="1489"/>
                      <a:pt x="769" y="1476"/>
                    </a:cubicBezTo>
                    <a:cubicBezTo>
                      <a:pt x="777" y="1485"/>
                      <a:pt x="782" y="1505"/>
                      <a:pt x="796" y="1509"/>
                    </a:cubicBezTo>
                    <a:close/>
                    <a:moveTo>
                      <a:pt x="837" y="1507"/>
                    </a:moveTo>
                    <a:cubicBezTo>
                      <a:pt x="844" y="1507"/>
                      <a:pt x="860" y="1507"/>
                      <a:pt x="864" y="1499"/>
                    </a:cubicBezTo>
                    <a:cubicBezTo>
                      <a:pt x="831" y="1496"/>
                      <a:pt x="800" y="1484"/>
                      <a:pt x="774" y="1477"/>
                    </a:cubicBezTo>
                    <a:cubicBezTo>
                      <a:pt x="791" y="1485"/>
                      <a:pt x="814" y="1505"/>
                      <a:pt x="837" y="1507"/>
                    </a:cubicBezTo>
                    <a:close/>
                    <a:moveTo>
                      <a:pt x="865" y="1497"/>
                    </a:moveTo>
                    <a:cubicBezTo>
                      <a:pt x="867" y="1494"/>
                      <a:pt x="870" y="1491"/>
                      <a:pt x="871" y="1487"/>
                    </a:cubicBezTo>
                    <a:cubicBezTo>
                      <a:pt x="839" y="1487"/>
                      <a:pt x="810" y="1479"/>
                      <a:pt x="783" y="1477"/>
                    </a:cubicBezTo>
                    <a:cubicBezTo>
                      <a:pt x="809" y="1485"/>
                      <a:pt x="835" y="1493"/>
                      <a:pt x="865" y="1497"/>
                    </a:cubicBezTo>
                    <a:close/>
                    <a:moveTo>
                      <a:pt x="617" y="1495"/>
                    </a:moveTo>
                    <a:cubicBezTo>
                      <a:pt x="616" y="1492"/>
                      <a:pt x="610" y="1486"/>
                      <a:pt x="606" y="1483"/>
                    </a:cubicBezTo>
                    <a:cubicBezTo>
                      <a:pt x="592" y="1483"/>
                      <a:pt x="576" y="1479"/>
                      <a:pt x="563" y="1480"/>
                    </a:cubicBezTo>
                    <a:cubicBezTo>
                      <a:pt x="577" y="1489"/>
                      <a:pt x="591" y="1498"/>
                      <a:pt x="617" y="1495"/>
                    </a:cubicBezTo>
                    <a:close/>
                    <a:moveTo>
                      <a:pt x="626" y="1499"/>
                    </a:moveTo>
                    <a:cubicBezTo>
                      <a:pt x="667" y="1513"/>
                      <a:pt x="710" y="1498"/>
                      <a:pt x="738" y="1480"/>
                    </a:cubicBezTo>
                    <a:cubicBezTo>
                      <a:pt x="706" y="1488"/>
                      <a:pt x="665" y="1495"/>
                      <a:pt x="626" y="1499"/>
                    </a:cubicBezTo>
                    <a:close/>
                    <a:moveTo>
                      <a:pt x="1025" y="1480"/>
                    </a:moveTo>
                    <a:cubicBezTo>
                      <a:pt x="1025" y="1479"/>
                      <a:pt x="1026" y="1480"/>
                      <a:pt x="1025" y="1480"/>
                    </a:cubicBezTo>
                    <a:close/>
                    <a:moveTo>
                      <a:pt x="1022" y="1481"/>
                    </a:moveTo>
                    <a:cubicBezTo>
                      <a:pt x="1023" y="1481"/>
                      <a:pt x="1022" y="1480"/>
                      <a:pt x="1022" y="1481"/>
                    </a:cubicBezTo>
                    <a:close/>
                    <a:moveTo>
                      <a:pt x="516" y="1482"/>
                    </a:moveTo>
                    <a:cubicBezTo>
                      <a:pt x="516" y="1481"/>
                      <a:pt x="517" y="1482"/>
                      <a:pt x="516" y="1482"/>
                    </a:cubicBezTo>
                    <a:close/>
                    <a:moveTo>
                      <a:pt x="1018" y="1482"/>
                    </a:moveTo>
                    <a:cubicBezTo>
                      <a:pt x="1001" y="1486"/>
                      <a:pt x="981" y="1488"/>
                      <a:pt x="966" y="1495"/>
                    </a:cubicBezTo>
                    <a:moveTo>
                      <a:pt x="966" y="1495"/>
                    </a:moveTo>
                    <a:cubicBezTo>
                      <a:pt x="962" y="1494"/>
                      <a:pt x="965" y="1498"/>
                      <a:pt x="966" y="1495"/>
                    </a:cubicBezTo>
                    <a:moveTo>
                      <a:pt x="966" y="1495"/>
                    </a:moveTo>
                    <a:cubicBezTo>
                      <a:pt x="985" y="1493"/>
                      <a:pt x="1002" y="1488"/>
                      <a:pt x="1018" y="1482"/>
                    </a:cubicBezTo>
                    <a:moveTo>
                      <a:pt x="1018" y="1482"/>
                    </a:moveTo>
                    <a:cubicBezTo>
                      <a:pt x="1022" y="1483"/>
                      <a:pt x="1019" y="1479"/>
                      <a:pt x="1018" y="1482"/>
                    </a:cubicBezTo>
                    <a:moveTo>
                      <a:pt x="940" y="1495"/>
                    </a:moveTo>
                    <a:cubicBezTo>
                      <a:pt x="955" y="1492"/>
                      <a:pt x="972" y="1491"/>
                      <a:pt x="980" y="1482"/>
                    </a:cubicBezTo>
                    <a:cubicBezTo>
                      <a:pt x="962" y="1482"/>
                      <a:pt x="950" y="1488"/>
                      <a:pt x="940" y="1495"/>
                    </a:cubicBezTo>
                    <a:close/>
                    <a:moveTo>
                      <a:pt x="681" y="1507"/>
                    </a:moveTo>
                    <a:cubicBezTo>
                      <a:pt x="694" y="1507"/>
                      <a:pt x="707" y="1507"/>
                      <a:pt x="719" y="1509"/>
                    </a:cubicBezTo>
                    <a:cubicBezTo>
                      <a:pt x="726" y="1503"/>
                      <a:pt x="734" y="1498"/>
                      <a:pt x="740" y="1491"/>
                    </a:cubicBezTo>
                    <a:cubicBezTo>
                      <a:pt x="737" y="1491"/>
                      <a:pt x="741" y="1484"/>
                      <a:pt x="738" y="1484"/>
                    </a:cubicBezTo>
                    <a:cubicBezTo>
                      <a:pt x="722" y="1494"/>
                      <a:pt x="700" y="1499"/>
                      <a:pt x="681" y="1507"/>
                    </a:cubicBezTo>
                    <a:close/>
                    <a:moveTo>
                      <a:pt x="876" y="1487"/>
                    </a:moveTo>
                    <a:cubicBezTo>
                      <a:pt x="874" y="1491"/>
                      <a:pt x="871" y="1493"/>
                      <a:pt x="870" y="1498"/>
                    </a:cubicBezTo>
                    <a:cubicBezTo>
                      <a:pt x="900" y="1502"/>
                      <a:pt x="934" y="1501"/>
                      <a:pt x="950" y="1486"/>
                    </a:cubicBezTo>
                    <a:cubicBezTo>
                      <a:pt x="927" y="1487"/>
                      <a:pt x="902" y="1488"/>
                      <a:pt x="876" y="1487"/>
                    </a:cubicBezTo>
                    <a:close/>
                    <a:moveTo>
                      <a:pt x="542" y="1492"/>
                    </a:moveTo>
                    <a:cubicBezTo>
                      <a:pt x="542" y="1492"/>
                      <a:pt x="543" y="1493"/>
                      <a:pt x="542" y="1492"/>
                    </a:cubicBezTo>
                    <a:close/>
                    <a:moveTo>
                      <a:pt x="570" y="1495"/>
                    </a:moveTo>
                    <a:cubicBezTo>
                      <a:pt x="565" y="1495"/>
                      <a:pt x="538" y="1491"/>
                      <a:pt x="548" y="1494"/>
                    </a:cubicBezTo>
                    <a:cubicBezTo>
                      <a:pt x="571" y="1502"/>
                      <a:pt x="600" y="1512"/>
                      <a:pt x="625" y="1510"/>
                    </a:cubicBezTo>
                    <a:cubicBezTo>
                      <a:pt x="606" y="1504"/>
                      <a:pt x="592" y="1498"/>
                      <a:pt x="570" y="1495"/>
                    </a:cubicBezTo>
                    <a:close/>
                    <a:moveTo>
                      <a:pt x="958" y="1495"/>
                    </a:moveTo>
                    <a:cubicBezTo>
                      <a:pt x="949" y="1496"/>
                      <a:pt x="942" y="1497"/>
                      <a:pt x="935" y="1499"/>
                    </a:cubicBezTo>
                    <a:cubicBezTo>
                      <a:pt x="943" y="1498"/>
                      <a:pt x="953" y="1499"/>
                      <a:pt x="958" y="1495"/>
                    </a:cubicBezTo>
                    <a:moveTo>
                      <a:pt x="958" y="1495"/>
                    </a:moveTo>
                    <a:cubicBezTo>
                      <a:pt x="962" y="1496"/>
                      <a:pt x="958" y="1492"/>
                      <a:pt x="958" y="1495"/>
                    </a:cubicBezTo>
                    <a:moveTo>
                      <a:pt x="724" y="1509"/>
                    </a:moveTo>
                    <a:cubicBezTo>
                      <a:pt x="730" y="1509"/>
                      <a:pt x="736" y="1509"/>
                      <a:pt x="742" y="1509"/>
                    </a:cubicBezTo>
                    <a:cubicBezTo>
                      <a:pt x="740" y="1505"/>
                      <a:pt x="741" y="1498"/>
                      <a:pt x="739" y="1495"/>
                    </a:cubicBezTo>
                    <a:cubicBezTo>
                      <a:pt x="735" y="1501"/>
                      <a:pt x="728" y="1504"/>
                      <a:pt x="724" y="1509"/>
                    </a:cubicBezTo>
                    <a:close/>
                    <a:moveTo>
                      <a:pt x="613" y="1499"/>
                    </a:moveTo>
                    <a:cubicBezTo>
                      <a:pt x="615" y="1500"/>
                      <a:pt x="623" y="1501"/>
                      <a:pt x="624" y="1500"/>
                    </a:cubicBezTo>
                    <a:cubicBezTo>
                      <a:pt x="622" y="1496"/>
                      <a:pt x="599" y="1499"/>
                      <a:pt x="613" y="1499"/>
                    </a:cubicBezTo>
                    <a:close/>
                    <a:moveTo>
                      <a:pt x="929" y="1500"/>
                    </a:moveTo>
                    <a:cubicBezTo>
                      <a:pt x="929" y="1500"/>
                      <a:pt x="930" y="1501"/>
                      <a:pt x="929" y="1500"/>
                    </a:cubicBezTo>
                    <a:close/>
                    <a:moveTo>
                      <a:pt x="865" y="1505"/>
                    </a:moveTo>
                    <a:cubicBezTo>
                      <a:pt x="871" y="1503"/>
                      <a:pt x="880" y="1504"/>
                      <a:pt x="886" y="1502"/>
                    </a:cubicBezTo>
                    <a:cubicBezTo>
                      <a:pt x="879" y="1502"/>
                      <a:pt x="867" y="1497"/>
                      <a:pt x="865" y="1505"/>
                    </a:cubicBezTo>
                    <a:close/>
                    <a:moveTo>
                      <a:pt x="608" y="1501"/>
                    </a:moveTo>
                    <a:cubicBezTo>
                      <a:pt x="608" y="1501"/>
                      <a:pt x="607" y="1501"/>
                      <a:pt x="606" y="1502"/>
                    </a:cubicBezTo>
                    <a:cubicBezTo>
                      <a:pt x="607" y="1502"/>
                      <a:pt x="608" y="1502"/>
                      <a:pt x="608" y="1501"/>
                    </a:cubicBezTo>
                    <a:close/>
                    <a:moveTo>
                      <a:pt x="885" y="1514"/>
                    </a:moveTo>
                    <a:cubicBezTo>
                      <a:pt x="909" y="1514"/>
                      <a:pt x="929" y="1509"/>
                      <a:pt x="946" y="1501"/>
                    </a:cubicBezTo>
                    <a:cubicBezTo>
                      <a:pt x="921" y="1500"/>
                      <a:pt x="904" y="1509"/>
                      <a:pt x="885" y="1514"/>
                    </a:cubicBezTo>
                    <a:close/>
                    <a:moveTo>
                      <a:pt x="633" y="1509"/>
                    </a:moveTo>
                    <a:cubicBezTo>
                      <a:pt x="629" y="1504"/>
                      <a:pt x="618" y="1501"/>
                      <a:pt x="609" y="1503"/>
                    </a:cubicBezTo>
                    <a:cubicBezTo>
                      <a:pt x="618" y="1504"/>
                      <a:pt x="626" y="1509"/>
                      <a:pt x="633" y="1509"/>
                    </a:cubicBezTo>
                    <a:close/>
                    <a:moveTo>
                      <a:pt x="858" y="1512"/>
                    </a:moveTo>
                    <a:cubicBezTo>
                      <a:pt x="879" y="1516"/>
                      <a:pt x="896" y="1508"/>
                      <a:pt x="912" y="1503"/>
                    </a:cubicBezTo>
                    <a:cubicBezTo>
                      <a:pt x="893" y="1506"/>
                      <a:pt x="869" y="1502"/>
                      <a:pt x="858" y="1512"/>
                    </a:cubicBezTo>
                    <a:close/>
                    <a:moveTo>
                      <a:pt x="659" y="1507"/>
                    </a:moveTo>
                    <a:cubicBezTo>
                      <a:pt x="650" y="1508"/>
                      <a:pt x="641" y="1503"/>
                      <a:pt x="633" y="1506"/>
                    </a:cubicBezTo>
                    <a:cubicBezTo>
                      <a:pt x="638" y="1512"/>
                      <a:pt x="652" y="1509"/>
                      <a:pt x="659" y="1507"/>
                    </a:cubicBezTo>
                    <a:close/>
                    <a:moveTo>
                      <a:pt x="645" y="1512"/>
                    </a:moveTo>
                    <a:cubicBezTo>
                      <a:pt x="667" y="1518"/>
                      <a:pt x="698" y="1526"/>
                      <a:pt x="714" y="1511"/>
                    </a:cubicBezTo>
                    <a:cubicBezTo>
                      <a:pt x="688" y="1510"/>
                      <a:pt x="666" y="1506"/>
                      <a:pt x="645" y="1512"/>
                    </a:cubicBezTo>
                    <a:close/>
                    <a:moveTo>
                      <a:pt x="845" y="1510"/>
                    </a:moveTo>
                    <a:cubicBezTo>
                      <a:pt x="849" y="1510"/>
                      <a:pt x="855" y="1512"/>
                      <a:pt x="856" y="1508"/>
                    </a:cubicBezTo>
                    <a:cubicBezTo>
                      <a:pt x="852" y="1509"/>
                      <a:pt x="847" y="1508"/>
                      <a:pt x="845" y="1510"/>
                    </a:cubicBezTo>
                    <a:close/>
                    <a:moveTo>
                      <a:pt x="798" y="1512"/>
                    </a:moveTo>
                    <a:cubicBezTo>
                      <a:pt x="808" y="1524"/>
                      <a:pt x="839" y="1525"/>
                      <a:pt x="850" y="1513"/>
                    </a:cubicBezTo>
                    <a:cubicBezTo>
                      <a:pt x="837" y="1508"/>
                      <a:pt x="813" y="1509"/>
                      <a:pt x="798" y="1512"/>
                    </a:cubicBezTo>
                    <a:close/>
                    <a:moveTo>
                      <a:pt x="699" y="1522"/>
                    </a:moveTo>
                    <a:cubicBezTo>
                      <a:pt x="714" y="1522"/>
                      <a:pt x="731" y="1526"/>
                      <a:pt x="746" y="1524"/>
                    </a:cubicBezTo>
                    <a:cubicBezTo>
                      <a:pt x="743" y="1521"/>
                      <a:pt x="744" y="1515"/>
                      <a:pt x="742" y="1511"/>
                    </a:cubicBezTo>
                    <a:cubicBezTo>
                      <a:pt x="721" y="1509"/>
                      <a:pt x="710" y="1514"/>
                      <a:pt x="699" y="1522"/>
                    </a:cubicBezTo>
                    <a:close/>
                    <a:moveTo>
                      <a:pt x="750" y="1525"/>
                    </a:moveTo>
                    <a:cubicBezTo>
                      <a:pt x="753" y="1522"/>
                      <a:pt x="754" y="1517"/>
                      <a:pt x="754" y="1511"/>
                    </a:cubicBezTo>
                    <a:cubicBezTo>
                      <a:pt x="751" y="1511"/>
                      <a:pt x="748" y="1511"/>
                      <a:pt x="745" y="1511"/>
                    </a:cubicBezTo>
                    <a:cubicBezTo>
                      <a:pt x="747" y="1516"/>
                      <a:pt x="745" y="1524"/>
                      <a:pt x="750" y="1525"/>
                    </a:cubicBezTo>
                    <a:close/>
                    <a:moveTo>
                      <a:pt x="790" y="1511"/>
                    </a:moveTo>
                    <a:cubicBezTo>
                      <a:pt x="779" y="1511"/>
                      <a:pt x="768" y="1511"/>
                      <a:pt x="757" y="1511"/>
                    </a:cubicBezTo>
                    <a:cubicBezTo>
                      <a:pt x="757" y="1517"/>
                      <a:pt x="755" y="1520"/>
                      <a:pt x="754" y="1525"/>
                    </a:cubicBezTo>
                    <a:cubicBezTo>
                      <a:pt x="773" y="1525"/>
                      <a:pt x="792" y="1526"/>
                      <a:pt x="807" y="1522"/>
                    </a:cubicBezTo>
                    <a:cubicBezTo>
                      <a:pt x="800" y="1520"/>
                      <a:pt x="797" y="1514"/>
                      <a:pt x="790" y="1511"/>
                    </a:cubicBezTo>
                    <a:close/>
                    <a:moveTo>
                      <a:pt x="852" y="1517"/>
                    </a:moveTo>
                    <a:cubicBezTo>
                      <a:pt x="851" y="1518"/>
                      <a:pt x="852" y="1518"/>
                      <a:pt x="852" y="1517"/>
                    </a:cubicBezTo>
                    <a:moveTo>
                      <a:pt x="852" y="1517"/>
                    </a:moveTo>
                    <a:cubicBezTo>
                      <a:pt x="857" y="1517"/>
                      <a:pt x="861" y="1517"/>
                      <a:pt x="864" y="1515"/>
                    </a:cubicBezTo>
                    <a:cubicBezTo>
                      <a:pt x="859" y="1515"/>
                      <a:pt x="854" y="1513"/>
                      <a:pt x="852" y="1517"/>
                    </a:cubicBezTo>
                    <a:moveTo>
                      <a:pt x="655" y="1518"/>
                    </a:moveTo>
                    <a:cubicBezTo>
                      <a:pt x="655" y="1518"/>
                      <a:pt x="656" y="1519"/>
                      <a:pt x="655" y="1518"/>
                    </a:cubicBezTo>
                    <a:close/>
                    <a:moveTo>
                      <a:pt x="674" y="1522"/>
                    </a:moveTo>
                    <a:cubicBezTo>
                      <a:pt x="679" y="1522"/>
                      <a:pt x="678" y="1522"/>
                      <a:pt x="674" y="1521"/>
                    </a:cubicBezTo>
                    <a:cubicBezTo>
                      <a:pt x="672" y="1521"/>
                      <a:pt x="662" y="1518"/>
                      <a:pt x="658" y="1519"/>
                    </a:cubicBezTo>
                    <a:cubicBezTo>
                      <a:pt x="665" y="1520"/>
                      <a:pt x="671" y="1522"/>
                      <a:pt x="674" y="1522"/>
                    </a:cubicBezTo>
                    <a:close/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 dirty="0">
                  <a:latin typeface="+mj-lt"/>
                </a:endParaRPr>
              </a:p>
            </p:txBody>
          </p:sp>
          <p:sp>
            <p:nvSpPr>
              <p:cNvPr id="83" name="Freeform 39">
                <a:extLst>
                  <a:ext uri="{FF2B5EF4-FFF2-40B4-BE49-F238E27FC236}">
                    <a16:creationId xmlns:a16="http://schemas.microsoft.com/office/drawing/2014/main" id="{D1B656DF-D76B-4436-8EB9-75D0BA1010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34475" y="1798638"/>
                <a:ext cx="1660544" cy="1665709"/>
              </a:xfrm>
              <a:custGeom>
                <a:avLst/>
                <a:gdLst/>
                <a:ahLst/>
                <a:cxnLst>
                  <a:cxn ang="0">
                    <a:pos x="43" y="519"/>
                  </a:cxn>
                  <a:cxn ang="0">
                    <a:pos x="688" y="16"/>
                  </a:cxn>
                  <a:cxn ang="0">
                    <a:pos x="710" y="20"/>
                  </a:cxn>
                  <a:cxn ang="0">
                    <a:pos x="799" y="22"/>
                  </a:cxn>
                  <a:cxn ang="0">
                    <a:pos x="581" y="42"/>
                  </a:cxn>
                  <a:cxn ang="0">
                    <a:pos x="530" y="61"/>
                  </a:cxn>
                  <a:cxn ang="0">
                    <a:pos x="991" y="49"/>
                  </a:cxn>
                  <a:cxn ang="0">
                    <a:pos x="372" y="115"/>
                  </a:cxn>
                  <a:cxn ang="0">
                    <a:pos x="428" y="107"/>
                  </a:cxn>
                  <a:cxn ang="0">
                    <a:pos x="818" y="92"/>
                  </a:cxn>
                  <a:cxn ang="0">
                    <a:pos x="1055" y="192"/>
                  </a:cxn>
                  <a:cxn ang="0">
                    <a:pos x="825" y="120"/>
                  </a:cxn>
                  <a:cxn ang="0">
                    <a:pos x="386" y="131"/>
                  </a:cxn>
                  <a:cxn ang="0">
                    <a:pos x="360" y="122"/>
                  </a:cxn>
                  <a:cxn ang="0">
                    <a:pos x="307" y="157"/>
                  </a:cxn>
                  <a:cxn ang="0">
                    <a:pos x="1281" y="215"/>
                  </a:cxn>
                  <a:cxn ang="0">
                    <a:pos x="262" y="197"/>
                  </a:cxn>
                  <a:cxn ang="0">
                    <a:pos x="342" y="207"/>
                  </a:cxn>
                  <a:cxn ang="0">
                    <a:pos x="515" y="222"/>
                  </a:cxn>
                  <a:cxn ang="0">
                    <a:pos x="1092" y="232"/>
                  </a:cxn>
                  <a:cxn ang="0">
                    <a:pos x="1054" y="395"/>
                  </a:cxn>
                  <a:cxn ang="0">
                    <a:pos x="286" y="259"/>
                  </a:cxn>
                  <a:cxn ang="0">
                    <a:pos x="422" y="400"/>
                  </a:cxn>
                  <a:cxn ang="0">
                    <a:pos x="139" y="360"/>
                  </a:cxn>
                  <a:cxn ang="0">
                    <a:pos x="735" y="383"/>
                  </a:cxn>
                  <a:cxn ang="0">
                    <a:pos x="401" y="453"/>
                  </a:cxn>
                  <a:cxn ang="0">
                    <a:pos x="1275" y="515"/>
                  </a:cxn>
                  <a:cxn ang="0">
                    <a:pos x="965" y="472"/>
                  </a:cxn>
                  <a:cxn ang="0">
                    <a:pos x="1457" y="507"/>
                  </a:cxn>
                  <a:cxn ang="0">
                    <a:pos x="1123" y="716"/>
                  </a:cxn>
                  <a:cxn ang="0">
                    <a:pos x="1284" y="635"/>
                  </a:cxn>
                  <a:cxn ang="0">
                    <a:pos x="109" y="683"/>
                  </a:cxn>
                  <a:cxn ang="0">
                    <a:pos x="320" y="836"/>
                  </a:cxn>
                  <a:cxn ang="0">
                    <a:pos x="942" y="737"/>
                  </a:cxn>
                  <a:cxn ang="0">
                    <a:pos x="1520" y="791"/>
                  </a:cxn>
                  <a:cxn ang="0">
                    <a:pos x="1506" y="837"/>
                  </a:cxn>
                  <a:cxn ang="0">
                    <a:pos x="1392" y="910"/>
                  </a:cxn>
                  <a:cxn ang="0">
                    <a:pos x="1322" y="936"/>
                  </a:cxn>
                  <a:cxn ang="0">
                    <a:pos x="497" y="992"/>
                  </a:cxn>
                  <a:cxn ang="0">
                    <a:pos x="637" y="1004"/>
                  </a:cxn>
                  <a:cxn ang="0">
                    <a:pos x="75" y="1026"/>
                  </a:cxn>
                  <a:cxn ang="0">
                    <a:pos x="155" y="1216"/>
                  </a:cxn>
                  <a:cxn ang="0">
                    <a:pos x="1376" y="1175"/>
                  </a:cxn>
                  <a:cxn ang="0">
                    <a:pos x="187" y="1148"/>
                  </a:cxn>
                  <a:cxn ang="0">
                    <a:pos x="163" y="1223"/>
                  </a:cxn>
                  <a:cxn ang="0">
                    <a:pos x="363" y="1201"/>
                  </a:cxn>
                  <a:cxn ang="0">
                    <a:pos x="535" y="1295"/>
                  </a:cxn>
                  <a:cxn ang="0">
                    <a:pos x="170" y="1239"/>
                  </a:cxn>
                  <a:cxn ang="0">
                    <a:pos x="195" y="1266"/>
                  </a:cxn>
                  <a:cxn ang="0">
                    <a:pos x="224" y="1300"/>
                  </a:cxn>
                  <a:cxn ang="0">
                    <a:pos x="309" y="1356"/>
                  </a:cxn>
                  <a:cxn ang="0">
                    <a:pos x="1151" y="1402"/>
                  </a:cxn>
                  <a:cxn ang="0">
                    <a:pos x="618" y="1375"/>
                  </a:cxn>
                  <a:cxn ang="0">
                    <a:pos x="956" y="1397"/>
                  </a:cxn>
                  <a:cxn ang="0">
                    <a:pos x="1038" y="1391"/>
                  </a:cxn>
                  <a:cxn ang="0">
                    <a:pos x="697" y="1413"/>
                  </a:cxn>
                  <a:cxn ang="0">
                    <a:pos x="987" y="1439"/>
                  </a:cxn>
                  <a:cxn ang="0">
                    <a:pos x="513" y="1480"/>
                  </a:cxn>
                  <a:cxn ang="0">
                    <a:pos x="749" y="1462"/>
                  </a:cxn>
                  <a:cxn ang="0">
                    <a:pos x="975" y="1464"/>
                  </a:cxn>
                  <a:cxn ang="0">
                    <a:pos x="782" y="1475"/>
                  </a:cxn>
                  <a:cxn ang="0">
                    <a:pos x="738" y="1484"/>
                  </a:cxn>
                  <a:cxn ang="0">
                    <a:pos x="845" y="1510"/>
                  </a:cxn>
                </a:cxnLst>
                <a:rect l="0" t="0" r="r" b="b"/>
                <a:pathLst>
                  <a:path w="1525" h="1529">
                    <a:moveTo>
                      <a:pt x="760" y="11"/>
                    </a:moveTo>
                    <a:cubicBezTo>
                      <a:pt x="764" y="10"/>
                      <a:pt x="762" y="3"/>
                      <a:pt x="767" y="3"/>
                    </a:cubicBezTo>
                    <a:cubicBezTo>
                      <a:pt x="772" y="2"/>
                      <a:pt x="769" y="11"/>
                      <a:pt x="774" y="8"/>
                    </a:cubicBezTo>
                    <a:cubicBezTo>
                      <a:pt x="798" y="0"/>
                      <a:pt x="832" y="6"/>
                      <a:pt x="860" y="10"/>
                    </a:cubicBezTo>
                    <a:cubicBezTo>
                      <a:pt x="920" y="18"/>
                      <a:pt x="979" y="31"/>
                      <a:pt x="1027" y="50"/>
                    </a:cubicBezTo>
                    <a:cubicBezTo>
                      <a:pt x="1077" y="70"/>
                      <a:pt x="1124" y="92"/>
                      <a:pt x="1166" y="119"/>
                    </a:cubicBezTo>
                    <a:cubicBezTo>
                      <a:pt x="1181" y="129"/>
                      <a:pt x="1197" y="136"/>
                      <a:pt x="1209" y="145"/>
                    </a:cubicBezTo>
                    <a:cubicBezTo>
                      <a:pt x="1217" y="151"/>
                      <a:pt x="1224" y="160"/>
                      <a:pt x="1232" y="167"/>
                    </a:cubicBezTo>
                    <a:cubicBezTo>
                      <a:pt x="1281" y="205"/>
                      <a:pt x="1322" y="252"/>
                      <a:pt x="1362" y="301"/>
                    </a:cubicBezTo>
                    <a:cubicBezTo>
                      <a:pt x="1369" y="310"/>
                      <a:pt x="1378" y="316"/>
                      <a:pt x="1383" y="323"/>
                    </a:cubicBezTo>
                    <a:cubicBezTo>
                      <a:pt x="1388" y="331"/>
                      <a:pt x="1392" y="340"/>
                      <a:pt x="1398" y="348"/>
                    </a:cubicBezTo>
                    <a:cubicBezTo>
                      <a:pt x="1468" y="449"/>
                      <a:pt x="1525" y="587"/>
                      <a:pt x="1522" y="761"/>
                    </a:cubicBezTo>
                    <a:cubicBezTo>
                      <a:pt x="1522" y="773"/>
                      <a:pt x="1525" y="784"/>
                      <a:pt x="1524" y="795"/>
                    </a:cubicBezTo>
                    <a:cubicBezTo>
                      <a:pt x="1524" y="805"/>
                      <a:pt x="1520" y="815"/>
                      <a:pt x="1518" y="826"/>
                    </a:cubicBezTo>
                    <a:cubicBezTo>
                      <a:pt x="1515" y="857"/>
                      <a:pt x="1508" y="890"/>
                      <a:pt x="1502" y="919"/>
                    </a:cubicBezTo>
                    <a:cubicBezTo>
                      <a:pt x="1495" y="950"/>
                      <a:pt x="1489" y="979"/>
                      <a:pt x="1481" y="1007"/>
                    </a:cubicBezTo>
                    <a:cubicBezTo>
                      <a:pt x="1478" y="1017"/>
                      <a:pt x="1477" y="1028"/>
                      <a:pt x="1474" y="1037"/>
                    </a:cubicBezTo>
                    <a:cubicBezTo>
                      <a:pt x="1472" y="1045"/>
                      <a:pt x="1468" y="1051"/>
                      <a:pt x="1465" y="1058"/>
                    </a:cubicBezTo>
                    <a:cubicBezTo>
                      <a:pt x="1455" y="1079"/>
                      <a:pt x="1446" y="1102"/>
                      <a:pt x="1436" y="1122"/>
                    </a:cubicBezTo>
                    <a:cubicBezTo>
                      <a:pt x="1414" y="1164"/>
                      <a:pt x="1392" y="1199"/>
                      <a:pt x="1364" y="1233"/>
                    </a:cubicBezTo>
                    <a:cubicBezTo>
                      <a:pt x="1355" y="1245"/>
                      <a:pt x="1347" y="1257"/>
                      <a:pt x="1337" y="1268"/>
                    </a:cubicBezTo>
                    <a:cubicBezTo>
                      <a:pt x="1318" y="1289"/>
                      <a:pt x="1295" y="1305"/>
                      <a:pt x="1274" y="1326"/>
                    </a:cubicBezTo>
                    <a:cubicBezTo>
                      <a:pt x="1232" y="1368"/>
                      <a:pt x="1185" y="1404"/>
                      <a:pt x="1136" y="1434"/>
                    </a:cubicBezTo>
                    <a:cubicBezTo>
                      <a:pt x="1110" y="1450"/>
                      <a:pt x="1082" y="1460"/>
                      <a:pt x="1052" y="1471"/>
                    </a:cubicBezTo>
                    <a:cubicBezTo>
                      <a:pt x="1037" y="1477"/>
                      <a:pt x="1023" y="1484"/>
                      <a:pt x="1008" y="1488"/>
                    </a:cubicBezTo>
                    <a:cubicBezTo>
                      <a:pt x="992" y="1493"/>
                      <a:pt x="976" y="1494"/>
                      <a:pt x="958" y="1499"/>
                    </a:cubicBezTo>
                    <a:cubicBezTo>
                      <a:pt x="948" y="1502"/>
                      <a:pt x="940" y="1508"/>
                      <a:pt x="930" y="1511"/>
                    </a:cubicBezTo>
                    <a:cubicBezTo>
                      <a:pt x="904" y="1518"/>
                      <a:pt x="872" y="1514"/>
                      <a:pt x="846" y="1522"/>
                    </a:cubicBezTo>
                    <a:cubicBezTo>
                      <a:pt x="840" y="1524"/>
                      <a:pt x="835" y="1527"/>
                      <a:pt x="828" y="1528"/>
                    </a:cubicBezTo>
                    <a:cubicBezTo>
                      <a:pt x="823" y="1528"/>
                      <a:pt x="818" y="1526"/>
                      <a:pt x="813" y="1526"/>
                    </a:cubicBezTo>
                    <a:cubicBezTo>
                      <a:pt x="796" y="1525"/>
                      <a:pt x="777" y="1527"/>
                      <a:pt x="758" y="1528"/>
                    </a:cubicBezTo>
                    <a:cubicBezTo>
                      <a:pt x="735" y="1529"/>
                      <a:pt x="713" y="1524"/>
                      <a:pt x="691" y="1523"/>
                    </a:cubicBezTo>
                    <a:cubicBezTo>
                      <a:pt x="683" y="1523"/>
                      <a:pt x="676" y="1525"/>
                      <a:pt x="669" y="1524"/>
                    </a:cubicBezTo>
                    <a:cubicBezTo>
                      <a:pt x="656" y="1523"/>
                      <a:pt x="646" y="1514"/>
                      <a:pt x="635" y="1512"/>
                    </a:cubicBezTo>
                    <a:cubicBezTo>
                      <a:pt x="620" y="1510"/>
                      <a:pt x="607" y="1512"/>
                      <a:pt x="594" y="1511"/>
                    </a:cubicBezTo>
                    <a:cubicBezTo>
                      <a:pt x="571" y="1507"/>
                      <a:pt x="551" y="1496"/>
                      <a:pt x="531" y="1489"/>
                    </a:cubicBezTo>
                    <a:cubicBezTo>
                      <a:pt x="520" y="1486"/>
                      <a:pt x="508" y="1484"/>
                      <a:pt x="497" y="1481"/>
                    </a:cubicBezTo>
                    <a:cubicBezTo>
                      <a:pt x="454" y="1468"/>
                      <a:pt x="414" y="1451"/>
                      <a:pt x="380" y="1429"/>
                    </a:cubicBezTo>
                    <a:cubicBezTo>
                      <a:pt x="363" y="1418"/>
                      <a:pt x="347" y="1404"/>
                      <a:pt x="330" y="1393"/>
                    </a:cubicBezTo>
                    <a:cubicBezTo>
                      <a:pt x="287" y="1366"/>
                      <a:pt x="251" y="1334"/>
                      <a:pt x="216" y="1296"/>
                    </a:cubicBezTo>
                    <a:cubicBezTo>
                      <a:pt x="202" y="1282"/>
                      <a:pt x="187" y="1270"/>
                      <a:pt x="174" y="1252"/>
                    </a:cubicBezTo>
                    <a:cubicBezTo>
                      <a:pt x="169" y="1244"/>
                      <a:pt x="165" y="1234"/>
                      <a:pt x="159" y="1225"/>
                    </a:cubicBezTo>
                    <a:cubicBezTo>
                      <a:pt x="147" y="1209"/>
                      <a:pt x="133" y="1193"/>
                      <a:pt x="123" y="1177"/>
                    </a:cubicBezTo>
                    <a:cubicBezTo>
                      <a:pt x="60" y="1083"/>
                      <a:pt x="16" y="977"/>
                      <a:pt x="6" y="830"/>
                    </a:cubicBezTo>
                    <a:cubicBezTo>
                      <a:pt x="5" y="816"/>
                      <a:pt x="0" y="804"/>
                      <a:pt x="0" y="791"/>
                    </a:cubicBezTo>
                    <a:cubicBezTo>
                      <a:pt x="0" y="782"/>
                      <a:pt x="4" y="772"/>
                      <a:pt x="5" y="762"/>
                    </a:cubicBezTo>
                    <a:cubicBezTo>
                      <a:pt x="11" y="698"/>
                      <a:pt x="14" y="634"/>
                      <a:pt x="27" y="577"/>
                    </a:cubicBezTo>
                    <a:cubicBezTo>
                      <a:pt x="29" y="567"/>
                      <a:pt x="29" y="558"/>
                      <a:pt x="31" y="549"/>
                    </a:cubicBezTo>
                    <a:cubicBezTo>
                      <a:pt x="34" y="539"/>
                      <a:pt x="40" y="529"/>
                      <a:pt x="43" y="519"/>
                    </a:cubicBezTo>
                    <a:cubicBezTo>
                      <a:pt x="65" y="448"/>
                      <a:pt x="100" y="386"/>
                      <a:pt x="137" y="330"/>
                    </a:cubicBezTo>
                    <a:cubicBezTo>
                      <a:pt x="170" y="280"/>
                      <a:pt x="209" y="240"/>
                      <a:pt x="252" y="202"/>
                    </a:cubicBezTo>
                    <a:cubicBezTo>
                      <a:pt x="266" y="190"/>
                      <a:pt x="282" y="179"/>
                      <a:pt x="296" y="166"/>
                    </a:cubicBezTo>
                    <a:cubicBezTo>
                      <a:pt x="303" y="159"/>
                      <a:pt x="307" y="151"/>
                      <a:pt x="315" y="145"/>
                    </a:cubicBezTo>
                    <a:cubicBezTo>
                      <a:pt x="323" y="139"/>
                      <a:pt x="332" y="137"/>
                      <a:pt x="341" y="132"/>
                    </a:cubicBezTo>
                    <a:cubicBezTo>
                      <a:pt x="354" y="124"/>
                      <a:pt x="367" y="114"/>
                      <a:pt x="380" y="106"/>
                    </a:cubicBezTo>
                    <a:cubicBezTo>
                      <a:pt x="419" y="82"/>
                      <a:pt x="466" y="61"/>
                      <a:pt x="514" y="46"/>
                    </a:cubicBezTo>
                    <a:cubicBezTo>
                      <a:pt x="531" y="40"/>
                      <a:pt x="546" y="33"/>
                      <a:pt x="563" y="29"/>
                    </a:cubicBezTo>
                    <a:cubicBezTo>
                      <a:pt x="605" y="19"/>
                      <a:pt x="652" y="8"/>
                      <a:pt x="702" y="5"/>
                    </a:cubicBezTo>
                    <a:cubicBezTo>
                      <a:pt x="711" y="5"/>
                      <a:pt x="721" y="5"/>
                      <a:pt x="731" y="3"/>
                    </a:cubicBezTo>
                    <a:cubicBezTo>
                      <a:pt x="741" y="1"/>
                      <a:pt x="752" y="5"/>
                      <a:pt x="760" y="11"/>
                    </a:cubicBezTo>
                    <a:close/>
                    <a:moveTo>
                      <a:pt x="765" y="11"/>
                    </a:moveTo>
                    <a:cubicBezTo>
                      <a:pt x="767" y="11"/>
                      <a:pt x="769" y="11"/>
                      <a:pt x="770" y="9"/>
                    </a:cubicBezTo>
                    <a:cubicBezTo>
                      <a:pt x="768" y="9"/>
                      <a:pt x="769" y="6"/>
                      <a:pt x="767" y="5"/>
                    </a:cubicBezTo>
                    <a:cubicBezTo>
                      <a:pt x="766" y="7"/>
                      <a:pt x="764" y="8"/>
                      <a:pt x="765" y="11"/>
                    </a:cubicBezTo>
                    <a:close/>
                    <a:moveTo>
                      <a:pt x="737" y="6"/>
                    </a:moveTo>
                    <a:cubicBezTo>
                      <a:pt x="736" y="6"/>
                      <a:pt x="735" y="6"/>
                      <a:pt x="735" y="7"/>
                    </a:cubicBezTo>
                    <a:cubicBezTo>
                      <a:pt x="736" y="7"/>
                      <a:pt x="737" y="7"/>
                      <a:pt x="737" y="6"/>
                    </a:cubicBezTo>
                    <a:close/>
                    <a:moveTo>
                      <a:pt x="800" y="6"/>
                    </a:moveTo>
                    <a:cubicBezTo>
                      <a:pt x="790" y="5"/>
                      <a:pt x="794" y="9"/>
                      <a:pt x="800" y="6"/>
                    </a:cubicBezTo>
                    <a:close/>
                    <a:moveTo>
                      <a:pt x="744" y="7"/>
                    </a:moveTo>
                    <a:cubicBezTo>
                      <a:pt x="742" y="8"/>
                      <a:pt x="738" y="6"/>
                      <a:pt x="738" y="8"/>
                    </a:cubicBezTo>
                    <a:cubicBezTo>
                      <a:pt x="740" y="8"/>
                      <a:pt x="744" y="9"/>
                      <a:pt x="744" y="7"/>
                    </a:cubicBezTo>
                    <a:close/>
                    <a:moveTo>
                      <a:pt x="792" y="7"/>
                    </a:moveTo>
                    <a:cubicBezTo>
                      <a:pt x="790" y="8"/>
                      <a:pt x="785" y="6"/>
                      <a:pt x="785" y="8"/>
                    </a:cubicBezTo>
                    <a:cubicBezTo>
                      <a:pt x="787" y="8"/>
                      <a:pt x="791" y="9"/>
                      <a:pt x="792" y="7"/>
                    </a:cubicBezTo>
                    <a:close/>
                    <a:moveTo>
                      <a:pt x="727" y="8"/>
                    </a:moveTo>
                    <a:cubicBezTo>
                      <a:pt x="726" y="8"/>
                      <a:pt x="725" y="8"/>
                      <a:pt x="725" y="9"/>
                    </a:cubicBezTo>
                    <a:cubicBezTo>
                      <a:pt x="726" y="9"/>
                      <a:pt x="727" y="9"/>
                      <a:pt x="727" y="8"/>
                    </a:cubicBezTo>
                    <a:close/>
                    <a:moveTo>
                      <a:pt x="747" y="8"/>
                    </a:moveTo>
                    <a:cubicBezTo>
                      <a:pt x="746" y="8"/>
                      <a:pt x="745" y="8"/>
                      <a:pt x="745" y="9"/>
                    </a:cubicBezTo>
                    <a:cubicBezTo>
                      <a:pt x="745" y="9"/>
                      <a:pt x="747" y="9"/>
                      <a:pt x="747" y="8"/>
                    </a:cubicBezTo>
                    <a:close/>
                    <a:moveTo>
                      <a:pt x="784" y="8"/>
                    </a:moveTo>
                    <a:cubicBezTo>
                      <a:pt x="783" y="8"/>
                      <a:pt x="781" y="8"/>
                      <a:pt x="781" y="9"/>
                    </a:cubicBezTo>
                    <a:cubicBezTo>
                      <a:pt x="782" y="9"/>
                      <a:pt x="784" y="9"/>
                      <a:pt x="784" y="8"/>
                    </a:cubicBezTo>
                    <a:close/>
                    <a:moveTo>
                      <a:pt x="748" y="10"/>
                    </a:moveTo>
                    <a:cubicBezTo>
                      <a:pt x="747" y="10"/>
                      <a:pt x="748" y="11"/>
                      <a:pt x="748" y="10"/>
                    </a:cubicBezTo>
                    <a:close/>
                    <a:moveTo>
                      <a:pt x="778" y="10"/>
                    </a:moveTo>
                    <a:cubicBezTo>
                      <a:pt x="778" y="10"/>
                      <a:pt x="779" y="11"/>
                      <a:pt x="778" y="10"/>
                    </a:cubicBezTo>
                    <a:close/>
                    <a:moveTo>
                      <a:pt x="688" y="10"/>
                    </a:moveTo>
                    <a:cubicBezTo>
                      <a:pt x="686" y="11"/>
                      <a:pt x="682" y="9"/>
                      <a:pt x="682" y="11"/>
                    </a:cubicBezTo>
                    <a:cubicBezTo>
                      <a:pt x="684" y="10"/>
                      <a:pt x="688" y="12"/>
                      <a:pt x="688" y="10"/>
                    </a:cubicBezTo>
                    <a:close/>
                    <a:moveTo>
                      <a:pt x="841" y="11"/>
                    </a:moveTo>
                    <a:cubicBezTo>
                      <a:pt x="836" y="10"/>
                      <a:pt x="840" y="14"/>
                      <a:pt x="841" y="11"/>
                    </a:cubicBezTo>
                    <a:close/>
                    <a:moveTo>
                      <a:pt x="857" y="12"/>
                    </a:moveTo>
                    <a:cubicBezTo>
                      <a:pt x="856" y="12"/>
                      <a:pt x="854" y="12"/>
                      <a:pt x="854" y="13"/>
                    </a:cubicBezTo>
                    <a:cubicBezTo>
                      <a:pt x="855" y="13"/>
                      <a:pt x="857" y="13"/>
                      <a:pt x="857" y="12"/>
                    </a:cubicBezTo>
                    <a:close/>
                    <a:moveTo>
                      <a:pt x="688" y="16"/>
                    </a:moveTo>
                    <a:cubicBezTo>
                      <a:pt x="680" y="15"/>
                      <a:pt x="684" y="19"/>
                      <a:pt x="688" y="16"/>
                    </a:cubicBezTo>
                    <a:close/>
                    <a:moveTo>
                      <a:pt x="678" y="17"/>
                    </a:moveTo>
                    <a:cubicBezTo>
                      <a:pt x="676" y="17"/>
                      <a:pt x="671" y="16"/>
                      <a:pt x="671" y="18"/>
                    </a:cubicBezTo>
                    <a:cubicBezTo>
                      <a:pt x="673" y="17"/>
                      <a:pt x="677" y="19"/>
                      <a:pt x="678" y="17"/>
                    </a:cubicBezTo>
                    <a:close/>
                    <a:moveTo>
                      <a:pt x="842" y="17"/>
                    </a:moveTo>
                    <a:cubicBezTo>
                      <a:pt x="836" y="16"/>
                      <a:pt x="840" y="20"/>
                      <a:pt x="842" y="17"/>
                    </a:cubicBezTo>
                    <a:close/>
                    <a:moveTo>
                      <a:pt x="664" y="19"/>
                    </a:moveTo>
                    <a:cubicBezTo>
                      <a:pt x="674" y="17"/>
                      <a:pt x="664" y="18"/>
                      <a:pt x="658" y="19"/>
                    </a:cubicBezTo>
                    <a:cubicBezTo>
                      <a:pt x="655" y="19"/>
                      <a:pt x="652" y="18"/>
                      <a:pt x="651" y="21"/>
                    </a:cubicBezTo>
                    <a:cubicBezTo>
                      <a:pt x="656" y="20"/>
                      <a:pt x="660" y="19"/>
                      <a:pt x="664" y="19"/>
                    </a:cubicBezTo>
                    <a:close/>
                    <a:moveTo>
                      <a:pt x="700" y="19"/>
                    </a:moveTo>
                    <a:cubicBezTo>
                      <a:pt x="699" y="18"/>
                      <a:pt x="700" y="19"/>
                      <a:pt x="700" y="19"/>
                    </a:cubicBezTo>
                    <a:close/>
                    <a:moveTo>
                      <a:pt x="698" y="81"/>
                    </a:moveTo>
                    <a:cubicBezTo>
                      <a:pt x="716" y="81"/>
                      <a:pt x="734" y="81"/>
                      <a:pt x="751" y="81"/>
                    </a:cubicBezTo>
                    <a:cubicBezTo>
                      <a:pt x="753" y="60"/>
                      <a:pt x="757" y="36"/>
                      <a:pt x="759" y="18"/>
                    </a:cubicBezTo>
                    <a:cubicBezTo>
                      <a:pt x="733" y="34"/>
                      <a:pt x="714" y="56"/>
                      <a:pt x="698" y="81"/>
                    </a:cubicBezTo>
                    <a:close/>
                    <a:moveTo>
                      <a:pt x="852" y="19"/>
                    </a:moveTo>
                    <a:cubicBezTo>
                      <a:pt x="852" y="19"/>
                      <a:pt x="852" y="19"/>
                      <a:pt x="852" y="20"/>
                    </a:cubicBezTo>
                    <a:cubicBezTo>
                      <a:pt x="870" y="21"/>
                      <a:pt x="885" y="24"/>
                      <a:pt x="901" y="26"/>
                    </a:cubicBezTo>
                    <a:moveTo>
                      <a:pt x="901" y="26"/>
                    </a:moveTo>
                    <a:cubicBezTo>
                      <a:pt x="902" y="29"/>
                      <a:pt x="906" y="25"/>
                      <a:pt x="901" y="26"/>
                    </a:cubicBezTo>
                    <a:moveTo>
                      <a:pt x="901" y="26"/>
                    </a:moveTo>
                    <a:cubicBezTo>
                      <a:pt x="901" y="26"/>
                      <a:pt x="901" y="26"/>
                      <a:pt x="901" y="25"/>
                    </a:cubicBezTo>
                    <a:cubicBezTo>
                      <a:pt x="887" y="21"/>
                      <a:pt x="870" y="20"/>
                      <a:pt x="852" y="19"/>
                    </a:cubicBezTo>
                    <a:moveTo>
                      <a:pt x="852" y="19"/>
                    </a:moveTo>
                    <a:cubicBezTo>
                      <a:pt x="846" y="16"/>
                      <a:pt x="842" y="20"/>
                      <a:pt x="852" y="19"/>
                    </a:cubicBezTo>
                    <a:moveTo>
                      <a:pt x="693" y="19"/>
                    </a:moveTo>
                    <a:cubicBezTo>
                      <a:pt x="683" y="17"/>
                      <a:pt x="687" y="22"/>
                      <a:pt x="693" y="19"/>
                    </a:cubicBezTo>
                    <a:close/>
                    <a:moveTo>
                      <a:pt x="751" y="20"/>
                    </a:moveTo>
                    <a:cubicBezTo>
                      <a:pt x="751" y="19"/>
                      <a:pt x="752" y="20"/>
                      <a:pt x="751" y="20"/>
                    </a:cubicBezTo>
                    <a:close/>
                    <a:moveTo>
                      <a:pt x="754" y="81"/>
                    </a:moveTo>
                    <a:cubicBezTo>
                      <a:pt x="762" y="81"/>
                      <a:pt x="770" y="81"/>
                      <a:pt x="778" y="81"/>
                    </a:cubicBezTo>
                    <a:cubicBezTo>
                      <a:pt x="774" y="59"/>
                      <a:pt x="781" y="26"/>
                      <a:pt x="762" y="19"/>
                    </a:cubicBezTo>
                    <a:cubicBezTo>
                      <a:pt x="759" y="39"/>
                      <a:pt x="756" y="59"/>
                      <a:pt x="754" y="81"/>
                    </a:cubicBezTo>
                    <a:close/>
                    <a:moveTo>
                      <a:pt x="826" y="19"/>
                    </a:moveTo>
                    <a:cubicBezTo>
                      <a:pt x="820" y="18"/>
                      <a:pt x="824" y="22"/>
                      <a:pt x="826" y="19"/>
                    </a:cubicBezTo>
                    <a:close/>
                    <a:moveTo>
                      <a:pt x="641" y="21"/>
                    </a:moveTo>
                    <a:cubicBezTo>
                      <a:pt x="619" y="23"/>
                      <a:pt x="596" y="25"/>
                      <a:pt x="580" y="33"/>
                    </a:cubicBezTo>
                    <a:moveTo>
                      <a:pt x="580" y="33"/>
                    </a:moveTo>
                    <a:cubicBezTo>
                      <a:pt x="576" y="32"/>
                      <a:pt x="579" y="36"/>
                      <a:pt x="580" y="33"/>
                    </a:cubicBezTo>
                    <a:moveTo>
                      <a:pt x="580" y="33"/>
                    </a:moveTo>
                    <a:cubicBezTo>
                      <a:pt x="600" y="29"/>
                      <a:pt x="622" y="26"/>
                      <a:pt x="641" y="21"/>
                    </a:cubicBezTo>
                    <a:moveTo>
                      <a:pt x="641" y="21"/>
                    </a:moveTo>
                    <a:cubicBezTo>
                      <a:pt x="646" y="22"/>
                      <a:pt x="642" y="18"/>
                      <a:pt x="641" y="21"/>
                    </a:cubicBezTo>
                    <a:moveTo>
                      <a:pt x="632" y="29"/>
                    </a:moveTo>
                    <a:cubicBezTo>
                      <a:pt x="649" y="25"/>
                      <a:pt x="668" y="24"/>
                      <a:pt x="684" y="20"/>
                    </a:cubicBezTo>
                    <a:cubicBezTo>
                      <a:pt x="666" y="22"/>
                      <a:pt x="644" y="21"/>
                      <a:pt x="632" y="29"/>
                    </a:cubicBezTo>
                    <a:close/>
                    <a:moveTo>
                      <a:pt x="710" y="20"/>
                    </a:moveTo>
                    <a:cubicBezTo>
                      <a:pt x="709" y="20"/>
                      <a:pt x="707" y="19"/>
                      <a:pt x="707" y="21"/>
                    </a:cubicBezTo>
                    <a:cubicBezTo>
                      <a:pt x="708" y="20"/>
                      <a:pt x="710" y="21"/>
                      <a:pt x="710" y="20"/>
                    </a:cubicBezTo>
                    <a:close/>
                    <a:moveTo>
                      <a:pt x="726" y="21"/>
                    </a:moveTo>
                    <a:cubicBezTo>
                      <a:pt x="725" y="20"/>
                      <a:pt x="726" y="21"/>
                      <a:pt x="726" y="21"/>
                    </a:cubicBezTo>
                    <a:close/>
                    <a:moveTo>
                      <a:pt x="739" y="21"/>
                    </a:moveTo>
                    <a:cubicBezTo>
                      <a:pt x="739" y="20"/>
                      <a:pt x="740" y="21"/>
                      <a:pt x="739" y="21"/>
                    </a:cubicBezTo>
                    <a:close/>
                    <a:moveTo>
                      <a:pt x="749" y="21"/>
                    </a:moveTo>
                    <a:cubicBezTo>
                      <a:pt x="725" y="27"/>
                      <a:pt x="705" y="37"/>
                      <a:pt x="686" y="48"/>
                    </a:cubicBezTo>
                    <a:cubicBezTo>
                      <a:pt x="681" y="59"/>
                      <a:pt x="675" y="70"/>
                      <a:pt x="672" y="82"/>
                    </a:cubicBezTo>
                    <a:cubicBezTo>
                      <a:pt x="679" y="82"/>
                      <a:pt x="686" y="82"/>
                      <a:pt x="693" y="82"/>
                    </a:cubicBezTo>
                    <a:cubicBezTo>
                      <a:pt x="709" y="59"/>
                      <a:pt x="727" y="38"/>
                      <a:pt x="749" y="21"/>
                    </a:cubicBezTo>
                    <a:moveTo>
                      <a:pt x="749" y="21"/>
                    </a:moveTo>
                    <a:cubicBezTo>
                      <a:pt x="753" y="22"/>
                      <a:pt x="749" y="18"/>
                      <a:pt x="749" y="21"/>
                    </a:cubicBezTo>
                    <a:moveTo>
                      <a:pt x="793" y="21"/>
                    </a:moveTo>
                    <a:cubicBezTo>
                      <a:pt x="792" y="20"/>
                      <a:pt x="793" y="21"/>
                      <a:pt x="793" y="21"/>
                    </a:cubicBezTo>
                    <a:close/>
                    <a:moveTo>
                      <a:pt x="810" y="20"/>
                    </a:moveTo>
                    <a:cubicBezTo>
                      <a:pt x="809" y="20"/>
                      <a:pt x="808" y="20"/>
                      <a:pt x="808" y="21"/>
                    </a:cubicBezTo>
                    <a:cubicBezTo>
                      <a:pt x="809" y="20"/>
                      <a:pt x="810" y="21"/>
                      <a:pt x="810" y="20"/>
                    </a:cubicBezTo>
                    <a:close/>
                    <a:moveTo>
                      <a:pt x="837" y="21"/>
                    </a:moveTo>
                    <a:cubicBezTo>
                      <a:pt x="837" y="22"/>
                      <a:pt x="839" y="22"/>
                      <a:pt x="839" y="21"/>
                    </a:cubicBezTo>
                    <a:cubicBezTo>
                      <a:pt x="834" y="18"/>
                      <a:pt x="826" y="21"/>
                      <a:pt x="837" y="21"/>
                    </a:cubicBezTo>
                    <a:close/>
                    <a:moveTo>
                      <a:pt x="699" y="22"/>
                    </a:moveTo>
                    <a:cubicBezTo>
                      <a:pt x="667" y="27"/>
                      <a:pt x="629" y="26"/>
                      <a:pt x="610" y="45"/>
                    </a:cubicBezTo>
                    <a:moveTo>
                      <a:pt x="610" y="45"/>
                    </a:moveTo>
                    <a:cubicBezTo>
                      <a:pt x="606" y="44"/>
                      <a:pt x="610" y="47"/>
                      <a:pt x="610" y="45"/>
                    </a:cubicBezTo>
                    <a:moveTo>
                      <a:pt x="699" y="22"/>
                    </a:moveTo>
                    <a:cubicBezTo>
                      <a:pt x="668" y="28"/>
                      <a:pt x="639" y="36"/>
                      <a:pt x="610" y="45"/>
                    </a:cubicBezTo>
                    <a:moveTo>
                      <a:pt x="699" y="22"/>
                    </a:moveTo>
                    <a:cubicBezTo>
                      <a:pt x="703" y="22"/>
                      <a:pt x="699" y="19"/>
                      <a:pt x="699" y="22"/>
                    </a:cubicBezTo>
                    <a:moveTo>
                      <a:pt x="720" y="22"/>
                    </a:moveTo>
                    <a:cubicBezTo>
                      <a:pt x="713" y="23"/>
                      <a:pt x="705" y="22"/>
                      <a:pt x="702" y="26"/>
                    </a:cubicBezTo>
                    <a:cubicBezTo>
                      <a:pt x="708" y="25"/>
                      <a:pt x="714" y="24"/>
                      <a:pt x="720" y="22"/>
                    </a:cubicBezTo>
                    <a:moveTo>
                      <a:pt x="720" y="22"/>
                    </a:moveTo>
                    <a:cubicBezTo>
                      <a:pt x="725" y="23"/>
                      <a:pt x="721" y="19"/>
                      <a:pt x="720" y="22"/>
                    </a:cubicBezTo>
                    <a:moveTo>
                      <a:pt x="690" y="43"/>
                    </a:moveTo>
                    <a:cubicBezTo>
                      <a:pt x="689" y="43"/>
                      <a:pt x="690" y="44"/>
                      <a:pt x="690" y="43"/>
                    </a:cubicBezTo>
                    <a:moveTo>
                      <a:pt x="690" y="43"/>
                    </a:moveTo>
                    <a:cubicBezTo>
                      <a:pt x="705" y="35"/>
                      <a:pt x="721" y="28"/>
                      <a:pt x="737" y="21"/>
                    </a:cubicBezTo>
                    <a:cubicBezTo>
                      <a:pt x="720" y="26"/>
                      <a:pt x="695" y="25"/>
                      <a:pt x="690" y="43"/>
                    </a:cubicBezTo>
                    <a:moveTo>
                      <a:pt x="812" y="81"/>
                    </a:moveTo>
                    <a:cubicBezTo>
                      <a:pt x="830" y="82"/>
                      <a:pt x="849" y="82"/>
                      <a:pt x="867" y="83"/>
                    </a:cubicBezTo>
                    <a:cubicBezTo>
                      <a:pt x="844" y="58"/>
                      <a:pt x="811" y="35"/>
                      <a:pt x="774" y="21"/>
                    </a:cubicBezTo>
                    <a:cubicBezTo>
                      <a:pt x="788" y="40"/>
                      <a:pt x="803" y="58"/>
                      <a:pt x="812" y="81"/>
                    </a:cubicBezTo>
                    <a:close/>
                    <a:moveTo>
                      <a:pt x="852" y="66"/>
                    </a:moveTo>
                    <a:cubicBezTo>
                      <a:pt x="863" y="75"/>
                      <a:pt x="870" y="86"/>
                      <a:pt x="887" y="84"/>
                    </a:cubicBezTo>
                    <a:cubicBezTo>
                      <a:pt x="882" y="71"/>
                      <a:pt x="874" y="61"/>
                      <a:pt x="867" y="49"/>
                    </a:cubicBezTo>
                    <a:cubicBezTo>
                      <a:pt x="840" y="39"/>
                      <a:pt x="812" y="26"/>
                      <a:pt x="783" y="22"/>
                    </a:cubicBezTo>
                    <a:cubicBezTo>
                      <a:pt x="810" y="32"/>
                      <a:pt x="831" y="48"/>
                      <a:pt x="852" y="66"/>
                    </a:cubicBezTo>
                    <a:close/>
                    <a:moveTo>
                      <a:pt x="799" y="22"/>
                    </a:moveTo>
                    <a:cubicBezTo>
                      <a:pt x="821" y="29"/>
                      <a:pt x="844" y="36"/>
                      <a:pt x="863" y="46"/>
                    </a:cubicBezTo>
                    <a:cubicBezTo>
                      <a:pt x="854" y="26"/>
                      <a:pt x="823" y="27"/>
                      <a:pt x="799" y="22"/>
                    </a:cubicBezTo>
                    <a:moveTo>
                      <a:pt x="799" y="22"/>
                    </a:moveTo>
                    <a:cubicBezTo>
                      <a:pt x="797" y="19"/>
                      <a:pt x="793" y="23"/>
                      <a:pt x="799" y="22"/>
                    </a:cubicBezTo>
                    <a:moveTo>
                      <a:pt x="817" y="21"/>
                    </a:moveTo>
                    <a:cubicBezTo>
                      <a:pt x="811" y="19"/>
                      <a:pt x="815" y="24"/>
                      <a:pt x="817" y="21"/>
                    </a:cubicBezTo>
                    <a:close/>
                    <a:moveTo>
                      <a:pt x="928" y="41"/>
                    </a:moveTo>
                    <a:cubicBezTo>
                      <a:pt x="928" y="44"/>
                      <a:pt x="932" y="40"/>
                      <a:pt x="928" y="41"/>
                    </a:cubicBezTo>
                    <a:moveTo>
                      <a:pt x="928" y="41"/>
                    </a:moveTo>
                    <a:cubicBezTo>
                      <a:pt x="909" y="25"/>
                      <a:pt x="871" y="25"/>
                      <a:pt x="844" y="22"/>
                    </a:cubicBezTo>
                    <a:cubicBezTo>
                      <a:pt x="872" y="28"/>
                      <a:pt x="901" y="33"/>
                      <a:pt x="928" y="41"/>
                    </a:cubicBezTo>
                    <a:moveTo>
                      <a:pt x="901" y="21"/>
                    </a:moveTo>
                    <a:cubicBezTo>
                      <a:pt x="900" y="21"/>
                      <a:pt x="899" y="21"/>
                      <a:pt x="899" y="22"/>
                    </a:cubicBezTo>
                    <a:cubicBezTo>
                      <a:pt x="900" y="21"/>
                      <a:pt x="901" y="22"/>
                      <a:pt x="901" y="21"/>
                    </a:cubicBezTo>
                    <a:close/>
                    <a:moveTo>
                      <a:pt x="847" y="28"/>
                    </a:moveTo>
                    <a:cubicBezTo>
                      <a:pt x="848" y="30"/>
                      <a:pt x="849" y="28"/>
                      <a:pt x="847" y="28"/>
                    </a:cubicBezTo>
                    <a:moveTo>
                      <a:pt x="847" y="28"/>
                    </a:moveTo>
                    <a:cubicBezTo>
                      <a:pt x="842" y="22"/>
                      <a:pt x="827" y="22"/>
                      <a:pt x="818" y="23"/>
                    </a:cubicBezTo>
                    <a:cubicBezTo>
                      <a:pt x="829" y="23"/>
                      <a:pt x="837" y="27"/>
                      <a:pt x="847" y="28"/>
                    </a:cubicBezTo>
                    <a:moveTo>
                      <a:pt x="909" y="22"/>
                    </a:moveTo>
                    <a:cubicBezTo>
                      <a:pt x="904" y="21"/>
                      <a:pt x="908" y="24"/>
                      <a:pt x="909" y="22"/>
                    </a:cubicBezTo>
                    <a:close/>
                    <a:moveTo>
                      <a:pt x="916" y="23"/>
                    </a:moveTo>
                    <a:cubicBezTo>
                      <a:pt x="914" y="23"/>
                      <a:pt x="913" y="22"/>
                      <a:pt x="913" y="23"/>
                    </a:cubicBezTo>
                    <a:cubicBezTo>
                      <a:pt x="914" y="23"/>
                      <a:pt x="915" y="24"/>
                      <a:pt x="916" y="23"/>
                    </a:cubicBezTo>
                    <a:close/>
                    <a:moveTo>
                      <a:pt x="922" y="24"/>
                    </a:moveTo>
                    <a:cubicBezTo>
                      <a:pt x="922" y="25"/>
                      <a:pt x="922" y="25"/>
                      <a:pt x="922" y="25"/>
                    </a:cubicBezTo>
                    <a:cubicBezTo>
                      <a:pt x="927" y="25"/>
                      <a:pt x="928" y="27"/>
                      <a:pt x="932" y="26"/>
                    </a:cubicBezTo>
                    <a:moveTo>
                      <a:pt x="932" y="26"/>
                    </a:moveTo>
                    <a:cubicBezTo>
                      <a:pt x="934" y="29"/>
                      <a:pt x="938" y="25"/>
                      <a:pt x="932" y="26"/>
                    </a:cubicBezTo>
                    <a:moveTo>
                      <a:pt x="932" y="26"/>
                    </a:moveTo>
                    <a:cubicBezTo>
                      <a:pt x="932" y="26"/>
                      <a:pt x="932" y="26"/>
                      <a:pt x="932" y="25"/>
                    </a:cubicBezTo>
                    <a:cubicBezTo>
                      <a:pt x="928" y="26"/>
                      <a:pt x="927" y="24"/>
                      <a:pt x="922" y="24"/>
                    </a:cubicBezTo>
                    <a:moveTo>
                      <a:pt x="922" y="24"/>
                    </a:moveTo>
                    <a:cubicBezTo>
                      <a:pt x="919" y="22"/>
                      <a:pt x="915" y="26"/>
                      <a:pt x="922" y="24"/>
                    </a:cubicBezTo>
                    <a:moveTo>
                      <a:pt x="907" y="25"/>
                    </a:moveTo>
                    <a:cubicBezTo>
                      <a:pt x="907" y="26"/>
                      <a:pt x="907" y="26"/>
                      <a:pt x="907" y="26"/>
                    </a:cubicBezTo>
                    <a:cubicBezTo>
                      <a:pt x="934" y="34"/>
                      <a:pt x="965" y="42"/>
                      <a:pt x="990" y="47"/>
                    </a:cubicBezTo>
                    <a:cubicBezTo>
                      <a:pt x="967" y="36"/>
                      <a:pt x="938" y="29"/>
                      <a:pt x="907" y="25"/>
                    </a:cubicBezTo>
                    <a:moveTo>
                      <a:pt x="907" y="25"/>
                    </a:moveTo>
                    <a:cubicBezTo>
                      <a:pt x="907" y="23"/>
                      <a:pt x="903" y="26"/>
                      <a:pt x="907" y="25"/>
                    </a:cubicBezTo>
                    <a:moveTo>
                      <a:pt x="602" y="50"/>
                    </a:moveTo>
                    <a:cubicBezTo>
                      <a:pt x="598" y="55"/>
                      <a:pt x="592" y="59"/>
                      <a:pt x="587" y="64"/>
                    </a:cubicBezTo>
                    <a:cubicBezTo>
                      <a:pt x="583" y="68"/>
                      <a:pt x="576" y="75"/>
                      <a:pt x="577" y="78"/>
                    </a:cubicBezTo>
                    <a:cubicBezTo>
                      <a:pt x="587" y="77"/>
                      <a:pt x="597" y="71"/>
                      <a:pt x="606" y="66"/>
                    </a:cubicBezTo>
                    <a:cubicBezTo>
                      <a:pt x="631" y="53"/>
                      <a:pt x="656" y="41"/>
                      <a:pt x="683" y="32"/>
                    </a:cubicBezTo>
                    <a:cubicBezTo>
                      <a:pt x="687" y="31"/>
                      <a:pt x="696" y="31"/>
                      <a:pt x="695" y="25"/>
                    </a:cubicBezTo>
                    <a:cubicBezTo>
                      <a:pt x="662" y="32"/>
                      <a:pt x="632" y="41"/>
                      <a:pt x="602" y="50"/>
                    </a:cubicBezTo>
                    <a:close/>
                    <a:moveTo>
                      <a:pt x="530" y="58"/>
                    </a:moveTo>
                    <a:cubicBezTo>
                      <a:pt x="526" y="57"/>
                      <a:pt x="529" y="61"/>
                      <a:pt x="530" y="58"/>
                    </a:cubicBezTo>
                    <a:moveTo>
                      <a:pt x="530" y="58"/>
                    </a:moveTo>
                    <a:cubicBezTo>
                      <a:pt x="546" y="53"/>
                      <a:pt x="563" y="47"/>
                      <a:pt x="581" y="42"/>
                    </a:cubicBezTo>
                    <a:cubicBezTo>
                      <a:pt x="598" y="37"/>
                      <a:pt x="617" y="35"/>
                      <a:pt x="631" y="26"/>
                    </a:cubicBezTo>
                    <a:cubicBezTo>
                      <a:pt x="593" y="33"/>
                      <a:pt x="554" y="38"/>
                      <a:pt x="530" y="58"/>
                    </a:cubicBezTo>
                    <a:moveTo>
                      <a:pt x="969" y="73"/>
                    </a:moveTo>
                    <a:cubicBezTo>
                      <a:pt x="947" y="41"/>
                      <a:pt x="895" y="34"/>
                      <a:pt x="850" y="27"/>
                    </a:cubicBezTo>
                    <a:cubicBezTo>
                      <a:pt x="890" y="42"/>
                      <a:pt x="933" y="54"/>
                      <a:pt x="969" y="73"/>
                    </a:cubicBezTo>
                    <a:close/>
                    <a:moveTo>
                      <a:pt x="939" y="27"/>
                    </a:moveTo>
                    <a:cubicBezTo>
                      <a:pt x="938" y="28"/>
                      <a:pt x="937" y="27"/>
                      <a:pt x="937" y="28"/>
                    </a:cubicBezTo>
                    <a:cubicBezTo>
                      <a:pt x="937" y="28"/>
                      <a:pt x="939" y="28"/>
                      <a:pt x="939" y="27"/>
                    </a:cubicBezTo>
                    <a:close/>
                    <a:moveTo>
                      <a:pt x="574" y="32"/>
                    </a:moveTo>
                    <a:cubicBezTo>
                      <a:pt x="574" y="33"/>
                      <a:pt x="573" y="32"/>
                      <a:pt x="574" y="32"/>
                    </a:cubicBezTo>
                    <a:close/>
                    <a:moveTo>
                      <a:pt x="781" y="81"/>
                    </a:moveTo>
                    <a:cubicBezTo>
                      <a:pt x="790" y="80"/>
                      <a:pt x="801" y="82"/>
                      <a:pt x="808" y="80"/>
                    </a:cubicBezTo>
                    <a:cubicBezTo>
                      <a:pt x="798" y="63"/>
                      <a:pt x="789" y="45"/>
                      <a:pt x="776" y="31"/>
                    </a:cubicBezTo>
                    <a:cubicBezTo>
                      <a:pt x="778" y="48"/>
                      <a:pt x="779" y="65"/>
                      <a:pt x="781" y="81"/>
                    </a:cubicBezTo>
                    <a:close/>
                    <a:moveTo>
                      <a:pt x="526" y="47"/>
                    </a:moveTo>
                    <a:cubicBezTo>
                      <a:pt x="524" y="48"/>
                      <a:pt x="526" y="49"/>
                      <a:pt x="526" y="47"/>
                    </a:cubicBezTo>
                    <a:moveTo>
                      <a:pt x="526" y="47"/>
                    </a:moveTo>
                    <a:cubicBezTo>
                      <a:pt x="543" y="43"/>
                      <a:pt x="560" y="40"/>
                      <a:pt x="573" y="32"/>
                    </a:cubicBezTo>
                    <a:cubicBezTo>
                      <a:pt x="557" y="37"/>
                      <a:pt x="537" y="38"/>
                      <a:pt x="526" y="47"/>
                    </a:cubicBezTo>
                    <a:moveTo>
                      <a:pt x="963" y="32"/>
                    </a:moveTo>
                    <a:cubicBezTo>
                      <a:pt x="962" y="32"/>
                      <a:pt x="961" y="32"/>
                      <a:pt x="961" y="33"/>
                    </a:cubicBezTo>
                    <a:cubicBezTo>
                      <a:pt x="961" y="33"/>
                      <a:pt x="963" y="33"/>
                      <a:pt x="963" y="32"/>
                    </a:cubicBezTo>
                    <a:close/>
                    <a:moveTo>
                      <a:pt x="585" y="80"/>
                    </a:moveTo>
                    <a:cubicBezTo>
                      <a:pt x="601" y="82"/>
                      <a:pt x="616" y="87"/>
                      <a:pt x="632" y="84"/>
                    </a:cubicBezTo>
                    <a:cubicBezTo>
                      <a:pt x="648" y="70"/>
                      <a:pt x="665" y="58"/>
                      <a:pt x="683" y="47"/>
                    </a:cubicBezTo>
                    <a:cubicBezTo>
                      <a:pt x="683" y="42"/>
                      <a:pt x="693" y="36"/>
                      <a:pt x="689" y="33"/>
                    </a:cubicBezTo>
                    <a:cubicBezTo>
                      <a:pt x="652" y="46"/>
                      <a:pt x="617" y="61"/>
                      <a:pt x="585" y="80"/>
                    </a:cubicBezTo>
                    <a:close/>
                    <a:moveTo>
                      <a:pt x="966" y="34"/>
                    </a:moveTo>
                    <a:cubicBezTo>
                      <a:pt x="968" y="37"/>
                      <a:pt x="972" y="33"/>
                      <a:pt x="966" y="34"/>
                    </a:cubicBezTo>
                    <a:moveTo>
                      <a:pt x="966" y="34"/>
                    </a:moveTo>
                    <a:cubicBezTo>
                      <a:pt x="965" y="31"/>
                      <a:pt x="961" y="35"/>
                      <a:pt x="966" y="34"/>
                    </a:cubicBezTo>
                    <a:moveTo>
                      <a:pt x="575" y="35"/>
                    </a:moveTo>
                    <a:cubicBezTo>
                      <a:pt x="574" y="35"/>
                      <a:pt x="575" y="36"/>
                      <a:pt x="575" y="35"/>
                    </a:cubicBezTo>
                    <a:close/>
                    <a:moveTo>
                      <a:pt x="859" y="35"/>
                    </a:moveTo>
                    <a:cubicBezTo>
                      <a:pt x="861" y="40"/>
                      <a:pt x="866" y="43"/>
                      <a:pt x="869" y="48"/>
                    </a:cubicBezTo>
                    <a:cubicBezTo>
                      <a:pt x="878" y="53"/>
                      <a:pt x="889" y="57"/>
                      <a:pt x="900" y="64"/>
                    </a:cubicBezTo>
                    <a:cubicBezTo>
                      <a:pt x="909" y="69"/>
                      <a:pt x="921" y="80"/>
                      <a:pt x="930" y="81"/>
                    </a:cubicBezTo>
                    <a:cubicBezTo>
                      <a:pt x="940" y="82"/>
                      <a:pt x="953" y="76"/>
                      <a:pt x="965" y="73"/>
                    </a:cubicBezTo>
                    <a:cubicBezTo>
                      <a:pt x="931" y="59"/>
                      <a:pt x="898" y="44"/>
                      <a:pt x="859" y="35"/>
                    </a:cubicBezTo>
                    <a:moveTo>
                      <a:pt x="859" y="35"/>
                    </a:moveTo>
                    <a:cubicBezTo>
                      <a:pt x="858" y="34"/>
                      <a:pt x="858" y="35"/>
                      <a:pt x="859" y="35"/>
                    </a:cubicBezTo>
                    <a:moveTo>
                      <a:pt x="993" y="63"/>
                    </a:moveTo>
                    <a:cubicBezTo>
                      <a:pt x="997" y="61"/>
                      <a:pt x="1000" y="59"/>
                      <a:pt x="1001" y="55"/>
                    </a:cubicBezTo>
                    <a:cubicBezTo>
                      <a:pt x="977" y="47"/>
                      <a:pt x="949" y="38"/>
                      <a:pt x="924" y="35"/>
                    </a:cubicBezTo>
                    <a:cubicBezTo>
                      <a:pt x="943" y="48"/>
                      <a:pt x="970" y="54"/>
                      <a:pt x="993" y="63"/>
                    </a:cubicBezTo>
                    <a:close/>
                    <a:moveTo>
                      <a:pt x="973" y="35"/>
                    </a:moveTo>
                    <a:cubicBezTo>
                      <a:pt x="972" y="35"/>
                      <a:pt x="970" y="35"/>
                      <a:pt x="970" y="36"/>
                    </a:cubicBezTo>
                    <a:cubicBezTo>
                      <a:pt x="971" y="36"/>
                      <a:pt x="973" y="36"/>
                      <a:pt x="973" y="35"/>
                    </a:cubicBezTo>
                    <a:close/>
                    <a:moveTo>
                      <a:pt x="530" y="61"/>
                    </a:moveTo>
                    <a:cubicBezTo>
                      <a:pt x="542" y="76"/>
                      <a:pt x="556" y="66"/>
                      <a:pt x="573" y="59"/>
                    </a:cubicBezTo>
                    <a:cubicBezTo>
                      <a:pt x="588" y="53"/>
                      <a:pt x="599" y="49"/>
                      <a:pt x="608" y="42"/>
                    </a:cubicBezTo>
                    <a:cubicBezTo>
                      <a:pt x="611" y="39"/>
                      <a:pt x="617" y="37"/>
                      <a:pt x="614" y="36"/>
                    </a:cubicBezTo>
                    <a:cubicBezTo>
                      <a:pt x="585" y="43"/>
                      <a:pt x="557" y="52"/>
                      <a:pt x="530" y="61"/>
                    </a:cubicBezTo>
                    <a:close/>
                    <a:moveTo>
                      <a:pt x="976" y="36"/>
                    </a:moveTo>
                    <a:cubicBezTo>
                      <a:pt x="975" y="36"/>
                      <a:pt x="974" y="36"/>
                      <a:pt x="974" y="37"/>
                    </a:cubicBezTo>
                    <a:cubicBezTo>
                      <a:pt x="975" y="37"/>
                      <a:pt x="976" y="37"/>
                      <a:pt x="976" y="36"/>
                    </a:cubicBezTo>
                    <a:close/>
                    <a:moveTo>
                      <a:pt x="978" y="38"/>
                    </a:moveTo>
                    <a:cubicBezTo>
                      <a:pt x="978" y="37"/>
                      <a:pt x="979" y="39"/>
                      <a:pt x="978" y="38"/>
                    </a:cubicBezTo>
                    <a:close/>
                    <a:moveTo>
                      <a:pt x="982" y="39"/>
                    </a:moveTo>
                    <a:cubicBezTo>
                      <a:pt x="981" y="38"/>
                      <a:pt x="982" y="39"/>
                      <a:pt x="982" y="39"/>
                    </a:cubicBezTo>
                    <a:close/>
                    <a:moveTo>
                      <a:pt x="931" y="43"/>
                    </a:moveTo>
                    <a:cubicBezTo>
                      <a:pt x="931" y="42"/>
                      <a:pt x="932" y="43"/>
                      <a:pt x="931" y="43"/>
                    </a:cubicBezTo>
                    <a:close/>
                    <a:moveTo>
                      <a:pt x="985" y="43"/>
                    </a:moveTo>
                    <a:cubicBezTo>
                      <a:pt x="984" y="42"/>
                      <a:pt x="985" y="43"/>
                      <a:pt x="985" y="43"/>
                    </a:cubicBezTo>
                    <a:close/>
                    <a:moveTo>
                      <a:pt x="1000" y="48"/>
                    </a:moveTo>
                    <a:cubicBezTo>
                      <a:pt x="997" y="46"/>
                      <a:pt x="991" y="42"/>
                      <a:pt x="987" y="44"/>
                    </a:cubicBezTo>
                    <a:cubicBezTo>
                      <a:pt x="992" y="44"/>
                      <a:pt x="996" y="50"/>
                      <a:pt x="1000" y="48"/>
                    </a:cubicBezTo>
                    <a:close/>
                    <a:moveTo>
                      <a:pt x="489" y="60"/>
                    </a:moveTo>
                    <a:cubicBezTo>
                      <a:pt x="488" y="60"/>
                      <a:pt x="487" y="60"/>
                      <a:pt x="486" y="61"/>
                    </a:cubicBezTo>
                    <a:moveTo>
                      <a:pt x="486" y="61"/>
                    </a:moveTo>
                    <a:cubicBezTo>
                      <a:pt x="485" y="61"/>
                      <a:pt x="485" y="61"/>
                      <a:pt x="485" y="62"/>
                    </a:cubicBezTo>
                    <a:moveTo>
                      <a:pt x="485" y="62"/>
                    </a:moveTo>
                    <a:cubicBezTo>
                      <a:pt x="481" y="61"/>
                      <a:pt x="484" y="65"/>
                      <a:pt x="485" y="62"/>
                    </a:cubicBezTo>
                    <a:moveTo>
                      <a:pt x="485" y="62"/>
                    </a:moveTo>
                    <a:cubicBezTo>
                      <a:pt x="486" y="62"/>
                      <a:pt x="486" y="62"/>
                      <a:pt x="486" y="61"/>
                    </a:cubicBezTo>
                    <a:moveTo>
                      <a:pt x="486" y="61"/>
                    </a:moveTo>
                    <a:cubicBezTo>
                      <a:pt x="488" y="61"/>
                      <a:pt x="489" y="61"/>
                      <a:pt x="489" y="60"/>
                    </a:cubicBezTo>
                    <a:moveTo>
                      <a:pt x="489" y="60"/>
                    </a:moveTo>
                    <a:cubicBezTo>
                      <a:pt x="500" y="55"/>
                      <a:pt x="516" y="55"/>
                      <a:pt x="523" y="46"/>
                    </a:cubicBezTo>
                    <a:cubicBezTo>
                      <a:pt x="511" y="50"/>
                      <a:pt x="500" y="54"/>
                      <a:pt x="489" y="60"/>
                    </a:cubicBezTo>
                    <a:moveTo>
                      <a:pt x="542" y="47"/>
                    </a:moveTo>
                    <a:cubicBezTo>
                      <a:pt x="535" y="47"/>
                      <a:pt x="530" y="50"/>
                      <a:pt x="523" y="51"/>
                    </a:cubicBezTo>
                    <a:cubicBezTo>
                      <a:pt x="523" y="54"/>
                      <a:pt x="523" y="56"/>
                      <a:pt x="524" y="57"/>
                    </a:cubicBezTo>
                    <a:cubicBezTo>
                      <a:pt x="531" y="55"/>
                      <a:pt x="537" y="50"/>
                      <a:pt x="542" y="47"/>
                    </a:cubicBezTo>
                    <a:moveTo>
                      <a:pt x="542" y="47"/>
                    </a:moveTo>
                    <a:cubicBezTo>
                      <a:pt x="546" y="47"/>
                      <a:pt x="542" y="44"/>
                      <a:pt x="542" y="47"/>
                    </a:cubicBezTo>
                    <a:moveTo>
                      <a:pt x="1113" y="98"/>
                    </a:moveTo>
                    <a:cubicBezTo>
                      <a:pt x="1113" y="99"/>
                      <a:pt x="1115" y="99"/>
                      <a:pt x="1115" y="99"/>
                    </a:cubicBezTo>
                    <a:moveTo>
                      <a:pt x="1115" y="99"/>
                    </a:moveTo>
                    <a:cubicBezTo>
                      <a:pt x="1116" y="101"/>
                      <a:pt x="1116" y="99"/>
                      <a:pt x="1115" y="99"/>
                    </a:cubicBezTo>
                    <a:moveTo>
                      <a:pt x="1115" y="99"/>
                    </a:moveTo>
                    <a:cubicBezTo>
                      <a:pt x="1115" y="98"/>
                      <a:pt x="1114" y="99"/>
                      <a:pt x="1113" y="98"/>
                    </a:cubicBezTo>
                    <a:moveTo>
                      <a:pt x="1113" y="98"/>
                    </a:moveTo>
                    <a:cubicBezTo>
                      <a:pt x="1081" y="77"/>
                      <a:pt x="1043" y="57"/>
                      <a:pt x="1002" y="48"/>
                    </a:cubicBezTo>
                    <a:cubicBezTo>
                      <a:pt x="1008" y="57"/>
                      <a:pt x="1020" y="58"/>
                      <a:pt x="1029" y="62"/>
                    </a:cubicBezTo>
                    <a:cubicBezTo>
                      <a:pt x="1057" y="72"/>
                      <a:pt x="1086" y="86"/>
                      <a:pt x="1113" y="98"/>
                    </a:cubicBezTo>
                    <a:moveTo>
                      <a:pt x="991" y="49"/>
                    </a:moveTo>
                    <a:cubicBezTo>
                      <a:pt x="991" y="49"/>
                      <a:pt x="992" y="50"/>
                      <a:pt x="991" y="49"/>
                    </a:cubicBezTo>
                    <a:close/>
                    <a:moveTo>
                      <a:pt x="948" y="50"/>
                    </a:moveTo>
                    <a:cubicBezTo>
                      <a:pt x="957" y="57"/>
                      <a:pt x="965" y="65"/>
                      <a:pt x="974" y="71"/>
                    </a:cubicBezTo>
                    <a:cubicBezTo>
                      <a:pt x="979" y="69"/>
                      <a:pt x="987" y="69"/>
                      <a:pt x="990" y="64"/>
                    </a:cubicBezTo>
                    <a:cubicBezTo>
                      <a:pt x="975" y="60"/>
                      <a:pt x="963" y="54"/>
                      <a:pt x="948" y="50"/>
                    </a:cubicBezTo>
                    <a:moveTo>
                      <a:pt x="948" y="50"/>
                    </a:moveTo>
                    <a:cubicBezTo>
                      <a:pt x="948" y="49"/>
                      <a:pt x="947" y="50"/>
                      <a:pt x="948" y="50"/>
                    </a:cubicBezTo>
                    <a:moveTo>
                      <a:pt x="399" y="114"/>
                    </a:moveTo>
                    <a:cubicBezTo>
                      <a:pt x="405" y="112"/>
                      <a:pt x="411" y="111"/>
                      <a:pt x="416" y="110"/>
                    </a:cubicBezTo>
                    <a:cubicBezTo>
                      <a:pt x="433" y="101"/>
                      <a:pt x="450" y="91"/>
                      <a:pt x="468" y="83"/>
                    </a:cubicBezTo>
                    <a:cubicBezTo>
                      <a:pt x="486" y="75"/>
                      <a:pt x="506" y="70"/>
                      <a:pt x="522" y="58"/>
                    </a:cubicBezTo>
                    <a:cubicBezTo>
                      <a:pt x="520" y="58"/>
                      <a:pt x="520" y="56"/>
                      <a:pt x="520" y="53"/>
                    </a:cubicBezTo>
                    <a:cubicBezTo>
                      <a:pt x="473" y="66"/>
                      <a:pt x="432" y="86"/>
                      <a:pt x="399" y="114"/>
                    </a:cubicBezTo>
                    <a:close/>
                    <a:moveTo>
                      <a:pt x="593" y="54"/>
                    </a:moveTo>
                    <a:cubicBezTo>
                      <a:pt x="578" y="59"/>
                      <a:pt x="564" y="65"/>
                      <a:pt x="550" y="71"/>
                    </a:cubicBezTo>
                    <a:cubicBezTo>
                      <a:pt x="556" y="74"/>
                      <a:pt x="564" y="75"/>
                      <a:pt x="570" y="77"/>
                    </a:cubicBezTo>
                    <a:cubicBezTo>
                      <a:pt x="579" y="71"/>
                      <a:pt x="585" y="62"/>
                      <a:pt x="593" y="54"/>
                    </a:cubicBezTo>
                    <a:moveTo>
                      <a:pt x="593" y="54"/>
                    </a:moveTo>
                    <a:cubicBezTo>
                      <a:pt x="594" y="54"/>
                      <a:pt x="593" y="53"/>
                      <a:pt x="593" y="54"/>
                    </a:cubicBezTo>
                    <a:moveTo>
                      <a:pt x="637" y="84"/>
                    </a:moveTo>
                    <a:cubicBezTo>
                      <a:pt x="647" y="83"/>
                      <a:pt x="659" y="84"/>
                      <a:pt x="668" y="82"/>
                    </a:cubicBezTo>
                    <a:cubicBezTo>
                      <a:pt x="669" y="72"/>
                      <a:pt x="679" y="60"/>
                      <a:pt x="678" y="53"/>
                    </a:cubicBezTo>
                    <a:cubicBezTo>
                      <a:pt x="664" y="64"/>
                      <a:pt x="649" y="72"/>
                      <a:pt x="637" y="84"/>
                    </a:cubicBezTo>
                    <a:close/>
                    <a:moveTo>
                      <a:pt x="890" y="84"/>
                    </a:moveTo>
                    <a:cubicBezTo>
                      <a:pt x="901" y="85"/>
                      <a:pt x="916" y="86"/>
                      <a:pt x="924" y="81"/>
                    </a:cubicBezTo>
                    <a:cubicBezTo>
                      <a:pt x="907" y="73"/>
                      <a:pt x="890" y="59"/>
                      <a:pt x="872" y="54"/>
                    </a:cubicBezTo>
                    <a:cubicBezTo>
                      <a:pt x="879" y="63"/>
                      <a:pt x="885" y="73"/>
                      <a:pt x="890" y="84"/>
                    </a:cubicBezTo>
                    <a:close/>
                    <a:moveTo>
                      <a:pt x="1063" y="94"/>
                    </a:moveTo>
                    <a:cubicBezTo>
                      <a:pt x="1063" y="94"/>
                      <a:pt x="1063" y="94"/>
                      <a:pt x="1063" y="95"/>
                    </a:cubicBezTo>
                    <a:cubicBezTo>
                      <a:pt x="1064" y="95"/>
                      <a:pt x="1065" y="96"/>
                      <a:pt x="1066" y="95"/>
                    </a:cubicBezTo>
                    <a:moveTo>
                      <a:pt x="1066" y="95"/>
                    </a:moveTo>
                    <a:cubicBezTo>
                      <a:pt x="1067" y="97"/>
                      <a:pt x="1067" y="95"/>
                      <a:pt x="1066" y="95"/>
                    </a:cubicBezTo>
                    <a:moveTo>
                      <a:pt x="1066" y="95"/>
                    </a:moveTo>
                    <a:cubicBezTo>
                      <a:pt x="1066" y="94"/>
                      <a:pt x="1065" y="94"/>
                      <a:pt x="1063" y="94"/>
                    </a:cubicBezTo>
                    <a:moveTo>
                      <a:pt x="1063" y="94"/>
                    </a:moveTo>
                    <a:cubicBezTo>
                      <a:pt x="1046" y="79"/>
                      <a:pt x="1027" y="67"/>
                      <a:pt x="1006" y="56"/>
                    </a:cubicBezTo>
                    <a:cubicBezTo>
                      <a:pt x="1001" y="58"/>
                      <a:pt x="1000" y="63"/>
                      <a:pt x="996" y="65"/>
                    </a:cubicBezTo>
                    <a:cubicBezTo>
                      <a:pt x="1020" y="73"/>
                      <a:pt x="1041" y="84"/>
                      <a:pt x="1063" y="94"/>
                    </a:cubicBezTo>
                    <a:moveTo>
                      <a:pt x="482" y="60"/>
                    </a:moveTo>
                    <a:cubicBezTo>
                      <a:pt x="482" y="61"/>
                      <a:pt x="481" y="60"/>
                      <a:pt x="482" y="60"/>
                    </a:cubicBezTo>
                    <a:close/>
                    <a:moveTo>
                      <a:pt x="526" y="60"/>
                    </a:moveTo>
                    <a:cubicBezTo>
                      <a:pt x="526" y="61"/>
                      <a:pt x="525" y="60"/>
                      <a:pt x="526" y="60"/>
                    </a:cubicBezTo>
                    <a:close/>
                    <a:moveTo>
                      <a:pt x="479" y="61"/>
                    </a:moveTo>
                    <a:cubicBezTo>
                      <a:pt x="478" y="61"/>
                      <a:pt x="477" y="61"/>
                      <a:pt x="477" y="62"/>
                    </a:cubicBezTo>
                    <a:moveTo>
                      <a:pt x="477" y="62"/>
                    </a:moveTo>
                    <a:cubicBezTo>
                      <a:pt x="441" y="76"/>
                      <a:pt x="407" y="92"/>
                      <a:pt x="377" y="112"/>
                    </a:cubicBezTo>
                    <a:moveTo>
                      <a:pt x="377" y="112"/>
                    </a:moveTo>
                    <a:cubicBezTo>
                      <a:pt x="375" y="112"/>
                      <a:pt x="375" y="113"/>
                      <a:pt x="374" y="114"/>
                    </a:cubicBezTo>
                    <a:moveTo>
                      <a:pt x="374" y="114"/>
                    </a:moveTo>
                    <a:cubicBezTo>
                      <a:pt x="373" y="114"/>
                      <a:pt x="372" y="114"/>
                      <a:pt x="372" y="115"/>
                    </a:cubicBezTo>
                    <a:moveTo>
                      <a:pt x="372" y="115"/>
                    </a:moveTo>
                    <a:cubicBezTo>
                      <a:pt x="371" y="115"/>
                      <a:pt x="371" y="115"/>
                      <a:pt x="370" y="116"/>
                    </a:cubicBezTo>
                    <a:moveTo>
                      <a:pt x="370" y="116"/>
                    </a:moveTo>
                    <a:cubicBezTo>
                      <a:pt x="370" y="115"/>
                      <a:pt x="369" y="116"/>
                      <a:pt x="369" y="117"/>
                    </a:cubicBezTo>
                    <a:moveTo>
                      <a:pt x="369" y="117"/>
                    </a:moveTo>
                    <a:cubicBezTo>
                      <a:pt x="368" y="116"/>
                      <a:pt x="368" y="117"/>
                      <a:pt x="367" y="118"/>
                    </a:cubicBezTo>
                    <a:moveTo>
                      <a:pt x="367" y="118"/>
                    </a:moveTo>
                    <a:cubicBezTo>
                      <a:pt x="366" y="118"/>
                      <a:pt x="368" y="119"/>
                      <a:pt x="367" y="118"/>
                    </a:cubicBezTo>
                    <a:moveTo>
                      <a:pt x="367" y="118"/>
                    </a:moveTo>
                    <a:cubicBezTo>
                      <a:pt x="369" y="118"/>
                      <a:pt x="369" y="117"/>
                      <a:pt x="369" y="117"/>
                    </a:cubicBezTo>
                    <a:moveTo>
                      <a:pt x="369" y="117"/>
                    </a:moveTo>
                    <a:cubicBezTo>
                      <a:pt x="370" y="117"/>
                      <a:pt x="370" y="116"/>
                      <a:pt x="370" y="116"/>
                    </a:cubicBezTo>
                    <a:moveTo>
                      <a:pt x="370" y="116"/>
                    </a:moveTo>
                    <a:cubicBezTo>
                      <a:pt x="371" y="116"/>
                      <a:pt x="372" y="115"/>
                      <a:pt x="372" y="115"/>
                    </a:cubicBezTo>
                    <a:moveTo>
                      <a:pt x="372" y="115"/>
                    </a:moveTo>
                    <a:cubicBezTo>
                      <a:pt x="373" y="115"/>
                      <a:pt x="374" y="114"/>
                      <a:pt x="374" y="114"/>
                    </a:cubicBezTo>
                    <a:moveTo>
                      <a:pt x="374" y="114"/>
                    </a:moveTo>
                    <a:cubicBezTo>
                      <a:pt x="376" y="114"/>
                      <a:pt x="377" y="113"/>
                      <a:pt x="377" y="112"/>
                    </a:cubicBezTo>
                    <a:moveTo>
                      <a:pt x="377" y="112"/>
                    </a:moveTo>
                    <a:cubicBezTo>
                      <a:pt x="409" y="94"/>
                      <a:pt x="445" y="80"/>
                      <a:pt x="477" y="62"/>
                    </a:cubicBezTo>
                    <a:moveTo>
                      <a:pt x="477" y="62"/>
                    </a:moveTo>
                    <a:cubicBezTo>
                      <a:pt x="478" y="62"/>
                      <a:pt x="479" y="62"/>
                      <a:pt x="479" y="61"/>
                    </a:cubicBezTo>
                    <a:moveTo>
                      <a:pt x="479" y="61"/>
                    </a:moveTo>
                    <a:cubicBezTo>
                      <a:pt x="483" y="62"/>
                      <a:pt x="479" y="58"/>
                      <a:pt x="479" y="61"/>
                    </a:cubicBezTo>
                    <a:moveTo>
                      <a:pt x="481" y="64"/>
                    </a:moveTo>
                    <a:cubicBezTo>
                      <a:pt x="480" y="63"/>
                      <a:pt x="481" y="64"/>
                      <a:pt x="481" y="64"/>
                    </a:cubicBezTo>
                    <a:close/>
                    <a:moveTo>
                      <a:pt x="524" y="63"/>
                    </a:moveTo>
                    <a:cubicBezTo>
                      <a:pt x="510" y="69"/>
                      <a:pt x="495" y="80"/>
                      <a:pt x="484" y="90"/>
                    </a:cubicBezTo>
                    <a:cubicBezTo>
                      <a:pt x="480" y="92"/>
                      <a:pt x="475" y="96"/>
                      <a:pt x="476" y="99"/>
                    </a:cubicBezTo>
                    <a:cubicBezTo>
                      <a:pt x="504" y="96"/>
                      <a:pt x="519" y="80"/>
                      <a:pt x="542" y="71"/>
                    </a:cubicBezTo>
                    <a:cubicBezTo>
                      <a:pt x="535" y="69"/>
                      <a:pt x="530" y="65"/>
                      <a:pt x="524" y="63"/>
                    </a:cubicBezTo>
                    <a:close/>
                    <a:moveTo>
                      <a:pt x="479" y="65"/>
                    </a:moveTo>
                    <a:cubicBezTo>
                      <a:pt x="478" y="64"/>
                      <a:pt x="479" y="65"/>
                      <a:pt x="479" y="65"/>
                    </a:cubicBezTo>
                    <a:close/>
                    <a:moveTo>
                      <a:pt x="1028" y="65"/>
                    </a:moveTo>
                    <a:cubicBezTo>
                      <a:pt x="1048" y="78"/>
                      <a:pt x="1066" y="92"/>
                      <a:pt x="1086" y="106"/>
                    </a:cubicBezTo>
                    <a:cubicBezTo>
                      <a:pt x="1106" y="107"/>
                      <a:pt x="1124" y="115"/>
                      <a:pt x="1141" y="117"/>
                    </a:cubicBezTo>
                    <a:cubicBezTo>
                      <a:pt x="1105" y="97"/>
                      <a:pt x="1069" y="79"/>
                      <a:pt x="1028" y="65"/>
                    </a:cubicBezTo>
                    <a:moveTo>
                      <a:pt x="1028" y="65"/>
                    </a:moveTo>
                    <a:cubicBezTo>
                      <a:pt x="1028" y="62"/>
                      <a:pt x="1024" y="66"/>
                      <a:pt x="1028" y="65"/>
                    </a:cubicBezTo>
                    <a:moveTo>
                      <a:pt x="993" y="66"/>
                    </a:moveTo>
                    <a:cubicBezTo>
                      <a:pt x="989" y="70"/>
                      <a:pt x="981" y="71"/>
                      <a:pt x="975" y="74"/>
                    </a:cubicBezTo>
                    <a:cubicBezTo>
                      <a:pt x="984" y="83"/>
                      <a:pt x="999" y="87"/>
                      <a:pt x="1009" y="95"/>
                    </a:cubicBezTo>
                    <a:cubicBezTo>
                      <a:pt x="1032" y="95"/>
                      <a:pt x="1054" y="102"/>
                      <a:pt x="1074" y="102"/>
                    </a:cubicBezTo>
                    <a:cubicBezTo>
                      <a:pt x="1048" y="89"/>
                      <a:pt x="1021" y="77"/>
                      <a:pt x="993" y="66"/>
                    </a:cubicBezTo>
                    <a:close/>
                    <a:moveTo>
                      <a:pt x="504" y="71"/>
                    </a:moveTo>
                    <a:cubicBezTo>
                      <a:pt x="503" y="71"/>
                      <a:pt x="504" y="72"/>
                      <a:pt x="504" y="71"/>
                    </a:cubicBezTo>
                    <a:close/>
                    <a:moveTo>
                      <a:pt x="502" y="72"/>
                    </a:moveTo>
                    <a:cubicBezTo>
                      <a:pt x="476" y="83"/>
                      <a:pt x="450" y="93"/>
                      <a:pt x="428" y="107"/>
                    </a:cubicBezTo>
                    <a:moveTo>
                      <a:pt x="428" y="107"/>
                    </a:moveTo>
                    <a:cubicBezTo>
                      <a:pt x="424" y="106"/>
                      <a:pt x="428" y="110"/>
                      <a:pt x="428" y="107"/>
                    </a:cubicBezTo>
                    <a:moveTo>
                      <a:pt x="428" y="107"/>
                    </a:moveTo>
                    <a:cubicBezTo>
                      <a:pt x="442" y="105"/>
                      <a:pt x="455" y="103"/>
                      <a:pt x="468" y="100"/>
                    </a:cubicBezTo>
                    <a:cubicBezTo>
                      <a:pt x="479" y="91"/>
                      <a:pt x="490" y="82"/>
                      <a:pt x="502" y="72"/>
                    </a:cubicBezTo>
                    <a:moveTo>
                      <a:pt x="502" y="72"/>
                    </a:moveTo>
                    <a:cubicBezTo>
                      <a:pt x="503" y="72"/>
                      <a:pt x="502" y="71"/>
                      <a:pt x="502" y="72"/>
                    </a:cubicBezTo>
                    <a:moveTo>
                      <a:pt x="544" y="73"/>
                    </a:moveTo>
                    <a:cubicBezTo>
                      <a:pt x="530" y="79"/>
                      <a:pt x="513" y="89"/>
                      <a:pt x="501" y="95"/>
                    </a:cubicBezTo>
                    <a:cubicBezTo>
                      <a:pt x="522" y="94"/>
                      <a:pt x="540" y="90"/>
                      <a:pt x="561" y="90"/>
                    </a:cubicBezTo>
                    <a:cubicBezTo>
                      <a:pt x="565" y="87"/>
                      <a:pt x="567" y="83"/>
                      <a:pt x="570" y="79"/>
                    </a:cubicBezTo>
                    <a:cubicBezTo>
                      <a:pt x="561" y="81"/>
                      <a:pt x="551" y="71"/>
                      <a:pt x="544" y="73"/>
                    </a:cubicBezTo>
                    <a:close/>
                    <a:moveTo>
                      <a:pt x="933" y="85"/>
                    </a:moveTo>
                    <a:cubicBezTo>
                      <a:pt x="948" y="90"/>
                      <a:pt x="970" y="89"/>
                      <a:pt x="988" y="92"/>
                    </a:cubicBezTo>
                    <a:cubicBezTo>
                      <a:pt x="981" y="71"/>
                      <a:pt x="952" y="78"/>
                      <a:pt x="933" y="85"/>
                    </a:cubicBezTo>
                    <a:close/>
                    <a:moveTo>
                      <a:pt x="569" y="86"/>
                    </a:moveTo>
                    <a:cubicBezTo>
                      <a:pt x="568" y="86"/>
                      <a:pt x="569" y="87"/>
                      <a:pt x="569" y="86"/>
                    </a:cubicBezTo>
                    <a:moveTo>
                      <a:pt x="569" y="86"/>
                    </a:moveTo>
                    <a:cubicBezTo>
                      <a:pt x="572" y="85"/>
                      <a:pt x="575" y="84"/>
                      <a:pt x="577" y="81"/>
                    </a:cubicBezTo>
                    <a:cubicBezTo>
                      <a:pt x="574" y="81"/>
                      <a:pt x="575" y="79"/>
                      <a:pt x="572" y="80"/>
                    </a:cubicBezTo>
                    <a:cubicBezTo>
                      <a:pt x="572" y="84"/>
                      <a:pt x="569" y="82"/>
                      <a:pt x="569" y="86"/>
                    </a:cubicBezTo>
                    <a:moveTo>
                      <a:pt x="573" y="88"/>
                    </a:moveTo>
                    <a:cubicBezTo>
                      <a:pt x="569" y="87"/>
                      <a:pt x="573" y="91"/>
                      <a:pt x="573" y="88"/>
                    </a:cubicBezTo>
                    <a:moveTo>
                      <a:pt x="573" y="88"/>
                    </a:moveTo>
                    <a:cubicBezTo>
                      <a:pt x="583" y="87"/>
                      <a:pt x="594" y="88"/>
                      <a:pt x="602" y="85"/>
                    </a:cubicBezTo>
                    <a:cubicBezTo>
                      <a:pt x="590" y="84"/>
                      <a:pt x="579" y="79"/>
                      <a:pt x="573" y="88"/>
                    </a:cubicBezTo>
                    <a:moveTo>
                      <a:pt x="1092" y="83"/>
                    </a:moveTo>
                    <a:cubicBezTo>
                      <a:pt x="1092" y="83"/>
                      <a:pt x="1093" y="84"/>
                      <a:pt x="1092" y="83"/>
                    </a:cubicBezTo>
                    <a:close/>
                    <a:moveTo>
                      <a:pt x="695" y="84"/>
                    </a:moveTo>
                    <a:cubicBezTo>
                      <a:pt x="694" y="87"/>
                      <a:pt x="692" y="89"/>
                      <a:pt x="690" y="92"/>
                    </a:cubicBezTo>
                    <a:cubicBezTo>
                      <a:pt x="710" y="92"/>
                      <a:pt x="729" y="93"/>
                      <a:pt x="750" y="93"/>
                    </a:cubicBezTo>
                    <a:cubicBezTo>
                      <a:pt x="750" y="88"/>
                      <a:pt x="752" y="87"/>
                      <a:pt x="751" y="83"/>
                    </a:cubicBezTo>
                    <a:cubicBezTo>
                      <a:pt x="732" y="82"/>
                      <a:pt x="715" y="85"/>
                      <a:pt x="695" y="84"/>
                    </a:cubicBezTo>
                    <a:close/>
                    <a:moveTo>
                      <a:pt x="753" y="94"/>
                    </a:moveTo>
                    <a:cubicBezTo>
                      <a:pt x="763" y="94"/>
                      <a:pt x="770" y="92"/>
                      <a:pt x="779" y="93"/>
                    </a:cubicBezTo>
                    <a:cubicBezTo>
                      <a:pt x="780" y="89"/>
                      <a:pt x="778" y="87"/>
                      <a:pt x="778" y="83"/>
                    </a:cubicBezTo>
                    <a:cubicBezTo>
                      <a:pt x="768" y="84"/>
                      <a:pt x="749" y="77"/>
                      <a:pt x="753" y="94"/>
                    </a:cubicBezTo>
                    <a:close/>
                    <a:moveTo>
                      <a:pt x="781" y="93"/>
                    </a:moveTo>
                    <a:cubicBezTo>
                      <a:pt x="792" y="92"/>
                      <a:pt x="805" y="94"/>
                      <a:pt x="814" y="92"/>
                    </a:cubicBezTo>
                    <a:cubicBezTo>
                      <a:pt x="812" y="90"/>
                      <a:pt x="811" y="87"/>
                      <a:pt x="810" y="84"/>
                    </a:cubicBezTo>
                    <a:cubicBezTo>
                      <a:pt x="800" y="84"/>
                      <a:pt x="792" y="82"/>
                      <a:pt x="781" y="83"/>
                    </a:cubicBezTo>
                    <a:cubicBezTo>
                      <a:pt x="781" y="86"/>
                      <a:pt x="781" y="89"/>
                      <a:pt x="781" y="93"/>
                    </a:cubicBezTo>
                    <a:close/>
                    <a:moveTo>
                      <a:pt x="1094" y="84"/>
                    </a:moveTo>
                    <a:cubicBezTo>
                      <a:pt x="1095" y="85"/>
                      <a:pt x="1094" y="84"/>
                      <a:pt x="1094" y="84"/>
                    </a:cubicBezTo>
                    <a:close/>
                    <a:moveTo>
                      <a:pt x="670" y="85"/>
                    </a:moveTo>
                    <a:cubicBezTo>
                      <a:pt x="671" y="88"/>
                      <a:pt x="668" y="87"/>
                      <a:pt x="669" y="90"/>
                    </a:cubicBezTo>
                    <a:cubicBezTo>
                      <a:pt x="675" y="90"/>
                      <a:pt x="681" y="91"/>
                      <a:pt x="688" y="91"/>
                    </a:cubicBezTo>
                    <a:cubicBezTo>
                      <a:pt x="688" y="88"/>
                      <a:pt x="691" y="86"/>
                      <a:pt x="692" y="84"/>
                    </a:cubicBezTo>
                    <a:cubicBezTo>
                      <a:pt x="685" y="84"/>
                      <a:pt x="678" y="85"/>
                      <a:pt x="670" y="85"/>
                    </a:cubicBezTo>
                    <a:close/>
                    <a:moveTo>
                      <a:pt x="818" y="92"/>
                    </a:moveTo>
                    <a:cubicBezTo>
                      <a:pt x="837" y="91"/>
                      <a:pt x="856" y="90"/>
                      <a:pt x="873" y="88"/>
                    </a:cubicBezTo>
                    <a:cubicBezTo>
                      <a:pt x="858" y="83"/>
                      <a:pt x="832" y="84"/>
                      <a:pt x="814" y="85"/>
                    </a:cubicBezTo>
                    <a:cubicBezTo>
                      <a:pt x="816" y="86"/>
                      <a:pt x="816" y="90"/>
                      <a:pt x="818" y="92"/>
                    </a:cubicBezTo>
                    <a:close/>
                    <a:moveTo>
                      <a:pt x="1096" y="85"/>
                    </a:moveTo>
                    <a:cubicBezTo>
                      <a:pt x="1096" y="85"/>
                      <a:pt x="1097" y="86"/>
                      <a:pt x="1096" y="85"/>
                    </a:cubicBezTo>
                    <a:close/>
                    <a:moveTo>
                      <a:pt x="639" y="88"/>
                    </a:moveTo>
                    <a:cubicBezTo>
                      <a:pt x="648" y="88"/>
                      <a:pt x="656" y="89"/>
                      <a:pt x="665" y="90"/>
                    </a:cubicBezTo>
                    <a:cubicBezTo>
                      <a:pt x="664" y="87"/>
                      <a:pt x="666" y="87"/>
                      <a:pt x="666" y="85"/>
                    </a:cubicBezTo>
                    <a:cubicBezTo>
                      <a:pt x="658" y="87"/>
                      <a:pt x="645" y="84"/>
                      <a:pt x="639" y="88"/>
                    </a:cubicBezTo>
                    <a:close/>
                    <a:moveTo>
                      <a:pt x="931" y="86"/>
                    </a:moveTo>
                    <a:cubicBezTo>
                      <a:pt x="930" y="85"/>
                      <a:pt x="923" y="84"/>
                      <a:pt x="922" y="86"/>
                    </a:cubicBezTo>
                    <a:cubicBezTo>
                      <a:pt x="926" y="85"/>
                      <a:pt x="929" y="89"/>
                      <a:pt x="931" y="86"/>
                    </a:cubicBezTo>
                    <a:close/>
                    <a:moveTo>
                      <a:pt x="988" y="86"/>
                    </a:moveTo>
                    <a:cubicBezTo>
                      <a:pt x="988" y="86"/>
                      <a:pt x="988" y="87"/>
                      <a:pt x="988" y="87"/>
                    </a:cubicBezTo>
                    <a:cubicBezTo>
                      <a:pt x="990" y="88"/>
                      <a:pt x="991" y="90"/>
                      <a:pt x="992" y="93"/>
                    </a:cubicBezTo>
                    <a:cubicBezTo>
                      <a:pt x="995" y="93"/>
                      <a:pt x="998" y="93"/>
                      <a:pt x="1000" y="93"/>
                    </a:cubicBezTo>
                    <a:moveTo>
                      <a:pt x="1000" y="93"/>
                    </a:moveTo>
                    <a:cubicBezTo>
                      <a:pt x="1001" y="94"/>
                      <a:pt x="1001" y="93"/>
                      <a:pt x="1000" y="93"/>
                    </a:cubicBezTo>
                    <a:moveTo>
                      <a:pt x="1000" y="93"/>
                    </a:moveTo>
                    <a:cubicBezTo>
                      <a:pt x="996" y="90"/>
                      <a:pt x="993" y="87"/>
                      <a:pt x="988" y="86"/>
                    </a:cubicBezTo>
                    <a:moveTo>
                      <a:pt x="988" y="86"/>
                    </a:moveTo>
                    <a:cubicBezTo>
                      <a:pt x="987" y="84"/>
                      <a:pt x="986" y="86"/>
                      <a:pt x="988" y="86"/>
                    </a:cubicBezTo>
                    <a:moveTo>
                      <a:pt x="1173" y="127"/>
                    </a:moveTo>
                    <a:cubicBezTo>
                      <a:pt x="1173" y="128"/>
                      <a:pt x="1174" y="128"/>
                      <a:pt x="1175" y="128"/>
                    </a:cubicBezTo>
                    <a:moveTo>
                      <a:pt x="1175" y="128"/>
                    </a:moveTo>
                    <a:cubicBezTo>
                      <a:pt x="1175" y="130"/>
                      <a:pt x="1176" y="128"/>
                      <a:pt x="1175" y="128"/>
                    </a:cubicBezTo>
                    <a:moveTo>
                      <a:pt x="1175" y="128"/>
                    </a:moveTo>
                    <a:cubicBezTo>
                      <a:pt x="1175" y="127"/>
                      <a:pt x="1174" y="127"/>
                      <a:pt x="1173" y="127"/>
                    </a:cubicBezTo>
                    <a:moveTo>
                      <a:pt x="1173" y="127"/>
                    </a:moveTo>
                    <a:cubicBezTo>
                      <a:pt x="1150" y="112"/>
                      <a:pt x="1124" y="95"/>
                      <a:pt x="1098" y="86"/>
                    </a:cubicBezTo>
                    <a:cubicBezTo>
                      <a:pt x="1125" y="98"/>
                      <a:pt x="1141" y="120"/>
                      <a:pt x="1173" y="127"/>
                    </a:cubicBezTo>
                    <a:moveTo>
                      <a:pt x="885" y="86"/>
                    </a:moveTo>
                    <a:cubicBezTo>
                      <a:pt x="882" y="86"/>
                      <a:pt x="877" y="85"/>
                      <a:pt x="875" y="87"/>
                    </a:cubicBezTo>
                    <a:cubicBezTo>
                      <a:pt x="877" y="88"/>
                      <a:pt x="885" y="90"/>
                      <a:pt x="885" y="86"/>
                    </a:cubicBezTo>
                    <a:close/>
                    <a:moveTo>
                      <a:pt x="430" y="89"/>
                    </a:moveTo>
                    <a:cubicBezTo>
                      <a:pt x="429" y="88"/>
                      <a:pt x="430" y="89"/>
                      <a:pt x="430" y="89"/>
                    </a:cubicBezTo>
                    <a:close/>
                    <a:moveTo>
                      <a:pt x="564" y="92"/>
                    </a:moveTo>
                    <a:cubicBezTo>
                      <a:pt x="535" y="128"/>
                      <a:pt x="514" y="173"/>
                      <a:pt x="497" y="221"/>
                    </a:cubicBezTo>
                    <a:cubicBezTo>
                      <a:pt x="502" y="220"/>
                      <a:pt x="508" y="220"/>
                      <a:pt x="513" y="219"/>
                    </a:cubicBezTo>
                    <a:cubicBezTo>
                      <a:pt x="545" y="174"/>
                      <a:pt x="578" y="131"/>
                      <a:pt x="619" y="95"/>
                    </a:cubicBezTo>
                    <a:cubicBezTo>
                      <a:pt x="620" y="94"/>
                      <a:pt x="628" y="90"/>
                      <a:pt x="624" y="89"/>
                    </a:cubicBezTo>
                    <a:cubicBezTo>
                      <a:pt x="604" y="86"/>
                      <a:pt x="584" y="91"/>
                      <a:pt x="564" y="92"/>
                    </a:cubicBezTo>
                    <a:close/>
                    <a:moveTo>
                      <a:pt x="1055" y="192"/>
                    </a:moveTo>
                    <a:cubicBezTo>
                      <a:pt x="1019" y="154"/>
                      <a:pt x="980" y="120"/>
                      <a:pt x="937" y="90"/>
                    </a:cubicBezTo>
                    <a:cubicBezTo>
                      <a:pt x="922" y="89"/>
                      <a:pt x="906" y="86"/>
                      <a:pt x="893" y="90"/>
                    </a:cubicBezTo>
                    <a:cubicBezTo>
                      <a:pt x="901" y="111"/>
                      <a:pt x="911" y="126"/>
                      <a:pt x="923" y="142"/>
                    </a:cubicBezTo>
                    <a:cubicBezTo>
                      <a:pt x="942" y="166"/>
                      <a:pt x="959" y="189"/>
                      <a:pt x="973" y="216"/>
                    </a:cubicBezTo>
                    <a:cubicBezTo>
                      <a:pt x="1006" y="219"/>
                      <a:pt x="1038" y="222"/>
                      <a:pt x="1069" y="226"/>
                    </a:cubicBezTo>
                    <a:cubicBezTo>
                      <a:pt x="1065" y="214"/>
                      <a:pt x="1059" y="204"/>
                      <a:pt x="1055" y="192"/>
                    </a:cubicBezTo>
                    <a:close/>
                    <a:moveTo>
                      <a:pt x="366" y="122"/>
                    </a:moveTo>
                    <a:cubicBezTo>
                      <a:pt x="394" y="118"/>
                      <a:pt x="410" y="101"/>
                      <a:pt x="429" y="89"/>
                    </a:cubicBezTo>
                    <a:cubicBezTo>
                      <a:pt x="407" y="99"/>
                      <a:pt x="386" y="110"/>
                      <a:pt x="366" y="122"/>
                    </a:cubicBezTo>
                    <a:close/>
                    <a:moveTo>
                      <a:pt x="631" y="90"/>
                    </a:moveTo>
                    <a:cubicBezTo>
                      <a:pt x="632" y="88"/>
                      <a:pt x="629" y="90"/>
                      <a:pt x="629" y="91"/>
                    </a:cubicBezTo>
                    <a:cubicBezTo>
                      <a:pt x="589" y="125"/>
                      <a:pt x="552" y="168"/>
                      <a:pt x="523" y="212"/>
                    </a:cubicBezTo>
                    <a:cubicBezTo>
                      <a:pt x="522" y="214"/>
                      <a:pt x="517" y="216"/>
                      <a:pt x="519" y="219"/>
                    </a:cubicBezTo>
                    <a:cubicBezTo>
                      <a:pt x="554" y="215"/>
                      <a:pt x="591" y="214"/>
                      <a:pt x="629" y="212"/>
                    </a:cubicBezTo>
                    <a:cubicBezTo>
                      <a:pt x="645" y="177"/>
                      <a:pt x="650" y="130"/>
                      <a:pt x="663" y="93"/>
                    </a:cubicBezTo>
                    <a:cubicBezTo>
                      <a:pt x="653" y="91"/>
                      <a:pt x="643" y="90"/>
                      <a:pt x="631" y="90"/>
                    </a:cubicBezTo>
                    <a:close/>
                    <a:moveTo>
                      <a:pt x="899" y="111"/>
                    </a:moveTo>
                    <a:cubicBezTo>
                      <a:pt x="900" y="112"/>
                      <a:pt x="900" y="111"/>
                      <a:pt x="899" y="111"/>
                    </a:cubicBezTo>
                    <a:moveTo>
                      <a:pt x="899" y="111"/>
                    </a:moveTo>
                    <a:cubicBezTo>
                      <a:pt x="897" y="103"/>
                      <a:pt x="893" y="97"/>
                      <a:pt x="891" y="90"/>
                    </a:cubicBezTo>
                    <a:cubicBezTo>
                      <a:pt x="886" y="90"/>
                      <a:pt x="882" y="89"/>
                      <a:pt x="880" y="92"/>
                    </a:cubicBezTo>
                    <a:cubicBezTo>
                      <a:pt x="887" y="97"/>
                      <a:pt x="892" y="105"/>
                      <a:pt x="899" y="111"/>
                    </a:cubicBezTo>
                    <a:moveTo>
                      <a:pt x="943" y="91"/>
                    </a:moveTo>
                    <a:cubicBezTo>
                      <a:pt x="979" y="114"/>
                      <a:pt x="1013" y="148"/>
                      <a:pt x="1044" y="177"/>
                    </a:cubicBezTo>
                    <a:cubicBezTo>
                      <a:pt x="1045" y="178"/>
                      <a:pt x="1047" y="183"/>
                      <a:pt x="1049" y="180"/>
                    </a:cubicBezTo>
                    <a:cubicBezTo>
                      <a:pt x="1032" y="150"/>
                      <a:pt x="1014" y="120"/>
                      <a:pt x="991" y="95"/>
                    </a:cubicBezTo>
                    <a:cubicBezTo>
                      <a:pt x="975" y="94"/>
                      <a:pt x="961" y="91"/>
                      <a:pt x="943" y="91"/>
                    </a:cubicBezTo>
                    <a:moveTo>
                      <a:pt x="943" y="91"/>
                    </a:moveTo>
                    <a:cubicBezTo>
                      <a:pt x="943" y="88"/>
                      <a:pt x="939" y="92"/>
                      <a:pt x="943" y="91"/>
                    </a:cubicBezTo>
                    <a:moveTo>
                      <a:pt x="904" y="120"/>
                    </a:moveTo>
                    <a:cubicBezTo>
                      <a:pt x="894" y="111"/>
                      <a:pt x="886" y="98"/>
                      <a:pt x="874" y="91"/>
                    </a:cubicBezTo>
                    <a:cubicBezTo>
                      <a:pt x="857" y="93"/>
                      <a:pt x="838" y="94"/>
                      <a:pt x="820" y="95"/>
                    </a:cubicBezTo>
                    <a:cubicBezTo>
                      <a:pt x="835" y="132"/>
                      <a:pt x="849" y="170"/>
                      <a:pt x="860" y="211"/>
                    </a:cubicBezTo>
                    <a:cubicBezTo>
                      <a:pt x="885" y="210"/>
                      <a:pt x="907" y="212"/>
                      <a:pt x="931" y="214"/>
                    </a:cubicBezTo>
                    <a:cubicBezTo>
                      <a:pt x="924" y="180"/>
                      <a:pt x="914" y="150"/>
                      <a:pt x="904" y="120"/>
                    </a:cubicBezTo>
                    <a:close/>
                    <a:moveTo>
                      <a:pt x="558" y="93"/>
                    </a:moveTo>
                    <a:cubicBezTo>
                      <a:pt x="558" y="92"/>
                      <a:pt x="559" y="93"/>
                      <a:pt x="558" y="93"/>
                    </a:cubicBezTo>
                    <a:close/>
                    <a:moveTo>
                      <a:pt x="492" y="99"/>
                    </a:moveTo>
                    <a:cubicBezTo>
                      <a:pt x="485" y="102"/>
                      <a:pt x="476" y="109"/>
                      <a:pt x="468" y="114"/>
                    </a:cubicBezTo>
                    <a:cubicBezTo>
                      <a:pt x="460" y="119"/>
                      <a:pt x="450" y="123"/>
                      <a:pt x="444" y="128"/>
                    </a:cubicBezTo>
                    <a:cubicBezTo>
                      <a:pt x="432" y="139"/>
                      <a:pt x="421" y="155"/>
                      <a:pt x="411" y="169"/>
                    </a:cubicBezTo>
                    <a:cubicBezTo>
                      <a:pt x="400" y="185"/>
                      <a:pt x="389" y="201"/>
                      <a:pt x="382" y="216"/>
                    </a:cubicBezTo>
                    <a:cubicBezTo>
                      <a:pt x="390" y="219"/>
                      <a:pt x="399" y="220"/>
                      <a:pt x="407" y="223"/>
                    </a:cubicBezTo>
                    <a:cubicBezTo>
                      <a:pt x="452" y="175"/>
                      <a:pt x="501" y="130"/>
                      <a:pt x="558" y="93"/>
                    </a:cubicBezTo>
                    <a:cubicBezTo>
                      <a:pt x="533" y="97"/>
                      <a:pt x="512" y="93"/>
                      <a:pt x="492" y="99"/>
                    </a:cubicBezTo>
                    <a:close/>
                    <a:moveTo>
                      <a:pt x="667" y="93"/>
                    </a:moveTo>
                    <a:cubicBezTo>
                      <a:pt x="661" y="115"/>
                      <a:pt x="652" y="139"/>
                      <a:pt x="650" y="163"/>
                    </a:cubicBezTo>
                    <a:cubicBezTo>
                      <a:pt x="660" y="138"/>
                      <a:pt x="673" y="116"/>
                      <a:pt x="685" y="94"/>
                    </a:cubicBezTo>
                    <a:cubicBezTo>
                      <a:pt x="678" y="94"/>
                      <a:pt x="674" y="92"/>
                      <a:pt x="667" y="93"/>
                    </a:cubicBezTo>
                    <a:close/>
                    <a:moveTo>
                      <a:pt x="639" y="211"/>
                    </a:moveTo>
                    <a:cubicBezTo>
                      <a:pt x="674" y="211"/>
                      <a:pt x="707" y="208"/>
                      <a:pt x="743" y="209"/>
                    </a:cubicBezTo>
                    <a:cubicBezTo>
                      <a:pt x="745" y="170"/>
                      <a:pt x="747" y="132"/>
                      <a:pt x="750" y="95"/>
                    </a:cubicBezTo>
                    <a:cubicBezTo>
                      <a:pt x="729" y="96"/>
                      <a:pt x="708" y="95"/>
                      <a:pt x="689" y="94"/>
                    </a:cubicBezTo>
                    <a:cubicBezTo>
                      <a:pt x="669" y="129"/>
                      <a:pt x="646" y="162"/>
                      <a:pt x="639" y="211"/>
                    </a:cubicBezTo>
                    <a:close/>
                    <a:moveTo>
                      <a:pt x="825" y="120"/>
                    </a:moveTo>
                    <a:cubicBezTo>
                      <a:pt x="823" y="113"/>
                      <a:pt x="819" y="96"/>
                      <a:pt x="811" y="95"/>
                    </a:cubicBezTo>
                    <a:cubicBezTo>
                      <a:pt x="803" y="93"/>
                      <a:pt x="791" y="98"/>
                      <a:pt x="782" y="95"/>
                    </a:cubicBezTo>
                    <a:cubicBezTo>
                      <a:pt x="784" y="133"/>
                      <a:pt x="786" y="171"/>
                      <a:pt x="787" y="209"/>
                    </a:cubicBezTo>
                    <a:cubicBezTo>
                      <a:pt x="811" y="208"/>
                      <a:pt x="832" y="210"/>
                      <a:pt x="855" y="210"/>
                    </a:cubicBezTo>
                    <a:cubicBezTo>
                      <a:pt x="848" y="183"/>
                      <a:pt x="836" y="148"/>
                      <a:pt x="825" y="120"/>
                    </a:cubicBezTo>
                    <a:close/>
                    <a:moveTo>
                      <a:pt x="499" y="96"/>
                    </a:moveTo>
                    <a:cubicBezTo>
                      <a:pt x="499" y="96"/>
                      <a:pt x="500" y="97"/>
                      <a:pt x="499" y="96"/>
                    </a:cubicBezTo>
                    <a:close/>
                    <a:moveTo>
                      <a:pt x="752" y="98"/>
                    </a:moveTo>
                    <a:cubicBezTo>
                      <a:pt x="750" y="135"/>
                      <a:pt x="747" y="171"/>
                      <a:pt x="746" y="209"/>
                    </a:cubicBezTo>
                    <a:cubicBezTo>
                      <a:pt x="758" y="209"/>
                      <a:pt x="771" y="209"/>
                      <a:pt x="784" y="209"/>
                    </a:cubicBezTo>
                    <a:cubicBezTo>
                      <a:pt x="783" y="170"/>
                      <a:pt x="781" y="133"/>
                      <a:pt x="779" y="95"/>
                    </a:cubicBezTo>
                    <a:cubicBezTo>
                      <a:pt x="771" y="97"/>
                      <a:pt x="756" y="92"/>
                      <a:pt x="752" y="98"/>
                    </a:cubicBezTo>
                    <a:close/>
                    <a:moveTo>
                      <a:pt x="1056" y="191"/>
                    </a:moveTo>
                    <a:cubicBezTo>
                      <a:pt x="1069" y="202"/>
                      <a:pt x="1077" y="217"/>
                      <a:pt x="1090" y="228"/>
                    </a:cubicBezTo>
                    <a:cubicBezTo>
                      <a:pt x="1115" y="224"/>
                      <a:pt x="1137" y="218"/>
                      <a:pt x="1159" y="212"/>
                    </a:cubicBezTo>
                    <a:cubicBezTo>
                      <a:pt x="1152" y="199"/>
                      <a:pt x="1138" y="190"/>
                      <a:pt x="1126" y="180"/>
                    </a:cubicBezTo>
                    <a:cubicBezTo>
                      <a:pt x="1101" y="159"/>
                      <a:pt x="1078" y="141"/>
                      <a:pt x="1049" y="122"/>
                    </a:cubicBezTo>
                    <a:cubicBezTo>
                      <a:pt x="1032" y="112"/>
                      <a:pt x="1016" y="96"/>
                      <a:pt x="996" y="96"/>
                    </a:cubicBezTo>
                    <a:cubicBezTo>
                      <a:pt x="1020" y="124"/>
                      <a:pt x="1040" y="155"/>
                      <a:pt x="1056" y="191"/>
                    </a:cubicBezTo>
                    <a:close/>
                    <a:moveTo>
                      <a:pt x="1095" y="150"/>
                    </a:moveTo>
                    <a:cubicBezTo>
                      <a:pt x="1112" y="165"/>
                      <a:pt x="1132" y="180"/>
                      <a:pt x="1149" y="195"/>
                    </a:cubicBezTo>
                    <a:cubicBezTo>
                      <a:pt x="1154" y="200"/>
                      <a:pt x="1159" y="209"/>
                      <a:pt x="1167" y="209"/>
                    </a:cubicBezTo>
                    <a:cubicBezTo>
                      <a:pt x="1146" y="171"/>
                      <a:pt x="1113" y="136"/>
                      <a:pt x="1081" y="107"/>
                    </a:cubicBezTo>
                    <a:cubicBezTo>
                      <a:pt x="1060" y="104"/>
                      <a:pt x="1036" y="99"/>
                      <a:pt x="1015" y="98"/>
                    </a:cubicBezTo>
                    <a:cubicBezTo>
                      <a:pt x="1044" y="113"/>
                      <a:pt x="1069" y="132"/>
                      <a:pt x="1095" y="150"/>
                    </a:cubicBezTo>
                    <a:close/>
                    <a:moveTo>
                      <a:pt x="555" y="99"/>
                    </a:moveTo>
                    <a:cubicBezTo>
                      <a:pt x="506" y="130"/>
                      <a:pt x="457" y="172"/>
                      <a:pt x="418" y="216"/>
                    </a:cubicBezTo>
                    <a:cubicBezTo>
                      <a:pt x="417" y="218"/>
                      <a:pt x="411" y="220"/>
                      <a:pt x="414" y="224"/>
                    </a:cubicBezTo>
                    <a:cubicBezTo>
                      <a:pt x="438" y="232"/>
                      <a:pt x="467" y="223"/>
                      <a:pt x="494" y="221"/>
                    </a:cubicBezTo>
                    <a:cubicBezTo>
                      <a:pt x="510" y="176"/>
                      <a:pt x="530" y="135"/>
                      <a:pt x="555" y="99"/>
                    </a:cubicBezTo>
                    <a:moveTo>
                      <a:pt x="555" y="99"/>
                    </a:moveTo>
                    <a:cubicBezTo>
                      <a:pt x="556" y="99"/>
                      <a:pt x="555" y="98"/>
                      <a:pt x="555" y="99"/>
                    </a:cubicBezTo>
                    <a:moveTo>
                      <a:pt x="484" y="101"/>
                    </a:moveTo>
                    <a:cubicBezTo>
                      <a:pt x="483" y="101"/>
                      <a:pt x="484" y="102"/>
                      <a:pt x="484" y="101"/>
                    </a:cubicBezTo>
                    <a:close/>
                    <a:moveTo>
                      <a:pt x="1118" y="101"/>
                    </a:moveTo>
                    <a:cubicBezTo>
                      <a:pt x="1119" y="103"/>
                      <a:pt x="1119" y="101"/>
                      <a:pt x="1118" y="101"/>
                    </a:cubicBezTo>
                    <a:moveTo>
                      <a:pt x="1118" y="101"/>
                    </a:moveTo>
                    <a:cubicBezTo>
                      <a:pt x="1118" y="100"/>
                      <a:pt x="1117" y="101"/>
                      <a:pt x="1118" y="101"/>
                    </a:cubicBezTo>
                    <a:moveTo>
                      <a:pt x="454" y="119"/>
                    </a:moveTo>
                    <a:cubicBezTo>
                      <a:pt x="452" y="119"/>
                      <a:pt x="454" y="120"/>
                      <a:pt x="454" y="119"/>
                    </a:cubicBezTo>
                    <a:moveTo>
                      <a:pt x="454" y="119"/>
                    </a:moveTo>
                    <a:cubicBezTo>
                      <a:pt x="464" y="113"/>
                      <a:pt x="474" y="108"/>
                      <a:pt x="483" y="101"/>
                    </a:cubicBezTo>
                    <a:cubicBezTo>
                      <a:pt x="466" y="100"/>
                      <a:pt x="462" y="111"/>
                      <a:pt x="454" y="119"/>
                    </a:cubicBezTo>
                    <a:moveTo>
                      <a:pt x="1120" y="103"/>
                    </a:moveTo>
                    <a:cubicBezTo>
                      <a:pt x="1120" y="103"/>
                      <a:pt x="1121" y="104"/>
                      <a:pt x="1120" y="103"/>
                    </a:cubicBezTo>
                    <a:close/>
                    <a:moveTo>
                      <a:pt x="1075" y="104"/>
                    </a:moveTo>
                    <a:cubicBezTo>
                      <a:pt x="1075" y="104"/>
                      <a:pt x="1076" y="105"/>
                      <a:pt x="1075" y="104"/>
                    </a:cubicBezTo>
                    <a:close/>
                    <a:moveTo>
                      <a:pt x="417" y="112"/>
                    </a:moveTo>
                    <a:cubicBezTo>
                      <a:pt x="407" y="115"/>
                      <a:pt x="396" y="125"/>
                      <a:pt x="386" y="131"/>
                    </a:cubicBezTo>
                    <a:cubicBezTo>
                      <a:pt x="357" y="148"/>
                      <a:pt x="335" y="165"/>
                      <a:pt x="317" y="191"/>
                    </a:cubicBezTo>
                    <a:cubicBezTo>
                      <a:pt x="325" y="195"/>
                      <a:pt x="332" y="200"/>
                      <a:pt x="342" y="203"/>
                    </a:cubicBezTo>
                    <a:cubicBezTo>
                      <a:pt x="374" y="176"/>
                      <a:pt x="406" y="149"/>
                      <a:pt x="442" y="127"/>
                    </a:cubicBezTo>
                    <a:cubicBezTo>
                      <a:pt x="445" y="123"/>
                      <a:pt x="449" y="119"/>
                      <a:pt x="453" y="115"/>
                    </a:cubicBezTo>
                    <a:cubicBezTo>
                      <a:pt x="455" y="112"/>
                      <a:pt x="466" y="105"/>
                      <a:pt x="461" y="104"/>
                    </a:cubicBezTo>
                    <a:cubicBezTo>
                      <a:pt x="446" y="109"/>
                      <a:pt x="430" y="107"/>
                      <a:pt x="417" y="112"/>
                    </a:cubicBezTo>
                    <a:close/>
                    <a:moveTo>
                      <a:pt x="1210" y="188"/>
                    </a:moveTo>
                    <a:cubicBezTo>
                      <a:pt x="1213" y="187"/>
                      <a:pt x="1214" y="184"/>
                      <a:pt x="1216" y="183"/>
                    </a:cubicBezTo>
                    <a:cubicBezTo>
                      <a:pt x="1210" y="171"/>
                      <a:pt x="1197" y="162"/>
                      <a:pt x="1185" y="152"/>
                    </a:cubicBezTo>
                    <a:cubicBezTo>
                      <a:pt x="1175" y="143"/>
                      <a:pt x="1164" y="130"/>
                      <a:pt x="1151" y="123"/>
                    </a:cubicBezTo>
                    <a:cubicBezTo>
                      <a:pt x="1135" y="116"/>
                      <a:pt x="1116" y="117"/>
                      <a:pt x="1097" y="110"/>
                    </a:cubicBezTo>
                    <a:cubicBezTo>
                      <a:pt x="1096" y="110"/>
                      <a:pt x="1094" y="110"/>
                      <a:pt x="1094" y="111"/>
                    </a:cubicBezTo>
                    <a:cubicBezTo>
                      <a:pt x="1136" y="132"/>
                      <a:pt x="1174" y="163"/>
                      <a:pt x="1210" y="188"/>
                    </a:cubicBezTo>
                    <a:close/>
                    <a:moveTo>
                      <a:pt x="1090" y="112"/>
                    </a:moveTo>
                    <a:cubicBezTo>
                      <a:pt x="1090" y="112"/>
                      <a:pt x="1090" y="113"/>
                      <a:pt x="1090" y="113"/>
                    </a:cubicBezTo>
                    <a:cubicBezTo>
                      <a:pt x="1124" y="138"/>
                      <a:pt x="1146" y="175"/>
                      <a:pt x="1173" y="207"/>
                    </a:cubicBezTo>
                    <a:cubicBezTo>
                      <a:pt x="1185" y="202"/>
                      <a:pt x="1198" y="198"/>
                      <a:pt x="1206" y="190"/>
                    </a:cubicBezTo>
                    <a:cubicBezTo>
                      <a:pt x="1170" y="161"/>
                      <a:pt x="1132" y="134"/>
                      <a:pt x="1090" y="112"/>
                    </a:cubicBezTo>
                    <a:moveTo>
                      <a:pt x="1090" y="112"/>
                    </a:moveTo>
                    <a:cubicBezTo>
                      <a:pt x="1090" y="110"/>
                      <a:pt x="1089" y="112"/>
                      <a:pt x="1090" y="112"/>
                    </a:cubicBezTo>
                    <a:moveTo>
                      <a:pt x="405" y="116"/>
                    </a:moveTo>
                    <a:cubicBezTo>
                      <a:pt x="389" y="116"/>
                      <a:pt x="383" y="126"/>
                      <a:pt x="374" y="134"/>
                    </a:cubicBezTo>
                    <a:moveTo>
                      <a:pt x="374" y="134"/>
                    </a:moveTo>
                    <a:cubicBezTo>
                      <a:pt x="373" y="134"/>
                      <a:pt x="372" y="135"/>
                      <a:pt x="371" y="136"/>
                    </a:cubicBezTo>
                    <a:moveTo>
                      <a:pt x="371" y="136"/>
                    </a:moveTo>
                    <a:cubicBezTo>
                      <a:pt x="370" y="136"/>
                      <a:pt x="370" y="136"/>
                      <a:pt x="370" y="137"/>
                    </a:cubicBezTo>
                    <a:moveTo>
                      <a:pt x="370" y="137"/>
                    </a:moveTo>
                    <a:cubicBezTo>
                      <a:pt x="369" y="137"/>
                      <a:pt x="370" y="138"/>
                      <a:pt x="370" y="137"/>
                    </a:cubicBezTo>
                    <a:moveTo>
                      <a:pt x="370" y="137"/>
                    </a:moveTo>
                    <a:cubicBezTo>
                      <a:pt x="371" y="137"/>
                      <a:pt x="371" y="136"/>
                      <a:pt x="371" y="136"/>
                    </a:cubicBezTo>
                    <a:moveTo>
                      <a:pt x="371" y="136"/>
                    </a:moveTo>
                    <a:cubicBezTo>
                      <a:pt x="373" y="136"/>
                      <a:pt x="374" y="135"/>
                      <a:pt x="374" y="134"/>
                    </a:cubicBezTo>
                    <a:moveTo>
                      <a:pt x="374" y="134"/>
                    </a:moveTo>
                    <a:cubicBezTo>
                      <a:pt x="385" y="129"/>
                      <a:pt x="395" y="122"/>
                      <a:pt x="405" y="116"/>
                    </a:cubicBezTo>
                    <a:moveTo>
                      <a:pt x="405" y="116"/>
                    </a:moveTo>
                    <a:cubicBezTo>
                      <a:pt x="409" y="117"/>
                      <a:pt x="405" y="113"/>
                      <a:pt x="405" y="116"/>
                    </a:cubicBezTo>
                    <a:moveTo>
                      <a:pt x="1142" y="119"/>
                    </a:moveTo>
                    <a:cubicBezTo>
                      <a:pt x="1142" y="118"/>
                      <a:pt x="1143" y="119"/>
                      <a:pt x="1142" y="119"/>
                    </a:cubicBezTo>
                    <a:close/>
                    <a:moveTo>
                      <a:pt x="365" y="119"/>
                    </a:moveTo>
                    <a:cubicBezTo>
                      <a:pt x="364" y="119"/>
                      <a:pt x="365" y="120"/>
                      <a:pt x="365" y="119"/>
                    </a:cubicBezTo>
                    <a:close/>
                    <a:moveTo>
                      <a:pt x="363" y="120"/>
                    </a:moveTo>
                    <a:cubicBezTo>
                      <a:pt x="361" y="121"/>
                      <a:pt x="363" y="122"/>
                      <a:pt x="363" y="120"/>
                    </a:cubicBezTo>
                    <a:moveTo>
                      <a:pt x="363" y="120"/>
                    </a:moveTo>
                    <a:cubicBezTo>
                      <a:pt x="364" y="120"/>
                      <a:pt x="363" y="119"/>
                      <a:pt x="363" y="120"/>
                    </a:cubicBezTo>
                    <a:moveTo>
                      <a:pt x="326" y="147"/>
                    </a:moveTo>
                    <a:cubicBezTo>
                      <a:pt x="312" y="157"/>
                      <a:pt x="291" y="166"/>
                      <a:pt x="308" y="182"/>
                    </a:cubicBezTo>
                    <a:cubicBezTo>
                      <a:pt x="333" y="161"/>
                      <a:pt x="362" y="143"/>
                      <a:pt x="385" y="120"/>
                    </a:cubicBezTo>
                    <a:cubicBezTo>
                      <a:pt x="360" y="124"/>
                      <a:pt x="343" y="136"/>
                      <a:pt x="326" y="147"/>
                    </a:cubicBezTo>
                    <a:close/>
                    <a:moveTo>
                      <a:pt x="360" y="122"/>
                    </a:moveTo>
                    <a:cubicBezTo>
                      <a:pt x="359" y="122"/>
                      <a:pt x="360" y="123"/>
                      <a:pt x="360" y="122"/>
                    </a:cubicBezTo>
                    <a:close/>
                    <a:moveTo>
                      <a:pt x="365" y="123"/>
                    </a:moveTo>
                    <a:cubicBezTo>
                      <a:pt x="364" y="123"/>
                      <a:pt x="365" y="124"/>
                      <a:pt x="365" y="123"/>
                    </a:cubicBezTo>
                    <a:close/>
                    <a:moveTo>
                      <a:pt x="357" y="124"/>
                    </a:moveTo>
                    <a:cubicBezTo>
                      <a:pt x="356" y="124"/>
                      <a:pt x="358" y="125"/>
                      <a:pt x="357" y="124"/>
                    </a:cubicBezTo>
                    <a:close/>
                    <a:moveTo>
                      <a:pt x="354" y="126"/>
                    </a:moveTo>
                    <a:cubicBezTo>
                      <a:pt x="354" y="126"/>
                      <a:pt x="355" y="127"/>
                      <a:pt x="354" y="126"/>
                    </a:cubicBezTo>
                    <a:close/>
                    <a:moveTo>
                      <a:pt x="910" y="129"/>
                    </a:moveTo>
                    <a:cubicBezTo>
                      <a:pt x="919" y="156"/>
                      <a:pt x="927" y="184"/>
                      <a:pt x="934" y="214"/>
                    </a:cubicBezTo>
                    <a:cubicBezTo>
                      <a:pt x="946" y="215"/>
                      <a:pt x="959" y="215"/>
                      <a:pt x="970" y="216"/>
                    </a:cubicBezTo>
                    <a:cubicBezTo>
                      <a:pt x="952" y="185"/>
                      <a:pt x="933" y="155"/>
                      <a:pt x="910" y="129"/>
                    </a:cubicBezTo>
                    <a:moveTo>
                      <a:pt x="910" y="129"/>
                    </a:moveTo>
                    <a:cubicBezTo>
                      <a:pt x="911" y="125"/>
                      <a:pt x="907" y="129"/>
                      <a:pt x="910" y="129"/>
                    </a:cubicBezTo>
                    <a:moveTo>
                      <a:pt x="1166" y="129"/>
                    </a:moveTo>
                    <a:cubicBezTo>
                      <a:pt x="1166" y="129"/>
                      <a:pt x="1167" y="130"/>
                      <a:pt x="1166" y="129"/>
                    </a:cubicBezTo>
                    <a:close/>
                    <a:moveTo>
                      <a:pt x="1222" y="166"/>
                    </a:moveTo>
                    <a:cubicBezTo>
                      <a:pt x="1218" y="155"/>
                      <a:pt x="1206" y="150"/>
                      <a:pt x="1198" y="144"/>
                    </a:cubicBezTo>
                    <a:cubicBezTo>
                      <a:pt x="1189" y="138"/>
                      <a:pt x="1180" y="130"/>
                      <a:pt x="1168" y="130"/>
                    </a:cubicBezTo>
                    <a:cubicBezTo>
                      <a:pt x="1187" y="141"/>
                      <a:pt x="1204" y="154"/>
                      <a:pt x="1222" y="166"/>
                    </a:cubicBezTo>
                    <a:close/>
                    <a:moveTo>
                      <a:pt x="1165" y="132"/>
                    </a:moveTo>
                    <a:cubicBezTo>
                      <a:pt x="1166" y="133"/>
                      <a:pt x="1165" y="132"/>
                      <a:pt x="1165" y="132"/>
                    </a:cubicBezTo>
                    <a:close/>
                    <a:moveTo>
                      <a:pt x="1169" y="134"/>
                    </a:moveTo>
                    <a:cubicBezTo>
                      <a:pt x="1187" y="147"/>
                      <a:pt x="1204" y="167"/>
                      <a:pt x="1220" y="178"/>
                    </a:cubicBezTo>
                    <a:cubicBezTo>
                      <a:pt x="1220" y="175"/>
                      <a:pt x="1223" y="174"/>
                      <a:pt x="1222" y="170"/>
                    </a:cubicBezTo>
                    <a:cubicBezTo>
                      <a:pt x="1206" y="157"/>
                      <a:pt x="1188" y="145"/>
                      <a:pt x="1169" y="134"/>
                    </a:cubicBezTo>
                    <a:moveTo>
                      <a:pt x="1169" y="134"/>
                    </a:moveTo>
                    <a:cubicBezTo>
                      <a:pt x="1168" y="132"/>
                      <a:pt x="1168" y="134"/>
                      <a:pt x="1169" y="134"/>
                    </a:cubicBezTo>
                    <a:moveTo>
                      <a:pt x="434" y="136"/>
                    </a:moveTo>
                    <a:cubicBezTo>
                      <a:pt x="433" y="136"/>
                      <a:pt x="433" y="136"/>
                      <a:pt x="433" y="137"/>
                    </a:cubicBezTo>
                    <a:moveTo>
                      <a:pt x="433" y="137"/>
                    </a:moveTo>
                    <a:cubicBezTo>
                      <a:pt x="401" y="157"/>
                      <a:pt x="372" y="180"/>
                      <a:pt x="345" y="205"/>
                    </a:cubicBezTo>
                    <a:cubicBezTo>
                      <a:pt x="357" y="209"/>
                      <a:pt x="367" y="213"/>
                      <a:pt x="379" y="215"/>
                    </a:cubicBezTo>
                    <a:cubicBezTo>
                      <a:pt x="394" y="187"/>
                      <a:pt x="413" y="162"/>
                      <a:pt x="433" y="137"/>
                    </a:cubicBezTo>
                    <a:moveTo>
                      <a:pt x="433" y="137"/>
                    </a:moveTo>
                    <a:cubicBezTo>
                      <a:pt x="434" y="137"/>
                      <a:pt x="434" y="136"/>
                      <a:pt x="434" y="136"/>
                    </a:cubicBezTo>
                    <a:moveTo>
                      <a:pt x="434" y="136"/>
                    </a:moveTo>
                    <a:cubicBezTo>
                      <a:pt x="435" y="135"/>
                      <a:pt x="434" y="135"/>
                      <a:pt x="434" y="136"/>
                    </a:cubicBezTo>
                    <a:moveTo>
                      <a:pt x="327" y="142"/>
                    </a:moveTo>
                    <a:cubicBezTo>
                      <a:pt x="327" y="141"/>
                      <a:pt x="328" y="142"/>
                      <a:pt x="327" y="142"/>
                    </a:cubicBezTo>
                    <a:close/>
                    <a:moveTo>
                      <a:pt x="325" y="143"/>
                    </a:moveTo>
                    <a:cubicBezTo>
                      <a:pt x="319" y="146"/>
                      <a:pt x="312" y="150"/>
                      <a:pt x="308" y="156"/>
                    </a:cubicBezTo>
                    <a:moveTo>
                      <a:pt x="308" y="156"/>
                    </a:moveTo>
                    <a:cubicBezTo>
                      <a:pt x="307" y="156"/>
                      <a:pt x="307" y="156"/>
                      <a:pt x="307" y="157"/>
                    </a:cubicBezTo>
                    <a:moveTo>
                      <a:pt x="307" y="157"/>
                    </a:moveTo>
                    <a:cubicBezTo>
                      <a:pt x="306" y="157"/>
                      <a:pt x="306" y="157"/>
                      <a:pt x="306" y="158"/>
                    </a:cubicBezTo>
                    <a:moveTo>
                      <a:pt x="306" y="158"/>
                    </a:moveTo>
                    <a:cubicBezTo>
                      <a:pt x="305" y="158"/>
                      <a:pt x="306" y="159"/>
                      <a:pt x="306" y="158"/>
                    </a:cubicBezTo>
                    <a:moveTo>
                      <a:pt x="306" y="158"/>
                    </a:moveTo>
                    <a:cubicBezTo>
                      <a:pt x="307" y="158"/>
                      <a:pt x="307" y="158"/>
                      <a:pt x="307" y="157"/>
                    </a:cubicBezTo>
                    <a:moveTo>
                      <a:pt x="307" y="157"/>
                    </a:moveTo>
                    <a:cubicBezTo>
                      <a:pt x="308" y="157"/>
                      <a:pt x="308" y="157"/>
                      <a:pt x="308" y="156"/>
                    </a:cubicBezTo>
                    <a:moveTo>
                      <a:pt x="308" y="156"/>
                    </a:moveTo>
                    <a:cubicBezTo>
                      <a:pt x="314" y="152"/>
                      <a:pt x="320" y="147"/>
                      <a:pt x="325" y="143"/>
                    </a:cubicBezTo>
                    <a:moveTo>
                      <a:pt x="325" y="143"/>
                    </a:moveTo>
                    <a:cubicBezTo>
                      <a:pt x="327" y="142"/>
                      <a:pt x="325" y="141"/>
                      <a:pt x="325" y="143"/>
                    </a:cubicBezTo>
                    <a:moveTo>
                      <a:pt x="338" y="163"/>
                    </a:moveTo>
                    <a:cubicBezTo>
                      <a:pt x="337" y="163"/>
                      <a:pt x="337" y="163"/>
                      <a:pt x="337" y="164"/>
                    </a:cubicBezTo>
                    <a:moveTo>
                      <a:pt x="337" y="164"/>
                    </a:moveTo>
                    <a:cubicBezTo>
                      <a:pt x="327" y="170"/>
                      <a:pt x="317" y="176"/>
                      <a:pt x="310" y="185"/>
                    </a:cubicBezTo>
                    <a:cubicBezTo>
                      <a:pt x="312" y="185"/>
                      <a:pt x="312" y="188"/>
                      <a:pt x="315" y="188"/>
                    </a:cubicBezTo>
                    <a:cubicBezTo>
                      <a:pt x="322" y="180"/>
                      <a:pt x="330" y="172"/>
                      <a:pt x="337" y="164"/>
                    </a:cubicBezTo>
                    <a:moveTo>
                      <a:pt x="337" y="164"/>
                    </a:moveTo>
                    <a:cubicBezTo>
                      <a:pt x="338" y="164"/>
                      <a:pt x="338" y="163"/>
                      <a:pt x="338" y="163"/>
                    </a:cubicBezTo>
                    <a:moveTo>
                      <a:pt x="338" y="163"/>
                    </a:moveTo>
                    <a:cubicBezTo>
                      <a:pt x="339" y="162"/>
                      <a:pt x="338" y="162"/>
                      <a:pt x="338" y="163"/>
                    </a:cubicBezTo>
                    <a:moveTo>
                      <a:pt x="648" y="165"/>
                    </a:moveTo>
                    <a:cubicBezTo>
                      <a:pt x="647" y="164"/>
                      <a:pt x="648" y="165"/>
                      <a:pt x="648" y="165"/>
                    </a:cubicBezTo>
                    <a:close/>
                    <a:moveTo>
                      <a:pt x="1279" y="213"/>
                    </a:moveTo>
                    <a:cubicBezTo>
                      <a:pt x="1279" y="213"/>
                      <a:pt x="1280" y="214"/>
                      <a:pt x="1280" y="214"/>
                    </a:cubicBezTo>
                    <a:moveTo>
                      <a:pt x="1280" y="214"/>
                    </a:moveTo>
                    <a:cubicBezTo>
                      <a:pt x="1280" y="214"/>
                      <a:pt x="1281" y="214"/>
                      <a:pt x="1281" y="215"/>
                    </a:cubicBezTo>
                    <a:moveTo>
                      <a:pt x="1281" y="215"/>
                    </a:moveTo>
                    <a:cubicBezTo>
                      <a:pt x="1281" y="215"/>
                      <a:pt x="1282" y="215"/>
                      <a:pt x="1282" y="215"/>
                    </a:cubicBezTo>
                    <a:moveTo>
                      <a:pt x="1282" y="215"/>
                    </a:moveTo>
                    <a:cubicBezTo>
                      <a:pt x="1282" y="216"/>
                      <a:pt x="1283" y="216"/>
                      <a:pt x="1283" y="216"/>
                    </a:cubicBezTo>
                    <a:moveTo>
                      <a:pt x="1283" y="216"/>
                    </a:moveTo>
                    <a:cubicBezTo>
                      <a:pt x="1283" y="217"/>
                      <a:pt x="1284" y="217"/>
                      <a:pt x="1284" y="217"/>
                    </a:cubicBezTo>
                    <a:moveTo>
                      <a:pt x="1284" y="217"/>
                    </a:moveTo>
                    <a:cubicBezTo>
                      <a:pt x="1284" y="218"/>
                      <a:pt x="1285" y="218"/>
                      <a:pt x="1285" y="218"/>
                    </a:cubicBezTo>
                    <a:moveTo>
                      <a:pt x="1285" y="218"/>
                    </a:moveTo>
                    <a:cubicBezTo>
                      <a:pt x="1285" y="219"/>
                      <a:pt x="1286" y="219"/>
                      <a:pt x="1286" y="219"/>
                    </a:cubicBezTo>
                    <a:moveTo>
                      <a:pt x="1286" y="219"/>
                    </a:moveTo>
                    <a:cubicBezTo>
                      <a:pt x="1286" y="220"/>
                      <a:pt x="1287" y="220"/>
                      <a:pt x="1287" y="220"/>
                    </a:cubicBezTo>
                    <a:moveTo>
                      <a:pt x="1287" y="220"/>
                    </a:moveTo>
                    <a:cubicBezTo>
                      <a:pt x="1288" y="222"/>
                      <a:pt x="1288" y="220"/>
                      <a:pt x="1287" y="220"/>
                    </a:cubicBezTo>
                    <a:moveTo>
                      <a:pt x="1287" y="220"/>
                    </a:moveTo>
                    <a:cubicBezTo>
                      <a:pt x="1287" y="219"/>
                      <a:pt x="1287" y="219"/>
                      <a:pt x="1286" y="219"/>
                    </a:cubicBezTo>
                    <a:moveTo>
                      <a:pt x="1286" y="219"/>
                    </a:moveTo>
                    <a:cubicBezTo>
                      <a:pt x="1286" y="219"/>
                      <a:pt x="1286" y="218"/>
                      <a:pt x="1285" y="218"/>
                    </a:cubicBezTo>
                    <a:moveTo>
                      <a:pt x="1285" y="218"/>
                    </a:moveTo>
                    <a:cubicBezTo>
                      <a:pt x="1285" y="218"/>
                      <a:pt x="1285" y="217"/>
                      <a:pt x="1284" y="217"/>
                    </a:cubicBezTo>
                    <a:moveTo>
                      <a:pt x="1284" y="217"/>
                    </a:moveTo>
                    <a:cubicBezTo>
                      <a:pt x="1284" y="217"/>
                      <a:pt x="1284" y="216"/>
                      <a:pt x="1283" y="216"/>
                    </a:cubicBezTo>
                    <a:moveTo>
                      <a:pt x="1283" y="216"/>
                    </a:moveTo>
                    <a:cubicBezTo>
                      <a:pt x="1283" y="216"/>
                      <a:pt x="1283" y="216"/>
                      <a:pt x="1282" y="215"/>
                    </a:cubicBezTo>
                    <a:moveTo>
                      <a:pt x="1282" y="215"/>
                    </a:moveTo>
                    <a:cubicBezTo>
                      <a:pt x="1283" y="215"/>
                      <a:pt x="1282" y="215"/>
                      <a:pt x="1281" y="215"/>
                    </a:cubicBezTo>
                    <a:moveTo>
                      <a:pt x="1281" y="215"/>
                    </a:moveTo>
                    <a:cubicBezTo>
                      <a:pt x="1282" y="214"/>
                      <a:pt x="1281" y="214"/>
                      <a:pt x="1280" y="214"/>
                    </a:cubicBezTo>
                    <a:moveTo>
                      <a:pt x="1280" y="214"/>
                    </a:moveTo>
                    <a:cubicBezTo>
                      <a:pt x="1281" y="213"/>
                      <a:pt x="1280" y="213"/>
                      <a:pt x="1279" y="213"/>
                    </a:cubicBezTo>
                    <a:moveTo>
                      <a:pt x="1279" y="213"/>
                    </a:moveTo>
                    <a:cubicBezTo>
                      <a:pt x="1262" y="195"/>
                      <a:pt x="1245" y="179"/>
                      <a:pt x="1225" y="165"/>
                    </a:cubicBezTo>
                    <a:cubicBezTo>
                      <a:pt x="1226" y="171"/>
                      <a:pt x="1233" y="175"/>
                      <a:pt x="1237" y="178"/>
                    </a:cubicBezTo>
                    <a:cubicBezTo>
                      <a:pt x="1251" y="189"/>
                      <a:pt x="1265" y="201"/>
                      <a:pt x="1279" y="213"/>
                    </a:cubicBezTo>
                    <a:moveTo>
                      <a:pt x="188" y="288"/>
                    </a:moveTo>
                    <a:cubicBezTo>
                      <a:pt x="205" y="283"/>
                      <a:pt x="212" y="269"/>
                      <a:pt x="223" y="257"/>
                    </a:cubicBezTo>
                    <a:cubicBezTo>
                      <a:pt x="250" y="230"/>
                      <a:pt x="277" y="206"/>
                      <a:pt x="305" y="183"/>
                    </a:cubicBezTo>
                    <a:cubicBezTo>
                      <a:pt x="301" y="179"/>
                      <a:pt x="300" y="173"/>
                      <a:pt x="298" y="167"/>
                    </a:cubicBezTo>
                    <a:cubicBezTo>
                      <a:pt x="257" y="204"/>
                      <a:pt x="219" y="243"/>
                      <a:pt x="188" y="288"/>
                    </a:cubicBezTo>
                    <a:close/>
                    <a:moveTo>
                      <a:pt x="1351" y="296"/>
                    </a:moveTo>
                    <a:cubicBezTo>
                      <a:pt x="1351" y="297"/>
                      <a:pt x="1352" y="297"/>
                      <a:pt x="1352" y="297"/>
                    </a:cubicBezTo>
                    <a:moveTo>
                      <a:pt x="1352" y="297"/>
                    </a:moveTo>
                    <a:cubicBezTo>
                      <a:pt x="1353" y="298"/>
                      <a:pt x="1354" y="297"/>
                      <a:pt x="1352" y="297"/>
                    </a:cubicBezTo>
                    <a:moveTo>
                      <a:pt x="1352" y="297"/>
                    </a:moveTo>
                    <a:cubicBezTo>
                      <a:pt x="1353" y="296"/>
                      <a:pt x="1352" y="296"/>
                      <a:pt x="1351" y="296"/>
                    </a:cubicBezTo>
                    <a:moveTo>
                      <a:pt x="1351" y="296"/>
                    </a:moveTo>
                    <a:cubicBezTo>
                      <a:pt x="1351" y="295"/>
                      <a:pt x="1351" y="293"/>
                      <a:pt x="1350" y="293"/>
                    </a:cubicBezTo>
                    <a:cubicBezTo>
                      <a:pt x="1320" y="252"/>
                      <a:pt x="1281" y="217"/>
                      <a:pt x="1241" y="185"/>
                    </a:cubicBezTo>
                    <a:cubicBezTo>
                      <a:pt x="1236" y="181"/>
                      <a:pt x="1231" y="174"/>
                      <a:pt x="1224" y="173"/>
                    </a:cubicBezTo>
                    <a:cubicBezTo>
                      <a:pt x="1218" y="183"/>
                      <a:pt x="1228" y="188"/>
                      <a:pt x="1233" y="194"/>
                    </a:cubicBezTo>
                    <a:cubicBezTo>
                      <a:pt x="1239" y="201"/>
                      <a:pt x="1244" y="208"/>
                      <a:pt x="1250" y="214"/>
                    </a:cubicBezTo>
                    <a:cubicBezTo>
                      <a:pt x="1267" y="233"/>
                      <a:pt x="1280" y="256"/>
                      <a:pt x="1300" y="274"/>
                    </a:cubicBezTo>
                    <a:cubicBezTo>
                      <a:pt x="1319" y="279"/>
                      <a:pt x="1335" y="288"/>
                      <a:pt x="1351" y="296"/>
                    </a:cubicBezTo>
                    <a:moveTo>
                      <a:pt x="1218" y="184"/>
                    </a:moveTo>
                    <a:cubicBezTo>
                      <a:pt x="1217" y="187"/>
                      <a:pt x="1213" y="188"/>
                      <a:pt x="1211" y="191"/>
                    </a:cubicBezTo>
                    <a:cubicBezTo>
                      <a:pt x="1231" y="205"/>
                      <a:pt x="1249" y="226"/>
                      <a:pt x="1267" y="239"/>
                    </a:cubicBezTo>
                    <a:cubicBezTo>
                      <a:pt x="1250" y="220"/>
                      <a:pt x="1237" y="199"/>
                      <a:pt x="1218" y="184"/>
                    </a:cubicBezTo>
                    <a:close/>
                    <a:moveTo>
                      <a:pt x="207" y="280"/>
                    </a:moveTo>
                    <a:cubicBezTo>
                      <a:pt x="206" y="280"/>
                      <a:pt x="207" y="281"/>
                      <a:pt x="207" y="280"/>
                    </a:cubicBezTo>
                    <a:moveTo>
                      <a:pt x="207" y="280"/>
                    </a:moveTo>
                    <a:cubicBezTo>
                      <a:pt x="225" y="274"/>
                      <a:pt x="241" y="267"/>
                      <a:pt x="260" y="263"/>
                    </a:cubicBezTo>
                    <a:cubicBezTo>
                      <a:pt x="272" y="244"/>
                      <a:pt x="285" y="224"/>
                      <a:pt x="299" y="206"/>
                    </a:cubicBezTo>
                    <a:cubicBezTo>
                      <a:pt x="304" y="200"/>
                      <a:pt x="311" y="196"/>
                      <a:pt x="312" y="189"/>
                    </a:cubicBezTo>
                    <a:cubicBezTo>
                      <a:pt x="306" y="183"/>
                      <a:pt x="301" y="190"/>
                      <a:pt x="297" y="193"/>
                    </a:cubicBezTo>
                    <a:cubicBezTo>
                      <a:pt x="268" y="218"/>
                      <a:pt x="231" y="250"/>
                      <a:pt x="207" y="280"/>
                    </a:cubicBezTo>
                    <a:moveTo>
                      <a:pt x="267" y="192"/>
                    </a:moveTo>
                    <a:cubicBezTo>
                      <a:pt x="266" y="192"/>
                      <a:pt x="266" y="193"/>
                      <a:pt x="266" y="193"/>
                    </a:cubicBezTo>
                    <a:moveTo>
                      <a:pt x="266" y="193"/>
                    </a:moveTo>
                    <a:cubicBezTo>
                      <a:pt x="265" y="193"/>
                      <a:pt x="265" y="194"/>
                      <a:pt x="265" y="194"/>
                    </a:cubicBezTo>
                    <a:moveTo>
                      <a:pt x="265" y="194"/>
                    </a:moveTo>
                    <a:cubicBezTo>
                      <a:pt x="264" y="194"/>
                      <a:pt x="264" y="195"/>
                      <a:pt x="264" y="195"/>
                    </a:cubicBezTo>
                    <a:moveTo>
                      <a:pt x="264" y="195"/>
                    </a:moveTo>
                    <a:cubicBezTo>
                      <a:pt x="263" y="195"/>
                      <a:pt x="263" y="196"/>
                      <a:pt x="263" y="196"/>
                    </a:cubicBezTo>
                    <a:moveTo>
                      <a:pt x="263" y="196"/>
                    </a:moveTo>
                    <a:cubicBezTo>
                      <a:pt x="262" y="196"/>
                      <a:pt x="262" y="197"/>
                      <a:pt x="262" y="197"/>
                    </a:cubicBezTo>
                    <a:moveTo>
                      <a:pt x="262" y="197"/>
                    </a:moveTo>
                    <a:cubicBezTo>
                      <a:pt x="261" y="197"/>
                      <a:pt x="261" y="198"/>
                      <a:pt x="261" y="198"/>
                    </a:cubicBezTo>
                    <a:moveTo>
                      <a:pt x="261" y="198"/>
                    </a:moveTo>
                    <a:cubicBezTo>
                      <a:pt x="222" y="229"/>
                      <a:pt x="189" y="265"/>
                      <a:pt x="159" y="305"/>
                    </a:cubicBezTo>
                    <a:moveTo>
                      <a:pt x="159" y="305"/>
                    </a:moveTo>
                    <a:cubicBezTo>
                      <a:pt x="158" y="305"/>
                      <a:pt x="158" y="305"/>
                      <a:pt x="158" y="306"/>
                    </a:cubicBezTo>
                    <a:moveTo>
                      <a:pt x="158" y="306"/>
                    </a:moveTo>
                    <a:cubicBezTo>
                      <a:pt x="157" y="306"/>
                      <a:pt x="158" y="307"/>
                      <a:pt x="158" y="306"/>
                    </a:cubicBezTo>
                    <a:moveTo>
                      <a:pt x="158" y="306"/>
                    </a:moveTo>
                    <a:cubicBezTo>
                      <a:pt x="159" y="306"/>
                      <a:pt x="159" y="305"/>
                      <a:pt x="159" y="305"/>
                    </a:cubicBezTo>
                    <a:moveTo>
                      <a:pt x="159" y="305"/>
                    </a:moveTo>
                    <a:cubicBezTo>
                      <a:pt x="167" y="301"/>
                      <a:pt x="173" y="295"/>
                      <a:pt x="182" y="292"/>
                    </a:cubicBezTo>
                    <a:cubicBezTo>
                      <a:pt x="205" y="258"/>
                      <a:pt x="232" y="227"/>
                      <a:pt x="261" y="198"/>
                    </a:cubicBezTo>
                    <a:moveTo>
                      <a:pt x="261" y="198"/>
                    </a:moveTo>
                    <a:cubicBezTo>
                      <a:pt x="262" y="198"/>
                      <a:pt x="262" y="198"/>
                      <a:pt x="262" y="197"/>
                    </a:cubicBezTo>
                    <a:moveTo>
                      <a:pt x="262" y="197"/>
                    </a:moveTo>
                    <a:cubicBezTo>
                      <a:pt x="263" y="197"/>
                      <a:pt x="263" y="197"/>
                      <a:pt x="263" y="196"/>
                    </a:cubicBezTo>
                    <a:moveTo>
                      <a:pt x="263" y="196"/>
                    </a:moveTo>
                    <a:cubicBezTo>
                      <a:pt x="264" y="196"/>
                      <a:pt x="264" y="196"/>
                      <a:pt x="264" y="195"/>
                    </a:cubicBezTo>
                    <a:moveTo>
                      <a:pt x="264" y="195"/>
                    </a:moveTo>
                    <a:cubicBezTo>
                      <a:pt x="265" y="195"/>
                      <a:pt x="265" y="195"/>
                      <a:pt x="265" y="194"/>
                    </a:cubicBezTo>
                    <a:moveTo>
                      <a:pt x="265" y="194"/>
                    </a:moveTo>
                    <a:cubicBezTo>
                      <a:pt x="266" y="195"/>
                      <a:pt x="266" y="194"/>
                      <a:pt x="266" y="193"/>
                    </a:cubicBezTo>
                    <a:moveTo>
                      <a:pt x="266" y="193"/>
                    </a:moveTo>
                    <a:cubicBezTo>
                      <a:pt x="266" y="194"/>
                      <a:pt x="267" y="193"/>
                      <a:pt x="267" y="192"/>
                    </a:cubicBezTo>
                    <a:moveTo>
                      <a:pt x="267" y="192"/>
                    </a:moveTo>
                    <a:cubicBezTo>
                      <a:pt x="268" y="192"/>
                      <a:pt x="267" y="191"/>
                      <a:pt x="267" y="192"/>
                    </a:cubicBezTo>
                    <a:moveTo>
                      <a:pt x="265" y="261"/>
                    </a:moveTo>
                    <a:cubicBezTo>
                      <a:pt x="263" y="261"/>
                      <a:pt x="265" y="262"/>
                      <a:pt x="265" y="261"/>
                    </a:cubicBezTo>
                    <a:moveTo>
                      <a:pt x="265" y="261"/>
                    </a:moveTo>
                    <a:cubicBezTo>
                      <a:pt x="274" y="259"/>
                      <a:pt x="281" y="256"/>
                      <a:pt x="291" y="255"/>
                    </a:cubicBezTo>
                    <a:cubicBezTo>
                      <a:pt x="305" y="236"/>
                      <a:pt x="324" y="222"/>
                      <a:pt x="340" y="205"/>
                    </a:cubicBezTo>
                    <a:cubicBezTo>
                      <a:pt x="330" y="202"/>
                      <a:pt x="323" y="196"/>
                      <a:pt x="315" y="192"/>
                    </a:cubicBezTo>
                    <a:cubicBezTo>
                      <a:pt x="296" y="214"/>
                      <a:pt x="279" y="236"/>
                      <a:pt x="265" y="261"/>
                    </a:cubicBezTo>
                    <a:moveTo>
                      <a:pt x="1208" y="192"/>
                    </a:moveTo>
                    <a:cubicBezTo>
                      <a:pt x="1198" y="200"/>
                      <a:pt x="1184" y="204"/>
                      <a:pt x="1173" y="211"/>
                    </a:cubicBezTo>
                    <a:cubicBezTo>
                      <a:pt x="1184" y="223"/>
                      <a:pt x="1187" y="240"/>
                      <a:pt x="1203" y="247"/>
                    </a:cubicBezTo>
                    <a:cubicBezTo>
                      <a:pt x="1215" y="253"/>
                      <a:pt x="1231" y="253"/>
                      <a:pt x="1246" y="257"/>
                    </a:cubicBezTo>
                    <a:cubicBezTo>
                      <a:pt x="1260" y="261"/>
                      <a:pt x="1274" y="266"/>
                      <a:pt x="1287" y="269"/>
                    </a:cubicBezTo>
                    <a:cubicBezTo>
                      <a:pt x="1267" y="238"/>
                      <a:pt x="1237" y="216"/>
                      <a:pt x="1208" y="192"/>
                    </a:cubicBezTo>
                    <a:close/>
                    <a:moveTo>
                      <a:pt x="637" y="198"/>
                    </a:moveTo>
                    <a:cubicBezTo>
                      <a:pt x="636" y="202"/>
                      <a:pt x="630" y="210"/>
                      <a:pt x="633" y="212"/>
                    </a:cubicBezTo>
                    <a:cubicBezTo>
                      <a:pt x="638" y="210"/>
                      <a:pt x="636" y="203"/>
                      <a:pt x="637" y="198"/>
                    </a:cubicBezTo>
                    <a:moveTo>
                      <a:pt x="637" y="198"/>
                    </a:moveTo>
                    <a:cubicBezTo>
                      <a:pt x="640" y="198"/>
                      <a:pt x="636" y="194"/>
                      <a:pt x="637" y="198"/>
                    </a:cubicBezTo>
                    <a:moveTo>
                      <a:pt x="1072" y="226"/>
                    </a:moveTo>
                    <a:cubicBezTo>
                      <a:pt x="1076" y="226"/>
                      <a:pt x="1083" y="228"/>
                      <a:pt x="1085" y="227"/>
                    </a:cubicBezTo>
                    <a:cubicBezTo>
                      <a:pt x="1077" y="219"/>
                      <a:pt x="1070" y="209"/>
                      <a:pt x="1062" y="201"/>
                    </a:cubicBezTo>
                    <a:cubicBezTo>
                      <a:pt x="1065" y="210"/>
                      <a:pt x="1069" y="217"/>
                      <a:pt x="1072" y="226"/>
                    </a:cubicBezTo>
                    <a:close/>
                    <a:moveTo>
                      <a:pt x="342" y="207"/>
                    </a:moveTo>
                    <a:cubicBezTo>
                      <a:pt x="327" y="222"/>
                      <a:pt x="310" y="236"/>
                      <a:pt x="296" y="253"/>
                    </a:cubicBezTo>
                    <a:cubicBezTo>
                      <a:pt x="319" y="247"/>
                      <a:pt x="343" y="243"/>
                      <a:pt x="366" y="239"/>
                    </a:cubicBezTo>
                    <a:cubicBezTo>
                      <a:pt x="370" y="231"/>
                      <a:pt x="374" y="225"/>
                      <a:pt x="377" y="217"/>
                    </a:cubicBezTo>
                    <a:cubicBezTo>
                      <a:pt x="364" y="215"/>
                      <a:pt x="354" y="210"/>
                      <a:pt x="342" y="207"/>
                    </a:cubicBezTo>
                    <a:close/>
                    <a:moveTo>
                      <a:pt x="745" y="212"/>
                    </a:moveTo>
                    <a:cubicBezTo>
                      <a:pt x="745" y="226"/>
                      <a:pt x="744" y="240"/>
                      <a:pt x="743" y="254"/>
                    </a:cubicBezTo>
                    <a:cubicBezTo>
                      <a:pt x="757" y="253"/>
                      <a:pt x="774" y="255"/>
                      <a:pt x="786" y="253"/>
                    </a:cubicBezTo>
                    <a:cubicBezTo>
                      <a:pt x="784" y="241"/>
                      <a:pt x="786" y="224"/>
                      <a:pt x="784" y="212"/>
                    </a:cubicBezTo>
                    <a:cubicBezTo>
                      <a:pt x="773" y="210"/>
                      <a:pt x="756" y="210"/>
                      <a:pt x="745" y="212"/>
                    </a:cubicBezTo>
                    <a:close/>
                    <a:moveTo>
                      <a:pt x="1176" y="220"/>
                    </a:moveTo>
                    <a:cubicBezTo>
                      <a:pt x="1176" y="221"/>
                      <a:pt x="1176" y="221"/>
                      <a:pt x="1177" y="221"/>
                    </a:cubicBezTo>
                    <a:moveTo>
                      <a:pt x="1177" y="221"/>
                    </a:moveTo>
                    <a:cubicBezTo>
                      <a:pt x="1177" y="223"/>
                      <a:pt x="1178" y="221"/>
                      <a:pt x="1177" y="221"/>
                    </a:cubicBezTo>
                    <a:moveTo>
                      <a:pt x="1177" y="221"/>
                    </a:moveTo>
                    <a:cubicBezTo>
                      <a:pt x="1177" y="220"/>
                      <a:pt x="1176" y="220"/>
                      <a:pt x="1176" y="220"/>
                    </a:cubicBezTo>
                    <a:moveTo>
                      <a:pt x="1176" y="220"/>
                    </a:moveTo>
                    <a:cubicBezTo>
                      <a:pt x="1174" y="216"/>
                      <a:pt x="1171" y="207"/>
                      <a:pt x="1166" y="213"/>
                    </a:cubicBezTo>
                    <a:cubicBezTo>
                      <a:pt x="1170" y="214"/>
                      <a:pt x="1172" y="218"/>
                      <a:pt x="1176" y="220"/>
                    </a:cubicBezTo>
                    <a:moveTo>
                      <a:pt x="639" y="214"/>
                    </a:moveTo>
                    <a:cubicBezTo>
                      <a:pt x="637" y="225"/>
                      <a:pt x="635" y="238"/>
                      <a:pt x="633" y="251"/>
                    </a:cubicBezTo>
                    <a:cubicBezTo>
                      <a:pt x="669" y="252"/>
                      <a:pt x="704" y="254"/>
                      <a:pt x="741" y="254"/>
                    </a:cubicBezTo>
                    <a:cubicBezTo>
                      <a:pt x="741" y="239"/>
                      <a:pt x="742" y="225"/>
                      <a:pt x="743" y="212"/>
                    </a:cubicBezTo>
                    <a:cubicBezTo>
                      <a:pt x="707" y="211"/>
                      <a:pt x="673" y="213"/>
                      <a:pt x="639" y="214"/>
                    </a:cubicBezTo>
                    <a:close/>
                    <a:moveTo>
                      <a:pt x="787" y="212"/>
                    </a:moveTo>
                    <a:cubicBezTo>
                      <a:pt x="786" y="227"/>
                      <a:pt x="789" y="239"/>
                      <a:pt x="788" y="254"/>
                    </a:cubicBezTo>
                    <a:cubicBezTo>
                      <a:pt x="815" y="254"/>
                      <a:pt x="840" y="252"/>
                      <a:pt x="867" y="252"/>
                    </a:cubicBezTo>
                    <a:cubicBezTo>
                      <a:pt x="863" y="238"/>
                      <a:pt x="860" y="225"/>
                      <a:pt x="856" y="213"/>
                    </a:cubicBezTo>
                    <a:cubicBezTo>
                      <a:pt x="834" y="212"/>
                      <a:pt x="811" y="211"/>
                      <a:pt x="787" y="212"/>
                    </a:cubicBezTo>
                    <a:close/>
                    <a:moveTo>
                      <a:pt x="870" y="251"/>
                    </a:moveTo>
                    <a:cubicBezTo>
                      <a:pt x="891" y="251"/>
                      <a:pt x="917" y="249"/>
                      <a:pt x="938" y="247"/>
                    </a:cubicBezTo>
                    <a:cubicBezTo>
                      <a:pt x="937" y="236"/>
                      <a:pt x="934" y="227"/>
                      <a:pt x="932" y="216"/>
                    </a:cubicBezTo>
                    <a:cubicBezTo>
                      <a:pt x="909" y="214"/>
                      <a:pt x="884" y="214"/>
                      <a:pt x="861" y="213"/>
                    </a:cubicBezTo>
                    <a:cubicBezTo>
                      <a:pt x="864" y="226"/>
                      <a:pt x="868" y="237"/>
                      <a:pt x="870" y="251"/>
                    </a:cubicBezTo>
                    <a:close/>
                    <a:moveTo>
                      <a:pt x="1190" y="244"/>
                    </a:moveTo>
                    <a:cubicBezTo>
                      <a:pt x="1191" y="246"/>
                      <a:pt x="1191" y="244"/>
                      <a:pt x="1190" y="244"/>
                    </a:cubicBezTo>
                    <a:moveTo>
                      <a:pt x="1190" y="244"/>
                    </a:moveTo>
                    <a:cubicBezTo>
                      <a:pt x="1184" y="231"/>
                      <a:pt x="1173" y="222"/>
                      <a:pt x="1162" y="213"/>
                    </a:cubicBezTo>
                    <a:cubicBezTo>
                      <a:pt x="1143" y="221"/>
                      <a:pt x="1120" y="224"/>
                      <a:pt x="1099" y="230"/>
                    </a:cubicBezTo>
                    <a:cubicBezTo>
                      <a:pt x="1131" y="233"/>
                      <a:pt x="1160" y="239"/>
                      <a:pt x="1190" y="244"/>
                    </a:cubicBezTo>
                    <a:moveTo>
                      <a:pt x="632" y="214"/>
                    </a:moveTo>
                    <a:cubicBezTo>
                      <a:pt x="625" y="223"/>
                      <a:pt x="622" y="237"/>
                      <a:pt x="618" y="250"/>
                    </a:cubicBezTo>
                    <a:cubicBezTo>
                      <a:pt x="622" y="250"/>
                      <a:pt x="626" y="250"/>
                      <a:pt x="630" y="250"/>
                    </a:cubicBezTo>
                    <a:cubicBezTo>
                      <a:pt x="631" y="238"/>
                      <a:pt x="633" y="225"/>
                      <a:pt x="635" y="214"/>
                    </a:cubicBezTo>
                    <a:cubicBezTo>
                      <a:pt x="634" y="214"/>
                      <a:pt x="633" y="214"/>
                      <a:pt x="632" y="214"/>
                    </a:cubicBezTo>
                    <a:close/>
                    <a:moveTo>
                      <a:pt x="515" y="222"/>
                    </a:moveTo>
                    <a:cubicBezTo>
                      <a:pt x="512" y="228"/>
                      <a:pt x="507" y="233"/>
                      <a:pt x="505" y="239"/>
                    </a:cubicBezTo>
                    <a:cubicBezTo>
                      <a:pt x="541" y="243"/>
                      <a:pt x="576" y="248"/>
                      <a:pt x="615" y="249"/>
                    </a:cubicBezTo>
                    <a:cubicBezTo>
                      <a:pt x="619" y="237"/>
                      <a:pt x="623" y="226"/>
                      <a:pt x="628" y="215"/>
                    </a:cubicBezTo>
                    <a:cubicBezTo>
                      <a:pt x="589" y="216"/>
                      <a:pt x="552" y="218"/>
                      <a:pt x="515" y="222"/>
                    </a:cubicBezTo>
                    <a:close/>
                    <a:moveTo>
                      <a:pt x="941" y="247"/>
                    </a:moveTo>
                    <a:cubicBezTo>
                      <a:pt x="956" y="246"/>
                      <a:pt x="972" y="245"/>
                      <a:pt x="986" y="242"/>
                    </a:cubicBezTo>
                    <a:cubicBezTo>
                      <a:pt x="980" y="235"/>
                      <a:pt x="978" y="225"/>
                      <a:pt x="971" y="219"/>
                    </a:cubicBezTo>
                    <a:cubicBezTo>
                      <a:pt x="960" y="218"/>
                      <a:pt x="947" y="217"/>
                      <a:pt x="935" y="216"/>
                    </a:cubicBezTo>
                    <a:cubicBezTo>
                      <a:pt x="936" y="227"/>
                      <a:pt x="939" y="236"/>
                      <a:pt x="941" y="247"/>
                    </a:cubicBezTo>
                    <a:close/>
                    <a:moveTo>
                      <a:pt x="370" y="238"/>
                    </a:moveTo>
                    <a:cubicBezTo>
                      <a:pt x="369" y="238"/>
                      <a:pt x="370" y="239"/>
                      <a:pt x="370" y="238"/>
                    </a:cubicBezTo>
                    <a:moveTo>
                      <a:pt x="370" y="238"/>
                    </a:moveTo>
                    <a:cubicBezTo>
                      <a:pt x="384" y="235"/>
                      <a:pt x="401" y="237"/>
                      <a:pt x="406" y="225"/>
                    </a:cubicBezTo>
                    <a:cubicBezTo>
                      <a:pt x="396" y="224"/>
                      <a:pt x="389" y="220"/>
                      <a:pt x="379" y="219"/>
                    </a:cubicBezTo>
                    <a:cubicBezTo>
                      <a:pt x="377" y="226"/>
                      <a:pt x="372" y="230"/>
                      <a:pt x="370" y="238"/>
                    </a:cubicBezTo>
                    <a:moveTo>
                      <a:pt x="989" y="242"/>
                    </a:moveTo>
                    <a:cubicBezTo>
                      <a:pt x="1017" y="239"/>
                      <a:pt x="1047" y="238"/>
                      <a:pt x="1071" y="230"/>
                    </a:cubicBezTo>
                    <a:cubicBezTo>
                      <a:pt x="1042" y="224"/>
                      <a:pt x="1008" y="222"/>
                      <a:pt x="976" y="219"/>
                    </a:cubicBezTo>
                    <a:cubicBezTo>
                      <a:pt x="980" y="227"/>
                      <a:pt x="984" y="235"/>
                      <a:pt x="989" y="242"/>
                    </a:cubicBezTo>
                    <a:close/>
                    <a:moveTo>
                      <a:pt x="497" y="223"/>
                    </a:moveTo>
                    <a:cubicBezTo>
                      <a:pt x="494" y="227"/>
                      <a:pt x="494" y="233"/>
                      <a:pt x="491" y="238"/>
                    </a:cubicBezTo>
                    <a:cubicBezTo>
                      <a:pt x="495" y="237"/>
                      <a:pt x="497" y="239"/>
                      <a:pt x="502" y="239"/>
                    </a:cubicBezTo>
                    <a:cubicBezTo>
                      <a:pt x="504" y="232"/>
                      <a:pt x="509" y="228"/>
                      <a:pt x="511" y="222"/>
                    </a:cubicBezTo>
                    <a:cubicBezTo>
                      <a:pt x="507" y="223"/>
                      <a:pt x="503" y="224"/>
                      <a:pt x="497" y="223"/>
                    </a:cubicBezTo>
                    <a:close/>
                    <a:moveTo>
                      <a:pt x="1178" y="224"/>
                    </a:moveTo>
                    <a:cubicBezTo>
                      <a:pt x="1177" y="224"/>
                      <a:pt x="1178" y="225"/>
                      <a:pt x="1178" y="224"/>
                    </a:cubicBezTo>
                    <a:close/>
                    <a:moveTo>
                      <a:pt x="445" y="231"/>
                    </a:moveTo>
                    <a:cubicBezTo>
                      <a:pt x="460" y="233"/>
                      <a:pt x="475" y="235"/>
                      <a:pt x="489" y="238"/>
                    </a:cubicBezTo>
                    <a:cubicBezTo>
                      <a:pt x="490" y="232"/>
                      <a:pt x="492" y="229"/>
                      <a:pt x="493" y="224"/>
                    </a:cubicBezTo>
                    <a:cubicBezTo>
                      <a:pt x="477" y="226"/>
                      <a:pt x="459" y="226"/>
                      <a:pt x="445" y="231"/>
                    </a:cubicBezTo>
                    <a:close/>
                    <a:moveTo>
                      <a:pt x="421" y="230"/>
                    </a:moveTo>
                    <a:cubicBezTo>
                      <a:pt x="423" y="230"/>
                      <a:pt x="429" y="229"/>
                      <a:pt x="424" y="229"/>
                    </a:cubicBezTo>
                    <a:cubicBezTo>
                      <a:pt x="419" y="228"/>
                      <a:pt x="414" y="227"/>
                      <a:pt x="409" y="226"/>
                    </a:cubicBezTo>
                    <a:cubicBezTo>
                      <a:pt x="407" y="229"/>
                      <a:pt x="404" y="230"/>
                      <a:pt x="403" y="233"/>
                    </a:cubicBezTo>
                    <a:cubicBezTo>
                      <a:pt x="409" y="232"/>
                      <a:pt x="416" y="231"/>
                      <a:pt x="421" y="230"/>
                    </a:cubicBezTo>
                    <a:close/>
                    <a:moveTo>
                      <a:pt x="1079" y="230"/>
                    </a:moveTo>
                    <a:cubicBezTo>
                      <a:pt x="1078" y="229"/>
                      <a:pt x="1073" y="228"/>
                      <a:pt x="1073" y="230"/>
                    </a:cubicBezTo>
                    <a:cubicBezTo>
                      <a:pt x="1074" y="231"/>
                      <a:pt x="1078" y="232"/>
                      <a:pt x="1079" y="230"/>
                    </a:cubicBezTo>
                    <a:close/>
                    <a:moveTo>
                      <a:pt x="309" y="418"/>
                    </a:moveTo>
                    <a:cubicBezTo>
                      <a:pt x="307" y="419"/>
                      <a:pt x="309" y="419"/>
                      <a:pt x="309" y="418"/>
                    </a:cubicBezTo>
                    <a:moveTo>
                      <a:pt x="309" y="418"/>
                    </a:moveTo>
                    <a:cubicBezTo>
                      <a:pt x="345" y="412"/>
                      <a:pt x="381" y="406"/>
                      <a:pt x="418" y="401"/>
                    </a:cubicBezTo>
                    <a:cubicBezTo>
                      <a:pt x="436" y="359"/>
                      <a:pt x="455" y="318"/>
                      <a:pt x="477" y="281"/>
                    </a:cubicBezTo>
                    <a:cubicBezTo>
                      <a:pt x="479" y="266"/>
                      <a:pt x="484" y="253"/>
                      <a:pt x="488" y="239"/>
                    </a:cubicBezTo>
                    <a:cubicBezTo>
                      <a:pt x="458" y="236"/>
                      <a:pt x="431" y="227"/>
                      <a:pt x="401" y="236"/>
                    </a:cubicBezTo>
                    <a:cubicBezTo>
                      <a:pt x="376" y="263"/>
                      <a:pt x="355" y="294"/>
                      <a:pt x="333" y="324"/>
                    </a:cubicBezTo>
                    <a:cubicBezTo>
                      <a:pt x="324" y="355"/>
                      <a:pt x="314" y="384"/>
                      <a:pt x="309" y="418"/>
                    </a:cubicBezTo>
                    <a:moveTo>
                      <a:pt x="1092" y="232"/>
                    </a:moveTo>
                    <a:cubicBezTo>
                      <a:pt x="1137" y="288"/>
                      <a:pt x="1175" y="350"/>
                      <a:pt x="1208" y="417"/>
                    </a:cubicBezTo>
                    <a:cubicBezTo>
                      <a:pt x="1224" y="419"/>
                      <a:pt x="1240" y="426"/>
                      <a:pt x="1256" y="425"/>
                    </a:cubicBezTo>
                    <a:cubicBezTo>
                      <a:pt x="1244" y="360"/>
                      <a:pt x="1220" y="299"/>
                      <a:pt x="1192" y="247"/>
                    </a:cubicBezTo>
                    <a:cubicBezTo>
                      <a:pt x="1159" y="242"/>
                      <a:pt x="1128" y="235"/>
                      <a:pt x="1092" y="232"/>
                    </a:cubicBezTo>
                    <a:moveTo>
                      <a:pt x="1092" y="232"/>
                    </a:moveTo>
                    <a:cubicBezTo>
                      <a:pt x="1092" y="230"/>
                      <a:pt x="1091" y="232"/>
                      <a:pt x="1092" y="232"/>
                    </a:cubicBezTo>
                    <a:moveTo>
                      <a:pt x="1104" y="252"/>
                    </a:moveTo>
                    <a:cubicBezTo>
                      <a:pt x="1096" y="241"/>
                      <a:pt x="1089" y="225"/>
                      <a:pt x="1075" y="235"/>
                    </a:cubicBezTo>
                    <a:cubicBezTo>
                      <a:pt x="1096" y="285"/>
                      <a:pt x="1109" y="342"/>
                      <a:pt x="1119" y="403"/>
                    </a:cubicBezTo>
                    <a:cubicBezTo>
                      <a:pt x="1148" y="406"/>
                      <a:pt x="1178" y="413"/>
                      <a:pt x="1205" y="415"/>
                    </a:cubicBezTo>
                    <a:cubicBezTo>
                      <a:pt x="1178" y="360"/>
                      <a:pt x="1141" y="300"/>
                      <a:pt x="1104" y="252"/>
                    </a:cubicBezTo>
                    <a:close/>
                    <a:moveTo>
                      <a:pt x="990" y="245"/>
                    </a:moveTo>
                    <a:cubicBezTo>
                      <a:pt x="1015" y="293"/>
                      <a:pt x="1038" y="342"/>
                      <a:pt x="1057" y="395"/>
                    </a:cubicBezTo>
                    <a:cubicBezTo>
                      <a:pt x="1077" y="398"/>
                      <a:pt x="1097" y="399"/>
                      <a:pt x="1116" y="403"/>
                    </a:cubicBezTo>
                    <a:cubicBezTo>
                      <a:pt x="1108" y="349"/>
                      <a:pt x="1096" y="297"/>
                      <a:pt x="1080" y="252"/>
                    </a:cubicBezTo>
                    <a:cubicBezTo>
                      <a:pt x="1078" y="246"/>
                      <a:pt x="1076" y="238"/>
                      <a:pt x="1070" y="235"/>
                    </a:cubicBezTo>
                    <a:cubicBezTo>
                      <a:pt x="1044" y="239"/>
                      <a:pt x="1018" y="243"/>
                      <a:pt x="990" y="245"/>
                    </a:cubicBezTo>
                    <a:close/>
                    <a:moveTo>
                      <a:pt x="368" y="240"/>
                    </a:moveTo>
                    <a:cubicBezTo>
                      <a:pt x="357" y="263"/>
                      <a:pt x="345" y="288"/>
                      <a:pt x="339" y="312"/>
                    </a:cubicBezTo>
                    <a:cubicBezTo>
                      <a:pt x="353" y="289"/>
                      <a:pt x="373" y="265"/>
                      <a:pt x="390" y="245"/>
                    </a:cubicBezTo>
                    <a:cubicBezTo>
                      <a:pt x="392" y="243"/>
                      <a:pt x="395" y="239"/>
                      <a:pt x="394" y="237"/>
                    </a:cubicBezTo>
                    <a:cubicBezTo>
                      <a:pt x="386" y="238"/>
                      <a:pt x="378" y="240"/>
                      <a:pt x="368" y="240"/>
                    </a:cubicBezTo>
                    <a:close/>
                    <a:moveTo>
                      <a:pt x="483" y="268"/>
                    </a:moveTo>
                    <a:cubicBezTo>
                      <a:pt x="480" y="268"/>
                      <a:pt x="484" y="272"/>
                      <a:pt x="483" y="268"/>
                    </a:cubicBezTo>
                    <a:moveTo>
                      <a:pt x="483" y="268"/>
                    </a:moveTo>
                    <a:cubicBezTo>
                      <a:pt x="489" y="260"/>
                      <a:pt x="494" y="251"/>
                      <a:pt x="499" y="241"/>
                    </a:cubicBezTo>
                    <a:cubicBezTo>
                      <a:pt x="496" y="241"/>
                      <a:pt x="494" y="240"/>
                      <a:pt x="490" y="240"/>
                    </a:cubicBezTo>
                    <a:cubicBezTo>
                      <a:pt x="488" y="250"/>
                      <a:pt x="484" y="258"/>
                      <a:pt x="483" y="268"/>
                    </a:cubicBezTo>
                    <a:moveTo>
                      <a:pt x="327" y="249"/>
                    </a:moveTo>
                    <a:cubicBezTo>
                      <a:pt x="315" y="252"/>
                      <a:pt x="301" y="252"/>
                      <a:pt x="294" y="256"/>
                    </a:cubicBezTo>
                    <a:cubicBezTo>
                      <a:pt x="288" y="259"/>
                      <a:pt x="279" y="270"/>
                      <a:pt x="273" y="277"/>
                    </a:cubicBezTo>
                    <a:cubicBezTo>
                      <a:pt x="242" y="313"/>
                      <a:pt x="211" y="348"/>
                      <a:pt x="198" y="402"/>
                    </a:cubicBezTo>
                    <a:cubicBezTo>
                      <a:pt x="222" y="411"/>
                      <a:pt x="245" y="420"/>
                      <a:pt x="271" y="426"/>
                    </a:cubicBezTo>
                    <a:cubicBezTo>
                      <a:pt x="285" y="399"/>
                      <a:pt x="300" y="372"/>
                      <a:pt x="316" y="347"/>
                    </a:cubicBezTo>
                    <a:cubicBezTo>
                      <a:pt x="321" y="339"/>
                      <a:pt x="328" y="330"/>
                      <a:pt x="332" y="322"/>
                    </a:cubicBezTo>
                    <a:cubicBezTo>
                      <a:pt x="344" y="296"/>
                      <a:pt x="348" y="268"/>
                      <a:pt x="365" y="243"/>
                    </a:cubicBezTo>
                    <a:cubicBezTo>
                      <a:pt x="364" y="243"/>
                      <a:pt x="365" y="241"/>
                      <a:pt x="364" y="241"/>
                    </a:cubicBezTo>
                    <a:cubicBezTo>
                      <a:pt x="353" y="243"/>
                      <a:pt x="340" y="246"/>
                      <a:pt x="327" y="249"/>
                    </a:cubicBezTo>
                    <a:close/>
                    <a:moveTo>
                      <a:pt x="504" y="242"/>
                    </a:moveTo>
                    <a:cubicBezTo>
                      <a:pt x="472" y="274"/>
                      <a:pt x="465" y="338"/>
                      <a:pt x="457" y="396"/>
                    </a:cubicBezTo>
                    <a:cubicBezTo>
                      <a:pt x="495" y="392"/>
                      <a:pt x="535" y="389"/>
                      <a:pt x="575" y="385"/>
                    </a:cubicBezTo>
                    <a:cubicBezTo>
                      <a:pt x="587" y="340"/>
                      <a:pt x="599" y="294"/>
                      <a:pt x="614" y="252"/>
                    </a:cubicBezTo>
                    <a:cubicBezTo>
                      <a:pt x="576" y="250"/>
                      <a:pt x="540" y="246"/>
                      <a:pt x="504" y="242"/>
                    </a:cubicBezTo>
                    <a:close/>
                    <a:moveTo>
                      <a:pt x="1194" y="244"/>
                    </a:moveTo>
                    <a:cubicBezTo>
                      <a:pt x="1194" y="245"/>
                      <a:pt x="1194" y="245"/>
                      <a:pt x="1195" y="245"/>
                    </a:cubicBezTo>
                    <a:moveTo>
                      <a:pt x="1195" y="245"/>
                    </a:moveTo>
                    <a:cubicBezTo>
                      <a:pt x="1196" y="247"/>
                      <a:pt x="1196" y="245"/>
                      <a:pt x="1195" y="245"/>
                    </a:cubicBezTo>
                    <a:moveTo>
                      <a:pt x="1195" y="245"/>
                    </a:moveTo>
                    <a:cubicBezTo>
                      <a:pt x="1195" y="244"/>
                      <a:pt x="1195" y="244"/>
                      <a:pt x="1194" y="244"/>
                    </a:cubicBezTo>
                    <a:moveTo>
                      <a:pt x="1194" y="244"/>
                    </a:moveTo>
                    <a:cubicBezTo>
                      <a:pt x="1193" y="243"/>
                      <a:pt x="1193" y="244"/>
                      <a:pt x="1194" y="244"/>
                    </a:cubicBezTo>
                    <a:moveTo>
                      <a:pt x="942" y="250"/>
                    </a:moveTo>
                    <a:cubicBezTo>
                      <a:pt x="949" y="294"/>
                      <a:pt x="955" y="339"/>
                      <a:pt x="960" y="386"/>
                    </a:cubicBezTo>
                    <a:cubicBezTo>
                      <a:pt x="991" y="389"/>
                      <a:pt x="1024" y="391"/>
                      <a:pt x="1054" y="395"/>
                    </a:cubicBezTo>
                    <a:cubicBezTo>
                      <a:pt x="1035" y="342"/>
                      <a:pt x="1013" y="293"/>
                      <a:pt x="988" y="246"/>
                    </a:cubicBezTo>
                    <a:cubicBezTo>
                      <a:pt x="972" y="247"/>
                      <a:pt x="957" y="249"/>
                      <a:pt x="942" y="250"/>
                    </a:cubicBezTo>
                    <a:close/>
                    <a:moveTo>
                      <a:pt x="1259" y="424"/>
                    </a:moveTo>
                    <a:cubicBezTo>
                      <a:pt x="1279" y="419"/>
                      <a:pt x="1296" y="412"/>
                      <a:pt x="1314" y="407"/>
                    </a:cubicBezTo>
                    <a:cubicBezTo>
                      <a:pt x="1282" y="347"/>
                      <a:pt x="1242" y="296"/>
                      <a:pt x="1198" y="249"/>
                    </a:cubicBezTo>
                    <a:cubicBezTo>
                      <a:pt x="1197" y="249"/>
                      <a:pt x="1196" y="249"/>
                      <a:pt x="1196" y="250"/>
                    </a:cubicBezTo>
                    <a:cubicBezTo>
                      <a:pt x="1224" y="301"/>
                      <a:pt x="1245" y="359"/>
                      <a:pt x="1259" y="424"/>
                    </a:cubicBezTo>
                    <a:close/>
                    <a:moveTo>
                      <a:pt x="871" y="255"/>
                    </a:moveTo>
                    <a:cubicBezTo>
                      <a:pt x="883" y="296"/>
                      <a:pt x="891" y="339"/>
                      <a:pt x="899" y="383"/>
                    </a:cubicBezTo>
                    <a:cubicBezTo>
                      <a:pt x="918" y="384"/>
                      <a:pt x="938" y="384"/>
                      <a:pt x="957" y="386"/>
                    </a:cubicBezTo>
                    <a:cubicBezTo>
                      <a:pt x="953" y="345"/>
                      <a:pt x="948" y="301"/>
                      <a:pt x="942" y="264"/>
                    </a:cubicBezTo>
                    <a:cubicBezTo>
                      <a:pt x="941" y="260"/>
                      <a:pt x="941" y="252"/>
                      <a:pt x="936" y="250"/>
                    </a:cubicBezTo>
                    <a:cubicBezTo>
                      <a:pt x="915" y="253"/>
                      <a:pt x="892" y="252"/>
                      <a:pt x="871" y="255"/>
                    </a:cubicBezTo>
                    <a:close/>
                    <a:moveTo>
                      <a:pt x="1317" y="405"/>
                    </a:moveTo>
                    <a:cubicBezTo>
                      <a:pt x="1328" y="400"/>
                      <a:pt x="1340" y="395"/>
                      <a:pt x="1350" y="388"/>
                    </a:cubicBezTo>
                    <a:cubicBezTo>
                      <a:pt x="1332" y="347"/>
                      <a:pt x="1314" y="307"/>
                      <a:pt x="1289" y="273"/>
                    </a:cubicBezTo>
                    <a:cubicBezTo>
                      <a:pt x="1263" y="264"/>
                      <a:pt x="1231" y="255"/>
                      <a:pt x="1204" y="251"/>
                    </a:cubicBezTo>
                    <a:cubicBezTo>
                      <a:pt x="1247" y="297"/>
                      <a:pt x="1284" y="348"/>
                      <a:pt x="1317" y="405"/>
                    </a:cubicBezTo>
                    <a:close/>
                    <a:moveTo>
                      <a:pt x="616" y="253"/>
                    </a:moveTo>
                    <a:cubicBezTo>
                      <a:pt x="602" y="296"/>
                      <a:pt x="589" y="340"/>
                      <a:pt x="578" y="385"/>
                    </a:cubicBezTo>
                    <a:cubicBezTo>
                      <a:pt x="591" y="385"/>
                      <a:pt x="603" y="384"/>
                      <a:pt x="617" y="383"/>
                    </a:cubicBezTo>
                    <a:cubicBezTo>
                      <a:pt x="619" y="338"/>
                      <a:pt x="624" y="295"/>
                      <a:pt x="630" y="253"/>
                    </a:cubicBezTo>
                    <a:cubicBezTo>
                      <a:pt x="625" y="254"/>
                      <a:pt x="618" y="252"/>
                      <a:pt x="616" y="253"/>
                    </a:cubicBezTo>
                    <a:close/>
                    <a:moveTo>
                      <a:pt x="632" y="256"/>
                    </a:moveTo>
                    <a:cubicBezTo>
                      <a:pt x="628" y="298"/>
                      <a:pt x="623" y="339"/>
                      <a:pt x="621" y="383"/>
                    </a:cubicBezTo>
                    <a:cubicBezTo>
                      <a:pt x="658" y="381"/>
                      <a:pt x="697" y="381"/>
                      <a:pt x="735" y="380"/>
                    </a:cubicBezTo>
                    <a:cubicBezTo>
                      <a:pt x="737" y="339"/>
                      <a:pt x="739" y="298"/>
                      <a:pt x="740" y="257"/>
                    </a:cubicBezTo>
                    <a:cubicBezTo>
                      <a:pt x="704" y="257"/>
                      <a:pt x="670" y="255"/>
                      <a:pt x="634" y="254"/>
                    </a:cubicBezTo>
                    <a:cubicBezTo>
                      <a:pt x="634" y="252"/>
                      <a:pt x="632" y="254"/>
                      <a:pt x="632" y="256"/>
                    </a:cubicBezTo>
                    <a:close/>
                    <a:moveTo>
                      <a:pt x="788" y="257"/>
                    </a:moveTo>
                    <a:cubicBezTo>
                      <a:pt x="789" y="297"/>
                      <a:pt x="790" y="338"/>
                      <a:pt x="790" y="380"/>
                    </a:cubicBezTo>
                    <a:cubicBezTo>
                      <a:pt x="825" y="380"/>
                      <a:pt x="860" y="381"/>
                      <a:pt x="894" y="383"/>
                    </a:cubicBezTo>
                    <a:cubicBezTo>
                      <a:pt x="888" y="338"/>
                      <a:pt x="878" y="296"/>
                      <a:pt x="868" y="255"/>
                    </a:cubicBezTo>
                    <a:cubicBezTo>
                      <a:pt x="841" y="255"/>
                      <a:pt x="815" y="257"/>
                      <a:pt x="788" y="257"/>
                    </a:cubicBezTo>
                    <a:close/>
                    <a:moveTo>
                      <a:pt x="744" y="257"/>
                    </a:moveTo>
                    <a:cubicBezTo>
                      <a:pt x="740" y="296"/>
                      <a:pt x="740" y="339"/>
                      <a:pt x="738" y="380"/>
                    </a:cubicBezTo>
                    <a:cubicBezTo>
                      <a:pt x="755" y="380"/>
                      <a:pt x="771" y="380"/>
                      <a:pt x="788" y="380"/>
                    </a:cubicBezTo>
                    <a:cubicBezTo>
                      <a:pt x="788" y="338"/>
                      <a:pt x="786" y="298"/>
                      <a:pt x="786" y="257"/>
                    </a:cubicBezTo>
                    <a:cubicBezTo>
                      <a:pt x="772" y="257"/>
                      <a:pt x="758" y="257"/>
                      <a:pt x="744" y="257"/>
                    </a:cubicBezTo>
                    <a:close/>
                    <a:moveTo>
                      <a:pt x="286" y="259"/>
                    </a:moveTo>
                    <a:cubicBezTo>
                      <a:pt x="277" y="260"/>
                      <a:pt x="270" y="263"/>
                      <a:pt x="262" y="264"/>
                    </a:cubicBezTo>
                    <a:cubicBezTo>
                      <a:pt x="249" y="285"/>
                      <a:pt x="237" y="306"/>
                      <a:pt x="227" y="329"/>
                    </a:cubicBezTo>
                    <a:moveTo>
                      <a:pt x="227" y="329"/>
                    </a:moveTo>
                    <a:cubicBezTo>
                      <a:pt x="226" y="329"/>
                      <a:pt x="227" y="330"/>
                      <a:pt x="226" y="331"/>
                    </a:cubicBezTo>
                    <a:moveTo>
                      <a:pt x="226" y="331"/>
                    </a:moveTo>
                    <a:cubicBezTo>
                      <a:pt x="225" y="331"/>
                      <a:pt x="226" y="332"/>
                      <a:pt x="226" y="331"/>
                    </a:cubicBezTo>
                    <a:moveTo>
                      <a:pt x="226" y="331"/>
                    </a:moveTo>
                    <a:cubicBezTo>
                      <a:pt x="227" y="331"/>
                      <a:pt x="227" y="330"/>
                      <a:pt x="227" y="329"/>
                    </a:cubicBezTo>
                    <a:moveTo>
                      <a:pt x="286" y="259"/>
                    </a:moveTo>
                    <a:cubicBezTo>
                      <a:pt x="266" y="281"/>
                      <a:pt x="246" y="305"/>
                      <a:pt x="227" y="329"/>
                    </a:cubicBezTo>
                    <a:moveTo>
                      <a:pt x="286" y="259"/>
                    </a:moveTo>
                    <a:cubicBezTo>
                      <a:pt x="287" y="258"/>
                      <a:pt x="286" y="258"/>
                      <a:pt x="286" y="259"/>
                    </a:cubicBezTo>
                    <a:moveTo>
                      <a:pt x="257" y="266"/>
                    </a:moveTo>
                    <a:cubicBezTo>
                      <a:pt x="237" y="271"/>
                      <a:pt x="219" y="278"/>
                      <a:pt x="201" y="286"/>
                    </a:cubicBezTo>
                    <a:cubicBezTo>
                      <a:pt x="180" y="309"/>
                      <a:pt x="160" y="334"/>
                      <a:pt x="143" y="361"/>
                    </a:cubicBezTo>
                    <a:cubicBezTo>
                      <a:pt x="152" y="377"/>
                      <a:pt x="168" y="386"/>
                      <a:pt x="184" y="394"/>
                    </a:cubicBezTo>
                    <a:cubicBezTo>
                      <a:pt x="194" y="377"/>
                      <a:pt x="205" y="359"/>
                      <a:pt x="218" y="344"/>
                    </a:cubicBezTo>
                    <a:cubicBezTo>
                      <a:pt x="228" y="316"/>
                      <a:pt x="243" y="291"/>
                      <a:pt x="257" y="266"/>
                    </a:cubicBezTo>
                    <a:moveTo>
                      <a:pt x="257" y="266"/>
                    </a:moveTo>
                    <a:cubicBezTo>
                      <a:pt x="258" y="266"/>
                      <a:pt x="257" y="265"/>
                      <a:pt x="257" y="266"/>
                    </a:cubicBezTo>
                    <a:moveTo>
                      <a:pt x="1292" y="270"/>
                    </a:moveTo>
                    <a:cubicBezTo>
                      <a:pt x="1293" y="272"/>
                      <a:pt x="1293" y="270"/>
                      <a:pt x="1292" y="270"/>
                    </a:cubicBezTo>
                    <a:moveTo>
                      <a:pt x="1292" y="270"/>
                    </a:moveTo>
                    <a:cubicBezTo>
                      <a:pt x="1291" y="269"/>
                      <a:pt x="1291" y="270"/>
                      <a:pt x="1292" y="270"/>
                    </a:cubicBezTo>
                    <a:moveTo>
                      <a:pt x="1295" y="275"/>
                    </a:moveTo>
                    <a:cubicBezTo>
                      <a:pt x="1316" y="310"/>
                      <a:pt x="1336" y="347"/>
                      <a:pt x="1351" y="387"/>
                    </a:cubicBezTo>
                    <a:cubicBezTo>
                      <a:pt x="1360" y="383"/>
                      <a:pt x="1368" y="378"/>
                      <a:pt x="1373" y="371"/>
                    </a:cubicBezTo>
                    <a:cubicBezTo>
                      <a:pt x="1349" y="337"/>
                      <a:pt x="1324" y="306"/>
                      <a:pt x="1298" y="275"/>
                    </a:cubicBezTo>
                    <a:cubicBezTo>
                      <a:pt x="1297" y="275"/>
                      <a:pt x="1296" y="275"/>
                      <a:pt x="1295" y="275"/>
                    </a:cubicBezTo>
                    <a:moveTo>
                      <a:pt x="1295" y="275"/>
                    </a:moveTo>
                    <a:cubicBezTo>
                      <a:pt x="1294" y="274"/>
                      <a:pt x="1294" y="275"/>
                      <a:pt x="1295" y="275"/>
                    </a:cubicBezTo>
                    <a:moveTo>
                      <a:pt x="1375" y="370"/>
                    </a:moveTo>
                    <a:cubicBezTo>
                      <a:pt x="1380" y="364"/>
                      <a:pt x="1385" y="359"/>
                      <a:pt x="1387" y="350"/>
                    </a:cubicBezTo>
                    <a:cubicBezTo>
                      <a:pt x="1378" y="334"/>
                      <a:pt x="1367" y="319"/>
                      <a:pt x="1357" y="303"/>
                    </a:cubicBezTo>
                    <a:cubicBezTo>
                      <a:pt x="1341" y="294"/>
                      <a:pt x="1322" y="283"/>
                      <a:pt x="1303" y="279"/>
                    </a:cubicBezTo>
                    <a:cubicBezTo>
                      <a:pt x="1330" y="307"/>
                      <a:pt x="1352" y="339"/>
                      <a:pt x="1375" y="370"/>
                    </a:cubicBezTo>
                    <a:close/>
                    <a:moveTo>
                      <a:pt x="194" y="289"/>
                    </a:moveTo>
                    <a:cubicBezTo>
                      <a:pt x="177" y="295"/>
                      <a:pt x="173" y="313"/>
                      <a:pt x="164" y="326"/>
                    </a:cubicBezTo>
                    <a:moveTo>
                      <a:pt x="164" y="326"/>
                    </a:moveTo>
                    <a:cubicBezTo>
                      <a:pt x="163" y="326"/>
                      <a:pt x="163" y="326"/>
                      <a:pt x="163" y="327"/>
                    </a:cubicBezTo>
                    <a:moveTo>
                      <a:pt x="163" y="327"/>
                    </a:moveTo>
                    <a:cubicBezTo>
                      <a:pt x="162" y="327"/>
                      <a:pt x="162" y="328"/>
                      <a:pt x="162" y="329"/>
                    </a:cubicBezTo>
                    <a:moveTo>
                      <a:pt x="162" y="329"/>
                    </a:moveTo>
                    <a:cubicBezTo>
                      <a:pt x="161" y="329"/>
                      <a:pt x="162" y="330"/>
                      <a:pt x="162" y="329"/>
                    </a:cubicBezTo>
                    <a:moveTo>
                      <a:pt x="162" y="329"/>
                    </a:moveTo>
                    <a:cubicBezTo>
                      <a:pt x="163" y="329"/>
                      <a:pt x="163" y="328"/>
                      <a:pt x="163" y="327"/>
                    </a:cubicBezTo>
                    <a:moveTo>
                      <a:pt x="163" y="327"/>
                    </a:moveTo>
                    <a:cubicBezTo>
                      <a:pt x="164" y="327"/>
                      <a:pt x="164" y="326"/>
                      <a:pt x="164" y="326"/>
                    </a:cubicBezTo>
                    <a:moveTo>
                      <a:pt x="164" y="326"/>
                    </a:moveTo>
                    <a:cubicBezTo>
                      <a:pt x="174" y="314"/>
                      <a:pt x="184" y="302"/>
                      <a:pt x="194" y="289"/>
                    </a:cubicBezTo>
                    <a:moveTo>
                      <a:pt x="194" y="289"/>
                    </a:moveTo>
                    <a:cubicBezTo>
                      <a:pt x="195" y="289"/>
                      <a:pt x="194" y="288"/>
                      <a:pt x="194" y="289"/>
                    </a:cubicBezTo>
                    <a:moveTo>
                      <a:pt x="472" y="295"/>
                    </a:moveTo>
                    <a:cubicBezTo>
                      <a:pt x="472" y="295"/>
                      <a:pt x="471" y="295"/>
                      <a:pt x="471" y="295"/>
                    </a:cubicBezTo>
                    <a:cubicBezTo>
                      <a:pt x="454" y="329"/>
                      <a:pt x="436" y="362"/>
                      <a:pt x="422" y="400"/>
                    </a:cubicBezTo>
                    <a:moveTo>
                      <a:pt x="422" y="400"/>
                    </a:moveTo>
                    <a:cubicBezTo>
                      <a:pt x="421" y="400"/>
                      <a:pt x="422" y="401"/>
                      <a:pt x="422" y="400"/>
                    </a:cubicBezTo>
                    <a:moveTo>
                      <a:pt x="422" y="400"/>
                    </a:moveTo>
                    <a:cubicBezTo>
                      <a:pt x="434" y="400"/>
                      <a:pt x="442" y="397"/>
                      <a:pt x="454" y="397"/>
                    </a:cubicBezTo>
                    <a:cubicBezTo>
                      <a:pt x="458" y="361"/>
                      <a:pt x="466" y="329"/>
                      <a:pt x="472" y="295"/>
                    </a:cubicBezTo>
                    <a:moveTo>
                      <a:pt x="472" y="295"/>
                    </a:moveTo>
                    <a:cubicBezTo>
                      <a:pt x="475" y="295"/>
                      <a:pt x="471" y="291"/>
                      <a:pt x="472" y="295"/>
                    </a:cubicBezTo>
                    <a:moveTo>
                      <a:pt x="178" y="297"/>
                    </a:moveTo>
                    <a:cubicBezTo>
                      <a:pt x="158" y="308"/>
                      <a:pt x="126" y="328"/>
                      <a:pt x="141" y="359"/>
                    </a:cubicBezTo>
                    <a:cubicBezTo>
                      <a:pt x="153" y="338"/>
                      <a:pt x="165" y="317"/>
                      <a:pt x="178" y="297"/>
                    </a:cubicBezTo>
                    <a:moveTo>
                      <a:pt x="178" y="297"/>
                    </a:moveTo>
                    <a:cubicBezTo>
                      <a:pt x="180" y="296"/>
                      <a:pt x="178" y="296"/>
                      <a:pt x="178" y="297"/>
                    </a:cubicBezTo>
                    <a:moveTo>
                      <a:pt x="1364" y="309"/>
                    </a:moveTo>
                    <a:cubicBezTo>
                      <a:pt x="1364" y="309"/>
                      <a:pt x="1364" y="310"/>
                      <a:pt x="1365" y="310"/>
                    </a:cubicBezTo>
                    <a:moveTo>
                      <a:pt x="1365" y="310"/>
                    </a:moveTo>
                    <a:cubicBezTo>
                      <a:pt x="1365" y="310"/>
                      <a:pt x="1365" y="310"/>
                      <a:pt x="1366" y="311"/>
                    </a:cubicBezTo>
                    <a:moveTo>
                      <a:pt x="1366" y="311"/>
                    </a:moveTo>
                    <a:cubicBezTo>
                      <a:pt x="1366" y="312"/>
                      <a:pt x="1366" y="312"/>
                      <a:pt x="1367" y="312"/>
                    </a:cubicBezTo>
                    <a:moveTo>
                      <a:pt x="1367" y="312"/>
                    </a:moveTo>
                    <a:cubicBezTo>
                      <a:pt x="1367" y="313"/>
                      <a:pt x="1367" y="313"/>
                      <a:pt x="1368" y="313"/>
                    </a:cubicBezTo>
                    <a:moveTo>
                      <a:pt x="1368" y="313"/>
                    </a:moveTo>
                    <a:cubicBezTo>
                      <a:pt x="1374" y="324"/>
                      <a:pt x="1380" y="335"/>
                      <a:pt x="1388" y="345"/>
                    </a:cubicBezTo>
                    <a:cubicBezTo>
                      <a:pt x="1386" y="330"/>
                      <a:pt x="1375" y="324"/>
                      <a:pt x="1368" y="313"/>
                    </a:cubicBezTo>
                    <a:moveTo>
                      <a:pt x="1368" y="313"/>
                    </a:moveTo>
                    <a:cubicBezTo>
                      <a:pt x="1368" y="313"/>
                      <a:pt x="1367" y="312"/>
                      <a:pt x="1367" y="312"/>
                    </a:cubicBezTo>
                    <a:moveTo>
                      <a:pt x="1367" y="312"/>
                    </a:moveTo>
                    <a:cubicBezTo>
                      <a:pt x="1367" y="311"/>
                      <a:pt x="1367" y="311"/>
                      <a:pt x="1366" y="311"/>
                    </a:cubicBezTo>
                    <a:moveTo>
                      <a:pt x="1366" y="311"/>
                    </a:moveTo>
                    <a:cubicBezTo>
                      <a:pt x="1366" y="310"/>
                      <a:pt x="1365" y="310"/>
                      <a:pt x="1365" y="310"/>
                    </a:cubicBezTo>
                    <a:moveTo>
                      <a:pt x="1365" y="310"/>
                    </a:moveTo>
                    <a:cubicBezTo>
                      <a:pt x="1365" y="309"/>
                      <a:pt x="1365" y="309"/>
                      <a:pt x="1364" y="309"/>
                    </a:cubicBezTo>
                    <a:moveTo>
                      <a:pt x="1364" y="309"/>
                    </a:moveTo>
                    <a:cubicBezTo>
                      <a:pt x="1363" y="307"/>
                      <a:pt x="1363" y="309"/>
                      <a:pt x="1364" y="309"/>
                    </a:cubicBezTo>
                    <a:moveTo>
                      <a:pt x="1379" y="323"/>
                    </a:moveTo>
                    <a:cubicBezTo>
                      <a:pt x="1380" y="324"/>
                      <a:pt x="1380" y="323"/>
                      <a:pt x="1379" y="323"/>
                    </a:cubicBezTo>
                    <a:moveTo>
                      <a:pt x="1379" y="323"/>
                    </a:moveTo>
                    <a:cubicBezTo>
                      <a:pt x="1379" y="322"/>
                      <a:pt x="1378" y="323"/>
                      <a:pt x="1379" y="323"/>
                    </a:cubicBezTo>
                    <a:moveTo>
                      <a:pt x="160" y="332"/>
                    </a:moveTo>
                    <a:cubicBezTo>
                      <a:pt x="159" y="332"/>
                      <a:pt x="160" y="333"/>
                      <a:pt x="160" y="332"/>
                    </a:cubicBezTo>
                    <a:moveTo>
                      <a:pt x="160" y="332"/>
                    </a:moveTo>
                    <a:cubicBezTo>
                      <a:pt x="161" y="331"/>
                      <a:pt x="160" y="330"/>
                      <a:pt x="160" y="332"/>
                    </a:cubicBezTo>
                    <a:moveTo>
                      <a:pt x="224" y="334"/>
                    </a:moveTo>
                    <a:cubicBezTo>
                      <a:pt x="224" y="333"/>
                      <a:pt x="225" y="334"/>
                      <a:pt x="224" y="334"/>
                    </a:cubicBezTo>
                    <a:close/>
                    <a:moveTo>
                      <a:pt x="326" y="336"/>
                    </a:moveTo>
                    <a:cubicBezTo>
                      <a:pt x="307" y="364"/>
                      <a:pt x="290" y="395"/>
                      <a:pt x="274" y="426"/>
                    </a:cubicBezTo>
                    <a:cubicBezTo>
                      <a:pt x="285" y="423"/>
                      <a:pt x="296" y="421"/>
                      <a:pt x="306" y="419"/>
                    </a:cubicBezTo>
                    <a:cubicBezTo>
                      <a:pt x="311" y="390"/>
                      <a:pt x="319" y="364"/>
                      <a:pt x="326" y="336"/>
                    </a:cubicBezTo>
                    <a:moveTo>
                      <a:pt x="326" y="336"/>
                    </a:moveTo>
                    <a:cubicBezTo>
                      <a:pt x="329" y="336"/>
                      <a:pt x="325" y="332"/>
                      <a:pt x="326" y="336"/>
                    </a:cubicBezTo>
                    <a:moveTo>
                      <a:pt x="44" y="524"/>
                    </a:moveTo>
                    <a:cubicBezTo>
                      <a:pt x="49" y="523"/>
                      <a:pt x="54" y="514"/>
                      <a:pt x="59" y="510"/>
                    </a:cubicBezTo>
                    <a:cubicBezTo>
                      <a:pt x="80" y="455"/>
                      <a:pt x="109" y="407"/>
                      <a:pt x="139" y="360"/>
                    </a:cubicBezTo>
                    <a:cubicBezTo>
                      <a:pt x="134" y="356"/>
                      <a:pt x="135" y="347"/>
                      <a:pt x="133" y="339"/>
                    </a:cubicBezTo>
                    <a:cubicBezTo>
                      <a:pt x="97" y="394"/>
                      <a:pt x="66" y="454"/>
                      <a:pt x="44" y="524"/>
                    </a:cubicBezTo>
                    <a:close/>
                    <a:moveTo>
                      <a:pt x="1483" y="528"/>
                    </a:moveTo>
                    <a:cubicBezTo>
                      <a:pt x="1482" y="532"/>
                      <a:pt x="1486" y="529"/>
                      <a:pt x="1483" y="528"/>
                    </a:cubicBezTo>
                    <a:moveTo>
                      <a:pt x="1483" y="528"/>
                    </a:moveTo>
                    <a:cubicBezTo>
                      <a:pt x="1460" y="465"/>
                      <a:pt x="1432" y="396"/>
                      <a:pt x="1393" y="347"/>
                    </a:cubicBezTo>
                    <a:cubicBezTo>
                      <a:pt x="1393" y="347"/>
                      <a:pt x="1391" y="343"/>
                      <a:pt x="1390" y="345"/>
                    </a:cubicBezTo>
                    <a:cubicBezTo>
                      <a:pt x="1401" y="371"/>
                      <a:pt x="1415" y="395"/>
                      <a:pt x="1425" y="421"/>
                    </a:cubicBezTo>
                    <a:cubicBezTo>
                      <a:pt x="1436" y="447"/>
                      <a:pt x="1448" y="473"/>
                      <a:pt x="1455" y="503"/>
                    </a:cubicBezTo>
                    <a:cubicBezTo>
                      <a:pt x="1466" y="510"/>
                      <a:pt x="1474" y="519"/>
                      <a:pt x="1483" y="528"/>
                    </a:cubicBezTo>
                    <a:moveTo>
                      <a:pt x="1376" y="374"/>
                    </a:moveTo>
                    <a:cubicBezTo>
                      <a:pt x="1396" y="402"/>
                      <a:pt x="1417" y="437"/>
                      <a:pt x="1432" y="470"/>
                    </a:cubicBezTo>
                    <a:cubicBezTo>
                      <a:pt x="1437" y="481"/>
                      <a:pt x="1440" y="496"/>
                      <a:pt x="1452" y="499"/>
                    </a:cubicBezTo>
                    <a:cubicBezTo>
                      <a:pt x="1435" y="446"/>
                      <a:pt x="1415" y="397"/>
                      <a:pt x="1389" y="354"/>
                    </a:cubicBezTo>
                    <a:cubicBezTo>
                      <a:pt x="1386" y="362"/>
                      <a:pt x="1380" y="367"/>
                      <a:pt x="1376" y="374"/>
                    </a:cubicBezTo>
                    <a:close/>
                    <a:moveTo>
                      <a:pt x="212" y="356"/>
                    </a:moveTo>
                    <a:cubicBezTo>
                      <a:pt x="212" y="355"/>
                      <a:pt x="213" y="356"/>
                      <a:pt x="212" y="356"/>
                    </a:cubicBezTo>
                    <a:close/>
                    <a:moveTo>
                      <a:pt x="211" y="358"/>
                    </a:moveTo>
                    <a:cubicBezTo>
                      <a:pt x="202" y="370"/>
                      <a:pt x="193" y="382"/>
                      <a:pt x="186" y="396"/>
                    </a:cubicBezTo>
                    <a:cubicBezTo>
                      <a:pt x="190" y="396"/>
                      <a:pt x="192" y="399"/>
                      <a:pt x="196" y="400"/>
                    </a:cubicBezTo>
                    <a:cubicBezTo>
                      <a:pt x="201" y="386"/>
                      <a:pt x="206" y="372"/>
                      <a:pt x="211" y="358"/>
                    </a:cubicBezTo>
                    <a:moveTo>
                      <a:pt x="211" y="358"/>
                    </a:moveTo>
                    <a:cubicBezTo>
                      <a:pt x="212" y="357"/>
                      <a:pt x="211" y="356"/>
                      <a:pt x="211" y="358"/>
                    </a:cubicBezTo>
                    <a:moveTo>
                      <a:pt x="94" y="487"/>
                    </a:moveTo>
                    <a:cubicBezTo>
                      <a:pt x="109" y="477"/>
                      <a:pt x="127" y="470"/>
                      <a:pt x="146" y="463"/>
                    </a:cubicBezTo>
                    <a:cubicBezTo>
                      <a:pt x="156" y="439"/>
                      <a:pt x="170" y="418"/>
                      <a:pt x="182" y="396"/>
                    </a:cubicBezTo>
                    <a:cubicBezTo>
                      <a:pt x="166" y="389"/>
                      <a:pt x="152" y="378"/>
                      <a:pt x="141" y="365"/>
                    </a:cubicBezTo>
                    <a:cubicBezTo>
                      <a:pt x="123" y="403"/>
                      <a:pt x="103" y="444"/>
                      <a:pt x="94" y="487"/>
                    </a:cubicBezTo>
                    <a:close/>
                    <a:moveTo>
                      <a:pt x="132" y="376"/>
                    </a:moveTo>
                    <a:cubicBezTo>
                      <a:pt x="132" y="375"/>
                      <a:pt x="133" y="376"/>
                      <a:pt x="132" y="376"/>
                    </a:cubicBezTo>
                    <a:close/>
                    <a:moveTo>
                      <a:pt x="1374" y="375"/>
                    </a:moveTo>
                    <a:cubicBezTo>
                      <a:pt x="1368" y="382"/>
                      <a:pt x="1359" y="386"/>
                      <a:pt x="1352" y="391"/>
                    </a:cubicBezTo>
                    <a:cubicBezTo>
                      <a:pt x="1362" y="413"/>
                      <a:pt x="1369" y="437"/>
                      <a:pt x="1375" y="462"/>
                    </a:cubicBezTo>
                    <a:cubicBezTo>
                      <a:pt x="1398" y="469"/>
                      <a:pt x="1420" y="482"/>
                      <a:pt x="1439" y="490"/>
                    </a:cubicBezTo>
                    <a:cubicBezTo>
                      <a:pt x="1419" y="450"/>
                      <a:pt x="1399" y="409"/>
                      <a:pt x="1374" y="375"/>
                    </a:cubicBezTo>
                    <a:close/>
                    <a:moveTo>
                      <a:pt x="131" y="378"/>
                    </a:moveTo>
                    <a:cubicBezTo>
                      <a:pt x="131" y="378"/>
                      <a:pt x="131" y="378"/>
                      <a:pt x="130" y="378"/>
                    </a:cubicBezTo>
                    <a:cubicBezTo>
                      <a:pt x="106" y="418"/>
                      <a:pt x="82" y="459"/>
                      <a:pt x="64" y="505"/>
                    </a:cubicBezTo>
                    <a:moveTo>
                      <a:pt x="64" y="505"/>
                    </a:moveTo>
                    <a:cubicBezTo>
                      <a:pt x="63" y="506"/>
                      <a:pt x="64" y="507"/>
                      <a:pt x="64" y="505"/>
                    </a:cubicBezTo>
                    <a:moveTo>
                      <a:pt x="64" y="505"/>
                    </a:moveTo>
                    <a:cubicBezTo>
                      <a:pt x="73" y="500"/>
                      <a:pt x="80" y="494"/>
                      <a:pt x="90" y="489"/>
                    </a:cubicBezTo>
                    <a:cubicBezTo>
                      <a:pt x="100" y="448"/>
                      <a:pt x="116" y="413"/>
                      <a:pt x="131" y="378"/>
                    </a:cubicBezTo>
                    <a:moveTo>
                      <a:pt x="131" y="378"/>
                    </a:moveTo>
                    <a:cubicBezTo>
                      <a:pt x="133" y="377"/>
                      <a:pt x="131" y="377"/>
                      <a:pt x="131" y="378"/>
                    </a:cubicBezTo>
                    <a:moveTo>
                      <a:pt x="620" y="385"/>
                    </a:moveTo>
                    <a:cubicBezTo>
                      <a:pt x="619" y="415"/>
                      <a:pt x="617" y="444"/>
                      <a:pt x="616" y="473"/>
                    </a:cubicBezTo>
                    <a:cubicBezTo>
                      <a:pt x="654" y="475"/>
                      <a:pt x="693" y="476"/>
                      <a:pt x="732" y="477"/>
                    </a:cubicBezTo>
                    <a:cubicBezTo>
                      <a:pt x="733" y="445"/>
                      <a:pt x="734" y="414"/>
                      <a:pt x="735" y="383"/>
                    </a:cubicBezTo>
                    <a:cubicBezTo>
                      <a:pt x="695" y="382"/>
                      <a:pt x="658" y="384"/>
                      <a:pt x="620" y="385"/>
                    </a:cubicBezTo>
                    <a:close/>
                    <a:moveTo>
                      <a:pt x="739" y="383"/>
                    </a:moveTo>
                    <a:cubicBezTo>
                      <a:pt x="736" y="412"/>
                      <a:pt x="736" y="445"/>
                      <a:pt x="735" y="477"/>
                    </a:cubicBezTo>
                    <a:cubicBezTo>
                      <a:pt x="753" y="477"/>
                      <a:pt x="771" y="477"/>
                      <a:pt x="789" y="477"/>
                    </a:cubicBezTo>
                    <a:cubicBezTo>
                      <a:pt x="789" y="445"/>
                      <a:pt x="787" y="415"/>
                      <a:pt x="788" y="383"/>
                    </a:cubicBezTo>
                    <a:cubicBezTo>
                      <a:pt x="772" y="383"/>
                      <a:pt x="755" y="383"/>
                      <a:pt x="739" y="383"/>
                    </a:cubicBezTo>
                    <a:close/>
                    <a:moveTo>
                      <a:pt x="792" y="383"/>
                    </a:moveTo>
                    <a:cubicBezTo>
                      <a:pt x="790" y="412"/>
                      <a:pt x="791" y="446"/>
                      <a:pt x="791" y="477"/>
                    </a:cubicBezTo>
                    <a:cubicBezTo>
                      <a:pt x="831" y="476"/>
                      <a:pt x="871" y="475"/>
                      <a:pt x="910" y="473"/>
                    </a:cubicBezTo>
                    <a:cubicBezTo>
                      <a:pt x="905" y="443"/>
                      <a:pt x="901" y="414"/>
                      <a:pt x="895" y="385"/>
                    </a:cubicBezTo>
                    <a:cubicBezTo>
                      <a:pt x="862" y="384"/>
                      <a:pt x="827" y="382"/>
                      <a:pt x="792" y="383"/>
                    </a:cubicBezTo>
                    <a:close/>
                    <a:moveTo>
                      <a:pt x="616" y="385"/>
                    </a:moveTo>
                    <a:cubicBezTo>
                      <a:pt x="616" y="385"/>
                      <a:pt x="615" y="385"/>
                      <a:pt x="615" y="385"/>
                    </a:cubicBezTo>
                    <a:cubicBezTo>
                      <a:pt x="603" y="387"/>
                      <a:pt x="589" y="387"/>
                      <a:pt x="577" y="388"/>
                    </a:cubicBezTo>
                    <a:cubicBezTo>
                      <a:pt x="571" y="416"/>
                      <a:pt x="564" y="441"/>
                      <a:pt x="559" y="470"/>
                    </a:cubicBezTo>
                    <a:cubicBezTo>
                      <a:pt x="578" y="470"/>
                      <a:pt x="595" y="472"/>
                      <a:pt x="613" y="473"/>
                    </a:cubicBezTo>
                    <a:cubicBezTo>
                      <a:pt x="612" y="443"/>
                      <a:pt x="617" y="409"/>
                      <a:pt x="616" y="385"/>
                    </a:cubicBezTo>
                    <a:close/>
                    <a:moveTo>
                      <a:pt x="914" y="473"/>
                    </a:moveTo>
                    <a:cubicBezTo>
                      <a:pt x="930" y="472"/>
                      <a:pt x="946" y="470"/>
                      <a:pt x="963" y="470"/>
                    </a:cubicBezTo>
                    <a:cubicBezTo>
                      <a:pt x="960" y="443"/>
                      <a:pt x="960" y="414"/>
                      <a:pt x="957" y="388"/>
                    </a:cubicBezTo>
                    <a:cubicBezTo>
                      <a:pt x="937" y="388"/>
                      <a:pt x="919" y="386"/>
                      <a:pt x="900" y="385"/>
                    </a:cubicBezTo>
                    <a:cubicBezTo>
                      <a:pt x="904" y="415"/>
                      <a:pt x="910" y="442"/>
                      <a:pt x="914" y="473"/>
                    </a:cubicBezTo>
                    <a:close/>
                    <a:moveTo>
                      <a:pt x="456" y="399"/>
                    </a:moveTo>
                    <a:cubicBezTo>
                      <a:pt x="454" y="419"/>
                      <a:pt x="451" y="438"/>
                      <a:pt x="450" y="459"/>
                    </a:cubicBezTo>
                    <a:cubicBezTo>
                      <a:pt x="486" y="462"/>
                      <a:pt x="520" y="467"/>
                      <a:pt x="557" y="469"/>
                    </a:cubicBezTo>
                    <a:cubicBezTo>
                      <a:pt x="561" y="441"/>
                      <a:pt x="569" y="416"/>
                      <a:pt x="574" y="388"/>
                    </a:cubicBezTo>
                    <a:cubicBezTo>
                      <a:pt x="534" y="391"/>
                      <a:pt x="494" y="394"/>
                      <a:pt x="456" y="399"/>
                    </a:cubicBezTo>
                    <a:close/>
                    <a:moveTo>
                      <a:pt x="960" y="389"/>
                    </a:moveTo>
                    <a:cubicBezTo>
                      <a:pt x="962" y="415"/>
                      <a:pt x="964" y="441"/>
                      <a:pt x="965" y="469"/>
                    </a:cubicBezTo>
                    <a:cubicBezTo>
                      <a:pt x="1003" y="467"/>
                      <a:pt x="1042" y="464"/>
                      <a:pt x="1076" y="457"/>
                    </a:cubicBezTo>
                    <a:cubicBezTo>
                      <a:pt x="1068" y="438"/>
                      <a:pt x="1062" y="417"/>
                      <a:pt x="1055" y="397"/>
                    </a:cubicBezTo>
                    <a:cubicBezTo>
                      <a:pt x="1023" y="395"/>
                      <a:pt x="993" y="391"/>
                      <a:pt x="960" y="389"/>
                    </a:cubicBezTo>
                    <a:close/>
                    <a:moveTo>
                      <a:pt x="1349" y="392"/>
                    </a:moveTo>
                    <a:cubicBezTo>
                      <a:pt x="1340" y="398"/>
                      <a:pt x="1329" y="402"/>
                      <a:pt x="1319" y="407"/>
                    </a:cubicBezTo>
                    <a:cubicBezTo>
                      <a:pt x="1327" y="421"/>
                      <a:pt x="1335" y="436"/>
                      <a:pt x="1343" y="451"/>
                    </a:cubicBezTo>
                    <a:cubicBezTo>
                      <a:pt x="1354" y="453"/>
                      <a:pt x="1362" y="458"/>
                      <a:pt x="1373" y="460"/>
                    </a:cubicBezTo>
                    <a:cubicBezTo>
                      <a:pt x="1366" y="439"/>
                      <a:pt x="1359" y="407"/>
                      <a:pt x="1349" y="392"/>
                    </a:cubicBezTo>
                    <a:close/>
                    <a:moveTo>
                      <a:pt x="184" y="398"/>
                    </a:moveTo>
                    <a:cubicBezTo>
                      <a:pt x="173" y="419"/>
                      <a:pt x="160" y="439"/>
                      <a:pt x="150" y="461"/>
                    </a:cubicBezTo>
                    <a:cubicBezTo>
                      <a:pt x="160" y="458"/>
                      <a:pt x="170" y="454"/>
                      <a:pt x="181" y="451"/>
                    </a:cubicBezTo>
                    <a:cubicBezTo>
                      <a:pt x="185" y="434"/>
                      <a:pt x="190" y="419"/>
                      <a:pt x="195" y="403"/>
                    </a:cubicBezTo>
                    <a:cubicBezTo>
                      <a:pt x="191" y="401"/>
                      <a:pt x="188" y="399"/>
                      <a:pt x="184" y="398"/>
                    </a:cubicBezTo>
                    <a:close/>
                    <a:moveTo>
                      <a:pt x="1079" y="458"/>
                    </a:moveTo>
                    <a:cubicBezTo>
                      <a:pt x="1094" y="457"/>
                      <a:pt x="1108" y="454"/>
                      <a:pt x="1123" y="453"/>
                    </a:cubicBezTo>
                    <a:cubicBezTo>
                      <a:pt x="1122" y="436"/>
                      <a:pt x="1119" y="421"/>
                      <a:pt x="1117" y="405"/>
                    </a:cubicBezTo>
                    <a:cubicBezTo>
                      <a:pt x="1097" y="404"/>
                      <a:pt x="1077" y="398"/>
                      <a:pt x="1058" y="399"/>
                    </a:cubicBezTo>
                    <a:cubicBezTo>
                      <a:pt x="1066" y="417"/>
                      <a:pt x="1071" y="439"/>
                      <a:pt x="1079" y="458"/>
                    </a:cubicBezTo>
                    <a:close/>
                    <a:moveTo>
                      <a:pt x="420" y="403"/>
                    </a:moveTo>
                    <a:cubicBezTo>
                      <a:pt x="414" y="419"/>
                      <a:pt x="407" y="435"/>
                      <a:pt x="401" y="453"/>
                    </a:cubicBezTo>
                    <a:cubicBezTo>
                      <a:pt x="417" y="454"/>
                      <a:pt x="431" y="457"/>
                      <a:pt x="447" y="458"/>
                    </a:cubicBezTo>
                    <a:cubicBezTo>
                      <a:pt x="449" y="438"/>
                      <a:pt x="451" y="418"/>
                      <a:pt x="454" y="399"/>
                    </a:cubicBezTo>
                    <a:cubicBezTo>
                      <a:pt x="453" y="399"/>
                      <a:pt x="453" y="399"/>
                      <a:pt x="452" y="399"/>
                    </a:cubicBezTo>
                    <a:cubicBezTo>
                      <a:pt x="442" y="401"/>
                      <a:pt x="431" y="402"/>
                      <a:pt x="420" y="403"/>
                    </a:cubicBezTo>
                    <a:close/>
                    <a:moveTo>
                      <a:pt x="185" y="450"/>
                    </a:moveTo>
                    <a:cubicBezTo>
                      <a:pt x="210" y="440"/>
                      <a:pt x="240" y="435"/>
                      <a:pt x="266" y="427"/>
                    </a:cubicBezTo>
                    <a:cubicBezTo>
                      <a:pt x="241" y="421"/>
                      <a:pt x="219" y="413"/>
                      <a:pt x="198" y="404"/>
                    </a:cubicBezTo>
                    <a:cubicBezTo>
                      <a:pt x="193" y="418"/>
                      <a:pt x="187" y="436"/>
                      <a:pt x="185" y="450"/>
                    </a:cubicBezTo>
                    <a:close/>
                    <a:moveTo>
                      <a:pt x="308" y="421"/>
                    </a:moveTo>
                    <a:cubicBezTo>
                      <a:pt x="307" y="425"/>
                      <a:pt x="307" y="430"/>
                      <a:pt x="305" y="434"/>
                    </a:cubicBezTo>
                    <a:cubicBezTo>
                      <a:pt x="335" y="441"/>
                      <a:pt x="366" y="447"/>
                      <a:pt x="398" y="452"/>
                    </a:cubicBezTo>
                    <a:cubicBezTo>
                      <a:pt x="401" y="444"/>
                      <a:pt x="405" y="436"/>
                      <a:pt x="408" y="428"/>
                    </a:cubicBezTo>
                    <a:cubicBezTo>
                      <a:pt x="411" y="419"/>
                      <a:pt x="416" y="410"/>
                      <a:pt x="414" y="404"/>
                    </a:cubicBezTo>
                    <a:cubicBezTo>
                      <a:pt x="378" y="409"/>
                      <a:pt x="343" y="415"/>
                      <a:pt x="308" y="421"/>
                    </a:cubicBezTo>
                    <a:close/>
                    <a:moveTo>
                      <a:pt x="1126" y="452"/>
                    </a:moveTo>
                    <a:cubicBezTo>
                      <a:pt x="1156" y="447"/>
                      <a:pt x="1185" y="442"/>
                      <a:pt x="1213" y="435"/>
                    </a:cubicBezTo>
                    <a:cubicBezTo>
                      <a:pt x="1212" y="429"/>
                      <a:pt x="1208" y="425"/>
                      <a:pt x="1206" y="419"/>
                    </a:cubicBezTo>
                    <a:cubicBezTo>
                      <a:pt x="1178" y="415"/>
                      <a:pt x="1148" y="407"/>
                      <a:pt x="1119" y="407"/>
                    </a:cubicBezTo>
                    <a:cubicBezTo>
                      <a:pt x="1123" y="420"/>
                      <a:pt x="1123" y="437"/>
                      <a:pt x="1126" y="452"/>
                    </a:cubicBezTo>
                    <a:close/>
                    <a:moveTo>
                      <a:pt x="1317" y="408"/>
                    </a:moveTo>
                    <a:cubicBezTo>
                      <a:pt x="1298" y="416"/>
                      <a:pt x="1277" y="420"/>
                      <a:pt x="1260" y="429"/>
                    </a:cubicBezTo>
                    <a:cubicBezTo>
                      <a:pt x="1288" y="434"/>
                      <a:pt x="1313" y="441"/>
                      <a:pt x="1338" y="449"/>
                    </a:cubicBezTo>
                    <a:cubicBezTo>
                      <a:pt x="1332" y="434"/>
                      <a:pt x="1323" y="423"/>
                      <a:pt x="1317" y="408"/>
                    </a:cubicBezTo>
                    <a:close/>
                    <a:moveTo>
                      <a:pt x="1216" y="434"/>
                    </a:moveTo>
                    <a:cubicBezTo>
                      <a:pt x="1226" y="433"/>
                      <a:pt x="1237" y="431"/>
                      <a:pt x="1245" y="427"/>
                    </a:cubicBezTo>
                    <a:cubicBezTo>
                      <a:pt x="1232" y="426"/>
                      <a:pt x="1220" y="420"/>
                      <a:pt x="1209" y="421"/>
                    </a:cubicBezTo>
                    <a:cubicBezTo>
                      <a:pt x="1213" y="424"/>
                      <a:pt x="1214" y="430"/>
                      <a:pt x="1216" y="434"/>
                    </a:cubicBezTo>
                    <a:close/>
                    <a:moveTo>
                      <a:pt x="279" y="427"/>
                    </a:moveTo>
                    <a:cubicBezTo>
                      <a:pt x="285" y="431"/>
                      <a:pt x="295" y="431"/>
                      <a:pt x="303" y="433"/>
                    </a:cubicBezTo>
                    <a:cubicBezTo>
                      <a:pt x="303" y="429"/>
                      <a:pt x="305" y="426"/>
                      <a:pt x="305" y="422"/>
                    </a:cubicBezTo>
                    <a:cubicBezTo>
                      <a:pt x="296" y="423"/>
                      <a:pt x="289" y="426"/>
                      <a:pt x="279" y="427"/>
                    </a:cubicBezTo>
                    <a:close/>
                    <a:moveTo>
                      <a:pt x="1218" y="437"/>
                    </a:moveTo>
                    <a:cubicBezTo>
                      <a:pt x="1240" y="486"/>
                      <a:pt x="1259" y="538"/>
                      <a:pt x="1277" y="593"/>
                    </a:cubicBezTo>
                    <a:cubicBezTo>
                      <a:pt x="1275" y="533"/>
                      <a:pt x="1270" y="478"/>
                      <a:pt x="1257" y="430"/>
                    </a:cubicBezTo>
                    <a:cubicBezTo>
                      <a:pt x="1244" y="429"/>
                      <a:pt x="1232" y="435"/>
                      <a:pt x="1218" y="437"/>
                    </a:cubicBezTo>
                    <a:close/>
                    <a:moveTo>
                      <a:pt x="183" y="453"/>
                    </a:moveTo>
                    <a:cubicBezTo>
                      <a:pt x="169" y="514"/>
                      <a:pt x="159" y="583"/>
                      <a:pt x="163" y="659"/>
                    </a:cubicBezTo>
                    <a:cubicBezTo>
                      <a:pt x="171" y="655"/>
                      <a:pt x="179" y="652"/>
                      <a:pt x="188" y="650"/>
                    </a:cubicBezTo>
                    <a:cubicBezTo>
                      <a:pt x="208" y="570"/>
                      <a:pt x="235" y="496"/>
                      <a:pt x="270" y="430"/>
                    </a:cubicBezTo>
                    <a:cubicBezTo>
                      <a:pt x="269" y="430"/>
                      <a:pt x="268" y="430"/>
                      <a:pt x="268" y="430"/>
                    </a:cubicBezTo>
                    <a:cubicBezTo>
                      <a:pt x="239" y="437"/>
                      <a:pt x="210" y="444"/>
                      <a:pt x="183" y="453"/>
                    </a:cubicBezTo>
                    <a:close/>
                    <a:moveTo>
                      <a:pt x="192" y="648"/>
                    </a:moveTo>
                    <a:cubicBezTo>
                      <a:pt x="190" y="649"/>
                      <a:pt x="192" y="650"/>
                      <a:pt x="192" y="648"/>
                    </a:cubicBezTo>
                    <a:moveTo>
                      <a:pt x="192" y="648"/>
                    </a:moveTo>
                    <a:cubicBezTo>
                      <a:pt x="223" y="640"/>
                      <a:pt x="254" y="630"/>
                      <a:pt x="289" y="623"/>
                    </a:cubicBezTo>
                    <a:cubicBezTo>
                      <a:pt x="287" y="555"/>
                      <a:pt x="293" y="494"/>
                      <a:pt x="302" y="436"/>
                    </a:cubicBezTo>
                    <a:cubicBezTo>
                      <a:pt x="292" y="434"/>
                      <a:pt x="283" y="431"/>
                      <a:pt x="272" y="430"/>
                    </a:cubicBezTo>
                    <a:cubicBezTo>
                      <a:pt x="239" y="496"/>
                      <a:pt x="211" y="568"/>
                      <a:pt x="192" y="648"/>
                    </a:cubicBezTo>
                    <a:moveTo>
                      <a:pt x="1275" y="515"/>
                    </a:moveTo>
                    <a:cubicBezTo>
                      <a:pt x="1279" y="557"/>
                      <a:pt x="1276" y="605"/>
                      <a:pt x="1288" y="636"/>
                    </a:cubicBezTo>
                    <a:cubicBezTo>
                      <a:pt x="1316" y="643"/>
                      <a:pt x="1341" y="652"/>
                      <a:pt x="1367" y="660"/>
                    </a:cubicBezTo>
                    <a:cubicBezTo>
                      <a:pt x="1377" y="657"/>
                      <a:pt x="1386" y="652"/>
                      <a:pt x="1397" y="648"/>
                    </a:cubicBezTo>
                    <a:cubicBezTo>
                      <a:pt x="1395" y="622"/>
                      <a:pt x="1398" y="600"/>
                      <a:pt x="1394" y="577"/>
                    </a:cubicBezTo>
                    <a:cubicBezTo>
                      <a:pt x="1392" y="567"/>
                      <a:pt x="1386" y="555"/>
                      <a:pt x="1382" y="545"/>
                    </a:cubicBezTo>
                    <a:cubicBezTo>
                      <a:pt x="1370" y="512"/>
                      <a:pt x="1354" y="481"/>
                      <a:pt x="1340" y="452"/>
                    </a:cubicBezTo>
                    <a:cubicBezTo>
                      <a:pt x="1314" y="444"/>
                      <a:pt x="1288" y="437"/>
                      <a:pt x="1261" y="431"/>
                    </a:cubicBezTo>
                    <a:cubicBezTo>
                      <a:pt x="1266" y="456"/>
                      <a:pt x="1272" y="485"/>
                      <a:pt x="1275" y="515"/>
                    </a:cubicBezTo>
                    <a:close/>
                    <a:moveTo>
                      <a:pt x="305" y="437"/>
                    </a:moveTo>
                    <a:cubicBezTo>
                      <a:pt x="295" y="493"/>
                      <a:pt x="288" y="559"/>
                      <a:pt x="293" y="623"/>
                    </a:cubicBezTo>
                    <a:cubicBezTo>
                      <a:pt x="311" y="617"/>
                      <a:pt x="332" y="615"/>
                      <a:pt x="351" y="610"/>
                    </a:cubicBezTo>
                    <a:cubicBezTo>
                      <a:pt x="364" y="556"/>
                      <a:pt x="379" y="504"/>
                      <a:pt x="397" y="455"/>
                    </a:cubicBezTo>
                    <a:cubicBezTo>
                      <a:pt x="366" y="449"/>
                      <a:pt x="335" y="444"/>
                      <a:pt x="305" y="437"/>
                    </a:cubicBezTo>
                    <a:close/>
                    <a:moveTo>
                      <a:pt x="1126" y="455"/>
                    </a:moveTo>
                    <a:cubicBezTo>
                      <a:pt x="1131" y="501"/>
                      <a:pt x="1133" y="551"/>
                      <a:pt x="1133" y="603"/>
                    </a:cubicBezTo>
                    <a:cubicBezTo>
                      <a:pt x="1182" y="612"/>
                      <a:pt x="1231" y="620"/>
                      <a:pt x="1277" y="633"/>
                    </a:cubicBezTo>
                    <a:cubicBezTo>
                      <a:pt x="1279" y="602"/>
                      <a:pt x="1270" y="583"/>
                      <a:pt x="1263" y="561"/>
                    </a:cubicBezTo>
                    <a:cubicBezTo>
                      <a:pt x="1248" y="517"/>
                      <a:pt x="1234" y="477"/>
                      <a:pt x="1215" y="438"/>
                    </a:cubicBezTo>
                    <a:cubicBezTo>
                      <a:pt x="1214" y="438"/>
                      <a:pt x="1214" y="438"/>
                      <a:pt x="1213" y="438"/>
                    </a:cubicBezTo>
                    <a:cubicBezTo>
                      <a:pt x="1185" y="445"/>
                      <a:pt x="1156" y="450"/>
                      <a:pt x="1126" y="455"/>
                    </a:cubicBezTo>
                    <a:close/>
                    <a:moveTo>
                      <a:pt x="179" y="454"/>
                    </a:moveTo>
                    <a:cubicBezTo>
                      <a:pt x="168" y="457"/>
                      <a:pt x="158" y="461"/>
                      <a:pt x="147" y="465"/>
                    </a:cubicBezTo>
                    <a:cubicBezTo>
                      <a:pt x="123" y="516"/>
                      <a:pt x="101" y="568"/>
                      <a:pt x="85" y="627"/>
                    </a:cubicBezTo>
                    <a:cubicBezTo>
                      <a:pt x="108" y="640"/>
                      <a:pt x="131" y="652"/>
                      <a:pt x="159" y="660"/>
                    </a:cubicBezTo>
                    <a:cubicBezTo>
                      <a:pt x="157" y="583"/>
                      <a:pt x="168" y="513"/>
                      <a:pt x="179" y="454"/>
                    </a:cubicBezTo>
                    <a:close/>
                    <a:moveTo>
                      <a:pt x="1392" y="564"/>
                    </a:moveTo>
                    <a:cubicBezTo>
                      <a:pt x="1388" y="528"/>
                      <a:pt x="1381" y="495"/>
                      <a:pt x="1374" y="463"/>
                    </a:cubicBezTo>
                    <a:cubicBezTo>
                      <a:pt x="1363" y="461"/>
                      <a:pt x="1354" y="457"/>
                      <a:pt x="1345" y="454"/>
                    </a:cubicBezTo>
                    <a:cubicBezTo>
                      <a:pt x="1362" y="489"/>
                      <a:pt x="1378" y="525"/>
                      <a:pt x="1392" y="564"/>
                    </a:cubicBezTo>
                    <a:close/>
                    <a:moveTo>
                      <a:pt x="401" y="455"/>
                    </a:moveTo>
                    <a:cubicBezTo>
                      <a:pt x="382" y="503"/>
                      <a:pt x="367" y="556"/>
                      <a:pt x="354" y="610"/>
                    </a:cubicBezTo>
                    <a:cubicBezTo>
                      <a:pt x="383" y="605"/>
                      <a:pt x="412" y="600"/>
                      <a:pt x="442" y="597"/>
                    </a:cubicBezTo>
                    <a:cubicBezTo>
                      <a:pt x="442" y="550"/>
                      <a:pt x="443" y="504"/>
                      <a:pt x="447" y="461"/>
                    </a:cubicBezTo>
                    <a:cubicBezTo>
                      <a:pt x="432" y="459"/>
                      <a:pt x="415" y="458"/>
                      <a:pt x="401" y="455"/>
                    </a:cubicBezTo>
                    <a:close/>
                    <a:moveTo>
                      <a:pt x="1080" y="461"/>
                    </a:moveTo>
                    <a:cubicBezTo>
                      <a:pt x="1093" y="507"/>
                      <a:pt x="1106" y="553"/>
                      <a:pt x="1116" y="601"/>
                    </a:cubicBezTo>
                    <a:cubicBezTo>
                      <a:pt x="1121" y="602"/>
                      <a:pt x="1125" y="602"/>
                      <a:pt x="1130" y="603"/>
                    </a:cubicBezTo>
                    <a:cubicBezTo>
                      <a:pt x="1130" y="551"/>
                      <a:pt x="1129" y="501"/>
                      <a:pt x="1123" y="455"/>
                    </a:cubicBezTo>
                    <a:cubicBezTo>
                      <a:pt x="1108" y="457"/>
                      <a:pt x="1094" y="459"/>
                      <a:pt x="1080" y="461"/>
                    </a:cubicBezTo>
                    <a:close/>
                    <a:moveTo>
                      <a:pt x="445" y="596"/>
                    </a:moveTo>
                    <a:cubicBezTo>
                      <a:pt x="475" y="592"/>
                      <a:pt x="505" y="589"/>
                      <a:pt x="535" y="586"/>
                    </a:cubicBezTo>
                    <a:cubicBezTo>
                      <a:pt x="542" y="548"/>
                      <a:pt x="548" y="509"/>
                      <a:pt x="556" y="472"/>
                    </a:cubicBezTo>
                    <a:cubicBezTo>
                      <a:pt x="519" y="469"/>
                      <a:pt x="483" y="466"/>
                      <a:pt x="449" y="461"/>
                    </a:cubicBezTo>
                    <a:cubicBezTo>
                      <a:pt x="446" y="504"/>
                      <a:pt x="444" y="549"/>
                      <a:pt x="445" y="596"/>
                    </a:cubicBezTo>
                    <a:close/>
                    <a:moveTo>
                      <a:pt x="965" y="472"/>
                    </a:moveTo>
                    <a:cubicBezTo>
                      <a:pt x="967" y="507"/>
                      <a:pt x="966" y="546"/>
                      <a:pt x="966" y="584"/>
                    </a:cubicBezTo>
                    <a:cubicBezTo>
                      <a:pt x="1016" y="589"/>
                      <a:pt x="1065" y="594"/>
                      <a:pt x="1113" y="600"/>
                    </a:cubicBezTo>
                    <a:cubicBezTo>
                      <a:pt x="1102" y="553"/>
                      <a:pt x="1092" y="503"/>
                      <a:pt x="1075" y="461"/>
                    </a:cubicBezTo>
                    <a:cubicBezTo>
                      <a:pt x="1039" y="466"/>
                      <a:pt x="1003" y="470"/>
                      <a:pt x="965" y="472"/>
                    </a:cubicBezTo>
                    <a:close/>
                    <a:moveTo>
                      <a:pt x="1388" y="521"/>
                    </a:moveTo>
                    <a:cubicBezTo>
                      <a:pt x="1391" y="540"/>
                      <a:pt x="1392" y="559"/>
                      <a:pt x="1396" y="577"/>
                    </a:cubicBezTo>
                    <a:cubicBezTo>
                      <a:pt x="1400" y="600"/>
                      <a:pt x="1412" y="620"/>
                      <a:pt x="1416" y="640"/>
                    </a:cubicBezTo>
                    <a:cubicBezTo>
                      <a:pt x="1437" y="628"/>
                      <a:pt x="1459" y="617"/>
                      <a:pt x="1473" y="599"/>
                    </a:cubicBezTo>
                    <a:cubicBezTo>
                      <a:pt x="1470" y="557"/>
                      <a:pt x="1454" y="529"/>
                      <a:pt x="1442" y="496"/>
                    </a:cubicBezTo>
                    <a:cubicBezTo>
                      <a:pt x="1421" y="484"/>
                      <a:pt x="1400" y="473"/>
                      <a:pt x="1376" y="465"/>
                    </a:cubicBezTo>
                    <a:cubicBezTo>
                      <a:pt x="1381" y="483"/>
                      <a:pt x="1385" y="502"/>
                      <a:pt x="1388" y="521"/>
                    </a:cubicBezTo>
                    <a:close/>
                    <a:moveTo>
                      <a:pt x="91" y="491"/>
                    </a:moveTo>
                    <a:cubicBezTo>
                      <a:pt x="82" y="531"/>
                      <a:pt x="72" y="570"/>
                      <a:pt x="69" y="616"/>
                    </a:cubicBezTo>
                    <a:cubicBezTo>
                      <a:pt x="73" y="619"/>
                      <a:pt x="78" y="623"/>
                      <a:pt x="83" y="625"/>
                    </a:cubicBezTo>
                    <a:cubicBezTo>
                      <a:pt x="98" y="568"/>
                      <a:pt x="121" y="515"/>
                      <a:pt x="142" y="467"/>
                    </a:cubicBezTo>
                    <a:cubicBezTo>
                      <a:pt x="124" y="474"/>
                      <a:pt x="107" y="482"/>
                      <a:pt x="91" y="491"/>
                    </a:cubicBezTo>
                    <a:close/>
                    <a:moveTo>
                      <a:pt x="558" y="472"/>
                    </a:moveTo>
                    <a:cubicBezTo>
                      <a:pt x="551" y="509"/>
                      <a:pt x="545" y="548"/>
                      <a:pt x="538" y="586"/>
                    </a:cubicBezTo>
                    <a:cubicBezTo>
                      <a:pt x="562" y="584"/>
                      <a:pt x="586" y="582"/>
                      <a:pt x="611" y="581"/>
                    </a:cubicBezTo>
                    <a:cubicBezTo>
                      <a:pt x="611" y="545"/>
                      <a:pt x="613" y="511"/>
                      <a:pt x="612" y="476"/>
                    </a:cubicBezTo>
                    <a:cubicBezTo>
                      <a:pt x="594" y="474"/>
                      <a:pt x="576" y="474"/>
                      <a:pt x="558" y="472"/>
                    </a:cubicBezTo>
                    <a:close/>
                    <a:moveTo>
                      <a:pt x="915" y="476"/>
                    </a:moveTo>
                    <a:cubicBezTo>
                      <a:pt x="919" y="511"/>
                      <a:pt x="925" y="546"/>
                      <a:pt x="928" y="582"/>
                    </a:cubicBezTo>
                    <a:cubicBezTo>
                      <a:pt x="941" y="582"/>
                      <a:pt x="952" y="584"/>
                      <a:pt x="965" y="584"/>
                    </a:cubicBezTo>
                    <a:cubicBezTo>
                      <a:pt x="965" y="546"/>
                      <a:pt x="963" y="510"/>
                      <a:pt x="963" y="473"/>
                    </a:cubicBezTo>
                    <a:cubicBezTo>
                      <a:pt x="946" y="473"/>
                      <a:pt x="930" y="474"/>
                      <a:pt x="915" y="476"/>
                    </a:cubicBezTo>
                    <a:close/>
                    <a:moveTo>
                      <a:pt x="617" y="476"/>
                    </a:moveTo>
                    <a:cubicBezTo>
                      <a:pt x="614" y="508"/>
                      <a:pt x="615" y="545"/>
                      <a:pt x="615" y="580"/>
                    </a:cubicBezTo>
                    <a:cubicBezTo>
                      <a:pt x="653" y="579"/>
                      <a:pt x="691" y="577"/>
                      <a:pt x="729" y="576"/>
                    </a:cubicBezTo>
                    <a:cubicBezTo>
                      <a:pt x="731" y="545"/>
                      <a:pt x="731" y="511"/>
                      <a:pt x="732" y="479"/>
                    </a:cubicBezTo>
                    <a:cubicBezTo>
                      <a:pt x="693" y="479"/>
                      <a:pt x="654" y="478"/>
                      <a:pt x="617" y="476"/>
                    </a:cubicBezTo>
                    <a:close/>
                    <a:moveTo>
                      <a:pt x="791" y="479"/>
                    </a:moveTo>
                    <a:cubicBezTo>
                      <a:pt x="791" y="513"/>
                      <a:pt x="791" y="544"/>
                      <a:pt x="791" y="576"/>
                    </a:cubicBezTo>
                    <a:cubicBezTo>
                      <a:pt x="836" y="577"/>
                      <a:pt x="881" y="579"/>
                      <a:pt x="924" y="581"/>
                    </a:cubicBezTo>
                    <a:cubicBezTo>
                      <a:pt x="920" y="546"/>
                      <a:pt x="915" y="511"/>
                      <a:pt x="911" y="476"/>
                    </a:cubicBezTo>
                    <a:cubicBezTo>
                      <a:pt x="872" y="478"/>
                      <a:pt x="831" y="479"/>
                      <a:pt x="791" y="479"/>
                    </a:cubicBezTo>
                    <a:close/>
                    <a:moveTo>
                      <a:pt x="736" y="479"/>
                    </a:moveTo>
                    <a:cubicBezTo>
                      <a:pt x="732" y="509"/>
                      <a:pt x="734" y="545"/>
                      <a:pt x="732" y="576"/>
                    </a:cubicBezTo>
                    <a:cubicBezTo>
                      <a:pt x="751" y="576"/>
                      <a:pt x="770" y="576"/>
                      <a:pt x="789" y="576"/>
                    </a:cubicBezTo>
                    <a:cubicBezTo>
                      <a:pt x="789" y="544"/>
                      <a:pt x="789" y="512"/>
                      <a:pt x="789" y="479"/>
                    </a:cubicBezTo>
                    <a:cubicBezTo>
                      <a:pt x="771" y="479"/>
                      <a:pt x="754" y="479"/>
                      <a:pt x="736" y="479"/>
                    </a:cubicBezTo>
                    <a:close/>
                    <a:moveTo>
                      <a:pt x="60" y="512"/>
                    </a:moveTo>
                    <a:cubicBezTo>
                      <a:pt x="53" y="535"/>
                      <a:pt x="44" y="556"/>
                      <a:pt x="37" y="580"/>
                    </a:cubicBezTo>
                    <a:cubicBezTo>
                      <a:pt x="45" y="593"/>
                      <a:pt x="53" y="606"/>
                      <a:pt x="67" y="613"/>
                    </a:cubicBezTo>
                    <a:cubicBezTo>
                      <a:pt x="69" y="569"/>
                      <a:pt x="81" y="529"/>
                      <a:pt x="87" y="493"/>
                    </a:cubicBezTo>
                    <a:cubicBezTo>
                      <a:pt x="78" y="499"/>
                      <a:pt x="69" y="505"/>
                      <a:pt x="60" y="512"/>
                    </a:cubicBezTo>
                    <a:close/>
                    <a:moveTo>
                      <a:pt x="1462" y="539"/>
                    </a:moveTo>
                    <a:cubicBezTo>
                      <a:pt x="1461" y="543"/>
                      <a:pt x="1465" y="539"/>
                      <a:pt x="1462" y="539"/>
                    </a:cubicBezTo>
                    <a:moveTo>
                      <a:pt x="1462" y="539"/>
                    </a:moveTo>
                    <a:cubicBezTo>
                      <a:pt x="1458" y="526"/>
                      <a:pt x="1458" y="502"/>
                      <a:pt x="1446" y="501"/>
                    </a:cubicBezTo>
                    <a:cubicBezTo>
                      <a:pt x="1452" y="512"/>
                      <a:pt x="1456" y="526"/>
                      <a:pt x="1462" y="539"/>
                    </a:cubicBezTo>
                    <a:moveTo>
                      <a:pt x="1480" y="592"/>
                    </a:moveTo>
                    <a:cubicBezTo>
                      <a:pt x="1504" y="563"/>
                      <a:pt x="1482" y="521"/>
                      <a:pt x="1457" y="507"/>
                    </a:cubicBezTo>
                    <a:cubicBezTo>
                      <a:pt x="1465" y="535"/>
                      <a:pt x="1469" y="567"/>
                      <a:pt x="1480" y="592"/>
                    </a:cubicBezTo>
                    <a:close/>
                    <a:moveTo>
                      <a:pt x="36" y="575"/>
                    </a:moveTo>
                    <a:cubicBezTo>
                      <a:pt x="40" y="555"/>
                      <a:pt x="51" y="536"/>
                      <a:pt x="54" y="517"/>
                    </a:cubicBezTo>
                    <a:cubicBezTo>
                      <a:pt x="42" y="529"/>
                      <a:pt x="28" y="553"/>
                      <a:pt x="36" y="575"/>
                    </a:cubicBezTo>
                    <a:close/>
                    <a:moveTo>
                      <a:pt x="1463" y="544"/>
                    </a:moveTo>
                    <a:cubicBezTo>
                      <a:pt x="1462" y="543"/>
                      <a:pt x="1463" y="544"/>
                      <a:pt x="1463" y="544"/>
                    </a:cubicBezTo>
                    <a:close/>
                    <a:moveTo>
                      <a:pt x="1480" y="597"/>
                    </a:moveTo>
                    <a:cubicBezTo>
                      <a:pt x="1494" y="642"/>
                      <a:pt x="1503" y="692"/>
                      <a:pt x="1508" y="747"/>
                    </a:cubicBezTo>
                    <a:cubicBezTo>
                      <a:pt x="1512" y="753"/>
                      <a:pt x="1516" y="760"/>
                      <a:pt x="1519" y="767"/>
                    </a:cubicBezTo>
                    <a:cubicBezTo>
                      <a:pt x="1521" y="690"/>
                      <a:pt x="1511" y="622"/>
                      <a:pt x="1494" y="563"/>
                    </a:cubicBezTo>
                    <a:cubicBezTo>
                      <a:pt x="1493" y="578"/>
                      <a:pt x="1486" y="587"/>
                      <a:pt x="1480" y="597"/>
                    </a:cubicBezTo>
                    <a:close/>
                    <a:moveTo>
                      <a:pt x="17" y="654"/>
                    </a:moveTo>
                    <a:cubicBezTo>
                      <a:pt x="21" y="628"/>
                      <a:pt x="28" y="604"/>
                      <a:pt x="34" y="580"/>
                    </a:cubicBezTo>
                    <a:cubicBezTo>
                      <a:pt x="33" y="577"/>
                      <a:pt x="32" y="573"/>
                      <a:pt x="30" y="570"/>
                    </a:cubicBezTo>
                    <a:cubicBezTo>
                      <a:pt x="26" y="597"/>
                      <a:pt x="18" y="626"/>
                      <a:pt x="17" y="654"/>
                    </a:cubicBezTo>
                    <a:close/>
                    <a:moveTo>
                      <a:pt x="615" y="583"/>
                    </a:moveTo>
                    <a:cubicBezTo>
                      <a:pt x="616" y="635"/>
                      <a:pt x="617" y="686"/>
                      <a:pt x="620" y="736"/>
                    </a:cubicBezTo>
                    <a:cubicBezTo>
                      <a:pt x="655" y="737"/>
                      <a:pt x="690" y="739"/>
                      <a:pt x="726" y="739"/>
                    </a:cubicBezTo>
                    <a:cubicBezTo>
                      <a:pt x="728" y="686"/>
                      <a:pt x="729" y="633"/>
                      <a:pt x="729" y="579"/>
                    </a:cubicBezTo>
                    <a:cubicBezTo>
                      <a:pt x="690" y="580"/>
                      <a:pt x="652" y="581"/>
                      <a:pt x="615" y="583"/>
                    </a:cubicBezTo>
                    <a:close/>
                    <a:moveTo>
                      <a:pt x="729" y="739"/>
                    </a:moveTo>
                    <a:cubicBezTo>
                      <a:pt x="750" y="738"/>
                      <a:pt x="769" y="740"/>
                      <a:pt x="788" y="739"/>
                    </a:cubicBezTo>
                    <a:cubicBezTo>
                      <a:pt x="788" y="685"/>
                      <a:pt x="790" y="633"/>
                      <a:pt x="789" y="579"/>
                    </a:cubicBezTo>
                    <a:cubicBezTo>
                      <a:pt x="770" y="579"/>
                      <a:pt x="752" y="579"/>
                      <a:pt x="733" y="579"/>
                    </a:cubicBezTo>
                    <a:cubicBezTo>
                      <a:pt x="730" y="630"/>
                      <a:pt x="731" y="686"/>
                      <a:pt x="729" y="739"/>
                    </a:cubicBezTo>
                    <a:close/>
                    <a:moveTo>
                      <a:pt x="791" y="582"/>
                    </a:moveTo>
                    <a:cubicBezTo>
                      <a:pt x="791" y="634"/>
                      <a:pt x="791" y="687"/>
                      <a:pt x="791" y="739"/>
                    </a:cubicBezTo>
                    <a:cubicBezTo>
                      <a:pt x="842" y="739"/>
                      <a:pt x="890" y="736"/>
                      <a:pt x="938" y="734"/>
                    </a:cubicBezTo>
                    <a:cubicBezTo>
                      <a:pt x="934" y="683"/>
                      <a:pt x="930" y="633"/>
                      <a:pt x="924" y="584"/>
                    </a:cubicBezTo>
                    <a:cubicBezTo>
                      <a:pt x="881" y="581"/>
                      <a:pt x="837" y="580"/>
                      <a:pt x="792" y="579"/>
                    </a:cubicBezTo>
                    <a:cubicBezTo>
                      <a:pt x="791" y="579"/>
                      <a:pt x="791" y="581"/>
                      <a:pt x="791" y="582"/>
                    </a:cubicBezTo>
                    <a:close/>
                    <a:moveTo>
                      <a:pt x="538" y="588"/>
                    </a:moveTo>
                    <a:cubicBezTo>
                      <a:pt x="531" y="634"/>
                      <a:pt x="526" y="681"/>
                      <a:pt x="521" y="729"/>
                    </a:cubicBezTo>
                    <a:cubicBezTo>
                      <a:pt x="552" y="732"/>
                      <a:pt x="584" y="734"/>
                      <a:pt x="616" y="736"/>
                    </a:cubicBezTo>
                    <a:cubicBezTo>
                      <a:pt x="612" y="686"/>
                      <a:pt x="615" y="630"/>
                      <a:pt x="609" y="583"/>
                    </a:cubicBezTo>
                    <a:cubicBezTo>
                      <a:pt x="586" y="585"/>
                      <a:pt x="562" y="587"/>
                      <a:pt x="538" y="588"/>
                    </a:cubicBezTo>
                    <a:close/>
                    <a:moveTo>
                      <a:pt x="929" y="584"/>
                    </a:moveTo>
                    <a:cubicBezTo>
                      <a:pt x="933" y="634"/>
                      <a:pt x="939" y="682"/>
                      <a:pt x="942" y="734"/>
                    </a:cubicBezTo>
                    <a:cubicBezTo>
                      <a:pt x="946" y="733"/>
                      <a:pt x="953" y="733"/>
                      <a:pt x="959" y="733"/>
                    </a:cubicBezTo>
                    <a:cubicBezTo>
                      <a:pt x="962" y="685"/>
                      <a:pt x="963" y="636"/>
                      <a:pt x="965" y="587"/>
                    </a:cubicBezTo>
                    <a:cubicBezTo>
                      <a:pt x="953" y="585"/>
                      <a:pt x="941" y="585"/>
                      <a:pt x="929" y="584"/>
                    </a:cubicBezTo>
                    <a:close/>
                    <a:moveTo>
                      <a:pt x="13" y="752"/>
                    </a:moveTo>
                    <a:cubicBezTo>
                      <a:pt x="25" y="732"/>
                      <a:pt x="46" y="719"/>
                      <a:pt x="63" y="704"/>
                    </a:cubicBezTo>
                    <a:cubicBezTo>
                      <a:pt x="63" y="674"/>
                      <a:pt x="63" y="645"/>
                      <a:pt x="66" y="618"/>
                    </a:cubicBezTo>
                    <a:cubicBezTo>
                      <a:pt x="54" y="609"/>
                      <a:pt x="45" y="597"/>
                      <a:pt x="35" y="585"/>
                    </a:cubicBezTo>
                    <a:cubicBezTo>
                      <a:pt x="23" y="635"/>
                      <a:pt x="7" y="690"/>
                      <a:pt x="13" y="752"/>
                    </a:cubicBezTo>
                    <a:close/>
                    <a:moveTo>
                      <a:pt x="967" y="587"/>
                    </a:moveTo>
                    <a:cubicBezTo>
                      <a:pt x="965" y="635"/>
                      <a:pt x="965" y="686"/>
                      <a:pt x="961" y="732"/>
                    </a:cubicBezTo>
                    <a:cubicBezTo>
                      <a:pt x="1017" y="729"/>
                      <a:pt x="1071" y="723"/>
                      <a:pt x="1123" y="716"/>
                    </a:cubicBezTo>
                    <a:cubicBezTo>
                      <a:pt x="1132" y="675"/>
                      <a:pt x="1121" y="639"/>
                      <a:pt x="1114" y="603"/>
                    </a:cubicBezTo>
                    <a:cubicBezTo>
                      <a:pt x="1067" y="597"/>
                      <a:pt x="1018" y="591"/>
                      <a:pt x="967" y="587"/>
                    </a:cubicBezTo>
                    <a:close/>
                    <a:moveTo>
                      <a:pt x="1476" y="597"/>
                    </a:moveTo>
                    <a:cubicBezTo>
                      <a:pt x="1478" y="594"/>
                      <a:pt x="1476" y="589"/>
                      <a:pt x="1474" y="587"/>
                    </a:cubicBezTo>
                    <a:cubicBezTo>
                      <a:pt x="1475" y="590"/>
                      <a:pt x="1475" y="594"/>
                      <a:pt x="1476" y="597"/>
                    </a:cubicBezTo>
                    <a:close/>
                    <a:moveTo>
                      <a:pt x="445" y="599"/>
                    </a:moveTo>
                    <a:cubicBezTo>
                      <a:pt x="446" y="641"/>
                      <a:pt x="448" y="683"/>
                      <a:pt x="452" y="722"/>
                    </a:cubicBezTo>
                    <a:cubicBezTo>
                      <a:pt x="474" y="725"/>
                      <a:pt x="496" y="727"/>
                      <a:pt x="518" y="729"/>
                    </a:cubicBezTo>
                    <a:cubicBezTo>
                      <a:pt x="523" y="682"/>
                      <a:pt x="528" y="634"/>
                      <a:pt x="535" y="589"/>
                    </a:cubicBezTo>
                    <a:cubicBezTo>
                      <a:pt x="504" y="591"/>
                      <a:pt x="475" y="595"/>
                      <a:pt x="445" y="599"/>
                    </a:cubicBezTo>
                    <a:close/>
                    <a:moveTo>
                      <a:pt x="1398" y="592"/>
                    </a:moveTo>
                    <a:cubicBezTo>
                      <a:pt x="1398" y="610"/>
                      <a:pt x="1399" y="628"/>
                      <a:pt x="1399" y="647"/>
                    </a:cubicBezTo>
                    <a:cubicBezTo>
                      <a:pt x="1404" y="644"/>
                      <a:pt x="1410" y="644"/>
                      <a:pt x="1412" y="640"/>
                    </a:cubicBezTo>
                    <a:cubicBezTo>
                      <a:pt x="1407" y="624"/>
                      <a:pt x="1403" y="607"/>
                      <a:pt x="1398" y="592"/>
                    </a:cubicBezTo>
                    <a:moveTo>
                      <a:pt x="1398" y="592"/>
                    </a:moveTo>
                    <a:cubicBezTo>
                      <a:pt x="1399" y="587"/>
                      <a:pt x="1395" y="591"/>
                      <a:pt x="1398" y="592"/>
                    </a:cubicBezTo>
                    <a:moveTo>
                      <a:pt x="354" y="612"/>
                    </a:moveTo>
                    <a:cubicBezTo>
                      <a:pt x="346" y="641"/>
                      <a:pt x="341" y="673"/>
                      <a:pt x="335" y="705"/>
                    </a:cubicBezTo>
                    <a:cubicBezTo>
                      <a:pt x="372" y="712"/>
                      <a:pt x="409" y="718"/>
                      <a:pt x="449" y="721"/>
                    </a:cubicBezTo>
                    <a:cubicBezTo>
                      <a:pt x="445" y="682"/>
                      <a:pt x="445" y="639"/>
                      <a:pt x="441" y="599"/>
                    </a:cubicBezTo>
                    <a:cubicBezTo>
                      <a:pt x="412" y="603"/>
                      <a:pt x="383" y="607"/>
                      <a:pt x="354" y="612"/>
                    </a:cubicBezTo>
                    <a:close/>
                    <a:moveTo>
                      <a:pt x="1483" y="721"/>
                    </a:moveTo>
                    <a:cubicBezTo>
                      <a:pt x="1487" y="724"/>
                      <a:pt x="1490" y="729"/>
                      <a:pt x="1494" y="733"/>
                    </a:cubicBezTo>
                    <a:cubicBezTo>
                      <a:pt x="1498" y="736"/>
                      <a:pt x="1504" y="743"/>
                      <a:pt x="1505" y="742"/>
                    </a:cubicBezTo>
                    <a:cubicBezTo>
                      <a:pt x="1499" y="690"/>
                      <a:pt x="1492" y="641"/>
                      <a:pt x="1477" y="599"/>
                    </a:cubicBezTo>
                    <a:cubicBezTo>
                      <a:pt x="1480" y="635"/>
                      <a:pt x="1484" y="678"/>
                      <a:pt x="1483" y="721"/>
                    </a:cubicBezTo>
                    <a:close/>
                    <a:moveTo>
                      <a:pt x="1416" y="642"/>
                    </a:moveTo>
                    <a:cubicBezTo>
                      <a:pt x="1419" y="657"/>
                      <a:pt x="1423" y="671"/>
                      <a:pt x="1425" y="686"/>
                    </a:cubicBezTo>
                    <a:cubicBezTo>
                      <a:pt x="1441" y="692"/>
                      <a:pt x="1456" y="703"/>
                      <a:pt x="1468" y="711"/>
                    </a:cubicBezTo>
                    <a:cubicBezTo>
                      <a:pt x="1472" y="714"/>
                      <a:pt x="1478" y="718"/>
                      <a:pt x="1480" y="718"/>
                    </a:cubicBezTo>
                    <a:cubicBezTo>
                      <a:pt x="1480" y="677"/>
                      <a:pt x="1480" y="637"/>
                      <a:pt x="1473" y="603"/>
                    </a:cubicBezTo>
                    <a:cubicBezTo>
                      <a:pt x="1457" y="619"/>
                      <a:pt x="1438" y="632"/>
                      <a:pt x="1416" y="642"/>
                    </a:cubicBezTo>
                    <a:close/>
                    <a:moveTo>
                      <a:pt x="1128" y="658"/>
                    </a:moveTo>
                    <a:cubicBezTo>
                      <a:pt x="1128" y="640"/>
                      <a:pt x="1129" y="623"/>
                      <a:pt x="1130" y="605"/>
                    </a:cubicBezTo>
                    <a:cubicBezTo>
                      <a:pt x="1124" y="606"/>
                      <a:pt x="1122" y="604"/>
                      <a:pt x="1117" y="604"/>
                    </a:cubicBezTo>
                    <a:cubicBezTo>
                      <a:pt x="1120" y="623"/>
                      <a:pt x="1124" y="640"/>
                      <a:pt x="1128" y="658"/>
                    </a:cubicBezTo>
                    <a:close/>
                    <a:moveTo>
                      <a:pt x="1134" y="606"/>
                    </a:moveTo>
                    <a:cubicBezTo>
                      <a:pt x="1132" y="607"/>
                      <a:pt x="1132" y="607"/>
                      <a:pt x="1132" y="609"/>
                    </a:cubicBezTo>
                    <a:cubicBezTo>
                      <a:pt x="1131" y="648"/>
                      <a:pt x="1128" y="682"/>
                      <a:pt x="1136" y="714"/>
                    </a:cubicBezTo>
                    <a:cubicBezTo>
                      <a:pt x="1184" y="707"/>
                      <a:pt x="1230" y="698"/>
                      <a:pt x="1274" y="688"/>
                    </a:cubicBezTo>
                    <a:cubicBezTo>
                      <a:pt x="1276" y="671"/>
                      <a:pt x="1276" y="653"/>
                      <a:pt x="1277" y="635"/>
                    </a:cubicBezTo>
                    <a:cubicBezTo>
                      <a:pt x="1230" y="624"/>
                      <a:pt x="1183" y="614"/>
                      <a:pt x="1134" y="606"/>
                    </a:cubicBezTo>
                    <a:close/>
                    <a:moveTo>
                      <a:pt x="349" y="613"/>
                    </a:moveTo>
                    <a:cubicBezTo>
                      <a:pt x="330" y="617"/>
                      <a:pt x="311" y="621"/>
                      <a:pt x="292" y="624"/>
                    </a:cubicBezTo>
                    <a:cubicBezTo>
                      <a:pt x="292" y="650"/>
                      <a:pt x="293" y="674"/>
                      <a:pt x="295" y="697"/>
                    </a:cubicBezTo>
                    <a:cubicBezTo>
                      <a:pt x="307" y="700"/>
                      <a:pt x="319" y="703"/>
                      <a:pt x="332" y="704"/>
                    </a:cubicBezTo>
                    <a:cubicBezTo>
                      <a:pt x="337" y="674"/>
                      <a:pt x="345" y="641"/>
                      <a:pt x="349" y="613"/>
                    </a:cubicBezTo>
                    <a:close/>
                    <a:moveTo>
                      <a:pt x="1279" y="634"/>
                    </a:moveTo>
                    <a:cubicBezTo>
                      <a:pt x="1282" y="634"/>
                      <a:pt x="1283" y="634"/>
                      <a:pt x="1284" y="635"/>
                    </a:cubicBezTo>
                    <a:cubicBezTo>
                      <a:pt x="1283" y="628"/>
                      <a:pt x="1282" y="622"/>
                      <a:pt x="1279" y="617"/>
                    </a:cubicBezTo>
                    <a:cubicBezTo>
                      <a:pt x="1279" y="623"/>
                      <a:pt x="1279" y="628"/>
                      <a:pt x="1279" y="634"/>
                    </a:cubicBezTo>
                    <a:close/>
                    <a:moveTo>
                      <a:pt x="67" y="699"/>
                    </a:moveTo>
                    <a:cubicBezTo>
                      <a:pt x="70" y="674"/>
                      <a:pt x="76" y="651"/>
                      <a:pt x="82" y="628"/>
                    </a:cubicBezTo>
                    <a:cubicBezTo>
                      <a:pt x="77" y="626"/>
                      <a:pt x="74" y="621"/>
                      <a:pt x="68" y="620"/>
                    </a:cubicBezTo>
                    <a:cubicBezTo>
                      <a:pt x="67" y="645"/>
                      <a:pt x="64" y="674"/>
                      <a:pt x="67" y="699"/>
                    </a:cubicBezTo>
                    <a:close/>
                    <a:moveTo>
                      <a:pt x="288" y="625"/>
                    </a:moveTo>
                    <a:cubicBezTo>
                      <a:pt x="255" y="634"/>
                      <a:pt x="221" y="642"/>
                      <a:pt x="190" y="652"/>
                    </a:cubicBezTo>
                    <a:cubicBezTo>
                      <a:pt x="189" y="659"/>
                      <a:pt x="188" y="664"/>
                      <a:pt x="186" y="670"/>
                    </a:cubicBezTo>
                    <a:cubicBezTo>
                      <a:pt x="220" y="680"/>
                      <a:pt x="255" y="690"/>
                      <a:pt x="293" y="696"/>
                    </a:cubicBezTo>
                    <a:cubicBezTo>
                      <a:pt x="290" y="673"/>
                      <a:pt x="291" y="648"/>
                      <a:pt x="288" y="625"/>
                    </a:cubicBezTo>
                    <a:close/>
                    <a:moveTo>
                      <a:pt x="69" y="701"/>
                    </a:moveTo>
                    <a:cubicBezTo>
                      <a:pt x="95" y="687"/>
                      <a:pt x="122" y="673"/>
                      <a:pt x="152" y="663"/>
                    </a:cubicBezTo>
                    <a:cubicBezTo>
                      <a:pt x="130" y="651"/>
                      <a:pt x="104" y="643"/>
                      <a:pt x="84" y="629"/>
                    </a:cubicBezTo>
                    <a:cubicBezTo>
                      <a:pt x="79" y="653"/>
                      <a:pt x="73" y="676"/>
                      <a:pt x="69" y="701"/>
                    </a:cubicBezTo>
                    <a:close/>
                    <a:moveTo>
                      <a:pt x="1277" y="687"/>
                    </a:moveTo>
                    <a:cubicBezTo>
                      <a:pt x="1283" y="685"/>
                      <a:pt x="1289" y="684"/>
                      <a:pt x="1296" y="682"/>
                    </a:cubicBezTo>
                    <a:cubicBezTo>
                      <a:pt x="1292" y="667"/>
                      <a:pt x="1290" y="652"/>
                      <a:pt x="1285" y="638"/>
                    </a:cubicBezTo>
                    <a:cubicBezTo>
                      <a:pt x="1284" y="637"/>
                      <a:pt x="1281" y="637"/>
                      <a:pt x="1279" y="636"/>
                    </a:cubicBezTo>
                    <a:cubicBezTo>
                      <a:pt x="1278" y="652"/>
                      <a:pt x="1278" y="670"/>
                      <a:pt x="1277" y="687"/>
                    </a:cubicBezTo>
                    <a:close/>
                    <a:moveTo>
                      <a:pt x="1298" y="681"/>
                    </a:moveTo>
                    <a:cubicBezTo>
                      <a:pt x="1320" y="675"/>
                      <a:pt x="1342" y="670"/>
                      <a:pt x="1362" y="661"/>
                    </a:cubicBezTo>
                    <a:cubicBezTo>
                      <a:pt x="1338" y="654"/>
                      <a:pt x="1315" y="645"/>
                      <a:pt x="1289" y="639"/>
                    </a:cubicBezTo>
                    <a:cubicBezTo>
                      <a:pt x="1291" y="653"/>
                      <a:pt x="1296" y="666"/>
                      <a:pt x="1298" y="681"/>
                    </a:cubicBezTo>
                    <a:close/>
                    <a:moveTo>
                      <a:pt x="1399" y="649"/>
                    </a:moveTo>
                    <a:cubicBezTo>
                      <a:pt x="1399" y="657"/>
                      <a:pt x="1399" y="665"/>
                      <a:pt x="1399" y="673"/>
                    </a:cubicBezTo>
                    <a:cubicBezTo>
                      <a:pt x="1407" y="677"/>
                      <a:pt x="1415" y="680"/>
                      <a:pt x="1422" y="684"/>
                    </a:cubicBezTo>
                    <a:cubicBezTo>
                      <a:pt x="1419" y="671"/>
                      <a:pt x="1418" y="655"/>
                      <a:pt x="1412" y="644"/>
                    </a:cubicBezTo>
                    <a:cubicBezTo>
                      <a:pt x="1409" y="646"/>
                      <a:pt x="1404" y="648"/>
                      <a:pt x="1399" y="649"/>
                    </a:cubicBezTo>
                    <a:close/>
                    <a:moveTo>
                      <a:pt x="1371" y="662"/>
                    </a:moveTo>
                    <a:cubicBezTo>
                      <a:pt x="1379" y="665"/>
                      <a:pt x="1388" y="668"/>
                      <a:pt x="1397" y="672"/>
                    </a:cubicBezTo>
                    <a:cubicBezTo>
                      <a:pt x="1396" y="666"/>
                      <a:pt x="1398" y="656"/>
                      <a:pt x="1396" y="651"/>
                    </a:cubicBezTo>
                    <a:cubicBezTo>
                      <a:pt x="1388" y="655"/>
                      <a:pt x="1379" y="658"/>
                      <a:pt x="1371" y="662"/>
                    </a:cubicBezTo>
                    <a:close/>
                    <a:moveTo>
                      <a:pt x="162" y="662"/>
                    </a:moveTo>
                    <a:cubicBezTo>
                      <a:pt x="169" y="664"/>
                      <a:pt x="175" y="668"/>
                      <a:pt x="184" y="669"/>
                    </a:cubicBezTo>
                    <a:cubicBezTo>
                      <a:pt x="184" y="663"/>
                      <a:pt x="187" y="659"/>
                      <a:pt x="187" y="653"/>
                    </a:cubicBezTo>
                    <a:cubicBezTo>
                      <a:pt x="178" y="656"/>
                      <a:pt x="170" y="658"/>
                      <a:pt x="162" y="662"/>
                    </a:cubicBezTo>
                    <a:close/>
                    <a:moveTo>
                      <a:pt x="109" y="683"/>
                    </a:moveTo>
                    <a:cubicBezTo>
                      <a:pt x="98" y="688"/>
                      <a:pt x="72" y="698"/>
                      <a:pt x="68" y="707"/>
                    </a:cubicBezTo>
                    <a:cubicBezTo>
                      <a:pt x="63" y="717"/>
                      <a:pt x="68" y="742"/>
                      <a:pt x="70" y="755"/>
                    </a:cubicBezTo>
                    <a:cubicBezTo>
                      <a:pt x="76" y="807"/>
                      <a:pt x="83" y="853"/>
                      <a:pt x="96" y="893"/>
                    </a:cubicBezTo>
                    <a:cubicBezTo>
                      <a:pt x="107" y="898"/>
                      <a:pt x="117" y="903"/>
                      <a:pt x="127" y="908"/>
                    </a:cubicBezTo>
                    <a:cubicBezTo>
                      <a:pt x="138" y="901"/>
                      <a:pt x="150" y="898"/>
                      <a:pt x="158" y="889"/>
                    </a:cubicBezTo>
                    <a:cubicBezTo>
                      <a:pt x="157" y="859"/>
                      <a:pt x="160" y="834"/>
                      <a:pt x="162" y="808"/>
                    </a:cubicBezTo>
                    <a:cubicBezTo>
                      <a:pt x="163" y="790"/>
                      <a:pt x="168" y="772"/>
                      <a:pt x="168" y="756"/>
                    </a:cubicBezTo>
                    <a:cubicBezTo>
                      <a:pt x="168" y="741"/>
                      <a:pt x="163" y="727"/>
                      <a:pt x="162" y="712"/>
                    </a:cubicBezTo>
                    <a:cubicBezTo>
                      <a:pt x="161" y="696"/>
                      <a:pt x="161" y="681"/>
                      <a:pt x="159" y="665"/>
                    </a:cubicBezTo>
                    <a:cubicBezTo>
                      <a:pt x="159" y="664"/>
                      <a:pt x="159" y="664"/>
                      <a:pt x="158" y="664"/>
                    </a:cubicBezTo>
                    <a:cubicBezTo>
                      <a:pt x="145" y="667"/>
                      <a:pt x="128" y="674"/>
                      <a:pt x="109" y="683"/>
                    </a:cubicBezTo>
                    <a:close/>
                    <a:moveTo>
                      <a:pt x="1367" y="664"/>
                    </a:moveTo>
                    <a:cubicBezTo>
                      <a:pt x="1347" y="670"/>
                      <a:pt x="1321" y="678"/>
                      <a:pt x="1299" y="685"/>
                    </a:cubicBezTo>
                    <a:cubicBezTo>
                      <a:pt x="1311" y="742"/>
                      <a:pt x="1319" y="805"/>
                      <a:pt x="1322" y="872"/>
                    </a:cubicBezTo>
                    <a:cubicBezTo>
                      <a:pt x="1336" y="877"/>
                      <a:pt x="1347" y="884"/>
                      <a:pt x="1362" y="888"/>
                    </a:cubicBezTo>
                    <a:cubicBezTo>
                      <a:pt x="1380" y="824"/>
                      <a:pt x="1394" y="754"/>
                      <a:pt x="1397" y="674"/>
                    </a:cubicBezTo>
                    <a:cubicBezTo>
                      <a:pt x="1386" y="672"/>
                      <a:pt x="1378" y="666"/>
                      <a:pt x="1367" y="664"/>
                    </a:cubicBezTo>
                    <a:close/>
                    <a:moveTo>
                      <a:pt x="170" y="745"/>
                    </a:moveTo>
                    <a:cubicBezTo>
                      <a:pt x="172" y="719"/>
                      <a:pt x="178" y="695"/>
                      <a:pt x="183" y="671"/>
                    </a:cubicBezTo>
                    <a:cubicBezTo>
                      <a:pt x="175" y="670"/>
                      <a:pt x="169" y="667"/>
                      <a:pt x="162" y="665"/>
                    </a:cubicBezTo>
                    <a:cubicBezTo>
                      <a:pt x="164" y="692"/>
                      <a:pt x="164" y="722"/>
                      <a:pt x="170" y="745"/>
                    </a:cubicBezTo>
                    <a:close/>
                    <a:moveTo>
                      <a:pt x="185" y="672"/>
                    </a:moveTo>
                    <a:cubicBezTo>
                      <a:pt x="185" y="673"/>
                      <a:pt x="185" y="674"/>
                      <a:pt x="185" y="675"/>
                    </a:cubicBezTo>
                    <a:cubicBezTo>
                      <a:pt x="182" y="704"/>
                      <a:pt x="169" y="731"/>
                      <a:pt x="171" y="761"/>
                    </a:cubicBezTo>
                    <a:cubicBezTo>
                      <a:pt x="172" y="801"/>
                      <a:pt x="188" y="839"/>
                      <a:pt x="195" y="875"/>
                    </a:cubicBezTo>
                    <a:cubicBezTo>
                      <a:pt x="232" y="860"/>
                      <a:pt x="272" y="848"/>
                      <a:pt x="314" y="837"/>
                    </a:cubicBezTo>
                    <a:cubicBezTo>
                      <a:pt x="306" y="792"/>
                      <a:pt x="297" y="749"/>
                      <a:pt x="294" y="700"/>
                    </a:cubicBezTo>
                    <a:cubicBezTo>
                      <a:pt x="256" y="692"/>
                      <a:pt x="219" y="683"/>
                      <a:pt x="185" y="672"/>
                    </a:cubicBezTo>
                    <a:close/>
                    <a:moveTo>
                      <a:pt x="1364" y="890"/>
                    </a:moveTo>
                    <a:cubicBezTo>
                      <a:pt x="1375" y="896"/>
                      <a:pt x="1385" y="902"/>
                      <a:pt x="1397" y="908"/>
                    </a:cubicBezTo>
                    <a:cubicBezTo>
                      <a:pt x="1411" y="900"/>
                      <a:pt x="1428" y="894"/>
                      <a:pt x="1441" y="885"/>
                    </a:cubicBezTo>
                    <a:cubicBezTo>
                      <a:pt x="1442" y="811"/>
                      <a:pt x="1435" y="747"/>
                      <a:pt x="1423" y="687"/>
                    </a:cubicBezTo>
                    <a:cubicBezTo>
                      <a:pt x="1415" y="684"/>
                      <a:pt x="1408" y="679"/>
                      <a:pt x="1398" y="676"/>
                    </a:cubicBezTo>
                    <a:cubicBezTo>
                      <a:pt x="1397" y="757"/>
                      <a:pt x="1382" y="826"/>
                      <a:pt x="1364" y="890"/>
                    </a:cubicBezTo>
                    <a:close/>
                    <a:moveTo>
                      <a:pt x="1127" y="716"/>
                    </a:moveTo>
                    <a:cubicBezTo>
                      <a:pt x="1127" y="713"/>
                      <a:pt x="1132" y="715"/>
                      <a:pt x="1134" y="715"/>
                    </a:cubicBezTo>
                    <a:cubicBezTo>
                      <a:pt x="1132" y="705"/>
                      <a:pt x="1131" y="694"/>
                      <a:pt x="1129" y="685"/>
                    </a:cubicBezTo>
                    <a:cubicBezTo>
                      <a:pt x="1128" y="694"/>
                      <a:pt x="1125" y="707"/>
                      <a:pt x="1127" y="716"/>
                    </a:cubicBezTo>
                    <a:close/>
                    <a:moveTo>
                      <a:pt x="1277" y="690"/>
                    </a:moveTo>
                    <a:cubicBezTo>
                      <a:pt x="1272" y="746"/>
                      <a:pt x="1263" y="798"/>
                      <a:pt x="1252" y="848"/>
                    </a:cubicBezTo>
                    <a:cubicBezTo>
                      <a:pt x="1275" y="855"/>
                      <a:pt x="1298" y="862"/>
                      <a:pt x="1319" y="871"/>
                    </a:cubicBezTo>
                    <a:cubicBezTo>
                      <a:pt x="1316" y="804"/>
                      <a:pt x="1310" y="740"/>
                      <a:pt x="1295" y="685"/>
                    </a:cubicBezTo>
                    <a:cubicBezTo>
                      <a:pt x="1289" y="687"/>
                      <a:pt x="1283" y="688"/>
                      <a:pt x="1277" y="690"/>
                    </a:cubicBezTo>
                    <a:close/>
                    <a:moveTo>
                      <a:pt x="1443" y="884"/>
                    </a:moveTo>
                    <a:cubicBezTo>
                      <a:pt x="1447" y="884"/>
                      <a:pt x="1454" y="877"/>
                      <a:pt x="1459" y="875"/>
                    </a:cubicBezTo>
                    <a:cubicBezTo>
                      <a:pt x="1470" y="828"/>
                      <a:pt x="1478" y="779"/>
                      <a:pt x="1480" y="723"/>
                    </a:cubicBezTo>
                    <a:cubicBezTo>
                      <a:pt x="1465" y="709"/>
                      <a:pt x="1446" y="699"/>
                      <a:pt x="1426" y="689"/>
                    </a:cubicBezTo>
                    <a:cubicBezTo>
                      <a:pt x="1437" y="748"/>
                      <a:pt x="1446" y="814"/>
                      <a:pt x="1443" y="884"/>
                    </a:cubicBezTo>
                    <a:close/>
                    <a:moveTo>
                      <a:pt x="1136" y="718"/>
                    </a:moveTo>
                    <a:cubicBezTo>
                      <a:pt x="1142" y="751"/>
                      <a:pt x="1146" y="785"/>
                      <a:pt x="1148" y="822"/>
                    </a:cubicBezTo>
                    <a:cubicBezTo>
                      <a:pt x="1182" y="830"/>
                      <a:pt x="1216" y="838"/>
                      <a:pt x="1249" y="847"/>
                    </a:cubicBezTo>
                    <a:cubicBezTo>
                      <a:pt x="1260" y="798"/>
                      <a:pt x="1269" y="747"/>
                      <a:pt x="1274" y="691"/>
                    </a:cubicBezTo>
                    <a:cubicBezTo>
                      <a:pt x="1273" y="691"/>
                      <a:pt x="1272" y="691"/>
                      <a:pt x="1272" y="691"/>
                    </a:cubicBezTo>
                    <a:cubicBezTo>
                      <a:pt x="1229" y="702"/>
                      <a:pt x="1181" y="708"/>
                      <a:pt x="1136" y="718"/>
                    </a:cubicBezTo>
                    <a:close/>
                    <a:moveTo>
                      <a:pt x="317" y="834"/>
                    </a:moveTo>
                    <a:cubicBezTo>
                      <a:pt x="320" y="790"/>
                      <a:pt x="325" y="747"/>
                      <a:pt x="332" y="707"/>
                    </a:cubicBezTo>
                    <a:cubicBezTo>
                      <a:pt x="319" y="706"/>
                      <a:pt x="307" y="703"/>
                      <a:pt x="295" y="700"/>
                    </a:cubicBezTo>
                    <a:cubicBezTo>
                      <a:pt x="301" y="747"/>
                      <a:pt x="306" y="792"/>
                      <a:pt x="317" y="834"/>
                    </a:cubicBezTo>
                    <a:close/>
                    <a:moveTo>
                      <a:pt x="334" y="708"/>
                    </a:moveTo>
                    <a:cubicBezTo>
                      <a:pt x="329" y="749"/>
                      <a:pt x="320" y="792"/>
                      <a:pt x="320" y="836"/>
                    </a:cubicBezTo>
                    <a:cubicBezTo>
                      <a:pt x="364" y="824"/>
                      <a:pt x="411" y="815"/>
                      <a:pt x="460" y="809"/>
                    </a:cubicBezTo>
                    <a:cubicBezTo>
                      <a:pt x="456" y="781"/>
                      <a:pt x="452" y="754"/>
                      <a:pt x="450" y="724"/>
                    </a:cubicBezTo>
                    <a:cubicBezTo>
                      <a:pt x="410" y="721"/>
                      <a:pt x="372" y="714"/>
                      <a:pt x="334" y="708"/>
                    </a:cubicBezTo>
                    <a:close/>
                    <a:moveTo>
                      <a:pt x="12" y="759"/>
                    </a:moveTo>
                    <a:cubicBezTo>
                      <a:pt x="10" y="769"/>
                      <a:pt x="13" y="784"/>
                      <a:pt x="14" y="796"/>
                    </a:cubicBezTo>
                    <a:cubicBezTo>
                      <a:pt x="15" y="809"/>
                      <a:pt x="15" y="823"/>
                      <a:pt x="18" y="833"/>
                    </a:cubicBezTo>
                    <a:cubicBezTo>
                      <a:pt x="21" y="843"/>
                      <a:pt x="38" y="854"/>
                      <a:pt x="45" y="860"/>
                    </a:cubicBezTo>
                    <a:cubicBezTo>
                      <a:pt x="48" y="862"/>
                      <a:pt x="50" y="867"/>
                      <a:pt x="54" y="865"/>
                    </a:cubicBezTo>
                    <a:cubicBezTo>
                      <a:pt x="52" y="809"/>
                      <a:pt x="59" y="757"/>
                      <a:pt x="63" y="710"/>
                    </a:cubicBezTo>
                    <a:cubicBezTo>
                      <a:pt x="63" y="709"/>
                      <a:pt x="63" y="709"/>
                      <a:pt x="62" y="709"/>
                    </a:cubicBezTo>
                    <a:cubicBezTo>
                      <a:pt x="50" y="719"/>
                      <a:pt x="16" y="741"/>
                      <a:pt x="12" y="759"/>
                    </a:cubicBezTo>
                    <a:close/>
                    <a:moveTo>
                      <a:pt x="1134" y="718"/>
                    </a:moveTo>
                    <a:cubicBezTo>
                      <a:pt x="1133" y="716"/>
                      <a:pt x="1129" y="719"/>
                      <a:pt x="1126" y="718"/>
                    </a:cubicBezTo>
                    <a:cubicBezTo>
                      <a:pt x="1122" y="751"/>
                      <a:pt x="1118" y="785"/>
                      <a:pt x="1112" y="816"/>
                    </a:cubicBezTo>
                    <a:cubicBezTo>
                      <a:pt x="1124" y="818"/>
                      <a:pt x="1134" y="821"/>
                      <a:pt x="1146" y="822"/>
                    </a:cubicBezTo>
                    <a:cubicBezTo>
                      <a:pt x="1143" y="787"/>
                      <a:pt x="1139" y="752"/>
                      <a:pt x="1134" y="718"/>
                    </a:cubicBezTo>
                    <a:close/>
                    <a:moveTo>
                      <a:pt x="961" y="735"/>
                    </a:moveTo>
                    <a:cubicBezTo>
                      <a:pt x="960" y="755"/>
                      <a:pt x="958" y="775"/>
                      <a:pt x="956" y="795"/>
                    </a:cubicBezTo>
                    <a:cubicBezTo>
                      <a:pt x="1009" y="801"/>
                      <a:pt x="1060" y="807"/>
                      <a:pt x="1110" y="815"/>
                    </a:cubicBezTo>
                    <a:cubicBezTo>
                      <a:pt x="1113" y="784"/>
                      <a:pt x="1123" y="748"/>
                      <a:pt x="1121" y="719"/>
                    </a:cubicBezTo>
                    <a:cubicBezTo>
                      <a:pt x="1070" y="726"/>
                      <a:pt x="1016" y="732"/>
                      <a:pt x="961" y="735"/>
                    </a:cubicBezTo>
                    <a:close/>
                    <a:moveTo>
                      <a:pt x="1462" y="872"/>
                    </a:moveTo>
                    <a:cubicBezTo>
                      <a:pt x="1480" y="862"/>
                      <a:pt x="1495" y="848"/>
                      <a:pt x="1507" y="832"/>
                    </a:cubicBezTo>
                    <a:cubicBezTo>
                      <a:pt x="1507" y="814"/>
                      <a:pt x="1508" y="802"/>
                      <a:pt x="1507" y="786"/>
                    </a:cubicBezTo>
                    <a:cubicBezTo>
                      <a:pt x="1506" y="773"/>
                      <a:pt x="1508" y="759"/>
                      <a:pt x="1506" y="750"/>
                    </a:cubicBezTo>
                    <a:cubicBezTo>
                      <a:pt x="1503" y="738"/>
                      <a:pt x="1488" y="733"/>
                      <a:pt x="1482" y="724"/>
                    </a:cubicBezTo>
                    <a:cubicBezTo>
                      <a:pt x="1481" y="779"/>
                      <a:pt x="1472" y="827"/>
                      <a:pt x="1462" y="872"/>
                    </a:cubicBezTo>
                    <a:close/>
                    <a:moveTo>
                      <a:pt x="462" y="808"/>
                    </a:moveTo>
                    <a:cubicBezTo>
                      <a:pt x="479" y="806"/>
                      <a:pt x="496" y="804"/>
                      <a:pt x="512" y="801"/>
                    </a:cubicBezTo>
                    <a:cubicBezTo>
                      <a:pt x="515" y="778"/>
                      <a:pt x="516" y="755"/>
                      <a:pt x="518" y="732"/>
                    </a:cubicBezTo>
                    <a:cubicBezTo>
                      <a:pt x="496" y="729"/>
                      <a:pt x="474" y="727"/>
                      <a:pt x="452" y="725"/>
                    </a:cubicBezTo>
                    <a:cubicBezTo>
                      <a:pt x="455" y="753"/>
                      <a:pt x="458" y="780"/>
                      <a:pt x="462" y="808"/>
                    </a:cubicBezTo>
                    <a:close/>
                    <a:moveTo>
                      <a:pt x="56" y="868"/>
                    </a:moveTo>
                    <a:cubicBezTo>
                      <a:pt x="66" y="877"/>
                      <a:pt x="79" y="884"/>
                      <a:pt x="92" y="890"/>
                    </a:cubicBezTo>
                    <a:cubicBezTo>
                      <a:pt x="79" y="840"/>
                      <a:pt x="69" y="787"/>
                      <a:pt x="64" y="728"/>
                    </a:cubicBezTo>
                    <a:cubicBezTo>
                      <a:pt x="58" y="772"/>
                      <a:pt x="55" y="818"/>
                      <a:pt x="56" y="868"/>
                    </a:cubicBezTo>
                    <a:close/>
                    <a:moveTo>
                      <a:pt x="522" y="732"/>
                    </a:moveTo>
                    <a:cubicBezTo>
                      <a:pt x="518" y="753"/>
                      <a:pt x="518" y="778"/>
                      <a:pt x="515" y="801"/>
                    </a:cubicBezTo>
                    <a:cubicBezTo>
                      <a:pt x="549" y="797"/>
                      <a:pt x="584" y="794"/>
                      <a:pt x="619" y="791"/>
                    </a:cubicBezTo>
                    <a:cubicBezTo>
                      <a:pt x="619" y="773"/>
                      <a:pt x="617" y="756"/>
                      <a:pt x="616" y="739"/>
                    </a:cubicBezTo>
                    <a:cubicBezTo>
                      <a:pt x="585" y="736"/>
                      <a:pt x="553" y="735"/>
                      <a:pt x="522" y="732"/>
                    </a:cubicBezTo>
                    <a:close/>
                    <a:moveTo>
                      <a:pt x="8" y="761"/>
                    </a:moveTo>
                    <a:cubicBezTo>
                      <a:pt x="10" y="754"/>
                      <a:pt x="10" y="740"/>
                      <a:pt x="8" y="733"/>
                    </a:cubicBezTo>
                    <a:cubicBezTo>
                      <a:pt x="10" y="743"/>
                      <a:pt x="6" y="753"/>
                      <a:pt x="8" y="761"/>
                    </a:cubicBezTo>
                    <a:close/>
                    <a:moveTo>
                      <a:pt x="942" y="737"/>
                    </a:moveTo>
                    <a:cubicBezTo>
                      <a:pt x="943" y="757"/>
                      <a:pt x="945" y="775"/>
                      <a:pt x="945" y="795"/>
                    </a:cubicBezTo>
                    <a:cubicBezTo>
                      <a:pt x="948" y="795"/>
                      <a:pt x="950" y="795"/>
                      <a:pt x="953" y="795"/>
                    </a:cubicBezTo>
                    <a:cubicBezTo>
                      <a:pt x="956" y="776"/>
                      <a:pt x="957" y="756"/>
                      <a:pt x="958" y="736"/>
                    </a:cubicBezTo>
                    <a:cubicBezTo>
                      <a:pt x="953" y="736"/>
                      <a:pt x="946" y="735"/>
                      <a:pt x="942" y="737"/>
                    </a:cubicBezTo>
                    <a:close/>
                    <a:moveTo>
                      <a:pt x="790" y="742"/>
                    </a:moveTo>
                    <a:cubicBezTo>
                      <a:pt x="790" y="757"/>
                      <a:pt x="790" y="772"/>
                      <a:pt x="790" y="788"/>
                    </a:cubicBezTo>
                    <a:cubicBezTo>
                      <a:pt x="843" y="788"/>
                      <a:pt x="892" y="791"/>
                      <a:pt x="942" y="794"/>
                    </a:cubicBezTo>
                    <a:cubicBezTo>
                      <a:pt x="940" y="776"/>
                      <a:pt x="940" y="755"/>
                      <a:pt x="938" y="737"/>
                    </a:cubicBezTo>
                    <a:cubicBezTo>
                      <a:pt x="889" y="739"/>
                      <a:pt x="841" y="742"/>
                      <a:pt x="790" y="742"/>
                    </a:cubicBezTo>
                    <a:close/>
                    <a:moveTo>
                      <a:pt x="621" y="739"/>
                    </a:moveTo>
                    <a:cubicBezTo>
                      <a:pt x="619" y="755"/>
                      <a:pt x="623" y="774"/>
                      <a:pt x="623" y="791"/>
                    </a:cubicBezTo>
                    <a:cubicBezTo>
                      <a:pt x="657" y="790"/>
                      <a:pt x="691" y="788"/>
                      <a:pt x="726" y="788"/>
                    </a:cubicBezTo>
                    <a:cubicBezTo>
                      <a:pt x="726" y="772"/>
                      <a:pt x="726" y="757"/>
                      <a:pt x="726" y="742"/>
                    </a:cubicBezTo>
                    <a:cubicBezTo>
                      <a:pt x="690" y="742"/>
                      <a:pt x="656" y="740"/>
                      <a:pt x="621" y="739"/>
                    </a:cubicBezTo>
                    <a:close/>
                    <a:moveTo>
                      <a:pt x="729" y="742"/>
                    </a:moveTo>
                    <a:cubicBezTo>
                      <a:pt x="729" y="757"/>
                      <a:pt x="729" y="772"/>
                      <a:pt x="729" y="788"/>
                    </a:cubicBezTo>
                    <a:cubicBezTo>
                      <a:pt x="749" y="788"/>
                      <a:pt x="768" y="788"/>
                      <a:pt x="787" y="788"/>
                    </a:cubicBezTo>
                    <a:cubicBezTo>
                      <a:pt x="788" y="773"/>
                      <a:pt x="788" y="757"/>
                      <a:pt x="788" y="742"/>
                    </a:cubicBezTo>
                    <a:cubicBezTo>
                      <a:pt x="768" y="742"/>
                      <a:pt x="749" y="742"/>
                      <a:pt x="729" y="742"/>
                    </a:cubicBezTo>
                    <a:close/>
                    <a:moveTo>
                      <a:pt x="1508" y="753"/>
                    </a:moveTo>
                    <a:cubicBezTo>
                      <a:pt x="1508" y="753"/>
                      <a:pt x="1509" y="754"/>
                      <a:pt x="1508" y="753"/>
                    </a:cubicBezTo>
                    <a:close/>
                    <a:moveTo>
                      <a:pt x="1511" y="827"/>
                    </a:moveTo>
                    <a:cubicBezTo>
                      <a:pt x="1520" y="808"/>
                      <a:pt x="1524" y="768"/>
                      <a:pt x="1509" y="754"/>
                    </a:cubicBezTo>
                    <a:cubicBezTo>
                      <a:pt x="1510" y="778"/>
                      <a:pt x="1509" y="804"/>
                      <a:pt x="1511" y="827"/>
                    </a:cubicBezTo>
                    <a:close/>
                    <a:moveTo>
                      <a:pt x="15" y="828"/>
                    </a:moveTo>
                    <a:cubicBezTo>
                      <a:pt x="12" y="808"/>
                      <a:pt x="12" y="784"/>
                      <a:pt x="8" y="765"/>
                    </a:cubicBezTo>
                    <a:cubicBezTo>
                      <a:pt x="6" y="784"/>
                      <a:pt x="4" y="816"/>
                      <a:pt x="15" y="828"/>
                    </a:cubicBezTo>
                    <a:close/>
                    <a:moveTo>
                      <a:pt x="162" y="890"/>
                    </a:moveTo>
                    <a:cubicBezTo>
                      <a:pt x="171" y="884"/>
                      <a:pt x="184" y="881"/>
                      <a:pt x="193" y="875"/>
                    </a:cubicBezTo>
                    <a:cubicBezTo>
                      <a:pt x="182" y="842"/>
                      <a:pt x="176" y="805"/>
                      <a:pt x="169" y="768"/>
                    </a:cubicBezTo>
                    <a:cubicBezTo>
                      <a:pt x="165" y="806"/>
                      <a:pt x="159" y="852"/>
                      <a:pt x="162" y="890"/>
                    </a:cubicBezTo>
                    <a:close/>
                    <a:moveTo>
                      <a:pt x="5" y="797"/>
                    </a:moveTo>
                    <a:cubicBezTo>
                      <a:pt x="5" y="793"/>
                      <a:pt x="5" y="784"/>
                      <a:pt x="4" y="780"/>
                    </a:cubicBezTo>
                    <a:cubicBezTo>
                      <a:pt x="2" y="787"/>
                      <a:pt x="4" y="811"/>
                      <a:pt x="5" y="797"/>
                    </a:cubicBezTo>
                    <a:close/>
                    <a:moveTo>
                      <a:pt x="624" y="794"/>
                    </a:moveTo>
                    <a:cubicBezTo>
                      <a:pt x="627" y="863"/>
                      <a:pt x="635" y="934"/>
                      <a:pt x="643" y="1001"/>
                    </a:cubicBezTo>
                    <a:cubicBezTo>
                      <a:pt x="670" y="999"/>
                      <a:pt x="698" y="998"/>
                      <a:pt x="726" y="997"/>
                    </a:cubicBezTo>
                    <a:cubicBezTo>
                      <a:pt x="726" y="928"/>
                      <a:pt x="725" y="858"/>
                      <a:pt x="726" y="791"/>
                    </a:cubicBezTo>
                    <a:cubicBezTo>
                      <a:pt x="694" y="790"/>
                      <a:pt x="656" y="792"/>
                      <a:pt x="624" y="794"/>
                    </a:cubicBezTo>
                    <a:close/>
                    <a:moveTo>
                      <a:pt x="729" y="792"/>
                    </a:moveTo>
                    <a:cubicBezTo>
                      <a:pt x="727" y="859"/>
                      <a:pt x="729" y="929"/>
                      <a:pt x="728" y="997"/>
                    </a:cubicBezTo>
                    <a:cubicBezTo>
                      <a:pt x="747" y="997"/>
                      <a:pt x="765" y="997"/>
                      <a:pt x="783" y="997"/>
                    </a:cubicBezTo>
                    <a:cubicBezTo>
                      <a:pt x="785" y="929"/>
                      <a:pt x="787" y="860"/>
                      <a:pt x="787" y="790"/>
                    </a:cubicBezTo>
                    <a:cubicBezTo>
                      <a:pt x="768" y="790"/>
                      <a:pt x="749" y="790"/>
                      <a:pt x="730" y="790"/>
                    </a:cubicBezTo>
                    <a:cubicBezTo>
                      <a:pt x="729" y="790"/>
                      <a:pt x="729" y="791"/>
                      <a:pt x="729" y="792"/>
                    </a:cubicBezTo>
                    <a:close/>
                    <a:moveTo>
                      <a:pt x="790" y="792"/>
                    </a:moveTo>
                    <a:cubicBezTo>
                      <a:pt x="789" y="861"/>
                      <a:pt x="788" y="929"/>
                      <a:pt x="786" y="997"/>
                    </a:cubicBezTo>
                    <a:cubicBezTo>
                      <a:pt x="834" y="997"/>
                      <a:pt x="881" y="1003"/>
                      <a:pt x="927" y="998"/>
                    </a:cubicBezTo>
                    <a:cubicBezTo>
                      <a:pt x="937" y="935"/>
                      <a:pt x="950" y="870"/>
                      <a:pt x="942" y="797"/>
                    </a:cubicBezTo>
                    <a:cubicBezTo>
                      <a:pt x="894" y="792"/>
                      <a:pt x="842" y="791"/>
                      <a:pt x="791" y="790"/>
                    </a:cubicBezTo>
                    <a:cubicBezTo>
                      <a:pt x="790" y="790"/>
                      <a:pt x="790" y="791"/>
                      <a:pt x="790" y="792"/>
                    </a:cubicBezTo>
                    <a:close/>
                    <a:moveTo>
                      <a:pt x="1521" y="796"/>
                    </a:moveTo>
                    <a:cubicBezTo>
                      <a:pt x="1521" y="795"/>
                      <a:pt x="1522" y="788"/>
                      <a:pt x="1520" y="791"/>
                    </a:cubicBezTo>
                    <a:cubicBezTo>
                      <a:pt x="1520" y="793"/>
                      <a:pt x="1520" y="799"/>
                      <a:pt x="1521" y="796"/>
                    </a:cubicBezTo>
                    <a:close/>
                    <a:moveTo>
                      <a:pt x="515" y="804"/>
                    </a:moveTo>
                    <a:cubicBezTo>
                      <a:pt x="511" y="864"/>
                      <a:pt x="510" y="926"/>
                      <a:pt x="510" y="991"/>
                    </a:cubicBezTo>
                    <a:cubicBezTo>
                      <a:pt x="552" y="995"/>
                      <a:pt x="598" y="999"/>
                      <a:pt x="640" y="1000"/>
                    </a:cubicBezTo>
                    <a:cubicBezTo>
                      <a:pt x="631" y="934"/>
                      <a:pt x="624" y="865"/>
                      <a:pt x="620" y="794"/>
                    </a:cubicBezTo>
                    <a:cubicBezTo>
                      <a:pt x="584" y="797"/>
                      <a:pt x="549" y="799"/>
                      <a:pt x="515" y="804"/>
                    </a:cubicBezTo>
                    <a:close/>
                    <a:moveTo>
                      <a:pt x="948" y="845"/>
                    </a:moveTo>
                    <a:cubicBezTo>
                      <a:pt x="950" y="830"/>
                      <a:pt x="952" y="814"/>
                      <a:pt x="953" y="798"/>
                    </a:cubicBezTo>
                    <a:cubicBezTo>
                      <a:pt x="950" y="798"/>
                      <a:pt x="949" y="797"/>
                      <a:pt x="945" y="797"/>
                    </a:cubicBezTo>
                    <a:cubicBezTo>
                      <a:pt x="947" y="812"/>
                      <a:pt x="946" y="830"/>
                      <a:pt x="948" y="845"/>
                    </a:cubicBezTo>
                    <a:close/>
                    <a:moveTo>
                      <a:pt x="950" y="997"/>
                    </a:moveTo>
                    <a:cubicBezTo>
                      <a:pt x="991" y="993"/>
                      <a:pt x="1030" y="989"/>
                      <a:pt x="1070" y="985"/>
                    </a:cubicBezTo>
                    <a:cubicBezTo>
                      <a:pt x="1087" y="933"/>
                      <a:pt x="1099" y="877"/>
                      <a:pt x="1110" y="818"/>
                    </a:cubicBezTo>
                    <a:cubicBezTo>
                      <a:pt x="1061" y="809"/>
                      <a:pt x="1009" y="803"/>
                      <a:pt x="957" y="798"/>
                    </a:cubicBezTo>
                    <a:cubicBezTo>
                      <a:pt x="944" y="857"/>
                      <a:pt x="952" y="927"/>
                      <a:pt x="950" y="997"/>
                    </a:cubicBezTo>
                    <a:close/>
                    <a:moveTo>
                      <a:pt x="462" y="811"/>
                    </a:moveTo>
                    <a:cubicBezTo>
                      <a:pt x="470" y="866"/>
                      <a:pt x="483" y="925"/>
                      <a:pt x="495" y="975"/>
                    </a:cubicBezTo>
                    <a:cubicBezTo>
                      <a:pt x="497" y="982"/>
                      <a:pt x="496" y="993"/>
                      <a:pt x="508" y="991"/>
                    </a:cubicBezTo>
                    <a:cubicBezTo>
                      <a:pt x="507" y="935"/>
                      <a:pt x="508" y="873"/>
                      <a:pt x="511" y="820"/>
                    </a:cubicBezTo>
                    <a:cubicBezTo>
                      <a:pt x="512" y="816"/>
                      <a:pt x="515" y="807"/>
                      <a:pt x="510" y="804"/>
                    </a:cubicBezTo>
                    <a:cubicBezTo>
                      <a:pt x="494" y="807"/>
                      <a:pt x="477" y="808"/>
                      <a:pt x="462" y="811"/>
                    </a:cubicBezTo>
                    <a:close/>
                    <a:moveTo>
                      <a:pt x="318" y="839"/>
                    </a:moveTo>
                    <a:cubicBezTo>
                      <a:pt x="326" y="887"/>
                      <a:pt x="341" y="928"/>
                      <a:pt x="354" y="970"/>
                    </a:cubicBezTo>
                    <a:cubicBezTo>
                      <a:pt x="400" y="977"/>
                      <a:pt x="448" y="987"/>
                      <a:pt x="496" y="988"/>
                    </a:cubicBezTo>
                    <a:cubicBezTo>
                      <a:pt x="480" y="933"/>
                      <a:pt x="470" y="871"/>
                      <a:pt x="459" y="811"/>
                    </a:cubicBezTo>
                    <a:cubicBezTo>
                      <a:pt x="411" y="819"/>
                      <a:pt x="363" y="827"/>
                      <a:pt x="318" y="839"/>
                    </a:cubicBezTo>
                    <a:close/>
                    <a:moveTo>
                      <a:pt x="1113" y="819"/>
                    </a:moveTo>
                    <a:cubicBezTo>
                      <a:pt x="1113" y="819"/>
                      <a:pt x="1113" y="818"/>
                      <a:pt x="1112" y="818"/>
                    </a:cubicBezTo>
                    <a:cubicBezTo>
                      <a:pt x="1102" y="876"/>
                      <a:pt x="1089" y="932"/>
                      <a:pt x="1074" y="984"/>
                    </a:cubicBezTo>
                    <a:cubicBezTo>
                      <a:pt x="1100" y="981"/>
                      <a:pt x="1126" y="978"/>
                      <a:pt x="1151" y="973"/>
                    </a:cubicBezTo>
                    <a:cubicBezTo>
                      <a:pt x="1151" y="922"/>
                      <a:pt x="1149" y="873"/>
                      <a:pt x="1146" y="825"/>
                    </a:cubicBezTo>
                    <a:cubicBezTo>
                      <a:pt x="1135" y="823"/>
                      <a:pt x="1125" y="820"/>
                      <a:pt x="1113" y="819"/>
                    </a:cubicBezTo>
                    <a:close/>
                    <a:moveTo>
                      <a:pt x="46" y="1018"/>
                    </a:moveTo>
                    <a:cubicBezTo>
                      <a:pt x="45" y="1002"/>
                      <a:pt x="48" y="990"/>
                      <a:pt x="54" y="980"/>
                    </a:cubicBezTo>
                    <a:cubicBezTo>
                      <a:pt x="37" y="936"/>
                      <a:pt x="24" y="889"/>
                      <a:pt x="17" y="837"/>
                    </a:cubicBezTo>
                    <a:cubicBezTo>
                      <a:pt x="13" y="832"/>
                      <a:pt x="11" y="826"/>
                      <a:pt x="7" y="821"/>
                    </a:cubicBezTo>
                    <a:cubicBezTo>
                      <a:pt x="12" y="895"/>
                      <a:pt x="24" y="961"/>
                      <a:pt x="46" y="1018"/>
                    </a:cubicBezTo>
                    <a:close/>
                    <a:moveTo>
                      <a:pt x="1507" y="887"/>
                    </a:moveTo>
                    <a:cubicBezTo>
                      <a:pt x="1509" y="865"/>
                      <a:pt x="1516" y="844"/>
                      <a:pt x="1515" y="823"/>
                    </a:cubicBezTo>
                    <a:cubicBezTo>
                      <a:pt x="1506" y="838"/>
                      <a:pt x="1508" y="868"/>
                      <a:pt x="1507" y="887"/>
                    </a:cubicBezTo>
                    <a:close/>
                    <a:moveTo>
                      <a:pt x="1149" y="826"/>
                    </a:moveTo>
                    <a:cubicBezTo>
                      <a:pt x="1152" y="873"/>
                      <a:pt x="1154" y="922"/>
                      <a:pt x="1154" y="973"/>
                    </a:cubicBezTo>
                    <a:cubicBezTo>
                      <a:pt x="1174" y="969"/>
                      <a:pt x="1195" y="965"/>
                      <a:pt x="1215" y="961"/>
                    </a:cubicBezTo>
                    <a:cubicBezTo>
                      <a:pt x="1227" y="925"/>
                      <a:pt x="1240" y="889"/>
                      <a:pt x="1248" y="849"/>
                    </a:cubicBezTo>
                    <a:cubicBezTo>
                      <a:pt x="1215" y="841"/>
                      <a:pt x="1184" y="832"/>
                      <a:pt x="1149" y="826"/>
                    </a:cubicBezTo>
                    <a:close/>
                    <a:moveTo>
                      <a:pt x="1461" y="878"/>
                    </a:moveTo>
                    <a:cubicBezTo>
                      <a:pt x="1455" y="899"/>
                      <a:pt x="1449" y="921"/>
                      <a:pt x="1442" y="941"/>
                    </a:cubicBezTo>
                    <a:cubicBezTo>
                      <a:pt x="1456" y="956"/>
                      <a:pt x="1469" y="972"/>
                      <a:pt x="1476" y="993"/>
                    </a:cubicBezTo>
                    <a:cubicBezTo>
                      <a:pt x="1493" y="949"/>
                      <a:pt x="1507" y="896"/>
                      <a:pt x="1506" y="837"/>
                    </a:cubicBezTo>
                    <a:cubicBezTo>
                      <a:pt x="1495" y="854"/>
                      <a:pt x="1476" y="865"/>
                      <a:pt x="1461" y="878"/>
                    </a:cubicBezTo>
                    <a:close/>
                    <a:moveTo>
                      <a:pt x="196" y="877"/>
                    </a:moveTo>
                    <a:cubicBezTo>
                      <a:pt x="201" y="898"/>
                      <a:pt x="208" y="918"/>
                      <a:pt x="215" y="938"/>
                    </a:cubicBezTo>
                    <a:cubicBezTo>
                      <a:pt x="247" y="946"/>
                      <a:pt x="278" y="956"/>
                      <a:pt x="313" y="961"/>
                    </a:cubicBezTo>
                    <a:cubicBezTo>
                      <a:pt x="311" y="919"/>
                      <a:pt x="316" y="878"/>
                      <a:pt x="315" y="839"/>
                    </a:cubicBezTo>
                    <a:cubicBezTo>
                      <a:pt x="314" y="839"/>
                      <a:pt x="313" y="839"/>
                      <a:pt x="313" y="839"/>
                    </a:cubicBezTo>
                    <a:cubicBezTo>
                      <a:pt x="272" y="850"/>
                      <a:pt x="233" y="863"/>
                      <a:pt x="196" y="877"/>
                    </a:cubicBezTo>
                    <a:close/>
                    <a:moveTo>
                      <a:pt x="55" y="977"/>
                    </a:moveTo>
                    <a:cubicBezTo>
                      <a:pt x="56" y="970"/>
                      <a:pt x="61" y="968"/>
                      <a:pt x="63" y="962"/>
                    </a:cubicBezTo>
                    <a:cubicBezTo>
                      <a:pt x="57" y="935"/>
                      <a:pt x="56" y="902"/>
                      <a:pt x="54" y="871"/>
                    </a:cubicBezTo>
                    <a:cubicBezTo>
                      <a:pt x="42" y="861"/>
                      <a:pt x="30" y="852"/>
                      <a:pt x="20" y="840"/>
                    </a:cubicBezTo>
                    <a:cubicBezTo>
                      <a:pt x="27" y="890"/>
                      <a:pt x="39" y="936"/>
                      <a:pt x="55" y="977"/>
                    </a:cubicBezTo>
                    <a:close/>
                    <a:moveTo>
                      <a:pt x="1251" y="851"/>
                    </a:moveTo>
                    <a:cubicBezTo>
                      <a:pt x="1241" y="889"/>
                      <a:pt x="1230" y="925"/>
                      <a:pt x="1218" y="960"/>
                    </a:cubicBezTo>
                    <a:cubicBezTo>
                      <a:pt x="1253" y="953"/>
                      <a:pt x="1288" y="945"/>
                      <a:pt x="1320" y="935"/>
                    </a:cubicBezTo>
                    <a:cubicBezTo>
                      <a:pt x="1320" y="914"/>
                      <a:pt x="1320" y="893"/>
                      <a:pt x="1319" y="873"/>
                    </a:cubicBezTo>
                    <a:cubicBezTo>
                      <a:pt x="1296" y="866"/>
                      <a:pt x="1275" y="857"/>
                      <a:pt x="1251" y="851"/>
                    </a:cubicBezTo>
                    <a:close/>
                    <a:moveTo>
                      <a:pt x="316" y="962"/>
                    </a:moveTo>
                    <a:cubicBezTo>
                      <a:pt x="327" y="965"/>
                      <a:pt x="339" y="967"/>
                      <a:pt x="351" y="969"/>
                    </a:cubicBezTo>
                    <a:cubicBezTo>
                      <a:pt x="338" y="932"/>
                      <a:pt x="328" y="893"/>
                      <a:pt x="318" y="853"/>
                    </a:cubicBezTo>
                    <a:cubicBezTo>
                      <a:pt x="316" y="889"/>
                      <a:pt x="315" y="925"/>
                      <a:pt x="316" y="962"/>
                    </a:cubicBezTo>
                    <a:close/>
                    <a:moveTo>
                      <a:pt x="65" y="959"/>
                    </a:moveTo>
                    <a:cubicBezTo>
                      <a:pt x="75" y="948"/>
                      <a:pt x="90" y="935"/>
                      <a:pt x="102" y="923"/>
                    </a:cubicBezTo>
                    <a:cubicBezTo>
                      <a:pt x="99" y="914"/>
                      <a:pt x="96" y="904"/>
                      <a:pt x="94" y="894"/>
                    </a:cubicBezTo>
                    <a:cubicBezTo>
                      <a:pt x="80" y="889"/>
                      <a:pt x="69" y="880"/>
                      <a:pt x="56" y="873"/>
                    </a:cubicBezTo>
                    <a:cubicBezTo>
                      <a:pt x="59" y="902"/>
                      <a:pt x="60" y="932"/>
                      <a:pt x="65" y="959"/>
                    </a:cubicBezTo>
                    <a:close/>
                    <a:moveTo>
                      <a:pt x="1322" y="934"/>
                    </a:moveTo>
                    <a:cubicBezTo>
                      <a:pt x="1332" y="932"/>
                      <a:pt x="1340" y="928"/>
                      <a:pt x="1350" y="925"/>
                    </a:cubicBezTo>
                    <a:cubicBezTo>
                      <a:pt x="1354" y="914"/>
                      <a:pt x="1357" y="903"/>
                      <a:pt x="1360" y="891"/>
                    </a:cubicBezTo>
                    <a:cubicBezTo>
                      <a:pt x="1347" y="886"/>
                      <a:pt x="1335" y="880"/>
                      <a:pt x="1322" y="875"/>
                    </a:cubicBezTo>
                    <a:cubicBezTo>
                      <a:pt x="1323" y="895"/>
                      <a:pt x="1323" y="913"/>
                      <a:pt x="1322" y="934"/>
                    </a:cubicBezTo>
                    <a:close/>
                    <a:moveTo>
                      <a:pt x="194" y="879"/>
                    </a:moveTo>
                    <a:cubicBezTo>
                      <a:pt x="181" y="882"/>
                      <a:pt x="173" y="889"/>
                      <a:pt x="161" y="892"/>
                    </a:cubicBezTo>
                    <a:cubicBezTo>
                      <a:pt x="161" y="902"/>
                      <a:pt x="161" y="911"/>
                      <a:pt x="161" y="921"/>
                    </a:cubicBezTo>
                    <a:cubicBezTo>
                      <a:pt x="179" y="925"/>
                      <a:pt x="195" y="935"/>
                      <a:pt x="212" y="935"/>
                    </a:cubicBezTo>
                    <a:cubicBezTo>
                      <a:pt x="205" y="917"/>
                      <a:pt x="199" y="899"/>
                      <a:pt x="194" y="879"/>
                    </a:cubicBezTo>
                    <a:close/>
                    <a:moveTo>
                      <a:pt x="1457" y="881"/>
                    </a:moveTo>
                    <a:cubicBezTo>
                      <a:pt x="1457" y="880"/>
                      <a:pt x="1456" y="880"/>
                      <a:pt x="1455" y="880"/>
                    </a:cubicBezTo>
                    <a:cubicBezTo>
                      <a:pt x="1452" y="883"/>
                      <a:pt x="1447" y="885"/>
                      <a:pt x="1443" y="887"/>
                    </a:cubicBezTo>
                    <a:cubicBezTo>
                      <a:pt x="1443" y="905"/>
                      <a:pt x="1440" y="923"/>
                      <a:pt x="1441" y="937"/>
                    </a:cubicBezTo>
                    <a:cubicBezTo>
                      <a:pt x="1443" y="919"/>
                      <a:pt x="1456" y="899"/>
                      <a:pt x="1457" y="881"/>
                    </a:cubicBezTo>
                    <a:close/>
                    <a:moveTo>
                      <a:pt x="1505" y="889"/>
                    </a:moveTo>
                    <a:cubicBezTo>
                      <a:pt x="1506" y="893"/>
                      <a:pt x="1506" y="886"/>
                      <a:pt x="1505" y="889"/>
                    </a:cubicBezTo>
                    <a:close/>
                    <a:moveTo>
                      <a:pt x="1399" y="909"/>
                    </a:moveTo>
                    <a:cubicBezTo>
                      <a:pt x="1411" y="918"/>
                      <a:pt x="1425" y="927"/>
                      <a:pt x="1437" y="936"/>
                    </a:cubicBezTo>
                    <a:cubicBezTo>
                      <a:pt x="1438" y="922"/>
                      <a:pt x="1441" y="904"/>
                      <a:pt x="1439" y="889"/>
                    </a:cubicBezTo>
                    <a:cubicBezTo>
                      <a:pt x="1427" y="897"/>
                      <a:pt x="1413" y="903"/>
                      <a:pt x="1399" y="909"/>
                    </a:cubicBezTo>
                    <a:close/>
                    <a:moveTo>
                      <a:pt x="1354" y="924"/>
                    </a:moveTo>
                    <a:cubicBezTo>
                      <a:pt x="1366" y="919"/>
                      <a:pt x="1379" y="914"/>
                      <a:pt x="1392" y="910"/>
                    </a:cubicBezTo>
                    <a:cubicBezTo>
                      <a:pt x="1384" y="902"/>
                      <a:pt x="1373" y="898"/>
                      <a:pt x="1363" y="893"/>
                    </a:cubicBezTo>
                    <a:cubicBezTo>
                      <a:pt x="1360" y="903"/>
                      <a:pt x="1354" y="915"/>
                      <a:pt x="1354" y="924"/>
                    </a:cubicBezTo>
                    <a:close/>
                    <a:moveTo>
                      <a:pt x="131" y="910"/>
                    </a:moveTo>
                    <a:cubicBezTo>
                      <a:pt x="141" y="912"/>
                      <a:pt x="148" y="917"/>
                      <a:pt x="158" y="919"/>
                    </a:cubicBezTo>
                    <a:cubicBezTo>
                      <a:pt x="158" y="911"/>
                      <a:pt x="159" y="901"/>
                      <a:pt x="157" y="894"/>
                    </a:cubicBezTo>
                    <a:cubicBezTo>
                      <a:pt x="149" y="900"/>
                      <a:pt x="139" y="903"/>
                      <a:pt x="131" y="910"/>
                    </a:cubicBezTo>
                    <a:close/>
                    <a:moveTo>
                      <a:pt x="929" y="998"/>
                    </a:moveTo>
                    <a:cubicBezTo>
                      <a:pt x="936" y="999"/>
                      <a:pt x="939" y="996"/>
                      <a:pt x="945" y="997"/>
                    </a:cubicBezTo>
                    <a:cubicBezTo>
                      <a:pt x="947" y="964"/>
                      <a:pt x="945" y="928"/>
                      <a:pt x="944" y="895"/>
                    </a:cubicBezTo>
                    <a:cubicBezTo>
                      <a:pt x="941" y="931"/>
                      <a:pt x="935" y="964"/>
                      <a:pt x="929" y="998"/>
                    </a:cubicBezTo>
                    <a:close/>
                    <a:moveTo>
                      <a:pt x="98" y="897"/>
                    </a:moveTo>
                    <a:cubicBezTo>
                      <a:pt x="99" y="906"/>
                      <a:pt x="103" y="913"/>
                      <a:pt x="104" y="922"/>
                    </a:cubicBezTo>
                    <a:cubicBezTo>
                      <a:pt x="112" y="918"/>
                      <a:pt x="119" y="915"/>
                      <a:pt x="125" y="909"/>
                    </a:cubicBezTo>
                    <a:cubicBezTo>
                      <a:pt x="115" y="906"/>
                      <a:pt x="107" y="900"/>
                      <a:pt x="98" y="897"/>
                    </a:cubicBezTo>
                    <a:moveTo>
                      <a:pt x="98" y="897"/>
                    </a:moveTo>
                    <a:cubicBezTo>
                      <a:pt x="97" y="896"/>
                      <a:pt x="97" y="897"/>
                      <a:pt x="98" y="897"/>
                    </a:cubicBezTo>
                    <a:moveTo>
                      <a:pt x="128" y="911"/>
                    </a:moveTo>
                    <a:cubicBezTo>
                      <a:pt x="121" y="916"/>
                      <a:pt x="111" y="919"/>
                      <a:pt x="106" y="927"/>
                    </a:cubicBezTo>
                    <a:cubicBezTo>
                      <a:pt x="126" y="981"/>
                      <a:pt x="148" y="1032"/>
                      <a:pt x="176" y="1078"/>
                    </a:cubicBezTo>
                    <a:cubicBezTo>
                      <a:pt x="166" y="1030"/>
                      <a:pt x="160" y="978"/>
                      <a:pt x="158" y="922"/>
                    </a:cubicBezTo>
                    <a:cubicBezTo>
                      <a:pt x="148" y="919"/>
                      <a:pt x="138" y="915"/>
                      <a:pt x="128" y="911"/>
                    </a:cubicBezTo>
                    <a:close/>
                    <a:moveTo>
                      <a:pt x="1396" y="911"/>
                    </a:moveTo>
                    <a:cubicBezTo>
                      <a:pt x="1381" y="916"/>
                      <a:pt x="1367" y="923"/>
                      <a:pt x="1351" y="927"/>
                    </a:cubicBezTo>
                    <a:cubicBezTo>
                      <a:pt x="1341" y="957"/>
                      <a:pt x="1330" y="985"/>
                      <a:pt x="1317" y="1011"/>
                    </a:cubicBezTo>
                    <a:cubicBezTo>
                      <a:pt x="1313" y="1047"/>
                      <a:pt x="1308" y="1080"/>
                      <a:pt x="1301" y="1111"/>
                    </a:cubicBezTo>
                    <a:cubicBezTo>
                      <a:pt x="1314" y="1119"/>
                      <a:pt x="1324" y="1130"/>
                      <a:pt x="1336" y="1139"/>
                    </a:cubicBezTo>
                    <a:cubicBezTo>
                      <a:pt x="1376" y="1079"/>
                      <a:pt x="1414" y="1018"/>
                      <a:pt x="1437" y="941"/>
                    </a:cubicBezTo>
                    <a:cubicBezTo>
                      <a:pt x="1425" y="929"/>
                      <a:pt x="1410" y="920"/>
                      <a:pt x="1396" y="911"/>
                    </a:cubicBezTo>
                    <a:close/>
                    <a:moveTo>
                      <a:pt x="161" y="927"/>
                    </a:moveTo>
                    <a:cubicBezTo>
                      <a:pt x="163" y="985"/>
                      <a:pt x="170" y="1038"/>
                      <a:pt x="181" y="1087"/>
                    </a:cubicBezTo>
                    <a:cubicBezTo>
                      <a:pt x="190" y="1099"/>
                      <a:pt x="197" y="1113"/>
                      <a:pt x="206" y="1125"/>
                    </a:cubicBezTo>
                    <a:cubicBezTo>
                      <a:pt x="227" y="1107"/>
                      <a:pt x="251" y="1093"/>
                      <a:pt x="277" y="1081"/>
                    </a:cubicBezTo>
                    <a:cubicBezTo>
                      <a:pt x="255" y="1036"/>
                      <a:pt x="231" y="992"/>
                      <a:pt x="214" y="940"/>
                    </a:cubicBezTo>
                    <a:cubicBezTo>
                      <a:pt x="195" y="936"/>
                      <a:pt x="179" y="929"/>
                      <a:pt x="161" y="924"/>
                    </a:cubicBezTo>
                    <a:cubicBezTo>
                      <a:pt x="161" y="925"/>
                      <a:pt x="161" y="926"/>
                      <a:pt x="161" y="927"/>
                    </a:cubicBezTo>
                    <a:close/>
                    <a:moveTo>
                      <a:pt x="66" y="965"/>
                    </a:moveTo>
                    <a:cubicBezTo>
                      <a:pt x="64" y="977"/>
                      <a:pt x="71" y="992"/>
                      <a:pt x="74" y="1005"/>
                    </a:cubicBezTo>
                    <a:cubicBezTo>
                      <a:pt x="77" y="1019"/>
                      <a:pt x="78" y="1032"/>
                      <a:pt x="82" y="1043"/>
                    </a:cubicBezTo>
                    <a:cubicBezTo>
                      <a:pt x="93" y="1070"/>
                      <a:pt x="112" y="1092"/>
                      <a:pt x="122" y="1112"/>
                    </a:cubicBezTo>
                    <a:cubicBezTo>
                      <a:pt x="142" y="1123"/>
                      <a:pt x="164" y="1137"/>
                      <a:pt x="186" y="1144"/>
                    </a:cubicBezTo>
                    <a:cubicBezTo>
                      <a:pt x="195" y="1137"/>
                      <a:pt x="189" y="1127"/>
                      <a:pt x="186" y="1118"/>
                    </a:cubicBezTo>
                    <a:cubicBezTo>
                      <a:pt x="183" y="1108"/>
                      <a:pt x="181" y="1097"/>
                      <a:pt x="179" y="1087"/>
                    </a:cubicBezTo>
                    <a:cubicBezTo>
                      <a:pt x="149" y="1039"/>
                      <a:pt x="124" y="986"/>
                      <a:pt x="104" y="928"/>
                    </a:cubicBezTo>
                    <a:cubicBezTo>
                      <a:pt x="104" y="927"/>
                      <a:pt x="104" y="927"/>
                      <a:pt x="103" y="927"/>
                    </a:cubicBezTo>
                    <a:cubicBezTo>
                      <a:pt x="95" y="937"/>
                      <a:pt x="68" y="952"/>
                      <a:pt x="66" y="965"/>
                    </a:cubicBezTo>
                    <a:close/>
                    <a:moveTo>
                      <a:pt x="1322" y="936"/>
                    </a:moveTo>
                    <a:cubicBezTo>
                      <a:pt x="1322" y="959"/>
                      <a:pt x="1319" y="983"/>
                      <a:pt x="1319" y="1003"/>
                    </a:cubicBezTo>
                    <a:cubicBezTo>
                      <a:pt x="1329" y="979"/>
                      <a:pt x="1339" y="954"/>
                      <a:pt x="1349" y="929"/>
                    </a:cubicBezTo>
                    <a:cubicBezTo>
                      <a:pt x="1339" y="930"/>
                      <a:pt x="1332" y="935"/>
                      <a:pt x="1322" y="936"/>
                    </a:cubicBezTo>
                    <a:close/>
                    <a:moveTo>
                      <a:pt x="1216" y="963"/>
                    </a:moveTo>
                    <a:cubicBezTo>
                      <a:pt x="1206" y="996"/>
                      <a:pt x="1192" y="1025"/>
                      <a:pt x="1179" y="1055"/>
                    </a:cubicBezTo>
                    <a:cubicBezTo>
                      <a:pt x="1212" y="1065"/>
                      <a:pt x="1242" y="1078"/>
                      <a:pt x="1271" y="1093"/>
                    </a:cubicBezTo>
                    <a:cubicBezTo>
                      <a:pt x="1278" y="1080"/>
                      <a:pt x="1286" y="1067"/>
                      <a:pt x="1294" y="1053"/>
                    </a:cubicBezTo>
                    <a:cubicBezTo>
                      <a:pt x="1300" y="1041"/>
                      <a:pt x="1312" y="1023"/>
                      <a:pt x="1315" y="1010"/>
                    </a:cubicBezTo>
                    <a:cubicBezTo>
                      <a:pt x="1320" y="988"/>
                      <a:pt x="1316" y="966"/>
                      <a:pt x="1319" y="938"/>
                    </a:cubicBezTo>
                    <a:cubicBezTo>
                      <a:pt x="1318" y="938"/>
                      <a:pt x="1318" y="938"/>
                      <a:pt x="1317" y="938"/>
                    </a:cubicBezTo>
                    <a:cubicBezTo>
                      <a:pt x="1285" y="948"/>
                      <a:pt x="1252" y="957"/>
                      <a:pt x="1216" y="963"/>
                    </a:cubicBezTo>
                    <a:close/>
                    <a:moveTo>
                      <a:pt x="280" y="1079"/>
                    </a:moveTo>
                    <a:cubicBezTo>
                      <a:pt x="293" y="1075"/>
                      <a:pt x="305" y="1068"/>
                      <a:pt x="319" y="1064"/>
                    </a:cubicBezTo>
                    <a:cubicBezTo>
                      <a:pt x="315" y="1033"/>
                      <a:pt x="314" y="998"/>
                      <a:pt x="313" y="964"/>
                    </a:cubicBezTo>
                    <a:cubicBezTo>
                      <a:pt x="279" y="958"/>
                      <a:pt x="248" y="950"/>
                      <a:pt x="217" y="941"/>
                    </a:cubicBezTo>
                    <a:cubicBezTo>
                      <a:pt x="234" y="991"/>
                      <a:pt x="256" y="1036"/>
                      <a:pt x="280" y="1079"/>
                    </a:cubicBezTo>
                    <a:close/>
                    <a:moveTo>
                      <a:pt x="1403" y="1111"/>
                    </a:moveTo>
                    <a:cubicBezTo>
                      <a:pt x="1431" y="1098"/>
                      <a:pt x="1442" y="1073"/>
                      <a:pt x="1454" y="1045"/>
                    </a:cubicBezTo>
                    <a:cubicBezTo>
                      <a:pt x="1461" y="1029"/>
                      <a:pt x="1470" y="1013"/>
                      <a:pt x="1474" y="997"/>
                    </a:cubicBezTo>
                    <a:cubicBezTo>
                      <a:pt x="1468" y="975"/>
                      <a:pt x="1455" y="958"/>
                      <a:pt x="1440" y="944"/>
                    </a:cubicBezTo>
                    <a:cubicBezTo>
                      <a:pt x="1433" y="1004"/>
                      <a:pt x="1418" y="1062"/>
                      <a:pt x="1403" y="1111"/>
                    </a:cubicBezTo>
                    <a:close/>
                    <a:moveTo>
                      <a:pt x="1491" y="959"/>
                    </a:moveTo>
                    <a:cubicBezTo>
                      <a:pt x="1492" y="962"/>
                      <a:pt x="1492" y="955"/>
                      <a:pt x="1491" y="959"/>
                    </a:cubicBezTo>
                    <a:close/>
                    <a:moveTo>
                      <a:pt x="1434" y="961"/>
                    </a:moveTo>
                    <a:cubicBezTo>
                      <a:pt x="1434" y="961"/>
                      <a:pt x="1435" y="962"/>
                      <a:pt x="1434" y="961"/>
                    </a:cubicBezTo>
                    <a:close/>
                    <a:moveTo>
                      <a:pt x="1490" y="963"/>
                    </a:moveTo>
                    <a:cubicBezTo>
                      <a:pt x="1489" y="963"/>
                      <a:pt x="1489" y="963"/>
                      <a:pt x="1489" y="963"/>
                    </a:cubicBezTo>
                    <a:cubicBezTo>
                      <a:pt x="1487" y="979"/>
                      <a:pt x="1474" y="992"/>
                      <a:pt x="1479" y="1008"/>
                    </a:cubicBezTo>
                    <a:cubicBezTo>
                      <a:pt x="1482" y="992"/>
                      <a:pt x="1488" y="980"/>
                      <a:pt x="1490" y="963"/>
                    </a:cubicBezTo>
                    <a:moveTo>
                      <a:pt x="1490" y="963"/>
                    </a:moveTo>
                    <a:cubicBezTo>
                      <a:pt x="1493" y="962"/>
                      <a:pt x="1489" y="958"/>
                      <a:pt x="1490" y="963"/>
                    </a:cubicBezTo>
                    <a:moveTo>
                      <a:pt x="1350" y="1123"/>
                    </a:moveTo>
                    <a:cubicBezTo>
                      <a:pt x="1346" y="1129"/>
                      <a:pt x="1339" y="1135"/>
                      <a:pt x="1338" y="1144"/>
                    </a:cubicBezTo>
                    <a:cubicBezTo>
                      <a:pt x="1361" y="1136"/>
                      <a:pt x="1379" y="1125"/>
                      <a:pt x="1398" y="1114"/>
                    </a:cubicBezTo>
                    <a:cubicBezTo>
                      <a:pt x="1414" y="1068"/>
                      <a:pt x="1429" y="1017"/>
                      <a:pt x="1433" y="963"/>
                    </a:cubicBezTo>
                    <a:cubicBezTo>
                      <a:pt x="1411" y="1021"/>
                      <a:pt x="1383" y="1076"/>
                      <a:pt x="1350" y="1123"/>
                    </a:cubicBezTo>
                    <a:close/>
                    <a:moveTo>
                      <a:pt x="1213" y="965"/>
                    </a:moveTo>
                    <a:cubicBezTo>
                      <a:pt x="1195" y="967"/>
                      <a:pt x="1173" y="973"/>
                      <a:pt x="1153" y="976"/>
                    </a:cubicBezTo>
                    <a:cubicBezTo>
                      <a:pt x="1153" y="1000"/>
                      <a:pt x="1152" y="1023"/>
                      <a:pt x="1150" y="1046"/>
                    </a:cubicBezTo>
                    <a:cubicBezTo>
                      <a:pt x="1160" y="1048"/>
                      <a:pt x="1167" y="1052"/>
                      <a:pt x="1177" y="1054"/>
                    </a:cubicBezTo>
                    <a:cubicBezTo>
                      <a:pt x="1190" y="1025"/>
                      <a:pt x="1202" y="996"/>
                      <a:pt x="1213" y="965"/>
                    </a:cubicBezTo>
                    <a:close/>
                    <a:moveTo>
                      <a:pt x="321" y="1062"/>
                    </a:moveTo>
                    <a:cubicBezTo>
                      <a:pt x="341" y="1057"/>
                      <a:pt x="360" y="1049"/>
                      <a:pt x="380" y="1044"/>
                    </a:cubicBezTo>
                    <a:cubicBezTo>
                      <a:pt x="370" y="1020"/>
                      <a:pt x="361" y="996"/>
                      <a:pt x="352" y="972"/>
                    </a:cubicBezTo>
                    <a:cubicBezTo>
                      <a:pt x="339" y="970"/>
                      <a:pt x="328" y="967"/>
                      <a:pt x="316" y="965"/>
                    </a:cubicBezTo>
                    <a:cubicBezTo>
                      <a:pt x="316" y="999"/>
                      <a:pt x="319" y="1030"/>
                      <a:pt x="321" y="1062"/>
                    </a:cubicBezTo>
                    <a:close/>
                    <a:moveTo>
                      <a:pt x="75" y="1024"/>
                    </a:moveTo>
                    <a:cubicBezTo>
                      <a:pt x="70" y="1006"/>
                      <a:pt x="68" y="985"/>
                      <a:pt x="62" y="968"/>
                    </a:cubicBezTo>
                    <a:cubicBezTo>
                      <a:pt x="50" y="986"/>
                      <a:pt x="69" y="1007"/>
                      <a:pt x="75" y="1024"/>
                    </a:cubicBezTo>
                    <a:close/>
                    <a:moveTo>
                      <a:pt x="382" y="1043"/>
                    </a:moveTo>
                    <a:cubicBezTo>
                      <a:pt x="421" y="1032"/>
                      <a:pt x="463" y="1025"/>
                      <a:pt x="504" y="1016"/>
                    </a:cubicBezTo>
                    <a:cubicBezTo>
                      <a:pt x="501" y="1009"/>
                      <a:pt x="499" y="1001"/>
                      <a:pt x="497" y="992"/>
                    </a:cubicBezTo>
                    <a:cubicBezTo>
                      <a:pt x="448" y="988"/>
                      <a:pt x="402" y="981"/>
                      <a:pt x="356" y="973"/>
                    </a:cubicBezTo>
                    <a:cubicBezTo>
                      <a:pt x="363" y="998"/>
                      <a:pt x="374" y="1019"/>
                      <a:pt x="382" y="1043"/>
                    </a:cubicBezTo>
                    <a:close/>
                    <a:moveTo>
                      <a:pt x="1150" y="976"/>
                    </a:moveTo>
                    <a:cubicBezTo>
                      <a:pt x="1125" y="981"/>
                      <a:pt x="1099" y="984"/>
                      <a:pt x="1073" y="987"/>
                    </a:cubicBezTo>
                    <a:cubicBezTo>
                      <a:pt x="1069" y="1000"/>
                      <a:pt x="1065" y="1012"/>
                      <a:pt x="1062" y="1025"/>
                    </a:cubicBezTo>
                    <a:cubicBezTo>
                      <a:pt x="1092" y="1029"/>
                      <a:pt x="1121" y="1039"/>
                      <a:pt x="1148" y="1044"/>
                    </a:cubicBezTo>
                    <a:cubicBezTo>
                      <a:pt x="1148" y="1021"/>
                      <a:pt x="1151" y="996"/>
                      <a:pt x="1150" y="976"/>
                    </a:cubicBezTo>
                    <a:close/>
                    <a:moveTo>
                      <a:pt x="95" y="1092"/>
                    </a:moveTo>
                    <a:cubicBezTo>
                      <a:pt x="95" y="1093"/>
                      <a:pt x="96" y="1092"/>
                      <a:pt x="95" y="1092"/>
                    </a:cubicBezTo>
                    <a:moveTo>
                      <a:pt x="95" y="1092"/>
                    </a:moveTo>
                    <a:cubicBezTo>
                      <a:pt x="84" y="1053"/>
                      <a:pt x="70" y="1017"/>
                      <a:pt x="54" y="984"/>
                    </a:cubicBezTo>
                    <a:cubicBezTo>
                      <a:pt x="36" y="1032"/>
                      <a:pt x="67" y="1071"/>
                      <a:pt x="95" y="1092"/>
                    </a:cubicBezTo>
                    <a:moveTo>
                      <a:pt x="950" y="1000"/>
                    </a:moveTo>
                    <a:cubicBezTo>
                      <a:pt x="950" y="1002"/>
                      <a:pt x="950" y="1004"/>
                      <a:pt x="950" y="1007"/>
                    </a:cubicBezTo>
                    <a:cubicBezTo>
                      <a:pt x="986" y="1013"/>
                      <a:pt x="1024" y="1017"/>
                      <a:pt x="1059" y="1024"/>
                    </a:cubicBezTo>
                    <a:cubicBezTo>
                      <a:pt x="1063" y="1013"/>
                      <a:pt x="1066" y="1000"/>
                      <a:pt x="1070" y="988"/>
                    </a:cubicBezTo>
                    <a:cubicBezTo>
                      <a:pt x="1030" y="992"/>
                      <a:pt x="990" y="996"/>
                      <a:pt x="950" y="1000"/>
                    </a:cubicBezTo>
                    <a:close/>
                    <a:moveTo>
                      <a:pt x="508" y="1016"/>
                    </a:moveTo>
                    <a:cubicBezTo>
                      <a:pt x="508" y="1009"/>
                      <a:pt x="508" y="1001"/>
                      <a:pt x="508" y="994"/>
                    </a:cubicBezTo>
                    <a:cubicBezTo>
                      <a:pt x="506" y="993"/>
                      <a:pt x="503" y="993"/>
                      <a:pt x="500" y="993"/>
                    </a:cubicBezTo>
                    <a:cubicBezTo>
                      <a:pt x="502" y="1001"/>
                      <a:pt x="502" y="1011"/>
                      <a:pt x="508" y="1016"/>
                    </a:cubicBezTo>
                    <a:close/>
                    <a:moveTo>
                      <a:pt x="510" y="994"/>
                    </a:moveTo>
                    <a:cubicBezTo>
                      <a:pt x="511" y="1001"/>
                      <a:pt x="509" y="1011"/>
                      <a:pt x="511" y="1016"/>
                    </a:cubicBezTo>
                    <a:cubicBezTo>
                      <a:pt x="545" y="1009"/>
                      <a:pt x="584" y="1008"/>
                      <a:pt x="619" y="1002"/>
                    </a:cubicBezTo>
                    <a:cubicBezTo>
                      <a:pt x="581" y="1001"/>
                      <a:pt x="546" y="997"/>
                      <a:pt x="510" y="994"/>
                    </a:cubicBezTo>
                    <a:close/>
                    <a:moveTo>
                      <a:pt x="684" y="1002"/>
                    </a:moveTo>
                    <a:cubicBezTo>
                      <a:pt x="696" y="1003"/>
                      <a:pt x="716" y="1005"/>
                      <a:pt x="726" y="1001"/>
                    </a:cubicBezTo>
                    <a:cubicBezTo>
                      <a:pt x="714" y="999"/>
                      <a:pt x="697" y="1001"/>
                      <a:pt x="684" y="1002"/>
                    </a:cubicBezTo>
                    <a:close/>
                    <a:moveTo>
                      <a:pt x="728" y="1002"/>
                    </a:moveTo>
                    <a:cubicBezTo>
                      <a:pt x="729" y="1002"/>
                      <a:pt x="729" y="1003"/>
                      <a:pt x="730" y="1003"/>
                    </a:cubicBezTo>
                    <a:cubicBezTo>
                      <a:pt x="740" y="1004"/>
                      <a:pt x="752" y="1004"/>
                      <a:pt x="763" y="1004"/>
                    </a:cubicBezTo>
                    <a:cubicBezTo>
                      <a:pt x="770" y="1004"/>
                      <a:pt x="780" y="1006"/>
                      <a:pt x="783" y="1001"/>
                    </a:cubicBezTo>
                    <a:cubicBezTo>
                      <a:pt x="767" y="1000"/>
                      <a:pt x="743" y="998"/>
                      <a:pt x="728" y="1002"/>
                    </a:cubicBezTo>
                    <a:close/>
                    <a:moveTo>
                      <a:pt x="786" y="1002"/>
                    </a:moveTo>
                    <a:cubicBezTo>
                      <a:pt x="802" y="1003"/>
                      <a:pt x="826" y="1004"/>
                      <a:pt x="840" y="1001"/>
                    </a:cubicBezTo>
                    <a:cubicBezTo>
                      <a:pt x="822" y="1003"/>
                      <a:pt x="801" y="997"/>
                      <a:pt x="786" y="1002"/>
                    </a:cubicBezTo>
                    <a:close/>
                    <a:moveTo>
                      <a:pt x="928" y="1005"/>
                    </a:moveTo>
                    <a:cubicBezTo>
                      <a:pt x="933" y="1006"/>
                      <a:pt x="939" y="1006"/>
                      <a:pt x="945" y="1007"/>
                    </a:cubicBezTo>
                    <a:cubicBezTo>
                      <a:pt x="945" y="1004"/>
                      <a:pt x="945" y="1002"/>
                      <a:pt x="945" y="1000"/>
                    </a:cubicBezTo>
                    <a:cubicBezTo>
                      <a:pt x="939" y="1001"/>
                      <a:pt x="929" y="998"/>
                      <a:pt x="928" y="1005"/>
                    </a:cubicBezTo>
                    <a:close/>
                    <a:moveTo>
                      <a:pt x="905" y="1003"/>
                    </a:moveTo>
                    <a:cubicBezTo>
                      <a:pt x="911" y="1002"/>
                      <a:pt x="924" y="1008"/>
                      <a:pt x="926" y="1002"/>
                    </a:cubicBezTo>
                    <a:cubicBezTo>
                      <a:pt x="921" y="1001"/>
                      <a:pt x="911" y="1002"/>
                      <a:pt x="905" y="1003"/>
                    </a:cubicBezTo>
                    <a:close/>
                    <a:moveTo>
                      <a:pt x="510" y="1018"/>
                    </a:moveTo>
                    <a:cubicBezTo>
                      <a:pt x="512" y="1043"/>
                      <a:pt x="518" y="1061"/>
                      <a:pt x="525" y="1080"/>
                    </a:cubicBezTo>
                    <a:cubicBezTo>
                      <a:pt x="539" y="1124"/>
                      <a:pt x="556" y="1165"/>
                      <a:pt x="573" y="1204"/>
                    </a:cubicBezTo>
                    <a:cubicBezTo>
                      <a:pt x="605" y="1200"/>
                      <a:pt x="636" y="1195"/>
                      <a:pt x="671" y="1193"/>
                    </a:cubicBezTo>
                    <a:cubicBezTo>
                      <a:pt x="658" y="1137"/>
                      <a:pt x="651" y="1072"/>
                      <a:pt x="641" y="1014"/>
                    </a:cubicBezTo>
                    <a:cubicBezTo>
                      <a:pt x="641" y="1011"/>
                      <a:pt x="643" y="1004"/>
                      <a:pt x="637" y="1004"/>
                    </a:cubicBezTo>
                    <a:cubicBezTo>
                      <a:pt x="594" y="1007"/>
                      <a:pt x="552" y="1012"/>
                      <a:pt x="510" y="1018"/>
                    </a:cubicBezTo>
                    <a:close/>
                    <a:moveTo>
                      <a:pt x="675" y="1192"/>
                    </a:moveTo>
                    <a:cubicBezTo>
                      <a:pt x="693" y="1192"/>
                      <a:pt x="708" y="1189"/>
                      <a:pt x="726" y="1190"/>
                    </a:cubicBezTo>
                    <a:cubicBezTo>
                      <a:pt x="727" y="1128"/>
                      <a:pt x="725" y="1068"/>
                      <a:pt x="726" y="1006"/>
                    </a:cubicBezTo>
                    <a:cubicBezTo>
                      <a:pt x="697" y="1006"/>
                      <a:pt x="672" y="1004"/>
                      <a:pt x="645" y="1004"/>
                    </a:cubicBezTo>
                    <a:cubicBezTo>
                      <a:pt x="650" y="1067"/>
                      <a:pt x="663" y="1131"/>
                      <a:pt x="675" y="1192"/>
                    </a:cubicBezTo>
                    <a:close/>
                    <a:moveTo>
                      <a:pt x="786" y="1006"/>
                    </a:moveTo>
                    <a:cubicBezTo>
                      <a:pt x="784" y="1067"/>
                      <a:pt x="782" y="1128"/>
                      <a:pt x="780" y="1189"/>
                    </a:cubicBezTo>
                    <a:cubicBezTo>
                      <a:pt x="815" y="1190"/>
                      <a:pt x="851" y="1191"/>
                      <a:pt x="883" y="1196"/>
                    </a:cubicBezTo>
                    <a:cubicBezTo>
                      <a:pt x="899" y="1135"/>
                      <a:pt x="913" y="1072"/>
                      <a:pt x="925" y="1007"/>
                    </a:cubicBezTo>
                    <a:cubicBezTo>
                      <a:pt x="882" y="1000"/>
                      <a:pt x="834" y="1007"/>
                      <a:pt x="786" y="1006"/>
                    </a:cubicBezTo>
                    <a:close/>
                    <a:moveTo>
                      <a:pt x="1439" y="1083"/>
                    </a:moveTo>
                    <a:cubicBezTo>
                      <a:pt x="1437" y="1084"/>
                      <a:pt x="1439" y="1084"/>
                      <a:pt x="1439" y="1083"/>
                    </a:cubicBezTo>
                    <a:moveTo>
                      <a:pt x="1439" y="1083"/>
                    </a:moveTo>
                    <a:cubicBezTo>
                      <a:pt x="1439" y="1083"/>
                      <a:pt x="1440" y="1083"/>
                      <a:pt x="1440" y="1083"/>
                    </a:cubicBezTo>
                    <a:cubicBezTo>
                      <a:pt x="1458" y="1065"/>
                      <a:pt x="1478" y="1037"/>
                      <a:pt x="1474" y="1004"/>
                    </a:cubicBezTo>
                    <a:cubicBezTo>
                      <a:pt x="1465" y="1033"/>
                      <a:pt x="1451" y="1057"/>
                      <a:pt x="1439" y="1083"/>
                    </a:cubicBezTo>
                    <a:moveTo>
                      <a:pt x="729" y="1190"/>
                    </a:moveTo>
                    <a:cubicBezTo>
                      <a:pt x="744" y="1188"/>
                      <a:pt x="762" y="1189"/>
                      <a:pt x="777" y="1189"/>
                    </a:cubicBezTo>
                    <a:cubicBezTo>
                      <a:pt x="780" y="1129"/>
                      <a:pt x="782" y="1067"/>
                      <a:pt x="783" y="1006"/>
                    </a:cubicBezTo>
                    <a:cubicBezTo>
                      <a:pt x="765" y="1006"/>
                      <a:pt x="747" y="1006"/>
                      <a:pt x="729" y="1006"/>
                    </a:cubicBezTo>
                    <a:cubicBezTo>
                      <a:pt x="727" y="1066"/>
                      <a:pt x="729" y="1129"/>
                      <a:pt x="729" y="1190"/>
                    </a:cubicBezTo>
                    <a:close/>
                    <a:moveTo>
                      <a:pt x="928" y="1007"/>
                    </a:moveTo>
                    <a:cubicBezTo>
                      <a:pt x="915" y="1072"/>
                      <a:pt x="903" y="1136"/>
                      <a:pt x="885" y="1196"/>
                    </a:cubicBezTo>
                    <a:cubicBezTo>
                      <a:pt x="903" y="1197"/>
                      <a:pt x="920" y="1200"/>
                      <a:pt x="937" y="1202"/>
                    </a:cubicBezTo>
                    <a:cubicBezTo>
                      <a:pt x="941" y="1140"/>
                      <a:pt x="945" y="1077"/>
                      <a:pt x="945" y="1009"/>
                    </a:cubicBezTo>
                    <a:cubicBezTo>
                      <a:pt x="940" y="1009"/>
                      <a:pt x="934" y="1008"/>
                      <a:pt x="928" y="1007"/>
                    </a:cubicBezTo>
                    <a:close/>
                    <a:moveTo>
                      <a:pt x="951" y="1010"/>
                    </a:moveTo>
                    <a:cubicBezTo>
                      <a:pt x="947" y="1074"/>
                      <a:pt x="947" y="1142"/>
                      <a:pt x="941" y="1203"/>
                    </a:cubicBezTo>
                    <a:cubicBezTo>
                      <a:pt x="955" y="1205"/>
                      <a:pt x="968" y="1208"/>
                      <a:pt x="981" y="1211"/>
                    </a:cubicBezTo>
                    <a:cubicBezTo>
                      <a:pt x="1010" y="1153"/>
                      <a:pt x="1037" y="1093"/>
                      <a:pt x="1058" y="1026"/>
                    </a:cubicBezTo>
                    <a:cubicBezTo>
                      <a:pt x="1022" y="1020"/>
                      <a:pt x="989" y="1013"/>
                      <a:pt x="951" y="1010"/>
                    </a:cubicBezTo>
                    <a:close/>
                    <a:moveTo>
                      <a:pt x="507" y="1020"/>
                    </a:moveTo>
                    <a:cubicBezTo>
                      <a:pt x="508" y="1024"/>
                      <a:pt x="508" y="1016"/>
                      <a:pt x="507" y="1020"/>
                    </a:cubicBezTo>
                    <a:close/>
                    <a:moveTo>
                      <a:pt x="384" y="1045"/>
                    </a:moveTo>
                    <a:cubicBezTo>
                      <a:pt x="411" y="1107"/>
                      <a:pt x="441" y="1167"/>
                      <a:pt x="479" y="1218"/>
                    </a:cubicBezTo>
                    <a:cubicBezTo>
                      <a:pt x="493" y="1223"/>
                      <a:pt x="508" y="1219"/>
                      <a:pt x="522" y="1216"/>
                    </a:cubicBezTo>
                    <a:cubicBezTo>
                      <a:pt x="517" y="1173"/>
                      <a:pt x="513" y="1126"/>
                      <a:pt x="510" y="1081"/>
                    </a:cubicBezTo>
                    <a:cubicBezTo>
                      <a:pt x="509" y="1066"/>
                      <a:pt x="511" y="1049"/>
                      <a:pt x="509" y="1034"/>
                    </a:cubicBezTo>
                    <a:cubicBezTo>
                      <a:pt x="508" y="1030"/>
                      <a:pt x="506" y="1023"/>
                      <a:pt x="502" y="1020"/>
                    </a:cubicBezTo>
                    <a:cubicBezTo>
                      <a:pt x="460" y="1026"/>
                      <a:pt x="422" y="1036"/>
                      <a:pt x="384" y="1045"/>
                    </a:cubicBezTo>
                    <a:close/>
                    <a:moveTo>
                      <a:pt x="1274" y="1095"/>
                    </a:moveTo>
                    <a:cubicBezTo>
                      <a:pt x="1283" y="1099"/>
                      <a:pt x="1290" y="1105"/>
                      <a:pt x="1299" y="1109"/>
                    </a:cubicBezTo>
                    <a:cubicBezTo>
                      <a:pt x="1304" y="1081"/>
                      <a:pt x="1312" y="1050"/>
                      <a:pt x="1312" y="1021"/>
                    </a:cubicBezTo>
                    <a:cubicBezTo>
                      <a:pt x="1301" y="1047"/>
                      <a:pt x="1286" y="1070"/>
                      <a:pt x="1274" y="1095"/>
                    </a:cubicBezTo>
                    <a:close/>
                    <a:moveTo>
                      <a:pt x="508" y="1025"/>
                    </a:moveTo>
                    <a:cubicBezTo>
                      <a:pt x="507" y="1024"/>
                      <a:pt x="508" y="1025"/>
                      <a:pt x="508" y="1025"/>
                    </a:cubicBezTo>
                    <a:close/>
                    <a:moveTo>
                      <a:pt x="75" y="1026"/>
                    </a:moveTo>
                    <a:cubicBezTo>
                      <a:pt x="75" y="1026"/>
                      <a:pt x="74" y="1025"/>
                      <a:pt x="75" y="1026"/>
                    </a:cubicBezTo>
                    <a:close/>
                    <a:moveTo>
                      <a:pt x="1062" y="1027"/>
                    </a:moveTo>
                    <a:cubicBezTo>
                      <a:pt x="1038" y="1091"/>
                      <a:pt x="1014" y="1154"/>
                      <a:pt x="984" y="1211"/>
                    </a:cubicBezTo>
                    <a:cubicBezTo>
                      <a:pt x="1013" y="1223"/>
                      <a:pt x="1049" y="1219"/>
                      <a:pt x="1083" y="1213"/>
                    </a:cubicBezTo>
                    <a:cubicBezTo>
                      <a:pt x="1092" y="1199"/>
                      <a:pt x="1103" y="1185"/>
                      <a:pt x="1112" y="1170"/>
                    </a:cubicBezTo>
                    <a:cubicBezTo>
                      <a:pt x="1121" y="1156"/>
                      <a:pt x="1134" y="1140"/>
                      <a:pt x="1139" y="1124"/>
                    </a:cubicBezTo>
                    <a:cubicBezTo>
                      <a:pt x="1146" y="1101"/>
                      <a:pt x="1143" y="1075"/>
                      <a:pt x="1147" y="1047"/>
                    </a:cubicBezTo>
                    <a:cubicBezTo>
                      <a:pt x="1119" y="1040"/>
                      <a:pt x="1091" y="1033"/>
                      <a:pt x="1062" y="1027"/>
                    </a:cubicBezTo>
                    <a:close/>
                    <a:moveTo>
                      <a:pt x="526" y="1215"/>
                    </a:moveTo>
                    <a:cubicBezTo>
                      <a:pt x="539" y="1211"/>
                      <a:pt x="555" y="1208"/>
                      <a:pt x="570" y="1205"/>
                    </a:cubicBezTo>
                    <a:cubicBezTo>
                      <a:pt x="548" y="1154"/>
                      <a:pt x="529" y="1101"/>
                      <a:pt x="511" y="1046"/>
                    </a:cubicBezTo>
                    <a:cubicBezTo>
                      <a:pt x="514" y="1104"/>
                      <a:pt x="518" y="1162"/>
                      <a:pt x="526" y="1215"/>
                    </a:cubicBezTo>
                    <a:close/>
                    <a:moveTo>
                      <a:pt x="322" y="1065"/>
                    </a:moveTo>
                    <a:cubicBezTo>
                      <a:pt x="325" y="1103"/>
                      <a:pt x="332" y="1137"/>
                      <a:pt x="339" y="1171"/>
                    </a:cubicBezTo>
                    <a:cubicBezTo>
                      <a:pt x="345" y="1180"/>
                      <a:pt x="353" y="1188"/>
                      <a:pt x="359" y="1198"/>
                    </a:cubicBezTo>
                    <a:cubicBezTo>
                      <a:pt x="396" y="1205"/>
                      <a:pt x="436" y="1213"/>
                      <a:pt x="474" y="1217"/>
                    </a:cubicBezTo>
                    <a:cubicBezTo>
                      <a:pt x="441" y="1168"/>
                      <a:pt x="410" y="1113"/>
                      <a:pt x="386" y="1057"/>
                    </a:cubicBezTo>
                    <a:cubicBezTo>
                      <a:pt x="384" y="1054"/>
                      <a:pt x="384" y="1048"/>
                      <a:pt x="379" y="1047"/>
                    </a:cubicBezTo>
                    <a:cubicBezTo>
                      <a:pt x="359" y="1052"/>
                      <a:pt x="341" y="1059"/>
                      <a:pt x="322" y="1065"/>
                    </a:cubicBezTo>
                    <a:close/>
                    <a:moveTo>
                      <a:pt x="1144" y="1118"/>
                    </a:moveTo>
                    <a:cubicBezTo>
                      <a:pt x="1154" y="1097"/>
                      <a:pt x="1166" y="1078"/>
                      <a:pt x="1175" y="1055"/>
                    </a:cubicBezTo>
                    <a:cubicBezTo>
                      <a:pt x="1166" y="1054"/>
                      <a:pt x="1159" y="1050"/>
                      <a:pt x="1150" y="1049"/>
                    </a:cubicBezTo>
                    <a:cubicBezTo>
                      <a:pt x="1149" y="1072"/>
                      <a:pt x="1144" y="1097"/>
                      <a:pt x="1144" y="1118"/>
                    </a:cubicBezTo>
                    <a:close/>
                    <a:moveTo>
                      <a:pt x="87" y="1057"/>
                    </a:moveTo>
                    <a:cubicBezTo>
                      <a:pt x="94" y="1077"/>
                      <a:pt x="96" y="1100"/>
                      <a:pt x="115" y="1107"/>
                    </a:cubicBezTo>
                    <a:cubicBezTo>
                      <a:pt x="106" y="1091"/>
                      <a:pt x="96" y="1074"/>
                      <a:pt x="87" y="1057"/>
                    </a:cubicBezTo>
                    <a:moveTo>
                      <a:pt x="87" y="1057"/>
                    </a:moveTo>
                    <a:cubicBezTo>
                      <a:pt x="88" y="1053"/>
                      <a:pt x="84" y="1057"/>
                      <a:pt x="87" y="1057"/>
                    </a:cubicBezTo>
                    <a:moveTo>
                      <a:pt x="1177" y="1057"/>
                    </a:moveTo>
                    <a:cubicBezTo>
                      <a:pt x="1172" y="1069"/>
                      <a:pt x="1167" y="1081"/>
                      <a:pt x="1160" y="1093"/>
                    </a:cubicBezTo>
                    <a:cubicBezTo>
                      <a:pt x="1155" y="1103"/>
                      <a:pt x="1146" y="1113"/>
                      <a:pt x="1142" y="1125"/>
                    </a:cubicBezTo>
                    <a:cubicBezTo>
                      <a:pt x="1138" y="1137"/>
                      <a:pt x="1139" y="1152"/>
                      <a:pt x="1136" y="1165"/>
                    </a:cubicBezTo>
                    <a:cubicBezTo>
                      <a:pt x="1134" y="1178"/>
                      <a:pt x="1131" y="1190"/>
                      <a:pt x="1129" y="1204"/>
                    </a:cubicBezTo>
                    <a:cubicBezTo>
                      <a:pt x="1155" y="1201"/>
                      <a:pt x="1179" y="1194"/>
                      <a:pt x="1204" y="1189"/>
                    </a:cubicBezTo>
                    <a:cubicBezTo>
                      <a:pt x="1227" y="1159"/>
                      <a:pt x="1250" y="1129"/>
                      <a:pt x="1269" y="1095"/>
                    </a:cubicBezTo>
                    <a:cubicBezTo>
                      <a:pt x="1240" y="1080"/>
                      <a:pt x="1211" y="1066"/>
                      <a:pt x="1177" y="1057"/>
                    </a:cubicBezTo>
                    <a:close/>
                    <a:moveTo>
                      <a:pt x="64" y="1065"/>
                    </a:moveTo>
                    <a:cubicBezTo>
                      <a:pt x="88" y="1121"/>
                      <a:pt x="118" y="1171"/>
                      <a:pt x="154" y="1215"/>
                    </a:cubicBezTo>
                    <a:moveTo>
                      <a:pt x="154" y="1215"/>
                    </a:moveTo>
                    <a:cubicBezTo>
                      <a:pt x="154" y="1216"/>
                      <a:pt x="155" y="1216"/>
                      <a:pt x="155" y="1216"/>
                    </a:cubicBezTo>
                    <a:moveTo>
                      <a:pt x="155" y="1216"/>
                    </a:moveTo>
                    <a:cubicBezTo>
                      <a:pt x="155" y="1217"/>
                      <a:pt x="155" y="1218"/>
                      <a:pt x="156" y="1218"/>
                    </a:cubicBezTo>
                    <a:moveTo>
                      <a:pt x="156" y="1218"/>
                    </a:moveTo>
                    <a:cubicBezTo>
                      <a:pt x="156" y="1219"/>
                      <a:pt x="157" y="1219"/>
                      <a:pt x="157" y="1219"/>
                    </a:cubicBezTo>
                    <a:moveTo>
                      <a:pt x="157" y="1219"/>
                    </a:moveTo>
                    <a:cubicBezTo>
                      <a:pt x="158" y="1220"/>
                      <a:pt x="158" y="1219"/>
                      <a:pt x="157" y="1219"/>
                    </a:cubicBezTo>
                    <a:moveTo>
                      <a:pt x="157" y="1219"/>
                    </a:moveTo>
                    <a:cubicBezTo>
                      <a:pt x="157" y="1218"/>
                      <a:pt x="157" y="1218"/>
                      <a:pt x="156" y="1218"/>
                    </a:cubicBezTo>
                    <a:moveTo>
                      <a:pt x="156" y="1218"/>
                    </a:moveTo>
                    <a:cubicBezTo>
                      <a:pt x="156" y="1217"/>
                      <a:pt x="156" y="1216"/>
                      <a:pt x="155" y="1216"/>
                    </a:cubicBezTo>
                    <a:moveTo>
                      <a:pt x="155" y="1216"/>
                    </a:moveTo>
                    <a:cubicBezTo>
                      <a:pt x="155" y="1215"/>
                      <a:pt x="155" y="1215"/>
                      <a:pt x="154" y="1215"/>
                    </a:cubicBezTo>
                    <a:moveTo>
                      <a:pt x="154" y="1215"/>
                    </a:moveTo>
                    <a:cubicBezTo>
                      <a:pt x="134" y="1178"/>
                      <a:pt x="113" y="1142"/>
                      <a:pt x="99" y="1099"/>
                    </a:cubicBezTo>
                    <a:cubicBezTo>
                      <a:pt x="85" y="1089"/>
                      <a:pt x="75" y="1077"/>
                      <a:pt x="64" y="1065"/>
                    </a:cubicBezTo>
                    <a:moveTo>
                      <a:pt x="64" y="1065"/>
                    </a:moveTo>
                    <a:cubicBezTo>
                      <a:pt x="63" y="1064"/>
                      <a:pt x="63" y="1065"/>
                      <a:pt x="64" y="1065"/>
                    </a:cubicBezTo>
                    <a:moveTo>
                      <a:pt x="282" y="1081"/>
                    </a:moveTo>
                    <a:cubicBezTo>
                      <a:pt x="297" y="1111"/>
                      <a:pt x="315" y="1138"/>
                      <a:pt x="335" y="1164"/>
                    </a:cubicBezTo>
                    <a:cubicBezTo>
                      <a:pt x="327" y="1133"/>
                      <a:pt x="324" y="1098"/>
                      <a:pt x="318" y="1066"/>
                    </a:cubicBezTo>
                    <a:cubicBezTo>
                      <a:pt x="307" y="1072"/>
                      <a:pt x="294" y="1076"/>
                      <a:pt x="282" y="1081"/>
                    </a:cubicBezTo>
                    <a:close/>
                    <a:moveTo>
                      <a:pt x="1457" y="1068"/>
                    </a:moveTo>
                    <a:cubicBezTo>
                      <a:pt x="1458" y="1069"/>
                      <a:pt x="1457" y="1068"/>
                      <a:pt x="1457" y="1068"/>
                    </a:cubicBezTo>
                    <a:close/>
                    <a:moveTo>
                      <a:pt x="1361" y="1232"/>
                    </a:moveTo>
                    <a:cubicBezTo>
                      <a:pt x="1360" y="1233"/>
                      <a:pt x="1361" y="1233"/>
                      <a:pt x="1361" y="1232"/>
                    </a:cubicBezTo>
                    <a:moveTo>
                      <a:pt x="1361" y="1232"/>
                    </a:moveTo>
                    <a:cubicBezTo>
                      <a:pt x="1399" y="1185"/>
                      <a:pt x="1434" y="1129"/>
                      <a:pt x="1456" y="1069"/>
                    </a:cubicBezTo>
                    <a:cubicBezTo>
                      <a:pt x="1450" y="1078"/>
                      <a:pt x="1442" y="1085"/>
                      <a:pt x="1433" y="1092"/>
                    </a:cubicBezTo>
                    <a:cubicBezTo>
                      <a:pt x="1414" y="1130"/>
                      <a:pt x="1388" y="1162"/>
                      <a:pt x="1365" y="1196"/>
                    </a:cubicBezTo>
                    <a:cubicBezTo>
                      <a:pt x="1367" y="1209"/>
                      <a:pt x="1364" y="1221"/>
                      <a:pt x="1361" y="1232"/>
                    </a:cubicBezTo>
                    <a:moveTo>
                      <a:pt x="341" y="1193"/>
                    </a:moveTo>
                    <a:cubicBezTo>
                      <a:pt x="341" y="1194"/>
                      <a:pt x="342" y="1193"/>
                      <a:pt x="341" y="1193"/>
                    </a:cubicBezTo>
                    <a:moveTo>
                      <a:pt x="341" y="1193"/>
                    </a:moveTo>
                    <a:cubicBezTo>
                      <a:pt x="340" y="1185"/>
                      <a:pt x="337" y="1179"/>
                      <a:pt x="337" y="1172"/>
                    </a:cubicBezTo>
                    <a:cubicBezTo>
                      <a:pt x="315" y="1144"/>
                      <a:pt x="298" y="1113"/>
                      <a:pt x="278" y="1083"/>
                    </a:cubicBezTo>
                    <a:cubicBezTo>
                      <a:pt x="261" y="1092"/>
                      <a:pt x="240" y="1102"/>
                      <a:pt x="222" y="1114"/>
                    </a:cubicBezTo>
                    <a:cubicBezTo>
                      <a:pt x="220" y="1116"/>
                      <a:pt x="207" y="1125"/>
                      <a:pt x="207" y="1127"/>
                    </a:cubicBezTo>
                    <a:cubicBezTo>
                      <a:pt x="207" y="1129"/>
                      <a:pt x="219" y="1144"/>
                      <a:pt x="221" y="1146"/>
                    </a:cubicBezTo>
                    <a:cubicBezTo>
                      <a:pt x="226" y="1153"/>
                      <a:pt x="230" y="1157"/>
                      <a:pt x="234" y="1164"/>
                    </a:cubicBezTo>
                    <a:cubicBezTo>
                      <a:pt x="269" y="1174"/>
                      <a:pt x="303" y="1186"/>
                      <a:pt x="341" y="1193"/>
                    </a:cubicBezTo>
                    <a:moveTo>
                      <a:pt x="183" y="1096"/>
                    </a:moveTo>
                    <a:cubicBezTo>
                      <a:pt x="183" y="1095"/>
                      <a:pt x="184" y="1096"/>
                      <a:pt x="183" y="1096"/>
                    </a:cubicBezTo>
                    <a:close/>
                    <a:moveTo>
                      <a:pt x="195" y="1134"/>
                    </a:moveTo>
                    <a:cubicBezTo>
                      <a:pt x="197" y="1130"/>
                      <a:pt x="202" y="1130"/>
                      <a:pt x="203" y="1125"/>
                    </a:cubicBezTo>
                    <a:cubicBezTo>
                      <a:pt x="196" y="1116"/>
                      <a:pt x="191" y="1106"/>
                      <a:pt x="184" y="1097"/>
                    </a:cubicBezTo>
                    <a:cubicBezTo>
                      <a:pt x="187" y="1110"/>
                      <a:pt x="190" y="1123"/>
                      <a:pt x="195" y="1134"/>
                    </a:cubicBezTo>
                    <a:close/>
                    <a:moveTo>
                      <a:pt x="1271" y="1097"/>
                    </a:moveTo>
                    <a:cubicBezTo>
                      <a:pt x="1271" y="1098"/>
                      <a:pt x="1270" y="1099"/>
                      <a:pt x="1270" y="1100"/>
                    </a:cubicBezTo>
                    <a:cubicBezTo>
                      <a:pt x="1254" y="1126"/>
                      <a:pt x="1234" y="1154"/>
                      <a:pt x="1216" y="1177"/>
                    </a:cubicBezTo>
                    <a:cubicBezTo>
                      <a:pt x="1214" y="1180"/>
                      <a:pt x="1210" y="1183"/>
                      <a:pt x="1210" y="1187"/>
                    </a:cubicBezTo>
                    <a:cubicBezTo>
                      <a:pt x="1235" y="1180"/>
                      <a:pt x="1261" y="1174"/>
                      <a:pt x="1284" y="1165"/>
                    </a:cubicBezTo>
                    <a:cubicBezTo>
                      <a:pt x="1289" y="1147"/>
                      <a:pt x="1294" y="1131"/>
                      <a:pt x="1298" y="1112"/>
                    </a:cubicBezTo>
                    <a:cubicBezTo>
                      <a:pt x="1289" y="1107"/>
                      <a:pt x="1281" y="1100"/>
                      <a:pt x="1271" y="1097"/>
                    </a:cubicBezTo>
                    <a:close/>
                    <a:moveTo>
                      <a:pt x="1426" y="1099"/>
                    </a:moveTo>
                    <a:cubicBezTo>
                      <a:pt x="1417" y="1104"/>
                      <a:pt x="1408" y="1111"/>
                      <a:pt x="1399" y="1117"/>
                    </a:cubicBezTo>
                    <a:cubicBezTo>
                      <a:pt x="1394" y="1137"/>
                      <a:pt x="1385" y="1154"/>
                      <a:pt x="1377" y="1173"/>
                    </a:cubicBezTo>
                    <a:moveTo>
                      <a:pt x="1377" y="1173"/>
                    </a:moveTo>
                    <a:cubicBezTo>
                      <a:pt x="1376" y="1173"/>
                      <a:pt x="1377" y="1174"/>
                      <a:pt x="1376" y="1175"/>
                    </a:cubicBezTo>
                    <a:moveTo>
                      <a:pt x="1376" y="1175"/>
                    </a:moveTo>
                    <a:cubicBezTo>
                      <a:pt x="1375" y="1175"/>
                      <a:pt x="1377" y="1176"/>
                      <a:pt x="1376" y="1175"/>
                    </a:cubicBezTo>
                    <a:moveTo>
                      <a:pt x="1376" y="1175"/>
                    </a:moveTo>
                    <a:cubicBezTo>
                      <a:pt x="1377" y="1174"/>
                      <a:pt x="1377" y="1173"/>
                      <a:pt x="1377" y="1173"/>
                    </a:cubicBezTo>
                    <a:moveTo>
                      <a:pt x="1377" y="1173"/>
                    </a:moveTo>
                    <a:cubicBezTo>
                      <a:pt x="1396" y="1150"/>
                      <a:pt x="1412" y="1125"/>
                      <a:pt x="1426" y="1099"/>
                    </a:cubicBezTo>
                    <a:moveTo>
                      <a:pt x="1426" y="1099"/>
                    </a:moveTo>
                    <a:cubicBezTo>
                      <a:pt x="1428" y="1098"/>
                      <a:pt x="1426" y="1098"/>
                      <a:pt x="1426" y="1099"/>
                    </a:cubicBezTo>
                    <a:moveTo>
                      <a:pt x="159" y="1216"/>
                    </a:moveTo>
                    <a:cubicBezTo>
                      <a:pt x="156" y="1201"/>
                      <a:pt x="160" y="1188"/>
                      <a:pt x="164" y="1176"/>
                    </a:cubicBezTo>
                    <a:cubicBezTo>
                      <a:pt x="148" y="1157"/>
                      <a:pt x="133" y="1136"/>
                      <a:pt x="120" y="1113"/>
                    </a:cubicBezTo>
                    <a:cubicBezTo>
                      <a:pt x="113" y="1111"/>
                      <a:pt x="109" y="1105"/>
                      <a:pt x="102" y="1103"/>
                    </a:cubicBezTo>
                    <a:cubicBezTo>
                      <a:pt x="118" y="1144"/>
                      <a:pt x="137" y="1181"/>
                      <a:pt x="159" y="1216"/>
                    </a:cubicBezTo>
                    <a:close/>
                    <a:moveTo>
                      <a:pt x="1287" y="1164"/>
                    </a:moveTo>
                    <a:cubicBezTo>
                      <a:pt x="1303" y="1157"/>
                      <a:pt x="1323" y="1155"/>
                      <a:pt x="1333" y="1143"/>
                    </a:cubicBezTo>
                    <a:cubicBezTo>
                      <a:pt x="1325" y="1131"/>
                      <a:pt x="1312" y="1123"/>
                      <a:pt x="1301" y="1114"/>
                    </a:cubicBezTo>
                    <a:cubicBezTo>
                      <a:pt x="1296" y="1131"/>
                      <a:pt x="1292" y="1148"/>
                      <a:pt x="1287" y="1164"/>
                    </a:cubicBezTo>
                    <a:close/>
                    <a:moveTo>
                      <a:pt x="126" y="1118"/>
                    </a:moveTo>
                    <a:cubicBezTo>
                      <a:pt x="138" y="1138"/>
                      <a:pt x="150" y="1157"/>
                      <a:pt x="166" y="1174"/>
                    </a:cubicBezTo>
                    <a:cubicBezTo>
                      <a:pt x="169" y="1162"/>
                      <a:pt x="177" y="1155"/>
                      <a:pt x="182" y="1146"/>
                    </a:cubicBezTo>
                    <a:cubicBezTo>
                      <a:pt x="161" y="1138"/>
                      <a:pt x="144" y="1127"/>
                      <a:pt x="126" y="1118"/>
                    </a:cubicBezTo>
                    <a:moveTo>
                      <a:pt x="126" y="1118"/>
                    </a:moveTo>
                    <a:cubicBezTo>
                      <a:pt x="125" y="1116"/>
                      <a:pt x="124" y="1118"/>
                      <a:pt x="126" y="1118"/>
                    </a:cubicBezTo>
                    <a:moveTo>
                      <a:pt x="1342" y="1146"/>
                    </a:moveTo>
                    <a:cubicBezTo>
                      <a:pt x="1351" y="1159"/>
                      <a:pt x="1360" y="1173"/>
                      <a:pt x="1365" y="1190"/>
                    </a:cubicBezTo>
                    <a:cubicBezTo>
                      <a:pt x="1377" y="1168"/>
                      <a:pt x="1387" y="1145"/>
                      <a:pt x="1396" y="1120"/>
                    </a:cubicBezTo>
                    <a:cubicBezTo>
                      <a:pt x="1397" y="1120"/>
                      <a:pt x="1396" y="1119"/>
                      <a:pt x="1395" y="1119"/>
                    </a:cubicBezTo>
                    <a:cubicBezTo>
                      <a:pt x="1379" y="1129"/>
                      <a:pt x="1361" y="1138"/>
                      <a:pt x="1342" y="1146"/>
                    </a:cubicBezTo>
                    <a:close/>
                    <a:moveTo>
                      <a:pt x="204" y="1128"/>
                    </a:moveTo>
                    <a:cubicBezTo>
                      <a:pt x="202" y="1133"/>
                      <a:pt x="196" y="1134"/>
                      <a:pt x="195" y="1139"/>
                    </a:cubicBezTo>
                    <a:cubicBezTo>
                      <a:pt x="197" y="1142"/>
                      <a:pt x="198" y="1146"/>
                      <a:pt x="198" y="1151"/>
                    </a:cubicBezTo>
                    <a:cubicBezTo>
                      <a:pt x="209" y="1153"/>
                      <a:pt x="219" y="1160"/>
                      <a:pt x="229" y="1160"/>
                    </a:cubicBezTo>
                    <a:cubicBezTo>
                      <a:pt x="220" y="1151"/>
                      <a:pt x="214" y="1138"/>
                      <a:pt x="204" y="1128"/>
                    </a:cubicBezTo>
                    <a:close/>
                    <a:moveTo>
                      <a:pt x="1100" y="1194"/>
                    </a:moveTo>
                    <a:cubicBezTo>
                      <a:pt x="1095" y="1200"/>
                      <a:pt x="1088" y="1206"/>
                      <a:pt x="1088" y="1212"/>
                    </a:cubicBezTo>
                    <a:cubicBezTo>
                      <a:pt x="1101" y="1209"/>
                      <a:pt x="1114" y="1208"/>
                      <a:pt x="1126" y="1205"/>
                    </a:cubicBezTo>
                    <a:cubicBezTo>
                      <a:pt x="1129" y="1181"/>
                      <a:pt x="1137" y="1156"/>
                      <a:pt x="1137" y="1132"/>
                    </a:cubicBezTo>
                    <a:cubicBezTo>
                      <a:pt x="1126" y="1153"/>
                      <a:pt x="1113" y="1175"/>
                      <a:pt x="1100" y="1194"/>
                    </a:cubicBezTo>
                    <a:close/>
                    <a:moveTo>
                      <a:pt x="187" y="1146"/>
                    </a:moveTo>
                    <a:cubicBezTo>
                      <a:pt x="190" y="1145"/>
                      <a:pt x="194" y="1150"/>
                      <a:pt x="196" y="1148"/>
                    </a:cubicBezTo>
                    <a:cubicBezTo>
                      <a:pt x="193" y="1146"/>
                      <a:pt x="194" y="1141"/>
                      <a:pt x="192" y="1140"/>
                    </a:cubicBezTo>
                    <a:cubicBezTo>
                      <a:pt x="191" y="1142"/>
                      <a:pt x="188" y="1143"/>
                      <a:pt x="187" y="1146"/>
                    </a:cubicBezTo>
                    <a:close/>
                    <a:moveTo>
                      <a:pt x="1333" y="1147"/>
                    </a:moveTo>
                    <a:cubicBezTo>
                      <a:pt x="1335" y="1147"/>
                      <a:pt x="1336" y="1146"/>
                      <a:pt x="1337" y="1145"/>
                    </a:cubicBezTo>
                    <a:cubicBezTo>
                      <a:pt x="1335" y="1143"/>
                      <a:pt x="1334" y="1145"/>
                      <a:pt x="1333" y="1147"/>
                    </a:cubicBezTo>
                    <a:close/>
                    <a:moveTo>
                      <a:pt x="241" y="1257"/>
                    </a:moveTo>
                    <a:cubicBezTo>
                      <a:pt x="241" y="1258"/>
                      <a:pt x="242" y="1257"/>
                      <a:pt x="241" y="1257"/>
                    </a:cubicBezTo>
                    <a:moveTo>
                      <a:pt x="241" y="1257"/>
                    </a:moveTo>
                    <a:cubicBezTo>
                      <a:pt x="224" y="1224"/>
                      <a:pt x="209" y="1190"/>
                      <a:pt x="197" y="1152"/>
                    </a:cubicBezTo>
                    <a:cubicBezTo>
                      <a:pt x="194" y="1150"/>
                      <a:pt x="189" y="1150"/>
                      <a:pt x="187" y="1148"/>
                    </a:cubicBezTo>
                    <a:cubicBezTo>
                      <a:pt x="177" y="1154"/>
                      <a:pt x="173" y="1166"/>
                      <a:pt x="167" y="1175"/>
                    </a:cubicBezTo>
                    <a:cubicBezTo>
                      <a:pt x="189" y="1205"/>
                      <a:pt x="214" y="1232"/>
                      <a:pt x="241" y="1257"/>
                    </a:cubicBezTo>
                    <a:moveTo>
                      <a:pt x="1207" y="1335"/>
                    </a:moveTo>
                    <a:cubicBezTo>
                      <a:pt x="1206" y="1335"/>
                      <a:pt x="1208" y="1336"/>
                      <a:pt x="1207" y="1335"/>
                    </a:cubicBezTo>
                    <a:moveTo>
                      <a:pt x="1207" y="1335"/>
                    </a:moveTo>
                    <a:cubicBezTo>
                      <a:pt x="1267" y="1295"/>
                      <a:pt x="1319" y="1248"/>
                      <a:pt x="1362" y="1192"/>
                    </a:cubicBezTo>
                    <a:cubicBezTo>
                      <a:pt x="1357" y="1174"/>
                      <a:pt x="1350" y="1158"/>
                      <a:pt x="1337" y="1148"/>
                    </a:cubicBezTo>
                    <a:cubicBezTo>
                      <a:pt x="1322" y="1158"/>
                      <a:pt x="1312" y="1174"/>
                      <a:pt x="1300" y="1189"/>
                    </a:cubicBezTo>
                    <a:cubicBezTo>
                      <a:pt x="1294" y="1196"/>
                      <a:pt x="1288" y="1203"/>
                      <a:pt x="1281" y="1210"/>
                    </a:cubicBezTo>
                    <a:cubicBezTo>
                      <a:pt x="1275" y="1217"/>
                      <a:pt x="1267" y="1223"/>
                      <a:pt x="1263" y="1230"/>
                    </a:cubicBezTo>
                    <a:cubicBezTo>
                      <a:pt x="1258" y="1239"/>
                      <a:pt x="1255" y="1249"/>
                      <a:pt x="1251" y="1258"/>
                    </a:cubicBezTo>
                    <a:cubicBezTo>
                      <a:pt x="1237" y="1285"/>
                      <a:pt x="1225" y="1311"/>
                      <a:pt x="1207" y="1335"/>
                    </a:cubicBezTo>
                    <a:moveTo>
                      <a:pt x="1324" y="1154"/>
                    </a:moveTo>
                    <a:cubicBezTo>
                      <a:pt x="1310" y="1158"/>
                      <a:pt x="1300" y="1164"/>
                      <a:pt x="1286" y="1167"/>
                    </a:cubicBezTo>
                    <a:cubicBezTo>
                      <a:pt x="1282" y="1186"/>
                      <a:pt x="1272" y="1204"/>
                      <a:pt x="1269" y="1221"/>
                    </a:cubicBezTo>
                    <a:cubicBezTo>
                      <a:pt x="1287" y="1199"/>
                      <a:pt x="1307" y="1178"/>
                      <a:pt x="1324" y="1154"/>
                    </a:cubicBezTo>
                    <a:moveTo>
                      <a:pt x="1324" y="1154"/>
                    </a:moveTo>
                    <a:cubicBezTo>
                      <a:pt x="1325" y="1154"/>
                      <a:pt x="1324" y="1153"/>
                      <a:pt x="1324" y="1154"/>
                    </a:cubicBezTo>
                    <a:moveTo>
                      <a:pt x="222" y="1212"/>
                    </a:moveTo>
                    <a:cubicBezTo>
                      <a:pt x="231" y="1230"/>
                      <a:pt x="237" y="1251"/>
                      <a:pt x="247" y="1264"/>
                    </a:cubicBezTo>
                    <a:cubicBezTo>
                      <a:pt x="252" y="1270"/>
                      <a:pt x="260" y="1275"/>
                      <a:pt x="267" y="1280"/>
                    </a:cubicBezTo>
                    <a:cubicBezTo>
                      <a:pt x="287" y="1297"/>
                      <a:pt x="306" y="1314"/>
                      <a:pt x="328" y="1328"/>
                    </a:cubicBezTo>
                    <a:cubicBezTo>
                      <a:pt x="334" y="1313"/>
                      <a:pt x="344" y="1302"/>
                      <a:pt x="354" y="1291"/>
                    </a:cubicBezTo>
                    <a:cubicBezTo>
                      <a:pt x="308" y="1254"/>
                      <a:pt x="269" y="1211"/>
                      <a:pt x="232" y="1165"/>
                    </a:cubicBezTo>
                    <a:cubicBezTo>
                      <a:pt x="220" y="1162"/>
                      <a:pt x="212" y="1157"/>
                      <a:pt x="200" y="1154"/>
                    </a:cubicBezTo>
                    <a:cubicBezTo>
                      <a:pt x="206" y="1174"/>
                      <a:pt x="214" y="1193"/>
                      <a:pt x="222" y="1212"/>
                    </a:cubicBezTo>
                    <a:close/>
                    <a:moveTo>
                      <a:pt x="356" y="1290"/>
                    </a:moveTo>
                    <a:cubicBezTo>
                      <a:pt x="359" y="1285"/>
                      <a:pt x="365" y="1284"/>
                      <a:pt x="367" y="1278"/>
                    </a:cubicBezTo>
                    <a:cubicBezTo>
                      <a:pt x="358" y="1252"/>
                      <a:pt x="349" y="1226"/>
                      <a:pt x="342" y="1197"/>
                    </a:cubicBezTo>
                    <a:cubicBezTo>
                      <a:pt x="306" y="1189"/>
                      <a:pt x="270" y="1177"/>
                      <a:pt x="238" y="1169"/>
                    </a:cubicBezTo>
                    <a:cubicBezTo>
                      <a:pt x="274" y="1212"/>
                      <a:pt x="312" y="1254"/>
                      <a:pt x="356" y="1290"/>
                    </a:cubicBezTo>
                    <a:close/>
                    <a:moveTo>
                      <a:pt x="1223" y="1265"/>
                    </a:moveTo>
                    <a:cubicBezTo>
                      <a:pt x="1235" y="1254"/>
                      <a:pt x="1255" y="1239"/>
                      <a:pt x="1263" y="1225"/>
                    </a:cubicBezTo>
                    <a:cubicBezTo>
                      <a:pt x="1273" y="1209"/>
                      <a:pt x="1274" y="1190"/>
                      <a:pt x="1282" y="1170"/>
                    </a:cubicBezTo>
                    <a:cubicBezTo>
                      <a:pt x="1282" y="1169"/>
                      <a:pt x="1282" y="1169"/>
                      <a:pt x="1281" y="1169"/>
                    </a:cubicBezTo>
                    <a:cubicBezTo>
                      <a:pt x="1257" y="1177"/>
                      <a:pt x="1232" y="1184"/>
                      <a:pt x="1206" y="1191"/>
                    </a:cubicBezTo>
                    <a:cubicBezTo>
                      <a:pt x="1184" y="1218"/>
                      <a:pt x="1160" y="1242"/>
                      <a:pt x="1137" y="1268"/>
                    </a:cubicBezTo>
                    <a:cubicBezTo>
                      <a:pt x="1155" y="1276"/>
                      <a:pt x="1167" y="1289"/>
                      <a:pt x="1181" y="1301"/>
                    </a:cubicBezTo>
                    <a:cubicBezTo>
                      <a:pt x="1195" y="1290"/>
                      <a:pt x="1208" y="1278"/>
                      <a:pt x="1223" y="1265"/>
                    </a:cubicBezTo>
                    <a:close/>
                    <a:moveTo>
                      <a:pt x="344" y="1195"/>
                    </a:moveTo>
                    <a:cubicBezTo>
                      <a:pt x="349" y="1194"/>
                      <a:pt x="353" y="1198"/>
                      <a:pt x="355" y="1196"/>
                    </a:cubicBezTo>
                    <a:cubicBezTo>
                      <a:pt x="350" y="1190"/>
                      <a:pt x="346" y="1183"/>
                      <a:pt x="341" y="1178"/>
                    </a:cubicBezTo>
                    <a:cubicBezTo>
                      <a:pt x="342" y="1184"/>
                      <a:pt x="343" y="1189"/>
                      <a:pt x="344" y="1195"/>
                    </a:cubicBezTo>
                    <a:close/>
                    <a:moveTo>
                      <a:pt x="289" y="1331"/>
                    </a:moveTo>
                    <a:cubicBezTo>
                      <a:pt x="289" y="1332"/>
                      <a:pt x="290" y="1331"/>
                      <a:pt x="289" y="1331"/>
                    </a:cubicBezTo>
                    <a:moveTo>
                      <a:pt x="289" y="1331"/>
                    </a:moveTo>
                    <a:cubicBezTo>
                      <a:pt x="274" y="1310"/>
                      <a:pt x="258" y="1290"/>
                      <a:pt x="246" y="1266"/>
                    </a:cubicBezTo>
                    <a:cubicBezTo>
                      <a:pt x="216" y="1240"/>
                      <a:pt x="192" y="1209"/>
                      <a:pt x="165" y="1180"/>
                    </a:cubicBezTo>
                    <a:cubicBezTo>
                      <a:pt x="163" y="1194"/>
                      <a:pt x="158" y="1209"/>
                      <a:pt x="163" y="1223"/>
                    </a:cubicBezTo>
                    <a:cubicBezTo>
                      <a:pt x="169" y="1238"/>
                      <a:pt x="189" y="1257"/>
                      <a:pt x="203" y="1271"/>
                    </a:cubicBezTo>
                    <a:cubicBezTo>
                      <a:pt x="217" y="1284"/>
                      <a:pt x="236" y="1304"/>
                      <a:pt x="249" y="1313"/>
                    </a:cubicBezTo>
                    <a:cubicBezTo>
                      <a:pt x="261" y="1321"/>
                      <a:pt x="278" y="1326"/>
                      <a:pt x="289" y="1331"/>
                    </a:cubicBezTo>
                    <a:moveTo>
                      <a:pt x="676" y="1195"/>
                    </a:moveTo>
                    <a:cubicBezTo>
                      <a:pt x="677" y="1209"/>
                      <a:pt x="682" y="1221"/>
                      <a:pt x="683" y="1235"/>
                    </a:cubicBezTo>
                    <a:cubicBezTo>
                      <a:pt x="697" y="1236"/>
                      <a:pt x="712" y="1236"/>
                      <a:pt x="727" y="1236"/>
                    </a:cubicBezTo>
                    <a:cubicBezTo>
                      <a:pt x="726" y="1222"/>
                      <a:pt x="730" y="1202"/>
                      <a:pt x="725" y="1192"/>
                    </a:cubicBezTo>
                    <a:cubicBezTo>
                      <a:pt x="709" y="1193"/>
                      <a:pt x="691" y="1193"/>
                      <a:pt x="676" y="1195"/>
                    </a:cubicBezTo>
                    <a:close/>
                    <a:moveTo>
                      <a:pt x="729" y="1192"/>
                    </a:moveTo>
                    <a:cubicBezTo>
                      <a:pt x="729" y="1207"/>
                      <a:pt x="731" y="1220"/>
                      <a:pt x="730" y="1236"/>
                    </a:cubicBezTo>
                    <a:cubicBezTo>
                      <a:pt x="744" y="1238"/>
                      <a:pt x="761" y="1236"/>
                      <a:pt x="775" y="1237"/>
                    </a:cubicBezTo>
                    <a:cubicBezTo>
                      <a:pt x="777" y="1222"/>
                      <a:pt x="777" y="1207"/>
                      <a:pt x="777" y="1192"/>
                    </a:cubicBezTo>
                    <a:cubicBezTo>
                      <a:pt x="761" y="1192"/>
                      <a:pt x="745" y="1192"/>
                      <a:pt x="729" y="1192"/>
                    </a:cubicBezTo>
                    <a:close/>
                    <a:moveTo>
                      <a:pt x="780" y="1192"/>
                    </a:moveTo>
                    <a:cubicBezTo>
                      <a:pt x="779" y="1206"/>
                      <a:pt x="779" y="1222"/>
                      <a:pt x="778" y="1237"/>
                    </a:cubicBezTo>
                    <a:cubicBezTo>
                      <a:pt x="809" y="1235"/>
                      <a:pt x="841" y="1236"/>
                      <a:pt x="871" y="1234"/>
                    </a:cubicBezTo>
                    <a:cubicBezTo>
                      <a:pt x="875" y="1222"/>
                      <a:pt x="879" y="1210"/>
                      <a:pt x="882" y="1198"/>
                    </a:cubicBezTo>
                    <a:cubicBezTo>
                      <a:pt x="849" y="1195"/>
                      <a:pt x="816" y="1192"/>
                      <a:pt x="780" y="1192"/>
                    </a:cubicBezTo>
                    <a:close/>
                    <a:moveTo>
                      <a:pt x="1200" y="1193"/>
                    </a:moveTo>
                    <a:cubicBezTo>
                      <a:pt x="1176" y="1197"/>
                      <a:pt x="1153" y="1204"/>
                      <a:pt x="1128" y="1207"/>
                    </a:cubicBezTo>
                    <a:cubicBezTo>
                      <a:pt x="1124" y="1224"/>
                      <a:pt x="1120" y="1239"/>
                      <a:pt x="1116" y="1255"/>
                    </a:cubicBezTo>
                    <a:cubicBezTo>
                      <a:pt x="1122" y="1258"/>
                      <a:pt x="1128" y="1262"/>
                      <a:pt x="1134" y="1265"/>
                    </a:cubicBezTo>
                    <a:cubicBezTo>
                      <a:pt x="1158" y="1242"/>
                      <a:pt x="1180" y="1219"/>
                      <a:pt x="1200" y="1193"/>
                    </a:cubicBezTo>
                    <a:moveTo>
                      <a:pt x="1200" y="1193"/>
                    </a:moveTo>
                    <a:cubicBezTo>
                      <a:pt x="1201" y="1192"/>
                      <a:pt x="1200" y="1192"/>
                      <a:pt x="1200" y="1193"/>
                    </a:cubicBezTo>
                    <a:moveTo>
                      <a:pt x="671" y="1195"/>
                    </a:moveTo>
                    <a:cubicBezTo>
                      <a:pt x="638" y="1198"/>
                      <a:pt x="605" y="1201"/>
                      <a:pt x="575" y="1207"/>
                    </a:cubicBezTo>
                    <a:cubicBezTo>
                      <a:pt x="578" y="1215"/>
                      <a:pt x="580" y="1224"/>
                      <a:pt x="586" y="1229"/>
                    </a:cubicBezTo>
                    <a:cubicBezTo>
                      <a:pt x="616" y="1232"/>
                      <a:pt x="650" y="1235"/>
                      <a:pt x="680" y="1234"/>
                    </a:cubicBezTo>
                    <a:cubicBezTo>
                      <a:pt x="676" y="1222"/>
                      <a:pt x="675" y="1207"/>
                      <a:pt x="671" y="1195"/>
                    </a:cubicBezTo>
                    <a:close/>
                    <a:moveTo>
                      <a:pt x="369" y="1277"/>
                    </a:moveTo>
                    <a:cubicBezTo>
                      <a:pt x="382" y="1271"/>
                      <a:pt x="394" y="1263"/>
                      <a:pt x="406" y="1255"/>
                    </a:cubicBezTo>
                    <a:cubicBezTo>
                      <a:pt x="389" y="1237"/>
                      <a:pt x="373" y="1219"/>
                      <a:pt x="358" y="1199"/>
                    </a:cubicBezTo>
                    <a:cubicBezTo>
                      <a:pt x="353" y="1200"/>
                      <a:pt x="350" y="1197"/>
                      <a:pt x="345" y="1198"/>
                    </a:cubicBezTo>
                    <a:cubicBezTo>
                      <a:pt x="352" y="1226"/>
                      <a:pt x="361" y="1251"/>
                      <a:pt x="369" y="1277"/>
                    </a:cubicBezTo>
                    <a:close/>
                    <a:moveTo>
                      <a:pt x="884" y="1199"/>
                    </a:moveTo>
                    <a:cubicBezTo>
                      <a:pt x="882" y="1211"/>
                      <a:pt x="877" y="1221"/>
                      <a:pt x="874" y="1234"/>
                    </a:cubicBezTo>
                    <a:cubicBezTo>
                      <a:pt x="894" y="1233"/>
                      <a:pt x="914" y="1231"/>
                      <a:pt x="934" y="1230"/>
                    </a:cubicBezTo>
                    <a:cubicBezTo>
                      <a:pt x="934" y="1221"/>
                      <a:pt x="936" y="1215"/>
                      <a:pt x="936" y="1205"/>
                    </a:cubicBezTo>
                    <a:cubicBezTo>
                      <a:pt x="919" y="1202"/>
                      <a:pt x="903" y="1199"/>
                      <a:pt x="884" y="1199"/>
                    </a:cubicBezTo>
                    <a:close/>
                    <a:moveTo>
                      <a:pt x="1360" y="1199"/>
                    </a:moveTo>
                    <a:cubicBezTo>
                      <a:pt x="1360" y="1199"/>
                      <a:pt x="1361" y="1200"/>
                      <a:pt x="1360" y="1199"/>
                    </a:cubicBezTo>
                    <a:close/>
                    <a:moveTo>
                      <a:pt x="363" y="1201"/>
                    </a:moveTo>
                    <a:cubicBezTo>
                      <a:pt x="378" y="1220"/>
                      <a:pt x="392" y="1239"/>
                      <a:pt x="410" y="1254"/>
                    </a:cubicBezTo>
                    <a:cubicBezTo>
                      <a:pt x="432" y="1244"/>
                      <a:pt x="454" y="1234"/>
                      <a:pt x="480" y="1227"/>
                    </a:cubicBezTo>
                    <a:cubicBezTo>
                      <a:pt x="477" y="1217"/>
                      <a:pt x="463" y="1219"/>
                      <a:pt x="454" y="1218"/>
                    </a:cubicBezTo>
                    <a:cubicBezTo>
                      <a:pt x="424" y="1213"/>
                      <a:pt x="391" y="1206"/>
                      <a:pt x="363" y="1201"/>
                    </a:cubicBezTo>
                    <a:moveTo>
                      <a:pt x="363" y="1201"/>
                    </a:moveTo>
                    <a:cubicBezTo>
                      <a:pt x="362" y="1200"/>
                      <a:pt x="361" y="1201"/>
                      <a:pt x="363" y="1201"/>
                    </a:cubicBezTo>
                    <a:moveTo>
                      <a:pt x="1359" y="1201"/>
                    </a:moveTo>
                    <a:cubicBezTo>
                      <a:pt x="1318" y="1253"/>
                      <a:pt x="1263" y="1298"/>
                      <a:pt x="1208" y="1338"/>
                    </a:cubicBezTo>
                    <a:cubicBezTo>
                      <a:pt x="1206" y="1339"/>
                      <a:pt x="1201" y="1341"/>
                      <a:pt x="1202" y="1345"/>
                    </a:cubicBezTo>
                    <a:cubicBezTo>
                      <a:pt x="1217" y="1339"/>
                      <a:pt x="1232" y="1333"/>
                      <a:pt x="1247" y="1326"/>
                    </a:cubicBezTo>
                    <a:cubicBezTo>
                      <a:pt x="1261" y="1320"/>
                      <a:pt x="1277" y="1313"/>
                      <a:pt x="1289" y="1304"/>
                    </a:cubicBezTo>
                    <a:cubicBezTo>
                      <a:pt x="1303" y="1293"/>
                      <a:pt x="1316" y="1270"/>
                      <a:pt x="1326" y="1255"/>
                    </a:cubicBezTo>
                    <a:cubicBezTo>
                      <a:pt x="1338" y="1238"/>
                      <a:pt x="1350" y="1220"/>
                      <a:pt x="1359" y="1201"/>
                    </a:cubicBezTo>
                    <a:moveTo>
                      <a:pt x="1359" y="1201"/>
                    </a:moveTo>
                    <a:cubicBezTo>
                      <a:pt x="1361" y="1201"/>
                      <a:pt x="1359" y="1200"/>
                      <a:pt x="1359" y="1201"/>
                    </a:cubicBezTo>
                    <a:moveTo>
                      <a:pt x="1301" y="1295"/>
                    </a:moveTo>
                    <a:cubicBezTo>
                      <a:pt x="1299" y="1296"/>
                      <a:pt x="1301" y="1297"/>
                      <a:pt x="1301" y="1295"/>
                    </a:cubicBezTo>
                    <a:moveTo>
                      <a:pt x="1301" y="1295"/>
                    </a:moveTo>
                    <a:cubicBezTo>
                      <a:pt x="1315" y="1282"/>
                      <a:pt x="1343" y="1260"/>
                      <a:pt x="1354" y="1241"/>
                    </a:cubicBezTo>
                    <a:cubicBezTo>
                      <a:pt x="1360" y="1231"/>
                      <a:pt x="1364" y="1215"/>
                      <a:pt x="1362" y="1201"/>
                    </a:cubicBezTo>
                    <a:cubicBezTo>
                      <a:pt x="1345" y="1236"/>
                      <a:pt x="1323" y="1266"/>
                      <a:pt x="1301" y="1295"/>
                    </a:cubicBezTo>
                    <a:moveTo>
                      <a:pt x="938" y="1229"/>
                    </a:moveTo>
                    <a:cubicBezTo>
                      <a:pt x="950" y="1230"/>
                      <a:pt x="958" y="1227"/>
                      <a:pt x="970" y="1227"/>
                    </a:cubicBezTo>
                    <a:cubicBezTo>
                      <a:pt x="975" y="1224"/>
                      <a:pt x="977" y="1218"/>
                      <a:pt x="979" y="1213"/>
                    </a:cubicBezTo>
                    <a:cubicBezTo>
                      <a:pt x="967" y="1210"/>
                      <a:pt x="953" y="1208"/>
                      <a:pt x="941" y="1205"/>
                    </a:cubicBezTo>
                    <a:cubicBezTo>
                      <a:pt x="939" y="1212"/>
                      <a:pt x="940" y="1222"/>
                      <a:pt x="938" y="1229"/>
                    </a:cubicBezTo>
                    <a:close/>
                    <a:moveTo>
                      <a:pt x="526" y="1219"/>
                    </a:moveTo>
                    <a:cubicBezTo>
                      <a:pt x="526" y="1221"/>
                      <a:pt x="526" y="1222"/>
                      <a:pt x="527" y="1223"/>
                    </a:cubicBezTo>
                    <a:cubicBezTo>
                      <a:pt x="544" y="1226"/>
                      <a:pt x="565" y="1229"/>
                      <a:pt x="582" y="1228"/>
                    </a:cubicBezTo>
                    <a:cubicBezTo>
                      <a:pt x="577" y="1222"/>
                      <a:pt x="575" y="1213"/>
                      <a:pt x="571" y="1207"/>
                    </a:cubicBezTo>
                    <a:cubicBezTo>
                      <a:pt x="557" y="1212"/>
                      <a:pt x="538" y="1212"/>
                      <a:pt x="526" y="1219"/>
                    </a:cubicBezTo>
                    <a:close/>
                    <a:moveTo>
                      <a:pt x="1084" y="1215"/>
                    </a:moveTo>
                    <a:cubicBezTo>
                      <a:pt x="1080" y="1223"/>
                      <a:pt x="1071" y="1229"/>
                      <a:pt x="1070" y="1236"/>
                    </a:cubicBezTo>
                    <a:cubicBezTo>
                      <a:pt x="1086" y="1240"/>
                      <a:pt x="1099" y="1248"/>
                      <a:pt x="1113" y="1253"/>
                    </a:cubicBezTo>
                    <a:cubicBezTo>
                      <a:pt x="1118" y="1240"/>
                      <a:pt x="1120" y="1224"/>
                      <a:pt x="1125" y="1210"/>
                    </a:cubicBezTo>
                    <a:cubicBezTo>
                      <a:pt x="1125" y="1209"/>
                      <a:pt x="1125" y="1208"/>
                      <a:pt x="1123" y="1208"/>
                    </a:cubicBezTo>
                    <a:cubicBezTo>
                      <a:pt x="1111" y="1211"/>
                      <a:pt x="1097" y="1213"/>
                      <a:pt x="1084" y="1215"/>
                    </a:cubicBezTo>
                    <a:close/>
                    <a:moveTo>
                      <a:pt x="982" y="1214"/>
                    </a:moveTo>
                    <a:cubicBezTo>
                      <a:pt x="980" y="1218"/>
                      <a:pt x="977" y="1222"/>
                      <a:pt x="975" y="1226"/>
                    </a:cubicBezTo>
                    <a:cubicBezTo>
                      <a:pt x="988" y="1225"/>
                      <a:pt x="1003" y="1224"/>
                      <a:pt x="1015" y="1222"/>
                    </a:cubicBezTo>
                    <a:cubicBezTo>
                      <a:pt x="1005" y="1219"/>
                      <a:pt x="994" y="1216"/>
                      <a:pt x="982" y="1214"/>
                    </a:cubicBezTo>
                    <a:close/>
                    <a:moveTo>
                      <a:pt x="1031" y="1223"/>
                    </a:moveTo>
                    <a:cubicBezTo>
                      <a:pt x="1044" y="1226"/>
                      <a:pt x="1054" y="1231"/>
                      <a:pt x="1066" y="1234"/>
                    </a:cubicBezTo>
                    <a:cubicBezTo>
                      <a:pt x="1070" y="1229"/>
                      <a:pt x="1080" y="1220"/>
                      <a:pt x="1078" y="1216"/>
                    </a:cubicBezTo>
                    <a:cubicBezTo>
                      <a:pt x="1063" y="1219"/>
                      <a:pt x="1045" y="1220"/>
                      <a:pt x="1031" y="1223"/>
                    </a:cubicBezTo>
                    <a:close/>
                    <a:moveTo>
                      <a:pt x="509" y="1223"/>
                    </a:moveTo>
                    <a:cubicBezTo>
                      <a:pt x="515" y="1222"/>
                      <a:pt x="518" y="1224"/>
                      <a:pt x="524" y="1223"/>
                    </a:cubicBezTo>
                    <a:cubicBezTo>
                      <a:pt x="523" y="1222"/>
                      <a:pt x="524" y="1217"/>
                      <a:pt x="521" y="1218"/>
                    </a:cubicBezTo>
                    <a:cubicBezTo>
                      <a:pt x="518" y="1220"/>
                      <a:pt x="511" y="1219"/>
                      <a:pt x="509" y="1223"/>
                    </a:cubicBezTo>
                    <a:close/>
                    <a:moveTo>
                      <a:pt x="482" y="1225"/>
                    </a:moveTo>
                    <a:cubicBezTo>
                      <a:pt x="487" y="1226"/>
                      <a:pt x="490" y="1224"/>
                      <a:pt x="493" y="1223"/>
                    </a:cubicBezTo>
                    <a:cubicBezTo>
                      <a:pt x="488" y="1223"/>
                      <a:pt x="483" y="1220"/>
                      <a:pt x="480" y="1223"/>
                    </a:cubicBezTo>
                    <a:cubicBezTo>
                      <a:pt x="481" y="1223"/>
                      <a:pt x="482" y="1224"/>
                      <a:pt x="482" y="1225"/>
                    </a:cubicBezTo>
                    <a:close/>
                    <a:moveTo>
                      <a:pt x="535" y="1295"/>
                    </a:moveTo>
                    <a:cubicBezTo>
                      <a:pt x="536" y="1296"/>
                      <a:pt x="537" y="1294"/>
                      <a:pt x="535" y="1295"/>
                    </a:cubicBezTo>
                    <a:moveTo>
                      <a:pt x="535" y="1295"/>
                    </a:moveTo>
                    <a:cubicBezTo>
                      <a:pt x="532" y="1272"/>
                      <a:pt x="527" y="1251"/>
                      <a:pt x="525" y="1227"/>
                    </a:cubicBezTo>
                    <a:cubicBezTo>
                      <a:pt x="512" y="1224"/>
                      <a:pt x="497" y="1223"/>
                      <a:pt x="486" y="1227"/>
                    </a:cubicBezTo>
                    <a:cubicBezTo>
                      <a:pt x="498" y="1250"/>
                      <a:pt x="518" y="1273"/>
                      <a:pt x="535" y="1295"/>
                    </a:cubicBezTo>
                    <a:moveTo>
                      <a:pt x="1022" y="1223"/>
                    </a:moveTo>
                    <a:cubicBezTo>
                      <a:pt x="1007" y="1223"/>
                      <a:pt x="991" y="1230"/>
                      <a:pt x="973" y="1229"/>
                    </a:cubicBezTo>
                    <a:cubicBezTo>
                      <a:pt x="960" y="1255"/>
                      <a:pt x="945" y="1280"/>
                      <a:pt x="928" y="1303"/>
                    </a:cubicBezTo>
                    <a:cubicBezTo>
                      <a:pt x="927" y="1316"/>
                      <a:pt x="925" y="1329"/>
                      <a:pt x="922" y="1342"/>
                    </a:cubicBezTo>
                    <a:cubicBezTo>
                      <a:pt x="920" y="1353"/>
                      <a:pt x="915" y="1367"/>
                      <a:pt x="917" y="1376"/>
                    </a:cubicBezTo>
                    <a:cubicBezTo>
                      <a:pt x="925" y="1381"/>
                      <a:pt x="933" y="1372"/>
                      <a:pt x="939" y="1367"/>
                    </a:cubicBezTo>
                    <a:cubicBezTo>
                      <a:pt x="986" y="1330"/>
                      <a:pt x="1029" y="1283"/>
                      <a:pt x="1064" y="1236"/>
                    </a:cubicBezTo>
                    <a:cubicBezTo>
                      <a:pt x="1050" y="1234"/>
                      <a:pt x="1038" y="1224"/>
                      <a:pt x="1022" y="1223"/>
                    </a:cubicBezTo>
                    <a:close/>
                    <a:moveTo>
                      <a:pt x="539" y="1299"/>
                    </a:moveTo>
                    <a:cubicBezTo>
                      <a:pt x="563" y="1325"/>
                      <a:pt x="587" y="1352"/>
                      <a:pt x="615" y="1374"/>
                    </a:cubicBezTo>
                    <a:cubicBezTo>
                      <a:pt x="628" y="1368"/>
                      <a:pt x="645" y="1367"/>
                      <a:pt x="658" y="1362"/>
                    </a:cubicBezTo>
                    <a:cubicBezTo>
                      <a:pt x="630" y="1322"/>
                      <a:pt x="605" y="1279"/>
                      <a:pt x="583" y="1232"/>
                    </a:cubicBezTo>
                    <a:cubicBezTo>
                      <a:pt x="564" y="1230"/>
                      <a:pt x="545" y="1229"/>
                      <a:pt x="527" y="1226"/>
                    </a:cubicBezTo>
                    <a:cubicBezTo>
                      <a:pt x="530" y="1251"/>
                      <a:pt x="535" y="1275"/>
                      <a:pt x="539" y="1299"/>
                    </a:cubicBezTo>
                    <a:close/>
                    <a:moveTo>
                      <a:pt x="537" y="1300"/>
                    </a:moveTo>
                    <a:cubicBezTo>
                      <a:pt x="517" y="1278"/>
                      <a:pt x="500" y="1252"/>
                      <a:pt x="481" y="1229"/>
                    </a:cubicBezTo>
                    <a:cubicBezTo>
                      <a:pt x="456" y="1237"/>
                      <a:pt x="433" y="1246"/>
                      <a:pt x="412" y="1256"/>
                    </a:cubicBezTo>
                    <a:cubicBezTo>
                      <a:pt x="452" y="1302"/>
                      <a:pt x="504" y="1344"/>
                      <a:pt x="558" y="1379"/>
                    </a:cubicBezTo>
                    <a:cubicBezTo>
                      <a:pt x="550" y="1354"/>
                      <a:pt x="543" y="1328"/>
                      <a:pt x="537" y="1300"/>
                    </a:cubicBezTo>
                    <a:close/>
                    <a:moveTo>
                      <a:pt x="938" y="1232"/>
                    </a:moveTo>
                    <a:cubicBezTo>
                      <a:pt x="936" y="1253"/>
                      <a:pt x="931" y="1276"/>
                      <a:pt x="931" y="1295"/>
                    </a:cubicBezTo>
                    <a:cubicBezTo>
                      <a:pt x="945" y="1275"/>
                      <a:pt x="957" y="1253"/>
                      <a:pt x="970" y="1231"/>
                    </a:cubicBezTo>
                    <a:cubicBezTo>
                      <a:pt x="970" y="1230"/>
                      <a:pt x="970" y="1229"/>
                      <a:pt x="968" y="1229"/>
                    </a:cubicBezTo>
                    <a:cubicBezTo>
                      <a:pt x="959" y="1231"/>
                      <a:pt x="948" y="1232"/>
                      <a:pt x="938" y="1232"/>
                    </a:cubicBezTo>
                    <a:close/>
                    <a:moveTo>
                      <a:pt x="663" y="1362"/>
                    </a:moveTo>
                    <a:cubicBezTo>
                      <a:pt x="679" y="1359"/>
                      <a:pt x="696" y="1357"/>
                      <a:pt x="712" y="1355"/>
                    </a:cubicBezTo>
                    <a:cubicBezTo>
                      <a:pt x="700" y="1317"/>
                      <a:pt x="690" y="1278"/>
                      <a:pt x="680" y="1238"/>
                    </a:cubicBezTo>
                    <a:cubicBezTo>
                      <a:pt x="649" y="1236"/>
                      <a:pt x="616" y="1235"/>
                      <a:pt x="586" y="1232"/>
                    </a:cubicBezTo>
                    <a:cubicBezTo>
                      <a:pt x="608" y="1279"/>
                      <a:pt x="632" y="1324"/>
                      <a:pt x="663" y="1362"/>
                    </a:cubicBezTo>
                    <a:close/>
                    <a:moveTo>
                      <a:pt x="872" y="1237"/>
                    </a:moveTo>
                    <a:cubicBezTo>
                      <a:pt x="861" y="1280"/>
                      <a:pt x="845" y="1318"/>
                      <a:pt x="829" y="1357"/>
                    </a:cubicBezTo>
                    <a:cubicBezTo>
                      <a:pt x="845" y="1360"/>
                      <a:pt x="862" y="1361"/>
                      <a:pt x="876" y="1366"/>
                    </a:cubicBezTo>
                    <a:cubicBezTo>
                      <a:pt x="895" y="1349"/>
                      <a:pt x="908" y="1326"/>
                      <a:pt x="924" y="1306"/>
                    </a:cubicBezTo>
                    <a:cubicBezTo>
                      <a:pt x="927" y="1282"/>
                      <a:pt x="932" y="1259"/>
                      <a:pt x="933" y="1233"/>
                    </a:cubicBezTo>
                    <a:cubicBezTo>
                      <a:pt x="912" y="1234"/>
                      <a:pt x="892" y="1235"/>
                      <a:pt x="872" y="1237"/>
                    </a:cubicBezTo>
                    <a:close/>
                    <a:moveTo>
                      <a:pt x="1182" y="1304"/>
                    </a:moveTo>
                    <a:cubicBezTo>
                      <a:pt x="1190" y="1314"/>
                      <a:pt x="1196" y="1326"/>
                      <a:pt x="1200" y="1341"/>
                    </a:cubicBezTo>
                    <a:cubicBezTo>
                      <a:pt x="1222" y="1309"/>
                      <a:pt x="1244" y="1273"/>
                      <a:pt x="1257" y="1235"/>
                    </a:cubicBezTo>
                    <a:cubicBezTo>
                      <a:pt x="1234" y="1260"/>
                      <a:pt x="1208" y="1282"/>
                      <a:pt x="1182" y="1304"/>
                    </a:cubicBezTo>
                    <a:close/>
                    <a:moveTo>
                      <a:pt x="778" y="1239"/>
                    </a:moveTo>
                    <a:cubicBezTo>
                      <a:pt x="776" y="1277"/>
                      <a:pt x="774" y="1315"/>
                      <a:pt x="773" y="1353"/>
                    </a:cubicBezTo>
                    <a:cubicBezTo>
                      <a:pt x="791" y="1354"/>
                      <a:pt x="810" y="1355"/>
                      <a:pt x="826" y="1357"/>
                    </a:cubicBezTo>
                    <a:cubicBezTo>
                      <a:pt x="843" y="1319"/>
                      <a:pt x="857" y="1279"/>
                      <a:pt x="870" y="1237"/>
                    </a:cubicBezTo>
                    <a:cubicBezTo>
                      <a:pt x="840" y="1238"/>
                      <a:pt x="810" y="1239"/>
                      <a:pt x="778" y="1239"/>
                    </a:cubicBezTo>
                    <a:close/>
                    <a:moveTo>
                      <a:pt x="170" y="1239"/>
                    </a:moveTo>
                    <a:cubicBezTo>
                      <a:pt x="177" y="1254"/>
                      <a:pt x="187" y="1266"/>
                      <a:pt x="198" y="1276"/>
                    </a:cubicBezTo>
                    <a:moveTo>
                      <a:pt x="198" y="1276"/>
                    </a:moveTo>
                    <a:cubicBezTo>
                      <a:pt x="199" y="1278"/>
                      <a:pt x="200" y="1276"/>
                      <a:pt x="198" y="1276"/>
                    </a:cubicBezTo>
                    <a:moveTo>
                      <a:pt x="198" y="1276"/>
                    </a:moveTo>
                    <a:cubicBezTo>
                      <a:pt x="189" y="1264"/>
                      <a:pt x="180" y="1250"/>
                      <a:pt x="170" y="1239"/>
                    </a:cubicBezTo>
                    <a:moveTo>
                      <a:pt x="170" y="1239"/>
                    </a:moveTo>
                    <a:cubicBezTo>
                      <a:pt x="169" y="1237"/>
                      <a:pt x="169" y="1239"/>
                      <a:pt x="170" y="1239"/>
                    </a:cubicBezTo>
                    <a:moveTo>
                      <a:pt x="716" y="1355"/>
                    </a:moveTo>
                    <a:cubicBezTo>
                      <a:pt x="722" y="1356"/>
                      <a:pt x="725" y="1353"/>
                      <a:pt x="731" y="1354"/>
                    </a:cubicBezTo>
                    <a:cubicBezTo>
                      <a:pt x="729" y="1317"/>
                      <a:pt x="729" y="1277"/>
                      <a:pt x="727" y="1239"/>
                    </a:cubicBezTo>
                    <a:cubicBezTo>
                      <a:pt x="713" y="1240"/>
                      <a:pt x="696" y="1237"/>
                      <a:pt x="684" y="1239"/>
                    </a:cubicBezTo>
                    <a:cubicBezTo>
                      <a:pt x="694" y="1278"/>
                      <a:pt x="704" y="1318"/>
                      <a:pt x="716" y="1355"/>
                    </a:cubicBezTo>
                    <a:close/>
                    <a:moveTo>
                      <a:pt x="1067" y="1238"/>
                    </a:moveTo>
                    <a:cubicBezTo>
                      <a:pt x="1026" y="1291"/>
                      <a:pt x="978" y="1338"/>
                      <a:pt x="927" y="1381"/>
                    </a:cubicBezTo>
                    <a:cubicBezTo>
                      <a:pt x="939" y="1385"/>
                      <a:pt x="948" y="1391"/>
                      <a:pt x="959" y="1396"/>
                    </a:cubicBezTo>
                    <a:cubicBezTo>
                      <a:pt x="1011" y="1367"/>
                      <a:pt x="1058" y="1334"/>
                      <a:pt x="1101" y="1296"/>
                    </a:cubicBezTo>
                    <a:cubicBezTo>
                      <a:pt x="1104" y="1282"/>
                      <a:pt x="1110" y="1271"/>
                      <a:pt x="1112" y="1256"/>
                    </a:cubicBezTo>
                    <a:cubicBezTo>
                      <a:pt x="1098" y="1249"/>
                      <a:pt x="1084" y="1242"/>
                      <a:pt x="1067" y="1238"/>
                    </a:cubicBezTo>
                    <a:close/>
                    <a:moveTo>
                      <a:pt x="731" y="1239"/>
                    </a:moveTo>
                    <a:cubicBezTo>
                      <a:pt x="730" y="1276"/>
                      <a:pt x="733" y="1316"/>
                      <a:pt x="733" y="1354"/>
                    </a:cubicBezTo>
                    <a:cubicBezTo>
                      <a:pt x="745" y="1354"/>
                      <a:pt x="757" y="1353"/>
                      <a:pt x="770" y="1353"/>
                    </a:cubicBezTo>
                    <a:cubicBezTo>
                      <a:pt x="772" y="1316"/>
                      <a:pt x="774" y="1278"/>
                      <a:pt x="775" y="1240"/>
                    </a:cubicBezTo>
                    <a:cubicBezTo>
                      <a:pt x="761" y="1239"/>
                      <a:pt x="747" y="1238"/>
                      <a:pt x="731" y="1239"/>
                    </a:cubicBezTo>
                    <a:close/>
                    <a:moveTo>
                      <a:pt x="559" y="1383"/>
                    </a:moveTo>
                    <a:cubicBezTo>
                      <a:pt x="502" y="1348"/>
                      <a:pt x="454" y="1304"/>
                      <a:pt x="408" y="1258"/>
                    </a:cubicBezTo>
                    <a:cubicBezTo>
                      <a:pt x="395" y="1265"/>
                      <a:pt x="383" y="1272"/>
                      <a:pt x="371" y="1280"/>
                    </a:cubicBezTo>
                    <a:cubicBezTo>
                      <a:pt x="377" y="1308"/>
                      <a:pt x="393" y="1320"/>
                      <a:pt x="414" y="1334"/>
                    </a:cubicBezTo>
                    <a:cubicBezTo>
                      <a:pt x="445" y="1356"/>
                      <a:pt x="480" y="1376"/>
                      <a:pt x="511" y="1392"/>
                    </a:cubicBezTo>
                    <a:cubicBezTo>
                      <a:pt x="529" y="1393"/>
                      <a:pt x="548" y="1399"/>
                      <a:pt x="564" y="1398"/>
                    </a:cubicBezTo>
                    <a:cubicBezTo>
                      <a:pt x="563" y="1393"/>
                      <a:pt x="560" y="1389"/>
                      <a:pt x="559" y="1383"/>
                    </a:cubicBezTo>
                    <a:close/>
                    <a:moveTo>
                      <a:pt x="1106" y="1293"/>
                    </a:moveTo>
                    <a:cubicBezTo>
                      <a:pt x="1114" y="1284"/>
                      <a:pt x="1124" y="1276"/>
                      <a:pt x="1133" y="1267"/>
                    </a:cubicBezTo>
                    <a:cubicBezTo>
                      <a:pt x="1126" y="1264"/>
                      <a:pt x="1122" y="1260"/>
                      <a:pt x="1115" y="1258"/>
                    </a:cubicBezTo>
                    <a:cubicBezTo>
                      <a:pt x="1112" y="1269"/>
                      <a:pt x="1106" y="1282"/>
                      <a:pt x="1106" y="1293"/>
                    </a:cubicBezTo>
                    <a:close/>
                    <a:moveTo>
                      <a:pt x="193" y="1264"/>
                    </a:moveTo>
                    <a:cubicBezTo>
                      <a:pt x="193" y="1265"/>
                      <a:pt x="193" y="1265"/>
                      <a:pt x="194" y="1265"/>
                    </a:cubicBezTo>
                    <a:moveTo>
                      <a:pt x="194" y="1265"/>
                    </a:moveTo>
                    <a:cubicBezTo>
                      <a:pt x="194" y="1266"/>
                      <a:pt x="194" y="1266"/>
                      <a:pt x="195" y="1266"/>
                    </a:cubicBezTo>
                    <a:moveTo>
                      <a:pt x="195" y="1266"/>
                    </a:moveTo>
                    <a:cubicBezTo>
                      <a:pt x="205" y="1280"/>
                      <a:pt x="216" y="1293"/>
                      <a:pt x="232" y="1301"/>
                    </a:cubicBezTo>
                    <a:moveTo>
                      <a:pt x="232" y="1301"/>
                    </a:moveTo>
                    <a:cubicBezTo>
                      <a:pt x="232" y="1302"/>
                      <a:pt x="232" y="1302"/>
                      <a:pt x="233" y="1302"/>
                    </a:cubicBezTo>
                    <a:moveTo>
                      <a:pt x="233" y="1302"/>
                    </a:moveTo>
                    <a:cubicBezTo>
                      <a:pt x="234" y="1304"/>
                      <a:pt x="234" y="1302"/>
                      <a:pt x="233" y="1302"/>
                    </a:cubicBezTo>
                    <a:moveTo>
                      <a:pt x="233" y="1302"/>
                    </a:moveTo>
                    <a:cubicBezTo>
                      <a:pt x="233" y="1301"/>
                      <a:pt x="233" y="1301"/>
                      <a:pt x="232" y="1301"/>
                    </a:cubicBezTo>
                    <a:moveTo>
                      <a:pt x="195" y="1266"/>
                    </a:moveTo>
                    <a:cubicBezTo>
                      <a:pt x="207" y="1278"/>
                      <a:pt x="219" y="1290"/>
                      <a:pt x="232" y="1301"/>
                    </a:cubicBezTo>
                    <a:moveTo>
                      <a:pt x="195" y="1266"/>
                    </a:moveTo>
                    <a:cubicBezTo>
                      <a:pt x="195" y="1265"/>
                      <a:pt x="194" y="1265"/>
                      <a:pt x="194" y="1265"/>
                    </a:cubicBezTo>
                    <a:moveTo>
                      <a:pt x="194" y="1265"/>
                    </a:moveTo>
                    <a:cubicBezTo>
                      <a:pt x="194" y="1264"/>
                      <a:pt x="193" y="1264"/>
                      <a:pt x="193" y="1264"/>
                    </a:cubicBezTo>
                    <a:moveTo>
                      <a:pt x="193" y="1264"/>
                    </a:moveTo>
                    <a:cubicBezTo>
                      <a:pt x="192" y="1262"/>
                      <a:pt x="192" y="1264"/>
                      <a:pt x="193" y="1264"/>
                    </a:cubicBezTo>
                    <a:moveTo>
                      <a:pt x="1071" y="1373"/>
                    </a:moveTo>
                    <a:cubicBezTo>
                      <a:pt x="1070" y="1374"/>
                      <a:pt x="1071" y="1374"/>
                      <a:pt x="1071" y="1373"/>
                    </a:cubicBezTo>
                    <a:moveTo>
                      <a:pt x="1071" y="1373"/>
                    </a:moveTo>
                    <a:cubicBezTo>
                      <a:pt x="1096" y="1361"/>
                      <a:pt x="1127" y="1341"/>
                      <a:pt x="1154" y="1321"/>
                    </a:cubicBezTo>
                    <a:cubicBezTo>
                      <a:pt x="1159" y="1318"/>
                      <a:pt x="1178" y="1306"/>
                      <a:pt x="1178" y="1302"/>
                    </a:cubicBezTo>
                    <a:cubicBezTo>
                      <a:pt x="1178" y="1299"/>
                      <a:pt x="1160" y="1286"/>
                      <a:pt x="1158" y="1284"/>
                    </a:cubicBezTo>
                    <a:cubicBezTo>
                      <a:pt x="1149" y="1277"/>
                      <a:pt x="1143" y="1273"/>
                      <a:pt x="1134" y="1269"/>
                    </a:cubicBezTo>
                    <a:cubicBezTo>
                      <a:pt x="1124" y="1279"/>
                      <a:pt x="1114" y="1289"/>
                      <a:pt x="1102" y="1298"/>
                    </a:cubicBezTo>
                    <a:cubicBezTo>
                      <a:pt x="1094" y="1326"/>
                      <a:pt x="1082" y="1349"/>
                      <a:pt x="1071" y="1373"/>
                    </a:cubicBezTo>
                    <a:moveTo>
                      <a:pt x="253" y="1272"/>
                    </a:moveTo>
                    <a:cubicBezTo>
                      <a:pt x="253" y="1273"/>
                      <a:pt x="254" y="1273"/>
                      <a:pt x="254" y="1273"/>
                    </a:cubicBezTo>
                    <a:moveTo>
                      <a:pt x="254" y="1273"/>
                    </a:moveTo>
                    <a:cubicBezTo>
                      <a:pt x="266" y="1296"/>
                      <a:pt x="280" y="1316"/>
                      <a:pt x="295" y="1335"/>
                    </a:cubicBezTo>
                    <a:cubicBezTo>
                      <a:pt x="305" y="1338"/>
                      <a:pt x="314" y="1343"/>
                      <a:pt x="324" y="1345"/>
                    </a:cubicBezTo>
                    <a:cubicBezTo>
                      <a:pt x="324" y="1340"/>
                      <a:pt x="326" y="1335"/>
                      <a:pt x="327" y="1331"/>
                    </a:cubicBezTo>
                    <a:cubicBezTo>
                      <a:pt x="302" y="1313"/>
                      <a:pt x="277" y="1294"/>
                      <a:pt x="254" y="1273"/>
                    </a:cubicBezTo>
                    <a:moveTo>
                      <a:pt x="254" y="1273"/>
                    </a:moveTo>
                    <a:cubicBezTo>
                      <a:pt x="254" y="1273"/>
                      <a:pt x="254" y="1272"/>
                      <a:pt x="253" y="1272"/>
                    </a:cubicBezTo>
                    <a:moveTo>
                      <a:pt x="253" y="1272"/>
                    </a:moveTo>
                    <a:cubicBezTo>
                      <a:pt x="253" y="1271"/>
                      <a:pt x="252" y="1273"/>
                      <a:pt x="253" y="1272"/>
                    </a:cubicBezTo>
                    <a:moveTo>
                      <a:pt x="379" y="1308"/>
                    </a:moveTo>
                    <a:cubicBezTo>
                      <a:pt x="380" y="1309"/>
                      <a:pt x="380" y="1308"/>
                      <a:pt x="379" y="1308"/>
                    </a:cubicBezTo>
                    <a:moveTo>
                      <a:pt x="379" y="1308"/>
                    </a:moveTo>
                    <a:cubicBezTo>
                      <a:pt x="376" y="1299"/>
                      <a:pt x="372" y="1290"/>
                      <a:pt x="368" y="1282"/>
                    </a:cubicBezTo>
                    <a:cubicBezTo>
                      <a:pt x="365" y="1285"/>
                      <a:pt x="361" y="1288"/>
                      <a:pt x="358" y="1292"/>
                    </a:cubicBezTo>
                    <a:cubicBezTo>
                      <a:pt x="365" y="1297"/>
                      <a:pt x="371" y="1303"/>
                      <a:pt x="379" y="1308"/>
                    </a:cubicBezTo>
                    <a:moveTo>
                      <a:pt x="383" y="1315"/>
                    </a:moveTo>
                    <a:cubicBezTo>
                      <a:pt x="373" y="1308"/>
                      <a:pt x="366" y="1299"/>
                      <a:pt x="355" y="1294"/>
                    </a:cubicBezTo>
                    <a:cubicBezTo>
                      <a:pt x="345" y="1304"/>
                      <a:pt x="335" y="1315"/>
                      <a:pt x="330" y="1330"/>
                    </a:cubicBezTo>
                    <a:cubicBezTo>
                      <a:pt x="356" y="1345"/>
                      <a:pt x="378" y="1368"/>
                      <a:pt x="413" y="1371"/>
                    </a:cubicBezTo>
                    <a:cubicBezTo>
                      <a:pt x="401" y="1354"/>
                      <a:pt x="391" y="1335"/>
                      <a:pt x="383" y="1315"/>
                    </a:cubicBezTo>
                    <a:close/>
                    <a:moveTo>
                      <a:pt x="929" y="1297"/>
                    </a:moveTo>
                    <a:cubicBezTo>
                      <a:pt x="929" y="1297"/>
                      <a:pt x="930" y="1298"/>
                      <a:pt x="929" y="1297"/>
                    </a:cubicBezTo>
                    <a:close/>
                    <a:moveTo>
                      <a:pt x="224" y="1300"/>
                    </a:moveTo>
                    <a:cubicBezTo>
                      <a:pt x="224" y="1301"/>
                      <a:pt x="225" y="1301"/>
                      <a:pt x="225" y="1301"/>
                    </a:cubicBezTo>
                    <a:moveTo>
                      <a:pt x="225" y="1301"/>
                    </a:moveTo>
                    <a:cubicBezTo>
                      <a:pt x="259" y="1340"/>
                      <a:pt x="299" y="1371"/>
                      <a:pt x="343" y="1399"/>
                    </a:cubicBezTo>
                    <a:cubicBezTo>
                      <a:pt x="340" y="1392"/>
                      <a:pt x="333" y="1387"/>
                      <a:pt x="331" y="1378"/>
                    </a:cubicBezTo>
                    <a:cubicBezTo>
                      <a:pt x="326" y="1374"/>
                      <a:pt x="321" y="1369"/>
                      <a:pt x="317" y="1364"/>
                    </a:cubicBezTo>
                    <a:cubicBezTo>
                      <a:pt x="283" y="1346"/>
                      <a:pt x="259" y="1319"/>
                      <a:pt x="225" y="1301"/>
                    </a:cubicBezTo>
                    <a:moveTo>
                      <a:pt x="225" y="1301"/>
                    </a:moveTo>
                    <a:cubicBezTo>
                      <a:pt x="226" y="1300"/>
                      <a:pt x="225" y="1300"/>
                      <a:pt x="224" y="1300"/>
                    </a:cubicBezTo>
                    <a:moveTo>
                      <a:pt x="224" y="1300"/>
                    </a:moveTo>
                    <a:cubicBezTo>
                      <a:pt x="224" y="1299"/>
                      <a:pt x="223" y="1300"/>
                      <a:pt x="224" y="1300"/>
                    </a:cubicBezTo>
                    <a:moveTo>
                      <a:pt x="961" y="1398"/>
                    </a:moveTo>
                    <a:cubicBezTo>
                      <a:pt x="996" y="1395"/>
                      <a:pt x="1039" y="1392"/>
                      <a:pt x="1066" y="1377"/>
                    </a:cubicBezTo>
                    <a:cubicBezTo>
                      <a:pt x="1077" y="1353"/>
                      <a:pt x="1091" y="1328"/>
                      <a:pt x="1097" y="1302"/>
                    </a:cubicBezTo>
                    <a:cubicBezTo>
                      <a:pt x="1057" y="1339"/>
                      <a:pt x="1010" y="1370"/>
                      <a:pt x="961" y="1398"/>
                    </a:cubicBezTo>
                    <a:close/>
                    <a:moveTo>
                      <a:pt x="1294" y="1304"/>
                    </a:moveTo>
                    <a:cubicBezTo>
                      <a:pt x="1293" y="1304"/>
                      <a:pt x="1294" y="1305"/>
                      <a:pt x="1294" y="1304"/>
                    </a:cubicBezTo>
                    <a:close/>
                    <a:moveTo>
                      <a:pt x="1292" y="1305"/>
                    </a:moveTo>
                    <a:cubicBezTo>
                      <a:pt x="1292" y="1305"/>
                      <a:pt x="1293" y="1306"/>
                      <a:pt x="1292" y="1305"/>
                    </a:cubicBezTo>
                    <a:close/>
                    <a:moveTo>
                      <a:pt x="561" y="1382"/>
                    </a:moveTo>
                    <a:cubicBezTo>
                      <a:pt x="567" y="1384"/>
                      <a:pt x="571" y="1388"/>
                      <a:pt x="577" y="1391"/>
                    </a:cubicBezTo>
                    <a:cubicBezTo>
                      <a:pt x="587" y="1385"/>
                      <a:pt x="597" y="1379"/>
                      <a:pt x="610" y="1376"/>
                    </a:cubicBezTo>
                    <a:cubicBezTo>
                      <a:pt x="587" y="1352"/>
                      <a:pt x="562" y="1331"/>
                      <a:pt x="541" y="1305"/>
                    </a:cubicBezTo>
                    <a:cubicBezTo>
                      <a:pt x="546" y="1332"/>
                      <a:pt x="554" y="1357"/>
                      <a:pt x="561" y="1382"/>
                    </a:cubicBezTo>
                    <a:close/>
                    <a:moveTo>
                      <a:pt x="1179" y="1305"/>
                    </a:moveTo>
                    <a:cubicBezTo>
                      <a:pt x="1162" y="1320"/>
                      <a:pt x="1142" y="1333"/>
                      <a:pt x="1122" y="1345"/>
                    </a:cubicBezTo>
                    <a:cubicBezTo>
                      <a:pt x="1103" y="1357"/>
                      <a:pt x="1083" y="1369"/>
                      <a:pt x="1066" y="1382"/>
                    </a:cubicBezTo>
                    <a:cubicBezTo>
                      <a:pt x="1112" y="1371"/>
                      <a:pt x="1168" y="1364"/>
                      <a:pt x="1197" y="1341"/>
                    </a:cubicBezTo>
                    <a:cubicBezTo>
                      <a:pt x="1194" y="1326"/>
                      <a:pt x="1188" y="1314"/>
                      <a:pt x="1179" y="1305"/>
                    </a:cubicBezTo>
                    <a:close/>
                    <a:moveTo>
                      <a:pt x="1283" y="1311"/>
                    </a:moveTo>
                    <a:cubicBezTo>
                      <a:pt x="1257" y="1325"/>
                      <a:pt x="1230" y="1338"/>
                      <a:pt x="1200" y="1348"/>
                    </a:cubicBezTo>
                    <a:cubicBezTo>
                      <a:pt x="1201" y="1361"/>
                      <a:pt x="1197" y="1369"/>
                      <a:pt x="1194" y="1378"/>
                    </a:cubicBezTo>
                    <a:moveTo>
                      <a:pt x="1194" y="1378"/>
                    </a:moveTo>
                    <a:cubicBezTo>
                      <a:pt x="1193" y="1379"/>
                      <a:pt x="1194" y="1379"/>
                      <a:pt x="1194" y="1378"/>
                    </a:cubicBezTo>
                    <a:moveTo>
                      <a:pt x="1194" y="1378"/>
                    </a:moveTo>
                    <a:cubicBezTo>
                      <a:pt x="1227" y="1358"/>
                      <a:pt x="1258" y="1338"/>
                      <a:pt x="1283" y="1311"/>
                    </a:cubicBezTo>
                    <a:moveTo>
                      <a:pt x="1283" y="1311"/>
                    </a:moveTo>
                    <a:cubicBezTo>
                      <a:pt x="1285" y="1310"/>
                      <a:pt x="1283" y="1310"/>
                      <a:pt x="1283" y="1311"/>
                    </a:cubicBezTo>
                    <a:moveTo>
                      <a:pt x="881" y="1367"/>
                    </a:moveTo>
                    <a:cubicBezTo>
                      <a:pt x="892" y="1368"/>
                      <a:pt x="901" y="1372"/>
                      <a:pt x="911" y="1374"/>
                    </a:cubicBezTo>
                    <a:cubicBezTo>
                      <a:pt x="916" y="1355"/>
                      <a:pt x="921" y="1331"/>
                      <a:pt x="922" y="1312"/>
                    </a:cubicBezTo>
                    <a:cubicBezTo>
                      <a:pt x="910" y="1331"/>
                      <a:pt x="895" y="1349"/>
                      <a:pt x="881" y="1367"/>
                    </a:cubicBezTo>
                    <a:close/>
                    <a:moveTo>
                      <a:pt x="388" y="1319"/>
                    </a:moveTo>
                    <a:cubicBezTo>
                      <a:pt x="395" y="1338"/>
                      <a:pt x="406" y="1356"/>
                      <a:pt x="416" y="1373"/>
                    </a:cubicBezTo>
                    <a:cubicBezTo>
                      <a:pt x="444" y="1379"/>
                      <a:pt x="470" y="1386"/>
                      <a:pt x="500" y="1390"/>
                    </a:cubicBezTo>
                    <a:moveTo>
                      <a:pt x="500" y="1390"/>
                    </a:moveTo>
                    <a:cubicBezTo>
                      <a:pt x="500" y="1392"/>
                      <a:pt x="504" y="1389"/>
                      <a:pt x="500" y="1390"/>
                    </a:cubicBezTo>
                    <a:moveTo>
                      <a:pt x="388" y="1319"/>
                    </a:moveTo>
                    <a:cubicBezTo>
                      <a:pt x="423" y="1344"/>
                      <a:pt x="460" y="1368"/>
                      <a:pt x="500" y="1390"/>
                    </a:cubicBezTo>
                    <a:moveTo>
                      <a:pt x="388" y="1319"/>
                    </a:moveTo>
                    <a:cubicBezTo>
                      <a:pt x="387" y="1317"/>
                      <a:pt x="386" y="1319"/>
                      <a:pt x="388" y="1319"/>
                    </a:cubicBezTo>
                    <a:moveTo>
                      <a:pt x="261" y="1322"/>
                    </a:moveTo>
                    <a:cubicBezTo>
                      <a:pt x="260" y="1322"/>
                      <a:pt x="262" y="1323"/>
                      <a:pt x="261" y="1322"/>
                    </a:cubicBezTo>
                    <a:close/>
                    <a:moveTo>
                      <a:pt x="264" y="1323"/>
                    </a:moveTo>
                    <a:cubicBezTo>
                      <a:pt x="264" y="1324"/>
                      <a:pt x="264" y="1324"/>
                      <a:pt x="264" y="1324"/>
                    </a:cubicBezTo>
                    <a:cubicBezTo>
                      <a:pt x="279" y="1334"/>
                      <a:pt x="292" y="1346"/>
                      <a:pt x="308" y="1355"/>
                    </a:cubicBezTo>
                    <a:moveTo>
                      <a:pt x="308" y="1355"/>
                    </a:moveTo>
                    <a:cubicBezTo>
                      <a:pt x="308" y="1356"/>
                      <a:pt x="308" y="1356"/>
                      <a:pt x="309" y="1356"/>
                    </a:cubicBezTo>
                    <a:moveTo>
                      <a:pt x="309" y="1356"/>
                    </a:moveTo>
                    <a:cubicBezTo>
                      <a:pt x="309" y="1357"/>
                      <a:pt x="310" y="1356"/>
                      <a:pt x="309" y="1356"/>
                    </a:cubicBezTo>
                    <a:moveTo>
                      <a:pt x="309" y="1356"/>
                    </a:moveTo>
                    <a:cubicBezTo>
                      <a:pt x="309" y="1355"/>
                      <a:pt x="309" y="1355"/>
                      <a:pt x="308" y="1355"/>
                    </a:cubicBezTo>
                    <a:moveTo>
                      <a:pt x="308" y="1355"/>
                    </a:moveTo>
                    <a:cubicBezTo>
                      <a:pt x="299" y="1338"/>
                      <a:pt x="282" y="1330"/>
                      <a:pt x="264" y="1323"/>
                    </a:cubicBezTo>
                    <a:moveTo>
                      <a:pt x="264" y="1323"/>
                    </a:moveTo>
                    <a:cubicBezTo>
                      <a:pt x="263" y="1322"/>
                      <a:pt x="263" y="1323"/>
                      <a:pt x="264" y="1323"/>
                    </a:cubicBezTo>
                    <a:moveTo>
                      <a:pt x="327" y="1347"/>
                    </a:moveTo>
                    <a:cubicBezTo>
                      <a:pt x="343" y="1351"/>
                      <a:pt x="359" y="1360"/>
                      <a:pt x="374" y="1361"/>
                    </a:cubicBezTo>
                    <a:cubicBezTo>
                      <a:pt x="358" y="1353"/>
                      <a:pt x="345" y="1342"/>
                      <a:pt x="329" y="1333"/>
                    </a:cubicBezTo>
                    <a:cubicBezTo>
                      <a:pt x="328" y="1337"/>
                      <a:pt x="327" y="1341"/>
                      <a:pt x="327" y="1347"/>
                    </a:cubicBezTo>
                    <a:close/>
                    <a:moveTo>
                      <a:pt x="299" y="1340"/>
                    </a:moveTo>
                    <a:cubicBezTo>
                      <a:pt x="308" y="1349"/>
                      <a:pt x="314" y="1361"/>
                      <a:pt x="326" y="1367"/>
                    </a:cubicBezTo>
                    <a:cubicBezTo>
                      <a:pt x="325" y="1362"/>
                      <a:pt x="324" y="1356"/>
                      <a:pt x="324" y="1348"/>
                    </a:cubicBezTo>
                    <a:cubicBezTo>
                      <a:pt x="315" y="1346"/>
                      <a:pt x="309" y="1342"/>
                      <a:pt x="299" y="1340"/>
                    </a:cubicBezTo>
                    <a:moveTo>
                      <a:pt x="299" y="1340"/>
                    </a:moveTo>
                    <a:cubicBezTo>
                      <a:pt x="299" y="1338"/>
                      <a:pt x="298" y="1340"/>
                      <a:pt x="299" y="1340"/>
                    </a:cubicBezTo>
                    <a:moveTo>
                      <a:pt x="1254" y="1341"/>
                    </a:moveTo>
                    <a:cubicBezTo>
                      <a:pt x="1254" y="1340"/>
                      <a:pt x="1254" y="1341"/>
                      <a:pt x="1254" y="1342"/>
                    </a:cubicBezTo>
                    <a:moveTo>
                      <a:pt x="1254" y="1342"/>
                    </a:moveTo>
                    <a:cubicBezTo>
                      <a:pt x="1253" y="1341"/>
                      <a:pt x="1253" y="1342"/>
                      <a:pt x="1253" y="1343"/>
                    </a:cubicBezTo>
                    <a:moveTo>
                      <a:pt x="1253" y="1343"/>
                    </a:moveTo>
                    <a:cubicBezTo>
                      <a:pt x="1252" y="1342"/>
                      <a:pt x="1252" y="1343"/>
                      <a:pt x="1252" y="1343"/>
                    </a:cubicBezTo>
                    <a:moveTo>
                      <a:pt x="1252" y="1343"/>
                    </a:moveTo>
                    <a:cubicBezTo>
                      <a:pt x="1231" y="1356"/>
                      <a:pt x="1213" y="1372"/>
                      <a:pt x="1191" y="1383"/>
                    </a:cubicBezTo>
                    <a:cubicBezTo>
                      <a:pt x="1188" y="1390"/>
                      <a:pt x="1182" y="1395"/>
                      <a:pt x="1178" y="1402"/>
                    </a:cubicBezTo>
                    <a:moveTo>
                      <a:pt x="1178" y="1402"/>
                    </a:moveTo>
                    <a:cubicBezTo>
                      <a:pt x="1177" y="1402"/>
                      <a:pt x="1177" y="1402"/>
                      <a:pt x="1177" y="1403"/>
                    </a:cubicBezTo>
                    <a:moveTo>
                      <a:pt x="1177" y="1403"/>
                    </a:moveTo>
                    <a:cubicBezTo>
                      <a:pt x="1175" y="1404"/>
                      <a:pt x="1177" y="1404"/>
                      <a:pt x="1177" y="1403"/>
                    </a:cubicBezTo>
                    <a:moveTo>
                      <a:pt x="1177" y="1403"/>
                    </a:moveTo>
                    <a:cubicBezTo>
                      <a:pt x="1178" y="1403"/>
                      <a:pt x="1178" y="1403"/>
                      <a:pt x="1178" y="1402"/>
                    </a:cubicBezTo>
                    <a:moveTo>
                      <a:pt x="1178" y="1402"/>
                    </a:moveTo>
                    <a:cubicBezTo>
                      <a:pt x="1205" y="1385"/>
                      <a:pt x="1229" y="1365"/>
                      <a:pt x="1252" y="1343"/>
                    </a:cubicBezTo>
                    <a:moveTo>
                      <a:pt x="1252" y="1343"/>
                    </a:moveTo>
                    <a:cubicBezTo>
                      <a:pt x="1252" y="1344"/>
                      <a:pt x="1253" y="1343"/>
                      <a:pt x="1253" y="1343"/>
                    </a:cubicBezTo>
                    <a:moveTo>
                      <a:pt x="1253" y="1343"/>
                    </a:moveTo>
                    <a:cubicBezTo>
                      <a:pt x="1253" y="1343"/>
                      <a:pt x="1253" y="1342"/>
                      <a:pt x="1254" y="1342"/>
                    </a:cubicBezTo>
                    <a:moveTo>
                      <a:pt x="1254" y="1342"/>
                    </a:moveTo>
                    <a:cubicBezTo>
                      <a:pt x="1254" y="1342"/>
                      <a:pt x="1254" y="1341"/>
                      <a:pt x="1254" y="1341"/>
                    </a:cubicBezTo>
                    <a:moveTo>
                      <a:pt x="1254" y="1341"/>
                    </a:moveTo>
                    <a:cubicBezTo>
                      <a:pt x="1256" y="1340"/>
                      <a:pt x="1254" y="1339"/>
                      <a:pt x="1254" y="1341"/>
                    </a:cubicBezTo>
                    <a:moveTo>
                      <a:pt x="1193" y="1348"/>
                    </a:moveTo>
                    <a:cubicBezTo>
                      <a:pt x="1193" y="1348"/>
                      <a:pt x="1194" y="1349"/>
                      <a:pt x="1193" y="1348"/>
                    </a:cubicBezTo>
                    <a:close/>
                    <a:moveTo>
                      <a:pt x="330" y="1369"/>
                    </a:moveTo>
                    <a:cubicBezTo>
                      <a:pt x="368" y="1393"/>
                      <a:pt x="409" y="1413"/>
                      <a:pt x="454" y="1429"/>
                    </a:cubicBezTo>
                    <a:cubicBezTo>
                      <a:pt x="444" y="1415"/>
                      <a:pt x="432" y="1403"/>
                      <a:pt x="423" y="1388"/>
                    </a:cubicBezTo>
                    <a:cubicBezTo>
                      <a:pt x="395" y="1370"/>
                      <a:pt x="360" y="1360"/>
                      <a:pt x="326" y="1349"/>
                    </a:cubicBezTo>
                    <a:cubicBezTo>
                      <a:pt x="327" y="1357"/>
                      <a:pt x="327" y="1364"/>
                      <a:pt x="330" y="1369"/>
                    </a:cubicBezTo>
                    <a:close/>
                    <a:moveTo>
                      <a:pt x="1151" y="1402"/>
                    </a:moveTo>
                    <a:cubicBezTo>
                      <a:pt x="1149" y="1403"/>
                      <a:pt x="1151" y="1403"/>
                      <a:pt x="1151" y="1402"/>
                    </a:cubicBezTo>
                    <a:moveTo>
                      <a:pt x="1151" y="1402"/>
                    </a:moveTo>
                    <a:cubicBezTo>
                      <a:pt x="1165" y="1397"/>
                      <a:pt x="1176" y="1388"/>
                      <a:pt x="1189" y="1382"/>
                    </a:cubicBezTo>
                    <a:cubicBezTo>
                      <a:pt x="1193" y="1373"/>
                      <a:pt x="1197" y="1363"/>
                      <a:pt x="1198" y="1350"/>
                    </a:cubicBezTo>
                    <a:cubicBezTo>
                      <a:pt x="1183" y="1365"/>
                      <a:pt x="1168" y="1386"/>
                      <a:pt x="1151" y="1402"/>
                    </a:cubicBezTo>
                    <a:moveTo>
                      <a:pt x="1191" y="1352"/>
                    </a:moveTo>
                    <a:cubicBezTo>
                      <a:pt x="1142" y="1377"/>
                      <a:pt x="1096" y="1406"/>
                      <a:pt x="1039" y="1424"/>
                    </a:cubicBezTo>
                    <a:cubicBezTo>
                      <a:pt x="1033" y="1434"/>
                      <a:pt x="1025" y="1443"/>
                      <a:pt x="1017" y="1452"/>
                    </a:cubicBezTo>
                    <a:moveTo>
                      <a:pt x="1017" y="1452"/>
                    </a:moveTo>
                    <a:cubicBezTo>
                      <a:pt x="1016" y="1453"/>
                      <a:pt x="1017" y="1453"/>
                      <a:pt x="1017" y="1452"/>
                    </a:cubicBezTo>
                    <a:moveTo>
                      <a:pt x="1017" y="1452"/>
                    </a:moveTo>
                    <a:cubicBezTo>
                      <a:pt x="1063" y="1442"/>
                      <a:pt x="1102" y="1425"/>
                      <a:pt x="1141" y="1408"/>
                    </a:cubicBezTo>
                    <a:cubicBezTo>
                      <a:pt x="1159" y="1390"/>
                      <a:pt x="1176" y="1372"/>
                      <a:pt x="1191" y="1352"/>
                    </a:cubicBezTo>
                    <a:moveTo>
                      <a:pt x="1191" y="1352"/>
                    </a:moveTo>
                    <a:cubicBezTo>
                      <a:pt x="1193" y="1352"/>
                      <a:pt x="1191" y="1351"/>
                      <a:pt x="1191" y="1352"/>
                    </a:cubicBezTo>
                    <a:moveTo>
                      <a:pt x="735" y="1356"/>
                    </a:moveTo>
                    <a:cubicBezTo>
                      <a:pt x="733" y="1373"/>
                      <a:pt x="736" y="1393"/>
                      <a:pt x="736" y="1411"/>
                    </a:cubicBezTo>
                    <a:cubicBezTo>
                      <a:pt x="746" y="1411"/>
                      <a:pt x="756" y="1411"/>
                      <a:pt x="766" y="1411"/>
                    </a:cubicBezTo>
                    <a:cubicBezTo>
                      <a:pt x="768" y="1393"/>
                      <a:pt x="768" y="1374"/>
                      <a:pt x="770" y="1356"/>
                    </a:cubicBezTo>
                    <a:cubicBezTo>
                      <a:pt x="758" y="1356"/>
                      <a:pt x="747" y="1356"/>
                      <a:pt x="735" y="1356"/>
                    </a:cubicBezTo>
                    <a:close/>
                    <a:moveTo>
                      <a:pt x="773" y="1356"/>
                    </a:moveTo>
                    <a:cubicBezTo>
                      <a:pt x="771" y="1374"/>
                      <a:pt x="770" y="1392"/>
                      <a:pt x="769" y="1411"/>
                    </a:cubicBezTo>
                    <a:cubicBezTo>
                      <a:pt x="779" y="1411"/>
                      <a:pt x="789" y="1411"/>
                      <a:pt x="799" y="1411"/>
                    </a:cubicBezTo>
                    <a:cubicBezTo>
                      <a:pt x="809" y="1394"/>
                      <a:pt x="817" y="1376"/>
                      <a:pt x="825" y="1359"/>
                    </a:cubicBezTo>
                    <a:cubicBezTo>
                      <a:pt x="807" y="1358"/>
                      <a:pt x="791" y="1356"/>
                      <a:pt x="773" y="1356"/>
                    </a:cubicBezTo>
                    <a:close/>
                    <a:moveTo>
                      <a:pt x="718" y="1358"/>
                    </a:moveTo>
                    <a:cubicBezTo>
                      <a:pt x="721" y="1371"/>
                      <a:pt x="728" y="1389"/>
                      <a:pt x="733" y="1403"/>
                    </a:cubicBezTo>
                    <a:cubicBezTo>
                      <a:pt x="732" y="1388"/>
                      <a:pt x="731" y="1373"/>
                      <a:pt x="731" y="1357"/>
                    </a:cubicBezTo>
                    <a:cubicBezTo>
                      <a:pt x="727" y="1357"/>
                      <a:pt x="721" y="1356"/>
                      <a:pt x="718" y="1358"/>
                    </a:cubicBezTo>
                    <a:close/>
                    <a:moveTo>
                      <a:pt x="664" y="1365"/>
                    </a:moveTo>
                    <a:cubicBezTo>
                      <a:pt x="673" y="1379"/>
                      <a:pt x="687" y="1397"/>
                      <a:pt x="701" y="1410"/>
                    </a:cubicBezTo>
                    <a:cubicBezTo>
                      <a:pt x="712" y="1408"/>
                      <a:pt x="723" y="1413"/>
                      <a:pt x="732" y="1410"/>
                    </a:cubicBezTo>
                    <a:cubicBezTo>
                      <a:pt x="724" y="1394"/>
                      <a:pt x="719" y="1376"/>
                      <a:pt x="713" y="1358"/>
                    </a:cubicBezTo>
                    <a:cubicBezTo>
                      <a:pt x="696" y="1359"/>
                      <a:pt x="679" y="1361"/>
                      <a:pt x="664" y="1365"/>
                    </a:cubicBezTo>
                    <a:close/>
                    <a:moveTo>
                      <a:pt x="1171" y="1359"/>
                    </a:moveTo>
                    <a:cubicBezTo>
                      <a:pt x="1137" y="1369"/>
                      <a:pt x="1101" y="1378"/>
                      <a:pt x="1064" y="1386"/>
                    </a:cubicBezTo>
                    <a:cubicBezTo>
                      <a:pt x="1058" y="1397"/>
                      <a:pt x="1050" y="1409"/>
                      <a:pt x="1043" y="1420"/>
                    </a:cubicBezTo>
                    <a:cubicBezTo>
                      <a:pt x="1090" y="1404"/>
                      <a:pt x="1132" y="1383"/>
                      <a:pt x="1171" y="1359"/>
                    </a:cubicBezTo>
                    <a:moveTo>
                      <a:pt x="1171" y="1359"/>
                    </a:moveTo>
                    <a:cubicBezTo>
                      <a:pt x="1172" y="1358"/>
                      <a:pt x="1171" y="1358"/>
                      <a:pt x="1171" y="1359"/>
                    </a:cubicBezTo>
                    <a:moveTo>
                      <a:pt x="827" y="1360"/>
                    </a:moveTo>
                    <a:cubicBezTo>
                      <a:pt x="820" y="1378"/>
                      <a:pt x="811" y="1394"/>
                      <a:pt x="802" y="1411"/>
                    </a:cubicBezTo>
                    <a:cubicBezTo>
                      <a:pt x="813" y="1409"/>
                      <a:pt x="828" y="1411"/>
                      <a:pt x="838" y="1409"/>
                    </a:cubicBezTo>
                    <a:cubicBezTo>
                      <a:pt x="847" y="1399"/>
                      <a:pt x="859" y="1388"/>
                      <a:pt x="868" y="1378"/>
                    </a:cubicBezTo>
                    <a:cubicBezTo>
                      <a:pt x="871" y="1375"/>
                      <a:pt x="876" y="1371"/>
                      <a:pt x="874" y="1367"/>
                    </a:cubicBezTo>
                    <a:cubicBezTo>
                      <a:pt x="860" y="1364"/>
                      <a:pt x="844" y="1361"/>
                      <a:pt x="827" y="1360"/>
                    </a:cubicBezTo>
                    <a:close/>
                    <a:moveTo>
                      <a:pt x="375" y="1363"/>
                    </a:moveTo>
                    <a:cubicBezTo>
                      <a:pt x="375" y="1362"/>
                      <a:pt x="376" y="1363"/>
                      <a:pt x="375" y="1363"/>
                    </a:cubicBezTo>
                    <a:close/>
                    <a:moveTo>
                      <a:pt x="618" y="1375"/>
                    </a:moveTo>
                    <a:cubicBezTo>
                      <a:pt x="621" y="1381"/>
                      <a:pt x="628" y="1387"/>
                      <a:pt x="635" y="1392"/>
                    </a:cubicBezTo>
                    <a:cubicBezTo>
                      <a:pt x="641" y="1397"/>
                      <a:pt x="650" y="1406"/>
                      <a:pt x="657" y="1408"/>
                    </a:cubicBezTo>
                    <a:cubicBezTo>
                      <a:pt x="669" y="1411"/>
                      <a:pt x="681" y="1407"/>
                      <a:pt x="695" y="1410"/>
                    </a:cubicBezTo>
                    <a:cubicBezTo>
                      <a:pt x="685" y="1397"/>
                      <a:pt x="672" y="1379"/>
                      <a:pt x="659" y="1366"/>
                    </a:cubicBezTo>
                    <a:cubicBezTo>
                      <a:pt x="644" y="1368"/>
                      <a:pt x="632" y="1372"/>
                      <a:pt x="618" y="1375"/>
                    </a:cubicBezTo>
                    <a:close/>
                    <a:moveTo>
                      <a:pt x="879" y="1368"/>
                    </a:moveTo>
                    <a:cubicBezTo>
                      <a:pt x="870" y="1379"/>
                      <a:pt x="860" y="1391"/>
                      <a:pt x="850" y="1400"/>
                    </a:cubicBezTo>
                    <a:cubicBezTo>
                      <a:pt x="848" y="1403"/>
                      <a:pt x="842" y="1405"/>
                      <a:pt x="844" y="1409"/>
                    </a:cubicBezTo>
                    <a:cubicBezTo>
                      <a:pt x="857" y="1409"/>
                      <a:pt x="870" y="1407"/>
                      <a:pt x="884" y="1407"/>
                    </a:cubicBezTo>
                    <a:cubicBezTo>
                      <a:pt x="892" y="1402"/>
                      <a:pt x="900" y="1396"/>
                      <a:pt x="908" y="1391"/>
                    </a:cubicBezTo>
                    <a:cubicBezTo>
                      <a:pt x="908" y="1385"/>
                      <a:pt x="910" y="1381"/>
                      <a:pt x="911" y="1377"/>
                    </a:cubicBezTo>
                    <a:cubicBezTo>
                      <a:pt x="900" y="1374"/>
                      <a:pt x="890" y="1371"/>
                      <a:pt x="879" y="1368"/>
                    </a:cubicBezTo>
                    <a:close/>
                    <a:moveTo>
                      <a:pt x="419" y="1382"/>
                    </a:moveTo>
                    <a:cubicBezTo>
                      <a:pt x="416" y="1375"/>
                      <a:pt x="405" y="1372"/>
                      <a:pt x="398" y="1372"/>
                    </a:cubicBezTo>
                    <a:cubicBezTo>
                      <a:pt x="405" y="1375"/>
                      <a:pt x="413" y="1382"/>
                      <a:pt x="419" y="1382"/>
                    </a:cubicBezTo>
                    <a:close/>
                    <a:moveTo>
                      <a:pt x="332" y="1374"/>
                    </a:moveTo>
                    <a:cubicBezTo>
                      <a:pt x="368" y="1419"/>
                      <a:pt x="423" y="1445"/>
                      <a:pt x="487" y="1461"/>
                    </a:cubicBezTo>
                    <a:moveTo>
                      <a:pt x="487" y="1461"/>
                    </a:moveTo>
                    <a:cubicBezTo>
                      <a:pt x="488" y="1462"/>
                      <a:pt x="489" y="1461"/>
                      <a:pt x="487" y="1461"/>
                    </a:cubicBezTo>
                    <a:moveTo>
                      <a:pt x="487" y="1461"/>
                    </a:moveTo>
                    <a:cubicBezTo>
                      <a:pt x="476" y="1454"/>
                      <a:pt x="470" y="1441"/>
                      <a:pt x="458" y="1434"/>
                    </a:cubicBezTo>
                    <a:cubicBezTo>
                      <a:pt x="438" y="1423"/>
                      <a:pt x="414" y="1417"/>
                      <a:pt x="392" y="1407"/>
                    </a:cubicBezTo>
                    <a:cubicBezTo>
                      <a:pt x="371" y="1397"/>
                      <a:pt x="351" y="1384"/>
                      <a:pt x="332" y="1374"/>
                    </a:cubicBezTo>
                    <a:moveTo>
                      <a:pt x="332" y="1374"/>
                    </a:moveTo>
                    <a:cubicBezTo>
                      <a:pt x="331" y="1373"/>
                      <a:pt x="331" y="1374"/>
                      <a:pt x="332" y="1374"/>
                    </a:cubicBezTo>
                    <a:moveTo>
                      <a:pt x="419" y="1377"/>
                    </a:moveTo>
                    <a:cubicBezTo>
                      <a:pt x="420" y="1381"/>
                      <a:pt x="424" y="1383"/>
                      <a:pt x="425" y="1387"/>
                    </a:cubicBezTo>
                    <a:cubicBezTo>
                      <a:pt x="461" y="1403"/>
                      <a:pt x="496" y="1420"/>
                      <a:pt x="536" y="1431"/>
                    </a:cubicBezTo>
                    <a:cubicBezTo>
                      <a:pt x="537" y="1422"/>
                      <a:pt x="546" y="1417"/>
                      <a:pt x="546" y="1411"/>
                    </a:cubicBezTo>
                    <a:cubicBezTo>
                      <a:pt x="533" y="1406"/>
                      <a:pt x="522" y="1401"/>
                      <a:pt x="511" y="1394"/>
                    </a:cubicBezTo>
                    <a:cubicBezTo>
                      <a:pt x="479" y="1390"/>
                      <a:pt x="450" y="1383"/>
                      <a:pt x="419" y="1377"/>
                    </a:cubicBezTo>
                    <a:moveTo>
                      <a:pt x="419" y="1377"/>
                    </a:moveTo>
                    <a:cubicBezTo>
                      <a:pt x="419" y="1376"/>
                      <a:pt x="418" y="1377"/>
                      <a:pt x="419" y="1377"/>
                    </a:cubicBezTo>
                    <a:moveTo>
                      <a:pt x="612" y="1377"/>
                    </a:moveTo>
                    <a:cubicBezTo>
                      <a:pt x="601" y="1382"/>
                      <a:pt x="588" y="1386"/>
                      <a:pt x="579" y="1392"/>
                    </a:cubicBezTo>
                    <a:cubicBezTo>
                      <a:pt x="593" y="1405"/>
                      <a:pt x="625" y="1407"/>
                      <a:pt x="650" y="1406"/>
                    </a:cubicBezTo>
                    <a:cubicBezTo>
                      <a:pt x="636" y="1397"/>
                      <a:pt x="626" y="1386"/>
                      <a:pt x="612" y="1377"/>
                    </a:cubicBezTo>
                    <a:close/>
                    <a:moveTo>
                      <a:pt x="914" y="1387"/>
                    </a:moveTo>
                    <a:cubicBezTo>
                      <a:pt x="915" y="1384"/>
                      <a:pt x="920" y="1384"/>
                      <a:pt x="920" y="1380"/>
                    </a:cubicBezTo>
                    <a:cubicBezTo>
                      <a:pt x="917" y="1380"/>
                      <a:pt x="917" y="1378"/>
                      <a:pt x="914" y="1379"/>
                    </a:cubicBezTo>
                    <a:cubicBezTo>
                      <a:pt x="915" y="1382"/>
                      <a:pt x="911" y="1385"/>
                      <a:pt x="914" y="1387"/>
                    </a:cubicBezTo>
                    <a:close/>
                    <a:moveTo>
                      <a:pt x="1062" y="1382"/>
                    </a:moveTo>
                    <a:cubicBezTo>
                      <a:pt x="1061" y="1382"/>
                      <a:pt x="1059" y="1383"/>
                      <a:pt x="1059" y="1384"/>
                    </a:cubicBezTo>
                    <a:cubicBezTo>
                      <a:pt x="1061" y="1384"/>
                      <a:pt x="1062" y="1384"/>
                      <a:pt x="1062" y="1382"/>
                    </a:cubicBezTo>
                    <a:moveTo>
                      <a:pt x="1062" y="1382"/>
                    </a:moveTo>
                    <a:cubicBezTo>
                      <a:pt x="1064" y="1381"/>
                      <a:pt x="1062" y="1381"/>
                      <a:pt x="1062" y="1382"/>
                    </a:cubicBezTo>
                    <a:moveTo>
                      <a:pt x="911" y="1391"/>
                    </a:moveTo>
                    <a:cubicBezTo>
                      <a:pt x="911" y="1397"/>
                      <a:pt x="908" y="1400"/>
                      <a:pt x="908" y="1405"/>
                    </a:cubicBezTo>
                    <a:cubicBezTo>
                      <a:pt x="923" y="1401"/>
                      <a:pt x="944" y="1404"/>
                      <a:pt x="956" y="1397"/>
                    </a:cubicBezTo>
                    <a:cubicBezTo>
                      <a:pt x="941" y="1391"/>
                      <a:pt x="923" y="1374"/>
                      <a:pt x="911" y="1391"/>
                    </a:cubicBezTo>
                    <a:close/>
                    <a:moveTo>
                      <a:pt x="339" y="1387"/>
                    </a:moveTo>
                    <a:cubicBezTo>
                      <a:pt x="338" y="1387"/>
                      <a:pt x="339" y="1388"/>
                      <a:pt x="340" y="1388"/>
                    </a:cubicBezTo>
                    <a:moveTo>
                      <a:pt x="340" y="1388"/>
                    </a:moveTo>
                    <a:cubicBezTo>
                      <a:pt x="346" y="1400"/>
                      <a:pt x="356" y="1408"/>
                      <a:pt x="369" y="1414"/>
                    </a:cubicBezTo>
                    <a:moveTo>
                      <a:pt x="369" y="1414"/>
                    </a:moveTo>
                    <a:cubicBezTo>
                      <a:pt x="369" y="1414"/>
                      <a:pt x="371" y="1414"/>
                      <a:pt x="371" y="1415"/>
                    </a:cubicBezTo>
                    <a:moveTo>
                      <a:pt x="371" y="1415"/>
                    </a:moveTo>
                    <a:cubicBezTo>
                      <a:pt x="372" y="1416"/>
                      <a:pt x="372" y="1414"/>
                      <a:pt x="371" y="1415"/>
                    </a:cubicBezTo>
                    <a:moveTo>
                      <a:pt x="371" y="1415"/>
                    </a:moveTo>
                    <a:cubicBezTo>
                      <a:pt x="371" y="1414"/>
                      <a:pt x="370" y="1414"/>
                      <a:pt x="369" y="1414"/>
                    </a:cubicBezTo>
                    <a:moveTo>
                      <a:pt x="369" y="1414"/>
                    </a:moveTo>
                    <a:cubicBezTo>
                      <a:pt x="360" y="1405"/>
                      <a:pt x="349" y="1396"/>
                      <a:pt x="340" y="1388"/>
                    </a:cubicBezTo>
                    <a:moveTo>
                      <a:pt x="340" y="1388"/>
                    </a:moveTo>
                    <a:cubicBezTo>
                      <a:pt x="340" y="1387"/>
                      <a:pt x="339" y="1387"/>
                      <a:pt x="339" y="1387"/>
                    </a:cubicBezTo>
                    <a:moveTo>
                      <a:pt x="339" y="1387"/>
                    </a:moveTo>
                    <a:cubicBezTo>
                      <a:pt x="338" y="1385"/>
                      <a:pt x="337" y="1387"/>
                      <a:pt x="339" y="1387"/>
                    </a:cubicBezTo>
                    <a:moveTo>
                      <a:pt x="567" y="1396"/>
                    </a:moveTo>
                    <a:cubicBezTo>
                      <a:pt x="568" y="1393"/>
                      <a:pt x="572" y="1394"/>
                      <a:pt x="573" y="1391"/>
                    </a:cubicBezTo>
                    <a:cubicBezTo>
                      <a:pt x="570" y="1390"/>
                      <a:pt x="566" y="1388"/>
                      <a:pt x="563" y="1386"/>
                    </a:cubicBezTo>
                    <a:cubicBezTo>
                      <a:pt x="564" y="1390"/>
                      <a:pt x="565" y="1394"/>
                      <a:pt x="567" y="1396"/>
                    </a:cubicBezTo>
                    <a:close/>
                    <a:moveTo>
                      <a:pt x="982" y="1419"/>
                    </a:moveTo>
                    <a:cubicBezTo>
                      <a:pt x="986" y="1424"/>
                      <a:pt x="989" y="1430"/>
                      <a:pt x="989" y="1439"/>
                    </a:cubicBezTo>
                    <a:cubicBezTo>
                      <a:pt x="1006" y="1434"/>
                      <a:pt x="1021" y="1428"/>
                      <a:pt x="1038" y="1423"/>
                    </a:cubicBezTo>
                    <a:cubicBezTo>
                      <a:pt x="1040" y="1417"/>
                      <a:pt x="1046" y="1411"/>
                      <a:pt x="1050" y="1405"/>
                    </a:cubicBezTo>
                    <a:cubicBezTo>
                      <a:pt x="1054" y="1399"/>
                      <a:pt x="1059" y="1390"/>
                      <a:pt x="1059" y="1387"/>
                    </a:cubicBezTo>
                    <a:cubicBezTo>
                      <a:pt x="1030" y="1395"/>
                      <a:pt x="1008" y="1409"/>
                      <a:pt x="982" y="1419"/>
                    </a:cubicBezTo>
                    <a:close/>
                    <a:moveTo>
                      <a:pt x="1184" y="1388"/>
                    </a:moveTo>
                    <a:cubicBezTo>
                      <a:pt x="1153" y="1402"/>
                      <a:pt x="1127" y="1421"/>
                      <a:pt x="1103" y="1442"/>
                    </a:cubicBezTo>
                    <a:moveTo>
                      <a:pt x="1103" y="1442"/>
                    </a:moveTo>
                    <a:cubicBezTo>
                      <a:pt x="1102" y="1442"/>
                      <a:pt x="1101" y="1443"/>
                      <a:pt x="1101" y="1443"/>
                    </a:cubicBezTo>
                    <a:moveTo>
                      <a:pt x="1101" y="1443"/>
                    </a:moveTo>
                    <a:cubicBezTo>
                      <a:pt x="1099" y="1444"/>
                      <a:pt x="1101" y="1444"/>
                      <a:pt x="1101" y="1443"/>
                    </a:cubicBezTo>
                    <a:moveTo>
                      <a:pt x="1101" y="1443"/>
                    </a:moveTo>
                    <a:cubicBezTo>
                      <a:pt x="1102" y="1443"/>
                      <a:pt x="1103" y="1443"/>
                      <a:pt x="1103" y="1442"/>
                    </a:cubicBezTo>
                    <a:moveTo>
                      <a:pt x="1103" y="1442"/>
                    </a:moveTo>
                    <a:cubicBezTo>
                      <a:pt x="1134" y="1428"/>
                      <a:pt x="1167" y="1416"/>
                      <a:pt x="1184" y="1388"/>
                    </a:cubicBezTo>
                    <a:moveTo>
                      <a:pt x="1184" y="1388"/>
                    </a:moveTo>
                    <a:cubicBezTo>
                      <a:pt x="1186" y="1387"/>
                      <a:pt x="1184" y="1386"/>
                      <a:pt x="1184" y="1388"/>
                    </a:cubicBezTo>
                    <a:moveTo>
                      <a:pt x="429" y="1391"/>
                    </a:moveTo>
                    <a:cubicBezTo>
                      <a:pt x="438" y="1406"/>
                      <a:pt x="450" y="1419"/>
                      <a:pt x="461" y="1432"/>
                    </a:cubicBezTo>
                    <a:cubicBezTo>
                      <a:pt x="485" y="1439"/>
                      <a:pt x="511" y="1450"/>
                      <a:pt x="537" y="1452"/>
                    </a:cubicBezTo>
                    <a:cubicBezTo>
                      <a:pt x="534" y="1448"/>
                      <a:pt x="536" y="1440"/>
                      <a:pt x="535" y="1434"/>
                    </a:cubicBezTo>
                    <a:cubicBezTo>
                      <a:pt x="497" y="1422"/>
                      <a:pt x="463" y="1407"/>
                      <a:pt x="429" y="1391"/>
                    </a:cubicBezTo>
                    <a:moveTo>
                      <a:pt x="429" y="1391"/>
                    </a:moveTo>
                    <a:cubicBezTo>
                      <a:pt x="428" y="1390"/>
                      <a:pt x="428" y="1392"/>
                      <a:pt x="429" y="1391"/>
                    </a:cubicBezTo>
                    <a:moveTo>
                      <a:pt x="966" y="1402"/>
                    </a:moveTo>
                    <a:cubicBezTo>
                      <a:pt x="971" y="1406"/>
                      <a:pt x="976" y="1410"/>
                      <a:pt x="980" y="1416"/>
                    </a:cubicBezTo>
                    <a:cubicBezTo>
                      <a:pt x="1001" y="1409"/>
                      <a:pt x="1020" y="1400"/>
                      <a:pt x="1038" y="1391"/>
                    </a:cubicBezTo>
                    <a:cubicBezTo>
                      <a:pt x="1015" y="1395"/>
                      <a:pt x="989" y="1397"/>
                      <a:pt x="966" y="1402"/>
                    </a:cubicBezTo>
                    <a:close/>
                    <a:moveTo>
                      <a:pt x="567" y="1399"/>
                    </a:moveTo>
                    <a:cubicBezTo>
                      <a:pt x="573" y="1400"/>
                      <a:pt x="584" y="1403"/>
                      <a:pt x="589" y="1401"/>
                    </a:cubicBezTo>
                    <a:cubicBezTo>
                      <a:pt x="581" y="1397"/>
                      <a:pt x="574" y="1390"/>
                      <a:pt x="567" y="1399"/>
                    </a:cubicBezTo>
                    <a:close/>
                    <a:moveTo>
                      <a:pt x="891" y="1406"/>
                    </a:moveTo>
                    <a:cubicBezTo>
                      <a:pt x="896" y="1407"/>
                      <a:pt x="899" y="1404"/>
                      <a:pt x="904" y="1405"/>
                    </a:cubicBezTo>
                    <a:cubicBezTo>
                      <a:pt x="903" y="1401"/>
                      <a:pt x="907" y="1397"/>
                      <a:pt x="905" y="1395"/>
                    </a:cubicBezTo>
                    <a:cubicBezTo>
                      <a:pt x="901" y="1399"/>
                      <a:pt x="895" y="1402"/>
                      <a:pt x="891" y="1406"/>
                    </a:cubicBezTo>
                    <a:close/>
                    <a:moveTo>
                      <a:pt x="548" y="1410"/>
                    </a:moveTo>
                    <a:cubicBezTo>
                      <a:pt x="552" y="1408"/>
                      <a:pt x="555" y="1404"/>
                      <a:pt x="558" y="1401"/>
                    </a:cubicBezTo>
                    <a:cubicBezTo>
                      <a:pt x="546" y="1401"/>
                      <a:pt x="532" y="1396"/>
                      <a:pt x="521" y="1397"/>
                    </a:cubicBezTo>
                    <a:cubicBezTo>
                      <a:pt x="530" y="1401"/>
                      <a:pt x="539" y="1405"/>
                      <a:pt x="548" y="1410"/>
                    </a:cubicBezTo>
                    <a:close/>
                    <a:moveTo>
                      <a:pt x="552" y="1412"/>
                    </a:moveTo>
                    <a:cubicBezTo>
                      <a:pt x="559" y="1414"/>
                      <a:pt x="565" y="1417"/>
                      <a:pt x="572" y="1419"/>
                    </a:cubicBezTo>
                    <a:cubicBezTo>
                      <a:pt x="571" y="1413"/>
                      <a:pt x="567" y="1409"/>
                      <a:pt x="566" y="1402"/>
                    </a:cubicBezTo>
                    <a:cubicBezTo>
                      <a:pt x="558" y="1402"/>
                      <a:pt x="556" y="1408"/>
                      <a:pt x="552" y="1412"/>
                    </a:cubicBezTo>
                    <a:close/>
                    <a:moveTo>
                      <a:pt x="950" y="1403"/>
                    </a:moveTo>
                    <a:cubicBezTo>
                      <a:pt x="936" y="1407"/>
                      <a:pt x="915" y="1424"/>
                      <a:pt x="901" y="1427"/>
                    </a:cubicBezTo>
                    <a:cubicBezTo>
                      <a:pt x="899" y="1433"/>
                      <a:pt x="898" y="1439"/>
                      <a:pt x="895" y="1444"/>
                    </a:cubicBezTo>
                    <a:cubicBezTo>
                      <a:pt x="925" y="1438"/>
                      <a:pt x="950" y="1427"/>
                      <a:pt x="977" y="1418"/>
                    </a:cubicBezTo>
                    <a:cubicBezTo>
                      <a:pt x="971" y="1409"/>
                      <a:pt x="964" y="1399"/>
                      <a:pt x="950" y="1403"/>
                    </a:cubicBezTo>
                    <a:close/>
                    <a:moveTo>
                      <a:pt x="576" y="1421"/>
                    </a:moveTo>
                    <a:cubicBezTo>
                      <a:pt x="625" y="1439"/>
                      <a:pt x="678" y="1457"/>
                      <a:pt x="736" y="1463"/>
                    </a:cubicBezTo>
                    <a:cubicBezTo>
                      <a:pt x="684" y="1449"/>
                      <a:pt x="638" y="1429"/>
                      <a:pt x="596" y="1405"/>
                    </a:cubicBezTo>
                    <a:cubicBezTo>
                      <a:pt x="586" y="1405"/>
                      <a:pt x="579" y="1403"/>
                      <a:pt x="569" y="1403"/>
                    </a:cubicBezTo>
                    <a:cubicBezTo>
                      <a:pt x="571" y="1409"/>
                      <a:pt x="574" y="1415"/>
                      <a:pt x="576" y="1421"/>
                    </a:cubicBezTo>
                    <a:close/>
                    <a:moveTo>
                      <a:pt x="908" y="1407"/>
                    </a:moveTo>
                    <a:cubicBezTo>
                      <a:pt x="905" y="1412"/>
                      <a:pt x="905" y="1418"/>
                      <a:pt x="902" y="1423"/>
                    </a:cubicBezTo>
                    <a:cubicBezTo>
                      <a:pt x="917" y="1418"/>
                      <a:pt x="930" y="1411"/>
                      <a:pt x="942" y="1404"/>
                    </a:cubicBezTo>
                    <a:cubicBezTo>
                      <a:pt x="931" y="1405"/>
                      <a:pt x="920" y="1407"/>
                      <a:pt x="908" y="1407"/>
                    </a:cubicBezTo>
                    <a:close/>
                    <a:moveTo>
                      <a:pt x="606" y="1407"/>
                    </a:moveTo>
                    <a:cubicBezTo>
                      <a:pt x="645" y="1429"/>
                      <a:pt x="691" y="1449"/>
                      <a:pt x="737" y="1461"/>
                    </a:cubicBezTo>
                    <a:cubicBezTo>
                      <a:pt x="716" y="1449"/>
                      <a:pt x="695" y="1437"/>
                      <a:pt x="674" y="1423"/>
                    </a:cubicBezTo>
                    <a:cubicBezTo>
                      <a:pt x="667" y="1419"/>
                      <a:pt x="660" y="1411"/>
                      <a:pt x="654" y="1410"/>
                    </a:cubicBezTo>
                    <a:cubicBezTo>
                      <a:pt x="638" y="1406"/>
                      <a:pt x="624" y="1410"/>
                      <a:pt x="606" y="1407"/>
                    </a:cubicBezTo>
                    <a:moveTo>
                      <a:pt x="606" y="1407"/>
                    </a:moveTo>
                    <a:cubicBezTo>
                      <a:pt x="605" y="1404"/>
                      <a:pt x="602" y="1408"/>
                      <a:pt x="606" y="1407"/>
                    </a:cubicBezTo>
                    <a:moveTo>
                      <a:pt x="886" y="1409"/>
                    </a:moveTo>
                    <a:cubicBezTo>
                      <a:pt x="854" y="1430"/>
                      <a:pt x="820" y="1448"/>
                      <a:pt x="783" y="1463"/>
                    </a:cubicBezTo>
                    <a:cubicBezTo>
                      <a:pt x="824" y="1454"/>
                      <a:pt x="862" y="1441"/>
                      <a:pt x="897" y="1426"/>
                    </a:cubicBezTo>
                    <a:cubicBezTo>
                      <a:pt x="899" y="1420"/>
                      <a:pt x="901" y="1413"/>
                      <a:pt x="903" y="1408"/>
                    </a:cubicBezTo>
                    <a:cubicBezTo>
                      <a:pt x="897" y="1407"/>
                      <a:pt x="893" y="1410"/>
                      <a:pt x="886" y="1409"/>
                    </a:cubicBezTo>
                    <a:close/>
                    <a:moveTo>
                      <a:pt x="839" y="1412"/>
                    </a:moveTo>
                    <a:cubicBezTo>
                      <a:pt x="819" y="1430"/>
                      <a:pt x="798" y="1447"/>
                      <a:pt x="776" y="1463"/>
                    </a:cubicBezTo>
                    <a:cubicBezTo>
                      <a:pt x="814" y="1448"/>
                      <a:pt x="848" y="1430"/>
                      <a:pt x="879" y="1410"/>
                    </a:cubicBezTo>
                    <a:cubicBezTo>
                      <a:pt x="865" y="1410"/>
                      <a:pt x="853" y="1412"/>
                      <a:pt x="839" y="1412"/>
                    </a:cubicBezTo>
                    <a:close/>
                    <a:moveTo>
                      <a:pt x="736" y="1456"/>
                    </a:moveTo>
                    <a:cubicBezTo>
                      <a:pt x="735" y="1447"/>
                      <a:pt x="725" y="1440"/>
                      <a:pt x="718" y="1433"/>
                    </a:cubicBezTo>
                    <a:cubicBezTo>
                      <a:pt x="712" y="1427"/>
                      <a:pt x="704" y="1415"/>
                      <a:pt x="697" y="1413"/>
                    </a:cubicBezTo>
                    <a:cubicBezTo>
                      <a:pt x="687" y="1409"/>
                      <a:pt x="674" y="1412"/>
                      <a:pt x="661" y="1412"/>
                    </a:cubicBezTo>
                    <a:cubicBezTo>
                      <a:pt x="685" y="1428"/>
                      <a:pt x="708" y="1444"/>
                      <a:pt x="736" y="1456"/>
                    </a:cubicBezTo>
                    <a:close/>
                    <a:moveTo>
                      <a:pt x="770" y="1463"/>
                    </a:moveTo>
                    <a:cubicBezTo>
                      <a:pt x="769" y="1462"/>
                      <a:pt x="769" y="1463"/>
                      <a:pt x="769" y="1463"/>
                    </a:cubicBezTo>
                    <a:moveTo>
                      <a:pt x="769" y="1463"/>
                    </a:moveTo>
                    <a:cubicBezTo>
                      <a:pt x="767" y="1464"/>
                      <a:pt x="769" y="1465"/>
                      <a:pt x="769" y="1463"/>
                    </a:cubicBezTo>
                    <a:moveTo>
                      <a:pt x="769" y="1463"/>
                    </a:moveTo>
                    <a:cubicBezTo>
                      <a:pt x="770" y="1464"/>
                      <a:pt x="770" y="1463"/>
                      <a:pt x="770" y="1463"/>
                    </a:cubicBezTo>
                    <a:moveTo>
                      <a:pt x="770" y="1463"/>
                    </a:moveTo>
                    <a:cubicBezTo>
                      <a:pt x="789" y="1450"/>
                      <a:pt x="811" y="1435"/>
                      <a:pt x="828" y="1418"/>
                    </a:cubicBezTo>
                    <a:cubicBezTo>
                      <a:pt x="830" y="1417"/>
                      <a:pt x="834" y="1414"/>
                      <a:pt x="832" y="1412"/>
                    </a:cubicBezTo>
                    <a:cubicBezTo>
                      <a:pt x="824" y="1414"/>
                      <a:pt x="811" y="1412"/>
                      <a:pt x="801" y="1413"/>
                    </a:cubicBezTo>
                    <a:cubicBezTo>
                      <a:pt x="792" y="1430"/>
                      <a:pt x="781" y="1446"/>
                      <a:pt x="770" y="1463"/>
                    </a:cubicBezTo>
                    <a:moveTo>
                      <a:pt x="735" y="1445"/>
                    </a:moveTo>
                    <a:cubicBezTo>
                      <a:pt x="735" y="1434"/>
                      <a:pt x="734" y="1424"/>
                      <a:pt x="733" y="1414"/>
                    </a:cubicBezTo>
                    <a:cubicBezTo>
                      <a:pt x="724" y="1414"/>
                      <a:pt x="712" y="1411"/>
                      <a:pt x="702" y="1414"/>
                    </a:cubicBezTo>
                    <a:cubicBezTo>
                      <a:pt x="713" y="1424"/>
                      <a:pt x="723" y="1436"/>
                      <a:pt x="735" y="1445"/>
                    </a:cubicBezTo>
                    <a:close/>
                    <a:moveTo>
                      <a:pt x="574" y="1423"/>
                    </a:moveTo>
                    <a:cubicBezTo>
                      <a:pt x="566" y="1420"/>
                      <a:pt x="558" y="1416"/>
                      <a:pt x="549" y="1414"/>
                    </a:cubicBezTo>
                    <a:cubicBezTo>
                      <a:pt x="545" y="1420"/>
                      <a:pt x="540" y="1423"/>
                      <a:pt x="539" y="1433"/>
                    </a:cubicBezTo>
                    <a:cubicBezTo>
                      <a:pt x="554" y="1436"/>
                      <a:pt x="571" y="1443"/>
                      <a:pt x="584" y="1444"/>
                    </a:cubicBezTo>
                    <a:cubicBezTo>
                      <a:pt x="580" y="1438"/>
                      <a:pt x="578" y="1430"/>
                      <a:pt x="574" y="1423"/>
                    </a:cubicBezTo>
                    <a:close/>
                    <a:moveTo>
                      <a:pt x="761" y="1463"/>
                    </a:moveTo>
                    <a:cubicBezTo>
                      <a:pt x="763" y="1448"/>
                      <a:pt x="764" y="1430"/>
                      <a:pt x="766" y="1414"/>
                    </a:cubicBezTo>
                    <a:cubicBezTo>
                      <a:pt x="757" y="1414"/>
                      <a:pt x="745" y="1412"/>
                      <a:pt x="737" y="1415"/>
                    </a:cubicBezTo>
                    <a:cubicBezTo>
                      <a:pt x="745" y="1431"/>
                      <a:pt x="752" y="1449"/>
                      <a:pt x="761" y="1463"/>
                    </a:cubicBezTo>
                    <a:close/>
                    <a:moveTo>
                      <a:pt x="765" y="1464"/>
                    </a:moveTo>
                    <a:cubicBezTo>
                      <a:pt x="776" y="1448"/>
                      <a:pt x="788" y="1432"/>
                      <a:pt x="798" y="1414"/>
                    </a:cubicBezTo>
                    <a:cubicBezTo>
                      <a:pt x="788" y="1414"/>
                      <a:pt x="778" y="1414"/>
                      <a:pt x="768" y="1414"/>
                    </a:cubicBezTo>
                    <a:cubicBezTo>
                      <a:pt x="768" y="1431"/>
                      <a:pt x="764" y="1449"/>
                      <a:pt x="765" y="1464"/>
                    </a:cubicBezTo>
                    <a:close/>
                    <a:moveTo>
                      <a:pt x="366" y="1415"/>
                    </a:moveTo>
                    <a:cubicBezTo>
                      <a:pt x="366" y="1416"/>
                      <a:pt x="367" y="1416"/>
                      <a:pt x="367" y="1416"/>
                    </a:cubicBezTo>
                    <a:moveTo>
                      <a:pt x="367" y="1416"/>
                    </a:moveTo>
                    <a:cubicBezTo>
                      <a:pt x="382" y="1430"/>
                      <a:pt x="403" y="1442"/>
                      <a:pt x="422" y="1448"/>
                    </a:cubicBezTo>
                    <a:cubicBezTo>
                      <a:pt x="403" y="1438"/>
                      <a:pt x="388" y="1425"/>
                      <a:pt x="367" y="1416"/>
                    </a:cubicBezTo>
                    <a:moveTo>
                      <a:pt x="367" y="1416"/>
                    </a:moveTo>
                    <a:cubicBezTo>
                      <a:pt x="367" y="1416"/>
                      <a:pt x="366" y="1416"/>
                      <a:pt x="366" y="1415"/>
                    </a:cubicBezTo>
                    <a:moveTo>
                      <a:pt x="366" y="1415"/>
                    </a:moveTo>
                    <a:cubicBezTo>
                      <a:pt x="365" y="1414"/>
                      <a:pt x="364" y="1416"/>
                      <a:pt x="366" y="1415"/>
                    </a:cubicBezTo>
                    <a:moveTo>
                      <a:pt x="1132" y="1415"/>
                    </a:moveTo>
                    <a:cubicBezTo>
                      <a:pt x="1094" y="1431"/>
                      <a:pt x="1057" y="1446"/>
                      <a:pt x="1014" y="1456"/>
                    </a:cubicBezTo>
                    <a:cubicBezTo>
                      <a:pt x="1007" y="1463"/>
                      <a:pt x="999" y="1470"/>
                      <a:pt x="991" y="1477"/>
                    </a:cubicBezTo>
                    <a:cubicBezTo>
                      <a:pt x="1048" y="1467"/>
                      <a:pt x="1099" y="1450"/>
                      <a:pt x="1132" y="1415"/>
                    </a:cubicBezTo>
                    <a:moveTo>
                      <a:pt x="1132" y="1415"/>
                    </a:moveTo>
                    <a:cubicBezTo>
                      <a:pt x="1133" y="1415"/>
                      <a:pt x="1132" y="1414"/>
                      <a:pt x="1132" y="1415"/>
                    </a:cubicBezTo>
                    <a:moveTo>
                      <a:pt x="979" y="1419"/>
                    </a:moveTo>
                    <a:cubicBezTo>
                      <a:pt x="953" y="1430"/>
                      <a:pt x="925" y="1440"/>
                      <a:pt x="894" y="1447"/>
                    </a:cubicBezTo>
                    <a:cubicBezTo>
                      <a:pt x="893" y="1451"/>
                      <a:pt x="891" y="1455"/>
                      <a:pt x="890" y="1460"/>
                    </a:cubicBezTo>
                    <a:cubicBezTo>
                      <a:pt x="924" y="1455"/>
                      <a:pt x="955" y="1447"/>
                      <a:pt x="987" y="1439"/>
                    </a:cubicBezTo>
                    <a:cubicBezTo>
                      <a:pt x="986" y="1431"/>
                      <a:pt x="983" y="1424"/>
                      <a:pt x="979" y="1419"/>
                    </a:cubicBezTo>
                    <a:close/>
                    <a:moveTo>
                      <a:pt x="755" y="1463"/>
                    </a:moveTo>
                    <a:cubicBezTo>
                      <a:pt x="756" y="1464"/>
                      <a:pt x="756" y="1462"/>
                      <a:pt x="755" y="1463"/>
                    </a:cubicBezTo>
                    <a:moveTo>
                      <a:pt x="755" y="1463"/>
                    </a:moveTo>
                    <a:cubicBezTo>
                      <a:pt x="749" y="1449"/>
                      <a:pt x="743" y="1437"/>
                      <a:pt x="737" y="1424"/>
                    </a:cubicBezTo>
                    <a:cubicBezTo>
                      <a:pt x="736" y="1433"/>
                      <a:pt x="739" y="1439"/>
                      <a:pt x="738" y="1448"/>
                    </a:cubicBezTo>
                    <a:cubicBezTo>
                      <a:pt x="743" y="1453"/>
                      <a:pt x="749" y="1458"/>
                      <a:pt x="755" y="1463"/>
                    </a:cubicBezTo>
                    <a:moveTo>
                      <a:pt x="587" y="1446"/>
                    </a:moveTo>
                    <a:cubicBezTo>
                      <a:pt x="632" y="1456"/>
                      <a:pt x="682" y="1466"/>
                      <a:pt x="733" y="1466"/>
                    </a:cubicBezTo>
                    <a:cubicBezTo>
                      <a:pt x="676" y="1459"/>
                      <a:pt x="625" y="1440"/>
                      <a:pt x="578" y="1426"/>
                    </a:cubicBezTo>
                    <a:cubicBezTo>
                      <a:pt x="582" y="1432"/>
                      <a:pt x="584" y="1439"/>
                      <a:pt x="587" y="1446"/>
                    </a:cubicBezTo>
                    <a:close/>
                    <a:moveTo>
                      <a:pt x="1034" y="1427"/>
                    </a:moveTo>
                    <a:cubicBezTo>
                      <a:pt x="1019" y="1432"/>
                      <a:pt x="1004" y="1437"/>
                      <a:pt x="989" y="1441"/>
                    </a:cubicBezTo>
                    <a:cubicBezTo>
                      <a:pt x="989" y="1450"/>
                      <a:pt x="986" y="1454"/>
                      <a:pt x="984" y="1460"/>
                    </a:cubicBezTo>
                    <a:moveTo>
                      <a:pt x="984" y="1460"/>
                    </a:moveTo>
                    <a:cubicBezTo>
                      <a:pt x="982" y="1460"/>
                      <a:pt x="984" y="1461"/>
                      <a:pt x="984" y="1460"/>
                    </a:cubicBezTo>
                    <a:moveTo>
                      <a:pt x="984" y="1460"/>
                    </a:moveTo>
                    <a:cubicBezTo>
                      <a:pt x="994" y="1459"/>
                      <a:pt x="1001" y="1456"/>
                      <a:pt x="1011" y="1455"/>
                    </a:cubicBezTo>
                    <a:cubicBezTo>
                      <a:pt x="1019" y="1446"/>
                      <a:pt x="1027" y="1437"/>
                      <a:pt x="1034" y="1427"/>
                    </a:cubicBezTo>
                    <a:moveTo>
                      <a:pt x="1034" y="1427"/>
                    </a:moveTo>
                    <a:cubicBezTo>
                      <a:pt x="1035" y="1426"/>
                      <a:pt x="1034" y="1426"/>
                      <a:pt x="1034" y="1427"/>
                    </a:cubicBezTo>
                    <a:moveTo>
                      <a:pt x="1141" y="1428"/>
                    </a:moveTo>
                    <a:cubicBezTo>
                      <a:pt x="1141" y="1428"/>
                      <a:pt x="1142" y="1429"/>
                      <a:pt x="1141" y="1428"/>
                    </a:cubicBezTo>
                    <a:close/>
                    <a:moveTo>
                      <a:pt x="1139" y="1429"/>
                    </a:moveTo>
                    <a:cubicBezTo>
                      <a:pt x="1138" y="1429"/>
                      <a:pt x="1138" y="1429"/>
                      <a:pt x="1137" y="1430"/>
                    </a:cubicBezTo>
                    <a:moveTo>
                      <a:pt x="1137" y="1430"/>
                    </a:moveTo>
                    <a:cubicBezTo>
                      <a:pt x="1136" y="1430"/>
                      <a:pt x="1136" y="1430"/>
                      <a:pt x="1135" y="1431"/>
                    </a:cubicBezTo>
                    <a:moveTo>
                      <a:pt x="1135" y="1431"/>
                    </a:moveTo>
                    <a:cubicBezTo>
                      <a:pt x="1116" y="1441"/>
                      <a:pt x="1092" y="1448"/>
                      <a:pt x="1074" y="1461"/>
                    </a:cubicBezTo>
                    <a:cubicBezTo>
                      <a:pt x="1096" y="1452"/>
                      <a:pt x="1118" y="1443"/>
                      <a:pt x="1135" y="1431"/>
                    </a:cubicBezTo>
                    <a:moveTo>
                      <a:pt x="1135" y="1431"/>
                    </a:moveTo>
                    <a:cubicBezTo>
                      <a:pt x="1137" y="1431"/>
                      <a:pt x="1137" y="1431"/>
                      <a:pt x="1137" y="1430"/>
                    </a:cubicBezTo>
                    <a:moveTo>
                      <a:pt x="1137" y="1430"/>
                    </a:moveTo>
                    <a:cubicBezTo>
                      <a:pt x="1138" y="1430"/>
                      <a:pt x="1139" y="1430"/>
                      <a:pt x="1139" y="1429"/>
                    </a:cubicBezTo>
                    <a:moveTo>
                      <a:pt x="1139" y="1429"/>
                    </a:moveTo>
                    <a:cubicBezTo>
                      <a:pt x="1141" y="1428"/>
                      <a:pt x="1139" y="1428"/>
                      <a:pt x="1139" y="1429"/>
                    </a:cubicBezTo>
                    <a:moveTo>
                      <a:pt x="789" y="1465"/>
                    </a:moveTo>
                    <a:cubicBezTo>
                      <a:pt x="825" y="1461"/>
                      <a:pt x="858" y="1454"/>
                      <a:pt x="891" y="1446"/>
                    </a:cubicBezTo>
                    <a:cubicBezTo>
                      <a:pt x="892" y="1440"/>
                      <a:pt x="897" y="1434"/>
                      <a:pt x="895" y="1429"/>
                    </a:cubicBezTo>
                    <a:cubicBezTo>
                      <a:pt x="863" y="1444"/>
                      <a:pt x="826" y="1455"/>
                      <a:pt x="789" y="1465"/>
                    </a:cubicBezTo>
                    <a:close/>
                    <a:moveTo>
                      <a:pt x="404" y="1435"/>
                    </a:moveTo>
                    <a:cubicBezTo>
                      <a:pt x="404" y="1434"/>
                      <a:pt x="405" y="1435"/>
                      <a:pt x="404" y="1435"/>
                    </a:cubicBezTo>
                    <a:close/>
                    <a:moveTo>
                      <a:pt x="407" y="1436"/>
                    </a:moveTo>
                    <a:cubicBezTo>
                      <a:pt x="407" y="1437"/>
                      <a:pt x="408" y="1436"/>
                      <a:pt x="409" y="1437"/>
                    </a:cubicBezTo>
                    <a:moveTo>
                      <a:pt x="409" y="1437"/>
                    </a:moveTo>
                    <a:cubicBezTo>
                      <a:pt x="409" y="1437"/>
                      <a:pt x="409" y="1437"/>
                      <a:pt x="409" y="1438"/>
                    </a:cubicBezTo>
                    <a:cubicBezTo>
                      <a:pt x="439" y="1456"/>
                      <a:pt x="472" y="1472"/>
                      <a:pt x="513" y="1480"/>
                    </a:cubicBezTo>
                    <a:moveTo>
                      <a:pt x="513" y="1480"/>
                    </a:moveTo>
                    <a:cubicBezTo>
                      <a:pt x="514" y="1483"/>
                      <a:pt x="517" y="1479"/>
                      <a:pt x="513" y="1480"/>
                    </a:cubicBezTo>
                    <a:moveTo>
                      <a:pt x="513" y="1480"/>
                    </a:moveTo>
                    <a:cubicBezTo>
                      <a:pt x="487" y="1457"/>
                      <a:pt x="441" y="1454"/>
                      <a:pt x="409" y="1437"/>
                    </a:cubicBezTo>
                    <a:moveTo>
                      <a:pt x="409" y="1437"/>
                    </a:moveTo>
                    <a:cubicBezTo>
                      <a:pt x="409" y="1436"/>
                      <a:pt x="408" y="1436"/>
                      <a:pt x="407" y="1436"/>
                    </a:cubicBezTo>
                    <a:moveTo>
                      <a:pt x="407" y="1436"/>
                    </a:moveTo>
                    <a:cubicBezTo>
                      <a:pt x="406" y="1434"/>
                      <a:pt x="406" y="1436"/>
                      <a:pt x="407" y="1436"/>
                    </a:cubicBezTo>
                    <a:moveTo>
                      <a:pt x="541" y="1455"/>
                    </a:moveTo>
                    <a:cubicBezTo>
                      <a:pt x="559" y="1457"/>
                      <a:pt x="575" y="1462"/>
                      <a:pt x="594" y="1463"/>
                    </a:cubicBezTo>
                    <a:cubicBezTo>
                      <a:pt x="592" y="1458"/>
                      <a:pt x="588" y="1454"/>
                      <a:pt x="586" y="1448"/>
                    </a:cubicBezTo>
                    <a:cubicBezTo>
                      <a:pt x="570" y="1444"/>
                      <a:pt x="554" y="1440"/>
                      <a:pt x="538" y="1435"/>
                    </a:cubicBezTo>
                    <a:cubicBezTo>
                      <a:pt x="536" y="1441"/>
                      <a:pt x="539" y="1450"/>
                      <a:pt x="541" y="1455"/>
                    </a:cubicBezTo>
                    <a:close/>
                    <a:moveTo>
                      <a:pt x="466" y="1437"/>
                    </a:moveTo>
                    <a:cubicBezTo>
                      <a:pt x="466" y="1437"/>
                      <a:pt x="466" y="1437"/>
                      <a:pt x="466" y="1438"/>
                    </a:cubicBezTo>
                    <a:cubicBezTo>
                      <a:pt x="476" y="1446"/>
                      <a:pt x="485" y="1455"/>
                      <a:pt x="495" y="1463"/>
                    </a:cubicBezTo>
                    <a:cubicBezTo>
                      <a:pt x="514" y="1467"/>
                      <a:pt x="531" y="1473"/>
                      <a:pt x="552" y="1474"/>
                    </a:cubicBezTo>
                    <a:moveTo>
                      <a:pt x="552" y="1474"/>
                    </a:moveTo>
                    <a:cubicBezTo>
                      <a:pt x="552" y="1475"/>
                      <a:pt x="553" y="1474"/>
                      <a:pt x="552" y="1474"/>
                    </a:cubicBezTo>
                    <a:moveTo>
                      <a:pt x="552" y="1474"/>
                    </a:moveTo>
                    <a:cubicBezTo>
                      <a:pt x="547" y="1468"/>
                      <a:pt x="542" y="1463"/>
                      <a:pt x="538" y="1456"/>
                    </a:cubicBezTo>
                    <a:cubicBezTo>
                      <a:pt x="512" y="1451"/>
                      <a:pt x="490" y="1443"/>
                      <a:pt x="466" y="1437"/>
                    </a:cubicBezTo>
                    <a:moveTo>
                      <a:pt x="466" y="1437"/>
                    </a:moveTo>
                    <a:cubicBezTo>
                      <a:pt x="466" y="1435"/>
                      <a:pt x="465" y="1437"/>
                      <a:pt x="466" y="1437"/>
                    </a:cubicBezTo>
                    <a:moveTo>
                      <a:pt x="888" y="1463"/>
                    </a:moveTo>
                    <a:cubicBezTo>
                      <a:pt x="888" y="1467"/>
                      <a:pt x="885" y="1469"/>
                      <a:pt x="884" y="1472"/>
                    </a:cubicBezTo>
                    <a:cubicBezTo>
                      <a:pt x="919" y="1472"/>
                      <a:pt x="949" y="1466"/>
                      <a:pt x="980" y="1462"/>
                    </a:cubicBezTo>
                    <a:cubicBezTo>
                      <a:pt x="982" y="1456"/>
                      <a:pt x="988" y="1448"/>
                      <a:pt x="986" y="1441"/>
                    </a:cubicBezTo>
                    <a:cubicBezTo>
                      <a:pt x="956" y="1451"/>
                      <a:pt x="922" y="1458"/>
                      <a:pt x="888" y="1463"/>
                    </a:cubicBezTo>
                    <a:close/>
                    <a:moveTo>
                      <a:pt x="1098" y="1445"/>
                    </a:moveTo>
                    <a:cubicBezTo>
                      <a:pt x="1098" y="1445"/>
                      <a:pt x="1099" y="1446"/>
                      <a:pt x="1098" y="1445"/>
                    </a:cubicBezTo>
                    <a:close/>
                    <a:moveTo>
                      <a:pt x="423" y="1450"/>
                    </a:moveTo>
                    <a:cubicBezTo>
                      <a:pt x="423" y="1450"/>
                      <a:pt x="424" y="1451"/>
                      <a:pt x="423" y="1450"/>
                    </a:cubicBezTo>
                    <a:close/>
                    <a:moveTo>
                      <a:pt x="600" y="1464"/>
                    </a:moveTo>
                    <a:cubicBezTo>
                      <a:pt x="639" y="1469"/>
                      <a:pt x="688" y="1474"/>
                      <a:pt x="730" y="1469"/>
                    </a:cubicBezTo>
                    <a:cubicBezTo>
                      <a:pt x="679" y="1467"/>
                      <a:pt x="633" y="1459"/>
                      <a:pt x="590" y="1449"/>
                    </a:cubicBezTo>
                    <a:cubicBezTo>
                      <a:pt x="593" y="1455"/>
                      <a:pt x="595" y="1461"/>
                      <a:pt x="600" y="1464"/>
                    </a:cubicBezTo>
                    <a:close/>
                    <a:moveTo>
                      <a:pt x="888" y="1449"/>
                    </a:moveTo>
                    <a:cubicBezTo>
                      <a:pt x="859" y="1457"/>
                      <a:pt x="828" y="1462"/>
                      <a:pt x="797" y="1467"/>
                    </a:cubicBezTo>
                    <a:cubicBezTo>
                      <a:pt x="795" y="1467"/>
                      <a:pt x="793" y="1467"/>
                      <a:pt x="792" y="1467"/>
                    </a:cubicBezTo>
                    <a:cubicBezTo>
                      <a:pt x="790" y="1468"/>
                      <a:pt x="792" y="1469"/>
                      <a:pt x="794" y="1468"/>
                    </a:cubicBezTo>
                    <a:cubicBezTo>
                      <a:pt x="826" y="1467"/>
                      <a:pt x="856" y="1465"/>
                      <a:pt x="885" y="1461"/>
                    </a:cubicBezTo>
                    <a:cubicBezTo>
                      <a:pt x="887" y="1457"/>
                      <a:pt x="888" y="1453"/>
                      <a:pt x="890" y="1449"/>
                    </a:cubicBezTo>
                    <a:cubicBezTo>
                      <a:pt x="889" y="1449"/>
                      <a:pt x="888" y="1449"/>
                      <a:pt x="888" y="1449"/>
                    </a:cubicBezTo>
                    <a:close/>
                    <a:moveTo>
                      <a:pt x="425" y="1451"/>
                    </a:moveTo>
                    <a:cubicBezTo>
                      <a:pt x="425" y="1451"/>
                      <a:pt x="426" y="1452"/>
                      <a:pt x="425" y="1451"/>
                    </a:cubicBezTo>
                    <a:close/>
                    <a:moveTo>
                      <a:pt x="427" y="1452"/>
                    </a:moveTo>
                    <a:cubicBezTo>
                      <a:pt x="427" y="1452"/>
                      <a:pt x="428" y="1453"/>
                      <a:pt x="427" y="1452"/>
                    </a:cubicBezTo>
                    <a:close/>
                    <a:moveTo>
                      <a:pt x="429" y="1453"/>
                    </a:moveTo>
                    <a:cubicBezTo>
                      <a:pt x="428" y="1453"/>
                      <a:pt x="430" y="1454"/>
                      <a:pt x="429" y="1453"/>
                    </a:cubicBezTo>
                    <a:close/>
                    <a:moveTo>
                      <a:pt x="749" y="1462"/>
                    </a:moveTo>
                    <a:cubicBezTo>
                      <a:pt x="749" y="1462"/>
                      <a:pt x="750" y="1462"/>
                      <a:pt x="750" y="1463"/>
                    </a:cubicBezTo>
                    <a:moveTo>
                      <a:pt x="750" y="1463"/>
                    </a:moveTo>
                    <a:cubicBezTo>
                      <a:pt x="751" y="1464"/>
                      <a:pt x="752" y="1462"/>
                      <a:pt x="750" y="1463"/>
                    </a:cubicBezTo>
                    <a:moveTo>
                      <a:pt x="750" y="1463"/>
                    </a:moveTo>
                    <a:cubicBezTo>
                      <a:pt x="750" y="1462"/>
                      <a:pt x="749" y="1462"/>
                      <a:pt x="749" y="1462"/>
                    </a:cubicBezTo>
                    <a:moveTo>
                      <a:pt x="749" y="1462"/>
                    </a:moveTo>
                    <a:cubicBezTo>
                      <a:pt x="746" y="1458"/>
                      <a:pt x="742" y="1456"/>
                      <a:pt x="739" y="1453"/>
                    </a:cubicBezTo>
                    <a:cubicBezTo>
                      <a:pt x="738" y="1460"/>
                      <a:pt x="744" y="1460"/>
                      <a:pt x="749" y="1462"/>
                    </a:cubicBezTo>
                    <a:moveTo>
                      <a:pt x="559" y="1476"/>
                    </a:moveTo>
                    <a:cubicBezTo>
                      <a:pt x="572" y="1480"/>
                      <a:pt x="590" y="1477"/>
                      <a:pt x="605" y="1480"/>
                    </a:cubicBezTo>
                    <a:cubicBezTo>
                      <a:pt x="605" y="1476"/>
                      <a:pt x="598" y="1472"/>
                      <a:pt x="597" y="1466"/>
                    </a:cubicBezTo>
                    <a:cubicBezTo>
                      <a:pt x="577" y="1465"/>
                      <a:pt x="561" y="1460"/>
                      <a:pt x="543" y="1458"/>
                    </a:cubicBezTo>
                    <a:cubicBezTo>
                      <a:pt x="547" y="1464"/>
                      <a:pt x="551" y="1473"/>
                      <a:pt x="559" y="1476"/>
                    </a:cubicBezTo>
                    <a:close/>
                    <a:moveTo>
                      <a:pt x="981" y="1463"/>
                    </a:moveTo>
                    <a:cubicBezTo>
                      <a:pt x="976" y="1471"/>
                      <a:pt x="970" y="1476"/>
                      <a:pt x="964" y="1481"/>
                    </a:cubicBezTo>
                    <a:cubicBezTo>
                      <a:pt x="972" y="1480"/>
                      <a:pt x="978" y="1479"/>
                      <a:pt x="986" y="1478"/>
                    </a:cubicBezTo>
                    <a:cubicBezTo>
                      <a:pt x="993" y="1472"/>
                      <a:pt x="1000" y="1466"/>
                      <a:pt x="1007" y="1460"/>
                    </a:cubicBezTo>
                    <a:cubicBezTo>
                      <a:pt x="1007" y="1458"/>
                      <a:pt x="1008" y="1458"/>
                      <a:pt x="1006" y="1458"/>
                    </a:cubicBezTo>
                    <a:cubicBezTo>
                      <a:pt x="998" y="1460"/>
                      <a:pt x="989" y="1461"/>
                      <a:pt x="981" y="1463"/>
                    </a:cubicBezTo>
                    <a:close/>
                    <a:moveTo>
                      <a:pt x="1069" y="1460"/>
                    </a:moveTo>
                    <a:cubicBezTo>
                      <a:pt x="1069" y="1459"/>
                      <a:pt x="1070" y="1460"/>
                      <a:pt x="1069" y="1460"/>
                    </a:cubicBezTo>
                    <a:close/>
                    <a:moveTo>
                      <a:pt x="1066" y="1461"/>
                    </a:moveTo>
                    <a:cubicBezTo>
                      <a:pt x="1041" y="1468"/>
                      <a:pt x="1016" y="1476"/>
                      <a:pt x="987" y="1480"/>
                    </a:cubicBezTo>
                    <a:cubicBezTo>
                      <a:pt x="984" y="1484"/>
                      <a:pt x="979" y="1485"/>
                      <a:pt x="976" y="1488"/>
                    </a:cubicBezTo>
                    <a:cubicBezTo>
                      <a:pt x="1008" y="1481"/>
                      <a:pt x="1042" y="1475"/>
                      <a:pt x="1066" y="1461"/>
                    </a:cubicBezTo>
                    <a:moveTo>
                      <a:pt x="1066" y="1461"/>
                    </a:moveTo>
                    <a:cubicBezTo>
                      <a:pt x="1070" y="1462"/>
                      <a:pt x="1067" y="1458"/>
                      <a:pt x="1066" y="1461"/>
                    </a:cubicBezTo>
                    <a:moveTo>
                      <a:pt x="742" y="1463"/>
                    </a:moveTo>
                    <a:cubicBezTo>
                      <a:pt x="742" y="1465"/>
                      <a:pt x="746" y="1462"/>
                      <a:pt x="742" y="1463"/>
                    </a:cubicBezTo>
                    <a:moveTo>
                      <a:pt x="742" y="1463"/>
                    </a:moveTo>
                    <a:cubicBezTo>
                      <a:pt x="741" y="1462"/>
                      <a:pt x="740" y="1461"/>
                      <a:pt x="739" y="1461"/>
                    </a:cubicBezTo>
                    <a:cubicBezTo>
                      <a:pt x="739" y="1463"/>
                      <a:pt x="740" y="1462"/>
                      <a:pt x="742" y="1463"/>
                    </a:cubicBezTo>
                    <a:moveTo>
                      <a:pt x="1072" y="1462"/>
                    </a:moveTo>
                    <a:cubicBezTo>
                      <a:pt x="1072" y="1461"/>
                      <a:pt x="1073" y="1462"/>
                      <a:pt x="1072" y="1462"/>
                    </a:cubicBezTo>
                    <a:close/>
                    <a:moveTo>
                      <a:pt x="774" y="1463"/>
                    </a:moveTo>
                    <a:cubicBezTo>
                      <a:pt x="774" y="1463"/>
                      <a:pt x="775" y="1464"/>
                      <a:pt x="774" y="1463"/>
                    </a:cubicBezTo>
                    <a:close/>
                    <a:moveTo>
                      <a:pt x="746" y="1464"/>
                    </a:moveTo>
                    <a:cubicBezTo>
                      <a:pt x="745" y="1464"/>
                      <a:pt x="746" y="1465"/>
                      <a:pt x="746" y="1464"/>
                    </a:cubicBezTo>
                    <a:close/>
                    <a:moveTo>
                      <a:pt x="780" y="1464"/>
                    </a:moveTo>
                    <a:cubicBezTo>
                      <a:pt x="780" y="1464"/>
                      <a:pt x="781" y="1465"/>
                      <a:pt x="780" y="1464"/>
                    </a:cubicBezTo>
                    <a:close/>
                    <a:moveTo>
                      <a:pt x="796" y="1472"/>
                    </a:moveTo>
                    <a:cubicBezTo>
                      <a:pt x="823" y="1473"/>
                      <a:pt x="851" y="1473"/>
                      <a:pt x="879" y="1473"/>
                    </a:cubicBezTo>
                    <a:cubicBezTo>
                      <a:pt x="879" y="1470"/>
                      <a:pt x="886" y="1464"/>
                      <a:pt x="882" y="1463"/>
                    </a:cubicBezTo>
                    <a:cubicBezTo>
                      <a:pt x="855" y="1469"/>
                      <a:pt x="823" y="1468"/>
                      <a:pt x="796" y="1472"/>
                    </a:cubicBezTo>
                    <a:close/>
                    <a:moveTo>
                      <a:pt x="882" y="1475"/>
                    </a:moveTo>
                    <a:cubicBezTo>
                      <a:pt x="882" y="1479"/>
                      <a:pt x="879" y="1481"/>
                      <a:pt x="878" y="1485"/>
                    </a:cubicBezTo>
                    <a:cubicBezTo>
                      <a:pt x="901" y="1482"/>
                      <a:pt x="937" y="1489"/>
                      <a:pt x="958" y="1482"/>
                    </a:cubicBezTo>
                    <a:cubicBezTo>
                      <a:pt x="961" y="1480"/>
                      <a:pt x="965" y="1476"/>
                      <a:pt x="968" y="1473"/>
                    </a:cubicBezTo>
                    <a:cubicBezTo>
                      <a:pt x="971" y="1470"/>
                      <a:pt x="977" y="1467"/>
                      <a:pt x="975" y="1464"/>
                    </a:cubicBezTo>
                    <a:cubicBezTo>
                      <a:pt x="946" y="1470"/>
                      <a:pt x="916" y="1474"/>
                      <a:pt x="882" y="1475"/>
                    </a:cubicBezTo>
                    <a:close/>
                    <a:moveTo>
                      <a:pt x="784" y="1466"/>
                    </a:moveTo>
                    <a:cubicBezTo>
                      <a:pt x="784" y="1466"/>
                      <a:pt x="785" y="1467"/>
                      <a:pt x="784" y="1466"/>
                    </a:cubicBezTo>
                    <a:close/>
                    <a:moveTo>
                      <a:pt x="503" y="1468"/>
                    </a:moveTo>
                    <a:cubicBezTo>
                      <a:pt x="520" y="1486"/>
                      <a:pt x="554" y="1491"/>
                      <a:pt x="582" y="1493"/>
                    </a:cubicBezTo>
                    <a:cubicBezTo>
                      <a:pt x="572" y="1490"/>
                      <a:pt x="565" y="1483"/>
                      <a:pt x="556" y="1478"/>
                    </a:cubicBezTo>
                    <a:cubicBezTo>
                      <a:pt x="537" y="1475"/>
                      <a:pt x="521" y="1471"/>
                      <a:pt x="503" y="1468"/>
                    </a:cubicBezTo>
                    <a:moveTo>
                      <a:pt x="503" y="1468"/>
                    </a:moveTo>
                    <a:cubicBezTo>
                      <a:pt x="502" y="1467"/>
                      <a:pt x="502" y="1468"/>
                      <a:pt x="503" y="1468"/>
                    </a:cubicBezTo>
                    <a:moveTo>
                      <a:pt x="611" y="1480"/>
                    </a:moveTo>
                    <a:cubicBezTo>
                      <a:pt x="653" y="1483"/>
                      <a:pt x="697" y="1480"/>
                      <a:pt x="732" y="1473"/>
                    </a:cubicBezTo>
                    <a:cubicBezTo>
                      <a:pt x="687" y="1475"/>
                      <a:pt x="642" y="1473"/>
                      <a:pt x="601" y="1467"/>
                    </a:cubicBezTo>
                    <a:cubicBezTo>
                      <a:pt x="604" y="1472"/>
                      <a:pt x="605" y="1478"/>
                      <a:pt x="611" y="1480"/>
                    </a:cubicBezTo>
                    <a:close/>
                    <a:moveTo>
                      <a:pt x="738" y="1472"/>
                    </a:moveTo>
                    <a:cubicBezTo>
                      <a:pt x="737" y="1472"/>
                      <a:pt x="736" y="1472"/>
                      <a:pt x="736" y="1473"/>
                    </a:cubicBezTo>
                    <a:cubicBezTo>
                      <a:pt x="737" y="1473"/>
                      <a:pt x="738" y="1473"/>
                      <a:pt x="738" y="1472"/>
                    </a:cubicBezTo>
                    <a:close/>
                    <a:moveTo>
                      <a:pt x="789" y="1473"/>
                    </a:moveTo>
                    <a:cubicBezTo>
                      <a:pt x="788" y="1473"/>
                      <a:pt x="786" y="1473"/>
                      <a:pt x="786" y="1474"/>
                    </a:cubicBezTo>
                    <a:cubicBezTo>
                      <a:pt x="787" y="1474"/>
                      <a:pt x="789" y="1474"/>
                      <a:pt x="789" y="1473"/>
                    </a:cubicBezTo>
                    <a:close/>
                    <a:moveTo>
                      <a:pt x="742" y="1475"/>
                    </a:moveTo>
                    <a:cubicBezTo>
                      <a:pt x="741" y="1475"/>
                      <a:pt x="742" y="1476"/>
                      <a:pt x="742" y="1475"/>
                    </a:cubicBezTo>
                    <a:close/>
                    <a:moveTo>
                      <a:pt x="745" y="1509"/>
                    </a:moveTo>
                    <a:cubicBezTo>
                      <a:pt x="748" y="1509"/>
                      <a:pt x="752" y="1509"/>
                      <a:pt x="755" y="1509"/>
                    </a:cubicBezTo>
                    <a:cubicBezTo>
                      <a:pt x="757" y="1498"/>
                      <a:pt x="761" y="1484"/>
                      <a:pt x="759" y="1474"/>
                    </a:cubicBezTo>
                    <a:cubicBezTo>
                      <a:pt x="754" y="1485"/>
                      <a:pt x="737" y="1490"/>
                      <a:pt x="745" y="1509"/>
                    </a:cubicBezTo>
                    <a:close/>
                    <a:moveTo>
                      <a:pt x="877" y="1476"/>
                    </a:moveTo>
                    <a:cubicBezTo>
                      <a:pt x="879" y="1475"/>
                      <a:pt x="877" y="1475"/>
                      <a:pt x="877" y="1476"/>
                    </a:cubicBezTo>
                    <a:moveTo>
                      <a:pt x="877" y="1476"/>
                    </a:moveTo>
                    <a:cubicBezTo>
                      <a:pt x="848" y="1477"/>
                      <a:pt x="817" y="1475"/>
                      <a:pt x="791" y="1475"/>
                    </a:cubicBezTo>
                    <a:cubicBezTo>
                      <a:pt x="817" y="1479"/>
                      <a:pt x="844" y="1483"/>
                      <a:pt x="873" y="1485"/>
                    </a:cubicBezTo>
                    <a:cubicBezTo>
                      <a:pt x="875" y="1482"/>
                      <a:pt x="877" y="1480"/>
                      <a:pt x="877" y="1476"/>
                    </a:cubicBezTo>
                    <a:moveTo>
                      <a:pt x="655" y="1493"/>
                    </a:moveTo>
                    <a:cubicBezTo>
                      <a:pt x="685" y="1490"/>
                      <a:pt x="715" y="1482"/>
                      <a:pt x="737" y="1477"/>
                    </a:cubicBezTo>
                    <a:cubicBezTo>
                      <a:pt x="737" y="1476"/>
                      <a:pt x="739" y="1475"/>
                      <a:pt x="736" y="1475"/>
                    </a:cubicBezTo>
                    <a:cubicBezTo>
                      <a:pt x="700" y="1482"/>
                      <a:pt x="655" y="1485"/>
                      <a:pt x="612" y="1483"/>
                    </a:cubicBezTo>
                    <a:cubicBezTo>
                      <a:pt x="615" y="1498"/>
                      <a:pt x="635" y="1496"/>
                      <a:pt x="655" y="1493"/>
                    </a:cubicBezTo>
                    <a:close/>
                    <a:moveTo>
                      <a:pt x="749" y="1476"/>
                    </a:moveTo>
                    <a:cubicBezTo>
                      <a:pt x="748" y="1476"/>
                      <a:pt x="749" y="1477"/>
                      <a:pt x="749" y="1476"/>
                    </a:cubicBezTo>
                    <a:close/>
                    <a:moveTo>
                      <a:pt x="754" y="1476"/>
                    </a:moveTo>
                    <a:cubicBezTo>
                      <a:pt x="749" y="1477"/>
                      <a:pt x="746" y="1481"/>
                      <a:pt x="741" y="1483"/>
                    </a:cubicBezTo>
                    <a:cubicBezTo>
                      <a:pt x="742" y="1484"/>
                      <a:pt x="741" y="1488"/>
                      <a:pt x="743" y="1489"/>
                    </a:cubicBezTo>
                    <a:cubicBezTo>
                      <a:pt x="746" y="1485"/>
                      <a:pt x="752" y="1481"/>
                      <a:pt x="754" y="1476"/>
                    </a:cubicBezTo>
                    <a:moveTo>
                      <a:pt x="754" y="1476"/>
                    </a:moveTo>
                    <a:cubicBezTo>
                      <a:pt x="756" y="1475"/>
                      <a:pt x="754" y="1475"/>
                      <a:pt x="754" y="1476"/>
                    </a:cubicBezTo>
                    <a:moveTo>
                      <a:pt x="773" y="1476"/>
                    </a:moveTo>
                    <a:cubicBezTo>
                      <a:pt x="772" y="1476"/>
                      <a:pt x="773" y="1477"/>
                      <a:pt x="773" y="1476"/>
                    </a:cubicBezTo>
                    <a:close/>
                    <a:moveTo>
                      <a:pt x="782" y="1475"/>
                    </a:moveTo>
                    <a:cubicBezTo>
                      <a:pt x="781" y="1475"/>
                      <a:pt x="780" y="1475"/>
                      <a:pt x="780" y="1476"/>
                    </a:cubicBezTo>
                    <a:cubicBezTo>
                      <a:pt x="781" y="1476"/>
                      <a:pt x="782" y="1476"/>
                      <a:pt x="782" y="1475"/>
                    </a:cubicBezTo>
                    <a:close/>
                    <a:moveTo>
                      <a:pt x="746" y="1477"/>
                    </a:moveTo>
                    <a:cubicBezTo>
                      <a:pt x="743" y="1476"/>
                      <a:pt x="739" y="1478"/>
                      <a:pt x="742" y="1480"/>
                    </a:cubicBezTo>
                    <a:cubicBezTo>
                      <a:pt x="742" y="1478"/>
                      <a:pt x="745" y="1479"/>
                      <a:pt x="746" y="1477"/>
                    </a:cubicBezTo>
                    <a:moveTo>
                      <a:pt x="746" y="1477"/>
                    </a:moveTo>
                    <a:cubicBezTo>
                      <a:pt x="750" y="1478"/>
                      <a:pt x="746" y="1474"/>
                      <a:pt x="746" y="1477"/>
                    </a:cubicBezTo>
                    <a:moveTo>
                      <a:pt x="758" y="1509"/>
                    </a:moveTo>
                    <a:cubicBezTo>
                      <a:pt x="768" y="1509"/>
                      <a:pt x="777" y="1509"/>
                      <a:pt x="787" y="1509"/>
                    </a:cubicBezTo>
                    <a:cubicBezTo>
                      <a:pt x="781" y="1500"/>
                      <a:pt x="770" y="1487"/>
                      <a:pt x="763" y="1476"/>
                    </a:cubicBezTo>
                    <a:cubicBezTo>
                      <a:pt x="761" y="1486"/>
                      <a:pt x="760" y="1498"/>
                      <a:pt x="758" y="1509"/>
                    </a:cubicBezTo>
                    <a:close/>
                    <a:moveTo>
                      <a:pt x="796" y="1509"/>
                    </a:moveTo>
                    <a:cubicBezTo>
                      <a:pt x="804" y="1511"/>
                      <a:pt x="813" y="1505"/>
                      <a:pt x="826" y="1508"/>
                    </a:cubicBezTo>
                    <a:cubicBezTo>
                      <a:pt x="807" y="1497"/>
                      <a:pt x="786" y="1489"/>
                      <a:pt x="769" y="1476"/>
                    </a:cubicBezTo>
                    <a:cubicBezTo>
                      <a:pt x="777" y="1485"/>
                      <a:pt x="782" y="1505"/>
                      <a:pt x="796" y="1509"/>
                    </a:cubicBezTo>
                    <a:close/>
                    <a:moveTo>
                      <a:pt x="837" y="1507"/>
                    </a:moveTo>
                    <a:cubicBezTo>
                      <a:pt x="844" y="1507"/>
                      <a:pt x="860" y="1507"/>
                      <a:pt x="864" y="1499"/>
                    </a:cubicBezTo>
                    <a:cubicBezTo>
                      <a:pt x="831" y="1496"/>
                      <a:pt x="800" y="1484"/>
                      <a:pt x="774" y="1477"/>
                    </a:cubicBezTo>
                    <a:cubicBezTo>
                      <a:pt x="791" y="1485"/>
                      <a:pt x="814" y="1505"/>
                      <a:pt x="837" y="1507"/>
                    </a:cubicBezTo>
                    <a:close/>
                    <a:moveTo>
                      <a:pt x="865" y="1497"/>
                    </a:moveTo>
                    <a:cubicBezTo>
                      <a:pt x="867" y="1494"/>
                      <a:pt x="870" y="1491"/>
                      <a:pt x="871" y="1487"/>
                    </a:cubicBezTo>
                    <a:cubicBezTo>
                      <a:pt x="839" y="1487"/>
                      <a:pt x="810" y="1479"/>
                      <a:pt x="783" y="1477"/>
                    </a:cubicBezTo>
                    <a:cubicBezTo>
                      <a:pt x="809" y="1485"/>
                      <a:pt x="835" y="1493"/>
                      <a:pt x="865" y="1497"/>
                    </a:cubicBezTo>
                    <a:close/>
                    <a:moveTo>
                      <a:pt x="617" y="1495"/>
                    </a:moveTo>
                    <a:cubicBezTo>
                      <a:pt x="616" y="1492"/>
                      <a:pt x="610" y="1486"/>
                      <a:pt x="606" y="1483"/>
                    </a:cubicBezTo>
                    <a:cubicBezTo>
                      <a:pt x="592" y="1483"/>
                      <a:pt x="576" y="1479"/>
                      <a:pt x="563" y="1480"/>
                    </a:cubicBezTo>
                    <a:cubicBezTo>
                      <a:pt x="577" y="1489"/>
                      <a:pt x="591" y="1498"/>
                      <a:pt x="617" y="1495"/>
                    </a:cubicBezTo>
                    <a:close/>
                    <a:moveTo>
                      <a:pt x="626" y="1499"/>
                    </a:moveTo>
                    <a:cubicBezTo>
                      <a:pt x="667" y="1513"/>
                      <a:pt x="710" y="1498"/>
                      <a:pt x="738" y="1480"/>
                    </a:cubicBezTo>
                    <a:cubicBezTo>
                      <a:pt x="706" y="1488"/>
                      <a:pt x="665" y="1495"/>
                      <a:pt x="626" y="1499"/>
                    </a:cubicBezTo>
                    <a:close/>
                    <a:moveTo>
                      <a:pt x="1025" y="1480"/>
                    </a:moveTo>
                    <a:cubicBezTo>
                      <a:pt x="1025" y="1479"/>
                      <a:pt x="1026" y="1480"/>
                      <a:pt x="1025" y="1480"/>
                    </a:cubicBezTo>
                    <a:close/>
                    <a:moveTo>
                      <a:pt x="1022" y="1481"/>
                    </a:moveTo>
                    <a:cubicBezTo>
                      <a:pt x="1023" y="1481"/>
                      <a:pt x="1022" y="1480"/>
                      <a:pt x="1022" y="1481"/>
                    </a:cubicBezTo>
                    <a:close/>
                    <a:moveTo>
                      <a:pt x="516" y="1482"/>
                    </a:moveTo>
                    <a:cubicBezTo>
                      <a:pt x="516" y="1481"/>
                      <a:pt x="517" y="1482"/>
                      <a:pt x="516" y="1482"/>
                    </a:cubicBezTo>
                    <a:close/>
                    <a:moveTo>
                      <a:pt x="1018" y="1482"/>
                    </a:moveTo>
                    <a:cubicBezTo>
                      <a:pt x="1001" y="1486"/>
                      <a:pt x="981" y="1488"/>
                      <a:pt x="966" y="1495"/>
                    </a:cubicBezTo>
                    <a:moveTo>
                      <a:pt x="966" y="1495"/>
                    </a:moveTo>
                    <a:cubicBezTo>
                      <a:pt x="962" y="1494"/>
                      <a:pt x="965" y="1498"/>
                      <a:pt x="966" y="1495"/>
                    </a:cubicBezTo>
                    <a:moveTo>
                      <a:pt x="966" y="1495"/>
                    </a:moveTo>
                    <a:cubicBezTo>
                      <a:pt x="985" y="1493"/>
                      <a:pt x="1002" y="1488"/>
                      <a:pt x="1018" y="1482"/>
                    </a:cubicBezTo>
                    <a:moveTo>
                      <a:pt x="1018" y="1482"/>
                    </a:moveTo>
                    <a:cubicBezTo>
                      <a:pt x="1022" y="1483"/>
                      <a:pt x="1019" y="1479"/>
                      <a:pt x="1018" y="1482"/>
                    </a:cubicBezTo>
                    <a:moveTo>
                      <a:pt x="940" y="1495"/>
                    </a:moveTo>
                    <a:cubicBezTo>
                      <a:pt x="955" y="1492"/>
                      <a:pt x="972" y="1491"/>
                      <a:pt x="980" y="1482"/>
                    </a:cubicBezTo>
                    <a:cubicBezTo>
                      <a:pt x="962" y="1482"/>
                      <a:pt x="950" y="1488"/>
                      <a:pt x="940" y="1495"/>
                    </a:cubicBezTo>
                    <a:close/>
                    <a:moveTo>
                      <a:pt x="681" y="1507"/>
                    </a:moveTo>
                    <a:cubicBezTo>
                      <a:pt x="694" y="1507"/>
                      <a:pt x="707" y="1507"/>
                      <a:pt x="719" y="1509"/>
                    </a:cubicBezTo>
                    <a:cubicBezTo>
                      <a:pt x="726" y="1503"/>
                      <a:pt x="734" y="1498"/>
                      <a:pt x="740" y="1491"/>
                    </a:cubicBezTo>
                    <a:cubicBezTo>
                      <a:pt x="737" y="1491"/>
                      <a:pt x="741" y="1484"/>
                      <a:pt x="738" y="1484"/>
                    </a:cubicBezTo>
                    <a:cubicBezTo>
                      <a:pt x="722" y="1494"/>
                      <a:pt x="700" y="1499"/>
                      <a:pt x="681" y="1507"/>
                    </a:cubicBezTo>
                    <a:close/>
                    <a:moveTo>
                      <a:pt x="876" y="1487"/>
                    </a:moveTo>
                    <a:cubicBezTo>
                      <a:pt x="874" y="1491"/>
                      <a:pt x="871" y="1493"/>
                      <a:pt x="870" y="1498"/>
                    </a:cubicBezTo>
                    <a:cubicBezTo>
                      <a:pt x="900" y="1502"/>
                      <a:pt x="934" y="1501"/>
                      <a:pt x="950" y="1486"/>
                    </a:cubicBezTo>
                    <a:cubicBezTo>
                      <a:pt x="927" y="1487"/>
                      <a:pt x="902" y="1488"/>
                      <a:pt x="876" y="1487"/>
                    </a:cubicBezTo>
                    <a:close/>
                    <a:moveTo>
                      <a:pt x="542" y="1492"/>
                    </a:moveTo>
                    <a:cubicBezTo>
                      <a:pt x="542" y="1492"/>
                      <a:pt x="543" y="1493"/>
                      <a:pt x="542" y="1492"/>
                    </a:cubicBezTo>
                    <a:close/>
                    <a:moveTo>
                      <a:pt x="570" y="1495"/>
                    </a:moveTo>
                    <a:cubicBezTo>
                      <a:pt x="565" y="1495"/>
                      <a:pt x="538" y="1491"/>
                      <a:pt x="548" y="1494"/>
                    </a:cubicBezTo>
                    <a:cubicBezTo>
                      <a:pt x="571" y="1502"/>
                      <a:pt x="600" y="1512"/>
                      <a:pt x="625" y="1510"/>
                    </a:cubicBezTo>
                    <a:cubicBezTo>
                      <a:pt x="606" y="1504"/>
                      <a:pt x="592" y="1498"/>
                      <a:pt x="570" y="1495"/>
                    </a:cubicBezTo>
                    <a:close/>
                    <a:moveTo>
                      <a:pt x="958" y="1495"/>
                    </a:moveTo>
                    <a:cubicBezTo>
                      <a:pt x="949" y="1496"/>
                      <a:pt x="942" y="1497"/>
                      <a:pt x="935" y="1499"/>
                    </a:cubicBezTo>
                    <a:cubicBezTo>
                      <a:pt x="943" y="1498"/>
                      <a:pt x="953" y="1499"/>
                      <a:pt x="958" y="1495"/>
                    </a:cubicBezTo>
                    <a:moveTo>
                      <a:pt x="958" y="1495"/>
                    </a:moveTo>
                    <a:cubicBezTo>
                      <a:pt x="962" y="1496"/>
                      <a:pt x="958" y="1492"/>
                      <a:pt x="958" y="1495"/>
                    </a:cubicBezTo>
                    <a:moveTo>
                      <a:pt x="724" y="1509"/>
                    </a:moveTo>
                    <a:cubicBezTo>
                      <a:pt x="730" y="1509"/>
                      <a:pt x="736" y="1509"/>
                      <a:pt x="742" y="1509"/>
                    </a:cubicBezTo>
                    <a:cubicBezTo>
                      <a:pt x="740" y="1505"/>
                      <a:pt x="741" y="1498"/>
                      <a:pt x="739" y="1495"/>
                    </a:cubicBezTo>
                    <a:cubicBezTo>
                      <a:pt x="735" y="1501"/>
                      <a:pt x="728" y="1504"/>
                      <a:pt x="724" y="1509"/>
                    </a:cubicBezTo>
                    <a:close/>
                    <a:moveTo>
                      <a:pt x="613" y="1499"/>
                    </a:moveTo>
                    <a:cubicBezTo>
                      <a:pt x="615" y="1500"/>
                      <a:pt x="623" y="1501"/>
                      <a:pt x="624" y="1500"/>
                    </a:cubicBezTo>
                    <a:cubicBezTo>
                      <a:pt x="622" y="1496"/>
                      <a:pt x="599" y="1499"/>
                      <a:pt x="613" y="1499"/>
                    </a:cubicBezTo>
                    <a:close/>
                    <a:moveTo>
                      <a:pt x="929" y="1500"/>
                    </a:moveTo>
                    <a:cubicBezTo>
                      <a:pt x="929" y="1500"/>
                      <a:pt x="930" y="1501"/>
                      <a:pt x="929" y="1500"/>
                    </a:cubicBezTo>
                    <a:close/>
                    <a:moveTo>
                      <a:pt x="865" y="1505"/>
                    </a:moveTo>
                    <a:cubicBezTo>
                      <a:pt x="871" y="1503"/>
                      <a:pt x="880" y="1504"/>
                      <a:pt x="886" y="1502"/>
                    </a:cubicBezTo>
                    <a:cubicBezTo>
                      <a:pt x="879" y="1502"/>
                      <a:pt x="867" y="1497"/>
                      <a:pt x="865" y="1505"/>
                    </a:cubicBezTo>
                    <a:close/>
                    <a:moveTo>
                      <a:pt x="608" y="1501"/>
                    </a:moveTo>
                    <a:cubicBezTo>
                      <a:pt x="608" y="1501"/>
                      <a:pt x="607" y="1501"/>
                      <a:pt x="606" y="1502"/>
                    </a:cubicBezTo>
                    <a:cubicBezTo>
                      <a:pt x="607" y="1502"/>
                      <a:pt x="608" y="1502"/>
                      <a:pt x="608" y="1501"/>
                    </a:cubicBezTo>
                    <a:close/>
                    <a:moveTo>
                      <a:pt x="885" y="1514"/>
                    </a:moveTo>
                    <a:cubicBezTo>
                      <a:pt x="909" y="1514"/>
                      <a:pt x="929" y="1509"/>
                      <a:pt x="946" y="1501"/>
                    </a:cubicBezTo>
                    <a:cubicBezTo>
                      <a:pt x="921" y="1500"/>
                      <a:pt x="904" y="1509"/>
                      <a:pt x="885" y="1514"/>
                    </a:cubicBezTo>
                    <a:close/>
                    <a:moveTo>
                      <a:pt x="633" y="1509"/>
                    </a:moveTo>
                    <a:cubicBezTo>
                      <a:pt x="629" y="1504"/>
                      <a:pt x="618" y="1501"/>
                      <a:pt x="609" y="1503"/>
                    </a:cubicBezTo>
                    <a:cubicBezTo>
                      <a:pt x="618" y="1504"/>
                      <a:pt x="626" y="1509"/>
                      <a:pt x="633" y="1509"/>
                    </a:cubicBezTo>
                    <a:close/>
                    <a:moveTo>
                      <a:pt x="858" y="1512"/>
                    </a:moveTo>
                    <a:cubicBezTo>
                      <a:pt x="879" y="1516"/>
                      <a:pt x="896" y="1508"/>
                      <a:pt x="912" y="1503"/>
                    </a:cubicBezTo>
                    <a:cubicBezTo>
                      <a:pt x="893" y="1506"/>
                      <a:pt x="869" y="1502"/>
                      <a:pt x="858" y="1512"/>
                    </a:cubicBezTo>
                    <a:close/>
                    <a:moveTo>
                      <a:pt x="659" y="1507"/>
                    </a:moveTo>
                    <a:cubicBezTo>
                      <a:pt x="650" y="1508"/>
                      <a:pt x="641" y="1503"/>
                      <a:pt x="633" y="1506"/>
                    </a:cubicBezTo>
                    <a:cubicBezTo>
                      <a:pt x="638" y="1512"/>
                      <a:pt x="652" y="1509"/>
                      <a:pt x="659" y="1507"/>
                    </a:cubicBezTo>
                    <a:close/>
                    <a:moveTo>
                      <a:pt x="645" y="1512"/>
                    </a:moveTo>
                    <a:cubicBezTo>
                      <a:pt x="667" y="1518"/>
                      <a:pt x="698" y="1526"/>
                      <a:pt x="714" y="1511"/>
                    </a:cubicBezTo>
                    <a:cubicBezTo>
                      <a:pt x="688" y="1510"/>
                      <a:pt x="666" y="1506"/>
                      <a:pt x="645" y="1512"/>
                    </a:cubicBezTo>
                    <a:close/>
                    <a:moveTo>
                      <a:pt x="845" y="1510"/>
                    </a:moveTo>
                    <a:cubicBezTo>
                      <a:pt x="849" y="1510"/>
                      <a:pt x="855" y="1512"/>
                      <a:pt x="856" y="1508"/>
                    </a:cubicBezTo>
                    <a:cubicBezTo>
                      <a:pt x="852" y="1509"/>
                      <a:pt x="847" y="1508"/>
                      <a:pt x="845" y="1510"/>
                    </a:cubicBezTo>
                    <a:close/>
                    <a:moveTo>
                      <a:pt x="798" y="1512"/>
                    </a:moveTo>
                    <a:cubicBezTo>
                      <a:pt x="808" y="1524"/>
                      <a:pt x="839" y="1525"/>
                      <a:pt x="850" y="1513"/>
                    </a:cubicBezTo>
                    <a:cubicBezTo>
                      <a:pt x="837" y="1508"/>
                      <a:pt x="813" y="1509"/>
                      <a:pt x="798" y="1512"/>
                    </a:cubicBezTo>
                    <a:close/>
                    <a:moveTo>
                      <a:pt x="699" y="1522"/>
                    </a:moveTo>
                    <a:cubicBezTo>
                      <a:pt x="714" y="1522"/>
                      <a:pt x="731" y="1526"/>
                      <a:pt x="746" y="1524"/>
                    </a:cubicBezTo>
                    <a:cubicBezTo>
                      <a:pt x="743" y="1521"/>
                      <a:pt x="744" y="1515"/>
                      <a:pt x="742" y="1511"/>
                    </a:cubicBezTo>
                    <a:cubicBezTo>
                      <a:pt x="721" y="1509"/>
                      <a:pt x="710" y="1514"/>
                      <a:pt x="699" y="1522"/>
                    </a:cubicBezTo>
                    <a:close/>
                    <a:moveTo>
                      <a:pt x="750" y="1525"/>
                    </a:moveTo>
                    <a:cubicBezTo>
                      <a:pt x="753" y="1522"/>
                      <a:pt x="754" y="1517"/>
                      <a:pt x="754" y="1511"/>
                    </a:cubicBezTo>
                    <a:cubicBezTo>
                      <a:pt x="751" y="1511"/>
                      <a:pt x="748" y="1511"/>
                      <a:pt x="745" y="1511"/>
                    </a:cubicBezTo>
                    <a:cubicBezTo>
                      <a:pt x="747" y="1516"/>
                      <a:pt x="745" y="1524"/>
                      <a:pt x="750" y="1525"/>
                    </a:cubicBezTo>
                    <a:close/>
                    <a:moveTo>
                      <a:pt x="790" y="1511"/>
                    </a:moveTo>
                    <a:cubicBezTo>
                      <a:pt x="779" y="1511"/>
                      <a:pt x="768" y="1511"/>
                      <a:pt x="757" y="1511"/>
                    </a:cubicBezTo>
                    <a:cubicBezTo>
                      <a:pt x="757" y="1517"/>
                      <a:pt x="755" y="1520"/>
                      <a:pt x="754" y="1525"/>
                    </a:cubicBezTo>
                    <a:cubicBezTo>
                      <a:pt x="773" y="1525"/>
                      <a:pt x="792" y="1526"/>
                      <a:pt x="807" y="1522"/>
                    </a:cubicBezTo>
                    <a:cubicBezTo>
                      <a:pt x="800" y="1520"/>
                      <a:pt x="797" y="1514"/>
                      <a:pt x="790" y="1511"/>
                    </a:cubicBezTo>
                    <a:close/>
                    <a:moveTo>
                      <a:pt x="852" y="1517"/>
                    </a:moveTo>
                    <a:cubicBezTo>
                      <a:pt x="851" y="1518"/>
                      <a:pt x="852" y="1518"/>
                      <a:pt x="852" y="1517"/>
                    </a:cubicBezTo>
                    <a:moveTo>
                      <a:pt x="852" y="1517"/>
                    </a:moveTo>
                    <a:cubicBezTo>
                      <a:pt x="857" y="1517"/>
                      <a:pt x="861" y="1517"/>
                      <a:pt x="864" y="1515"/>
                    </a:cubicBezTo>
                    <a:cubicBezTo>
                      <a:pt x="859" y="1515"/>
                      <a:pt x="854" y="1513"/>
                      <a:pt x="852" y="1517"/>
                    </a:cubicBezTo>
                    <a:moveTo>
                      <a:pt x="655" y="1518"/>
                    </a:moveTo>
                    <a:cubicBezTo>
                      <a:pt x="655" y="1518"/>
                      <a:pt x="656" y="1519"/>
                      <a:pt x="655" y="1518"/>
                    </a:cubicBezTo>
                    <a:close/>
                    <a:moveTo>
                      <a:pt x="674" y="1522"/>
                    </a:moveTo>
                    <a:cubicBezTo>
                      <a:pt x="679" y="1522"/>
                      <a:pt x="678" y="1522"/>
                      <a:pt x="674" y="1521"/>
                    </a:cubicBezTo>
                    <a:cubicBezTo>
                      <a:pt x="672" y="1521"/>
                      <a:pt x="662" y="1518"/>
                      <a:pt x="658" y="1519"/>
                    </a:cubicBezTo>
                    <a:cubicBezTo>
                      <a:pt x="665" y="1520"/>
                      <a:pt x="671" y="1522"/>
                      <a:pt x="674" y="1522"/>
                    </a:cubicBezTo>
                    <a:close/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 dirty="0">
                  <a:latin typeface="+mj-lt"/>
                </a:endParaRPr>
              </a:p>
            </p:txBody>
          </p:sp>
          <p:sp>
            <p:nvSpPr>
              <p:cNvPr id="84" name="Freeform 40">
                <a:extLst>
                  <a:ext uri="{FF2B5EF4-FFF2-40B4-BE49-F238E27FC236}">
                    <a16:creationId xmlns:a16="http://schemas.microsoft.com/office/drawing/2014/main" id="{2709E76E-7F81-489C-AFE9-E0DBAAF01826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880578" y="1824208"/>
                <a:ext cx="1614059" cy="1645049"/>
              </a:xfrm>
              <a:custGeom>
                <a:avLst/>
                <a:gdLst/>
                <a:ahLst/>
                <a:cxnLst>
                  <a:cxn ang="0">
                    <a:pos x="469" y="114"/>
                  </a:cxn>
                  <a:cxn ang="0">
                    <a:pos x="463" y="127"/>
                  </a:cxn>
                  <a:cxn ang="0">
                    <a:pos x="511" y="143"/>
                  </a:cxn>
                  <a:cxn ang="0">
                    <a:pos x="448" y="149"/>
                  </a:cxn>
                  <a:cxn ang="0">
                    <a:pos x="406" y="197"/>
                  </a:cxn>
                  <a:cxn ang="0">
                    <a:pos x="996" y="220"/>
                  </a:cxn>
                  <a:cxn ang="0">
                    <a:pos x="933" y="295"/>
                  </a:cxn>
                  <a:cxn ang="0">
                    <a:pos x="995" y="348"/>
                  </a:cxn>
                  <a:cxn ang="0">
                    <a:pos x="496" y="393"/>
                  </a:cxn>
                  <a:cxn ang="0">
                    <a:pos x="579" y="498"/>
                  </a:cxn>
                  <a:cxn ang="0">
                    <a:pos x="472" y="587"/>
                  </a:cxn>
                  <a:cxn ang="0">
                    <a:pos x="549" y="840"/>
                  </a:cxn>
                  <a:cxn ang="0">
                    <a:pos x="882" y="904"/>
                  </a:cxn>
                  <a:cxn ang="0">
                    <a:pos x="867" y="924"/>
                  </a:cxn>
                  <a:cxn ang="0">
                    <a:pos x="972" y="947"/>
                  </a:cxn>
                  <a:cxn ang="0">
                    <a:pos x="1271" y="1522"/>
                  </a:cxn>
                  <a:cxn ang="0">
                    <a:pos x="198" y="378"/>
                  </a:cxn>
                  <a:cxn ang="0">
                    <a:pos x="305" y="230"/>
                  </a:cxn>
                  <a:cxn ang="0">
                    <a:pos x="373" y="171"/>
                  </a:cxn>
                  <a:cxn ang="0">
                    <a:pos x="377" y="240"/>
                  </a:cxn>
                  <a:cxn ang="0">
                    <a:pos x="464" y="169"/>
                  </a:cxn>
                  <a:cxn ang="0">
                    <a:pos x="407" y="146"/>
                  </a:cxn>
                  <a:cxn ang="0">
                    <a:pos x="99" y="372"/>
                  </a:cxn>
                  <a:cxn ang="0">
                    <a:pos x="457" y="181"/>
                  </a:cxn>
                  <a:cxn ang="0">
                    <a:pos x="1352" y="201"/>
                  </a:cxn>
                  <a:cxn ang="0">
                    <a:pos x="1150" y="85"/>
                  </a:cxn>
                  <a:cxn ang="0">
                    <a:pos x="1139" y="191"/>
                  </a:cxn>
                  <a:cxn ang="0">
                    <a:pos x="1050" y="268"/>
                  </a:cxn>
                  <a:cxn ang="0">
                    <a:pos x="1010" y="322"/>
                  </a:cxn>
                  <a:cxn ang="0">
                    <a:pos x="907" y="423"/>
                  </a:cxn>
                  <a:cxn ang="0">
                    <a:pos x="826" y="355"/>
                  </a:cxn>
                  <a:cxn ang="0">
                    <a:pos x="700" y="448"/>
                  </a:cxn>
                  <a:cxn ang="0">
                    <a:pos x="779" y="456"/>
                  </a:cxn>
                  <a:cxn ang="0">
                    <a:pos x="773" y="594"/>
                  </a:cxn>
                  <a:cxn ang="0">
                    <a:pos x="627" y="606"/>
                  </a:cxn>
                  <a:cxn ang="0">
                    <a:pos x="531" y="552"/>
                  </a:cxn>
                  <a:cxn ang="0">
                    <a:pos x="524" y="633"/>
                  </a:cxn>
                  <a:cxn ang="0">
                    <a:pos x="378" y="819"/>
                  </a:cxn>
                  <a:cxn ang="0">
                    <a:pos x="706" y="853"/>
                  </a:cxn>
                  <a:cxn ang="0">
                    <a:pos x="675" y="773"/>
                  </a:cxn>
                  <a:cxn ang="0">
                    <a:pos x="810" y="898"/>
                  </a:cxn>
                  <a:cxn ang="0">
                    <a:pos x="883" y="899"/>
                  </a:cxn>
                  <a:cxn ang="0">
                    <a:pos x="780" y="1016"/>
                  </a:cxn>
                  <a:cxn ang="0">
                    <a:pos x="463" y="901"/>
                  </a:cxn>
                  <a:cxn ang="0">
                    <a:pos x="185" y="1125"/>
                  </a:cxn>
                  <a:cxn ang="0">
                    <a:pos x="513" y="1404"/>
                  </a:cxn>
                  <a:cxn ang="0">
                    <a:pos x="659" y="1606"/>
                  </a:cxn>
                  <a:cxn ang="0">
                    <a:pos x="1192" y="1444"/>
                  </a:cxn>
                  <a:cxn ang="0">
                    <a:pos x="1176" y="1258"/>
                  </a:cxn>
                  <a:cxn ang="0">
                    <a:pos x="1202" y="1240"/>
                  </a:cxn>
                  <a:cxn ang="0">
                    <a:pos x="1244" y="989"/>
                  </a:cxn>
                  <a:cxn ang="0">
                    <a:pos x="1506" y="934"/>
                  </a:cxn>
                  <a:cxn ang="0">
                    <a:pos x="1629" y="773"/>
                  </a:cxn>
                  <a:cxn ang="0">
                    <a:pos x="984" y="814"/>
                  </a:cxn>
                  <a:cxn ang="0">
                    <a:pos x="1009" y="714"/>
                  </a:cxn>
                  <a:cxn ang="0">
                    <a:pos x="506" y="117"/>
                  </a:cxn>
                  <a:cxn ang="0">
                    <a:pos x="498" y="156"/>
                  </a:cxn>
                  <a:cxn ang="0">
                    <a:pos x="472" y="245"/>
                  </a:cxn>
                  <a:cxn ang="0">
                    <a:pos x="427" y="331"/>
                  </a:cxn>
                  <a:cxn ang="0">
                    <a:pos x="615" y="278"/>
                  </a:cxn>
                  <a:cxn ang="0">
                    <a:pos x="522" y="156"/>
                  </a:cxn>
                  <a:cxn ang="0">
                    <a:pos x="152" y="431"/>
                  </a:cxn>
                </a:cxnLst>
                <a:rect l="0" t="0" r="r" b="b"/>
                <a:pathLst>
                  <a:path w="1656" h="1688">
                    <a:moveTo>
                      <a:pt x="1132" y="74"/>
                    </a:moveTo>
                    <a:cubicBezTo>
                      <a:pt x="1127" y="73"/>
                      <a:pt x="1125" y="68"/>
                      <a:pt x="1120" y="67"/>
                    </a:cubicBezTo>
                    <a:cubicBezTo>
                      <a:pt x="1119" y="73"/>
                      <a:pt x="1128" y="75"/>
                      <a:pt x="1132" y="74"/>
                    </a:cubicBezTo>
                    <a:close/>
                    <a:moveTo>
                      <a:pt x="493" y="82"/>
                    </a:moveTo>
                    <a:cubicBezTo>
                      <a:pt x="486" y="82"/>
                      <a:pt x="473" y="80"/>
                      <a:pt x="471" y="91"/>
                    </a:cubicBezTo>
                    <a:cubicBezTo>
                      <a:pt x="476" y="92"/>
                      <a:pt x="475" y="100"/>
                      <a:pt x="478" y="103"/>
                    </a:cubicBezTo>
                    <a:cubicBezTo>
                      <a:pt x="489" y="100"/>
                      <a:pt x="496" y="93"/>
                      <a:pt x="501" y="84"/>
                    </a:cubicBezTo>
                    <a:cubicBezTo>
                      <a:pt x="496" y="83"/>
                      <a:pt x="496" y="88"/>
                      <a:pt x="491" y="87"/>
                    </a:cubicBezTo>
                    <a:cubicBezTo>
                      <a:pt x="491" y="85"/>
                      <a:pt x="493" y="85"/>
                      <a:pt x="493" y="82"/>
                    </a:cubicBezTo>
                    <a:close/>
                    <a:moveTo>
                      <a:pt x="506" y="103"/>
                    </a:moveTo>
                    <a:cubicBezTo>
                      <a:pt x="514" y="107"/>
                      <a:pt x="524" y="104"/>
                      <a:pt x="524" y="95"/>
                    </a:cubicBezTo>
                    <a:cubicBezTo>
                      <a:pt x="523" y="95"/>
                      <a:pt x="521" y="96"/>
                      <a:pt x="521" y="94"/>
                    </a:cubicBezTo>
                    <a:cubicBezTo>
                      <a:pt x="519" y="90"/>
                      <a:pt x="524" y="92"/>
                      <a:pt x="523" y="89"/>
                    </a:cubicBezTo>
                    <a:cubicBezTo>
                      <a:pt x="514" y="89"/>
                      <a:pt x="509" y="92"/>
                      <a:pt x="506" y="98"/>
                    </a:cubicBezTo>
                    <a:cubicBezTo>
                      <a:pt x="508" y="98"/>
                      <a:pt x="511" y="96"/>
                      <a:pt x="512" y="99"/>
                    </a:cubicBezTo>
                    <a:cubicBezTo>
                      <a:pt x="510" y="100"/>
                      <a:pt x="506" y="99"/>
                      <a:pt x="506" y="103"/>
                    </a:cubicBezTo>
                    <a:close/>
                    <a:moveTo>
                      <a:pt x="420" y="139"/>
                    </a:moveTo>
                    <a:cubicBezTo>
                      <a:pt x="428" y="140"/>
                      <a:pt x="431" y="131"/>
                      <a:pt x="438" y="128"/>
                    </a:cubicBezTo>
                    <a:cubicBezTo>
                      <a:pt x="448" y="124"/>
                      <a:pt x="462" y="126"/>
                      <a:pt x="469" y="117"/>
                    </a:cubicBezTo>
                    <a:cubicBezTo>
                      <a:pt x="466" y="115"/>
                      <a:pt x="459" y="120"/>
                      <a:pt x="455" y="116"/>
                    </a:cubicBezTo>
                    <a:cubicBezTo>
                      <a:pt x="460" y="116"/>
                      <a:pt x="465" y="115"/>
                      <a:pt x="469" y="114"/>
                    </a:cubicBezTo>
                    <a:cubicBezTo>
                      <a:pt x="469" y="110"/>
                      <a:pt x="463" y="113"/>
                      <a:pt x="463" y="110"/>
                    </a:cubicBezTo>
                    <a:cubicBezTo>
                      <a:pt x="465" y="110"/>
                      <a:pt x="467" y="111"/>
                      <a:pt x="470" y="111"/>
                    </a:cubicBezTo>
                    <a:cubicBezTo>
                      <a:pt x="470" y="106"/>
                      <a:pt x="471" y="106"/>
                      <a:pt x="476" y="105"/>
                    </a:cubicBezTo>
                    <a:cubicBezTo>
                      <a:pt x="474" y="101"/>
                      <a:pt x="471" y="97"/>
                      <a:pt x="466" y="95"/>
                    </a:cubicBezTo>
                    <a:cubicBezTo>
                      <a:pt x="464" y="96"/>
                      <a:pt x="461" y="97"/>
                      <a:pt x="460" y="99"/>
                    </a:cubicBezTo>
                    <a:cubicBezTo>
                      <a:pt x="458" y="94"/>
                      <a:pt x="454" y="100"/>
                      <a:pt x="451" y="100"/>
                    </a:cubicBezTo>
                    <a:cubicBezTo>
                      <a:pt x="441" y="98"/>
                      <a:pt x="424" y="105"/>
                      <a:pt x="425" y="121"/>
                    </a:cubicBezTo>
                    <a:cubicBezTo>
                      <a:pt x="421" y="126"/>
                      <a:pt x="413" y="127"/>
                      <a:pt x="411" y="134"/>
                    </a:cubicBezTo>
                    <a:cubicBezTo>
                      <a:pt x="415" y="135"/>
                      <a:pt x="417" y="130"/>
                      <a:pt x="419" y="132"/>
                    </a:cubicBezTo>
                    <a:cubicBezTo>
                      <a:pt x="419" y="135"/>
                      <a:pt x="418" y="138"/>
                      <a:pt x="420" y="139"/>
                    </a:cubicBezTo>
                    <a:close/>
                    <a:moveTo>
                      <a:pt x="498" y="97"/>
                    </a:moveTo>
                    <a:cubicBezTo>
                      <a:pt x="497" y="101"/>
                      <a:pt x="504" y="99"/>
                      <a:pt x="503" y="97"/>
                    </a:cubicBezTo>
                    <a:cubicBezTo>
                      <a:pt x="501" y="97"/>
                      <a:pt x="500" y="95"/>
                      <a:pt x="498" y="97"/>
                    </a:cubicBezTo>
                    <a:close/>
                    <a:moveTo>
                      <a:pt x="521" y="113"/>
                    </a:moveTo>
                    <a:cubicBezTo>
                      <a:pt x="521" y="111"/>
                      <a:pt x="522" y="111"/>
                      <a:pt x="521" y="110"/>
                    </a:cubicBezTo>
                    <a:cubicBezTo>
                      <a:pt x="516" y="110"/>
                      <a:pt x="511" y="110"/>
                      <a:pt x="511" y="115"/>
                    </a:cubicBezTo>
                    <a:cubicBezTo>
                      <a:pt x="518" y="114"/>
                      <a:pt x="527" y="120"/>
                      <a:pt x="528" y="113"/>
                    </a:cubicBezTo>
                    <a:cubicBezTo>
                      <a:pt x="526" y="110"/>
                      <a:pt x="524" y="114"/>
                      <a:pt x="521" y="113"/>
                    </a:cubicBezTo>
                    <a:close/>
                    <a:moveTo>
                      <a:pt x="463" y="127"/>
                    </a:moveTo>
                    <a:cubicBezTo>
                      <a:pt x="468" y="127"/>
                      <a:pt x="471" y="124"/>
                      <a:pt x="473" y="120"/>
                    </a:cubicBezTo>
                    <a:cubicBezTo>
                      <a:pt x="468" y="121"/>
                      <a:pt x="463" y="122"/>
                      <a:pt x="463" y="127"/>
                    </a:cubicBezTo>
                    <a:close/>
                    <a:moveTo>
                      <a:pt x="515" y="122"/>
                    </a:moveTo>
                    <a:cubicBezTo>
                      <a:pt x="512" y="123"/>
                      <a:pt x="508" y="123"/>
                      <a:pt x="506" y="125"/>
                    </a:cubicBezTo>
                    <a:cubicBezTo>
                      <a:pt x="509" y="124"/>
                      <a:pt x="513" y="124"/>
                      <a:pt x="515" y="122"/>
                    </a:cubicBezTo>
                    <a:close/>
                    <a:moveTo>
                      <a:pt x="532" y="123"/>
                    </a:moveTo>
                    <a:cubicBezTo>
                      <a:pt x="523" y="124"/>
                      <a:pt x="519" y="130"/>
                      <a:pt x="514" y="134"/>
                    </a:cubicBezTo>
                    <a:cubicBezTo>
                      <a:pt x="523" y="133"/>
                      <a:pt x="531" y="132"/>
                      <a:pt x="532" y="123"/>
                    </a:cubicBezTo>
                    <a:close/>
                    <a:moveTo>
                      <a:pt x="500" y="125"/>
                    </a:moveTo>
                    <a:cubicBezTo>
                      <a:pt x="490" y="125"/>
                      <a:pt x="489" y="133"/>
                      <a:pt x="480" y="135"/>
                    </a:cubicBezTo>
                    <a:cubicBezTo>
                      <a:pt x="480" y="137"/>
                      <a:pt x="480" y="138"/>
                      <a:pt x="481" y="139"/>
                    </a:cubicBezTo>
                    <a:cubicBezTo>
                      <a:pt x="489" y="138"/>
                      <a:pt x="502" y="140"/>
                      <a:pt x="502" y="131"/>
                    </a:cubicBezTo>
                    <a:cubicBezTo>
                      <a:pt x="497" y="132"/>
                      <a:pt x="498" y="130"/>
                      <a:pt x="493" y="130"/>
                    </a:cubicBezTo>
                    <a:cubicBezTo>
                      <a:pt x="496" y="129"/>
                      <a:pt x="500" y="128"/>
                      <a:pt x="500" y="125"/>
                    </a:cubicBezTo>
                    <a:close/>
                    <a:moveTo>
                      <a:pt x="467" y="140"/>
                    </a:moveTo>
                    <a:cubicBezTo>
                      <a:pt x="471" y="139"/>
                      <a:pt x="476" y="134"/>
                      <a:pt x="472" y="130"/>
                    </a:cubicBezTo>
                    <a:cubicBezTo>
                      <a:pt x="467" y="129"/>
                      <a:pt x="466" y="133"/>
                      <a:pt x="462" y="133"/>
                    </a:cubicBezTo>
                    <a:cubicBezTo>
                      <a:pt x="462" y="130"/>
                      <a:pt x="466" y="132"/>
                      <a:pt x="465" y="129"/>
                    </a:cubicBezTo>
                    <a:cubicBezTo>
                      <a:pt x="455" y="131"/>
                      <a:pt x="449" y="136"/>
                      <a:pt x="441" y="139"/>
                    </a:cubicBezTo>
                    <a:cubicBezTo>
                      <a:pt x="440" y="142"/>
                      <a:pt x="443" y="141"/>
                      <a:pt x="443" y="144"/>
                    </a:cubicBezTo>
                    <a:cubicBezTo>
                      <a:pt x="454" y="146"/>
                      <a:pt x="458" y="136"/>
                      <a:pt x="467" y="140"/>
                    </a:cubicBezTo>
                    <a:close/>
                    <a:moveTo>
                      <a:pt x="525" y="135"/>
                    </a:moveTo>
                    <a:cubicBezTo>
                      <a:pt x="519" y="136"/>
                      <a:pt x="512" y="137"/>
                      <a:pt x="511" y="143"/>
                    </a:cubicBezTo>
                    <a:cubicBezTo>
                      <a:pt x="517" y="142"/>
                      <a:pt x="527" y="140"/>
                      <a:pt x="525" y="135"/>
                    </a:cubicBezTo>
                    <a:close/>
                    <a:moveTo>
                      <a:pt x="506" y="139"/>
                    </a:moveTo>
                    <a:cubicBezTo>
                      <a:pt x="502" y="137"/>
                      <a:pt x="499" y="142"/>
                      <a:pt x="496" y="142"/>
                    </a:cubicBezTo>
                    <a:cubicBezTo>
                      <a:pt x="495" y="152"/>
                      <a:pt x="482" y="148"/>
                      <a:pt x="476" y="152"/>
                    </a:cubicBezTo>
                    <a:cubicBezTo>
                      <a:pt x="478" y="161"/>
                      <a:pt x="473" y="168"/>
                      <a:pt x="480" y="176"/>
                    </a:cubicBezTo>
                    <a:cubicBezTo>
                      <a:pt x="487" y="175"/>
                      <a:pt x="496" y="175"/>
                      <a:pt x="497" y="166"/>
                    </a:cubicBezTo>
                    <a:cubicBezTo>
                      <a:pt x="488" y="164"/>
                      <a:pt x="490" y="161"/>
                      <a:pt x="490" y="159"/>
                    </a:cubicBezTo>
                    <a:cubicBezTo>
                      <a:pt x="489" y="151"/>
                      <a:pt x="495" y="156"/>
                      <a:pt x="501" y="149"/>
                    </a:cubicBezTo>
                    <a:cubicBezTo>
                      <a:pt x="502" y="148"/>
                      <a:pt x="501" y="146"/>
                      <a:pt x="501" y="145"/>
                    </a:cubicBezTo>
                    <a:cubicBezTo>
                      <a:pt x="503" y="143"/>
                      <a:pt x="507" y="143"/>
                      <a:pt x="506" y="139"/>
                    </a:cubicBezTo>
                    <a:close/>
                    <a:moveTo>
                      <a:pt x="1122" y="141"/>
                    </a:moveTo>
                    <a:cubicBezTo>
                      <a:pt x="1121" y="150"/>
                      <a:pt x="1134" y="146"/>
                      <a:pt x="1134" y="141"/>
                    </a:cubicBezTo>
                    <a:cubicBezTo>
                      <a:pt x="1132" y="140"/>
                      <a:pt x="1131" y="138"/>
                      <a:pt x="1127" y="139"/>
                    </a:cubicBezTo>
                    <a:cubicBezTo>
                      <a:pt x="1129" y="143"/>
                      <a:pt x="1124" y="143"/>
                      <a:pt x="1122" y="141"/>
                    </a:cubicBezTo>
                    <a:close/>
                    <a:moveTo>
                      <a:pt x="475" y="148"/>
                    </a:moveTo>
                    <a:cubicBezTo>
                      <a:pt x="481" y="147"/>
                      <a:pt x="489" y="149"/>
                      <a:pt x="488" y="141"/>
                    </a:cubicBezTo>
                    <a:cubicBezTo>
                      <a:pt x="482" y="139"/>
                      <a:pt x="477" y="143"/>
                      <a:pt x="475" y="148"/>
                    </a:cubicBezTo>
                    <a:close/>
                    <a:moveTo>
                      <a:pt x="452" y="155"/>
                    </a:moveTo>
                    <a:cubicBezTo>
                      <a:pt x="460" y="154"/>
                      <a:pt x="462" y="158"/>
                      <a:pt x="469" y="156"/>
                    </a:cubicBezTo>
                    <a:cubicBezTo>
                      <a:pt x="471" y="152"/>
                      <a:pt x="473" y="149"/>
                      <a:pt x="473" y="143"/>
                    </a:cubicBezTo>
                    <a:cubicBezTo>
                      <a:pt x="464" y="143"/>
                      <a:pt x="454" y="143"/>
                      <a:pt x="448" y="149"/>
                    </a:cubicBezTo>
                    <a:cubicBezTo>
                      <a:pt x="449" y="151"/>
                      <a:pt x="453" y="150"/>
                      <a:pt x="456" y="150"/>
                    </a:cubicBezTo>
                    <a:cubicBezTo>
                      <a:pt x="456" y="152"/>
                      <a:pt x="453" y="153"/>
                      <a:pt x="452" y="155"/>
                    </a:cubicBezTo>
                    <a:close/>
                    <a:moveTo>
                      <a:pt x="509" y="151"/>
                    </a:moveTo>
                    <a:cubicBezTo>
                      <a:pt x="511" y="150"/>
                      <a:pt x="514" y="150"/>
                      <a:pt x="515" y="148"/>
                    </a:cubicBezTo>
                    <a:cubicBezTo>
                      <a:pt x="512" y="148"/>
                      <a:pt x="508" y="148"/>
                      <a:pt x="509" y="151"/>
                    </a:cubicBezTo>
                    <a:close/>
                    <a:moveTo>
                      <a:pt x="1111" y="158"/>
                    </a:moveTo>
                    <a:cubicBezTo>
                      <a:pt x="1114" y="166"/>
                      <a:pt x="1123" y="164"/>
                      <a:pt x="1132" y="163"/>
                    </a:cubicBezTo>
                    <a:cubicBezTo>
                      <a:pt x="1129" y="158"/>
                      <a:pt x="1125" y="155"/>
                      <a:pt x="1127" y="150"/>
                    </a:cubicBezTo>
                    <a:cubicBezTo>
                      <a:pt x="1125" y="149"/>
                      <a:pt x="1119" y="146"/>
                      <a:pt x="1119" y="151"/>
                    </a:cubicBezTo>
                    <a:cubicBezTo>
                      <a:pt x="1118" y="154"/>
                      <a:pt x="1123" y="152"/>
                      <a:pt x="1123" y="154"/>
                    </a:cubicBezTo>
                    <a:cubicBezTo>
                      <a:pt x="1119" y="155"/>
                      <a:pt x="1117" y="151"/>
                      <a:pt x="1115" y="153"/>
                    </a:cubicBezTo>
                    <a:cubicBezTo>
                      <a:pt x="1113" y="155"/>
                      <a:pt x="1115" y="155"/>
                      <a:pt x="1116" y="157"/>
                    </a:cubicBezTo>
                    <a:cubicBezTo>
                      <a:pt x="1113" y="156"/>
                      <a:pt x="1114" y="159"/>
                      <a:pt x="1111" y="158"/>
                    </a:cubicBezTo>
                    <a:close/>
                    <a:moveTo>
                      <a:pt x="1150" y="154"/>
                    </a:moveTo>
                    <a:cubicBezTo>
                      <a:pt x="1148" y="152"/>
                      <a:pt x="1144" y="153"/>
                      <a:pt x="1141" y="153"/>
                    </a:cubicBezTo>
                    <a:cubicBezTo>
                      <a:pt x="1141" y="158"/>
                      <a:pt x="1144" y="160"/>
                      <a:pt x="1148" y="161"/>
                    </a:cubicBezTo>
                    <a:cubicBezTo>
                      <a:pt x="1148" y="157"/>
                      <a:pt x="1148" y="155"/>
                      <a:pt x="1150" y="154"/>
                    </a:cubicBezTo>
                    <a:close/>
                    <a:moveTo>
                      <a:pt x="1136" y="157"/>
                    </a:moveTo>
                    <a:cubicBezTo>
                      <a:pt x="1135" y="160"/>
                      <a:pt x="1141" y="162"/>
                      <a:pt x="1143" y="160"/>
                    </a:cubicBezTo>
                    <a:cubicBezTo>
                      <a:pt x="1140" y="159"/>
                      <a:pt x="1139" y="156"/>
                      <a:pt x="1136" y="157"/>
                    </a:cubicBezTo>
                    <a:close/>
                    <a:moveTo>
                      <a:pt x="406" y="197"/>
                    </a:moveTo>
                    <a:cubicBezTo>
                      <a:pt x="410" y="197"/>
                      <a:pt x="412" y="199"/>
                      <a:pt x="414" y="196"/>
                    </a:cubicBezTo>
                    <a:cubicBezTo>
                      <a:pt x="412" y="196"/>
                      <a:pt x="407" y="194"/>
                      <a:pt x="406" y="197"/>
                    </a:cubicBezTo>
                    <a:close/>
                    <a:moveTo>
                      <a:pt x="1344" y="196"/>
                    </a:moveTo>
                    <a:cubicBezTo>
                      <a:pt x="1346" y="197"/>
                      <a:pt x="1347" y="199"/>
                      <a:pt x="1350" y="199"/>
                    </a:cubicBezTo>
                    <a:cubicBezTo>
                      <a:pt x="1350" y="197"/>
                      <a:pt x="1345" y="194"/>
                      <a:pt x="1344" y="196"/>
                    </a:cubicBezTo>
                    <a:close/>
                    <a:moveTo>
                      <a:pt x="333" y="204"/>
                    </a:moveTo>
                    <a:cubicBezTo>
                      <a:pt x="328" y="205"/>
                      <a:pt x="321" y="204"/>
                      <a:pt x="320" y="210"/>
                    </a:cubicBezTo>
                    <a:cubicBezTo>
                      <a:pt x="325" y="211"/>
                      <a:pt x="333" y="209"/>
                      <a:pt x="333" y="204"/>
                    </a:cubicBezTo>
                    <a:close/>
                    <a:moveTo>
                      <a:pt x="387" y="212"/>
                    </a:moveTo>
                    <a:cubicBezTo>
                      <a:pt x="392" y="211"/>
                      <a:pt x="399" y="212"/>
                      <a:pt x="400" y="206"/>
                    </a:cubicBezTo>
                    <a:cubicBezTo>
                      <a:pt x="394" y="202"/>
                      <a:pt x="384" y="206"/>
                      <a:pt x="387" y="212"/>
                    </a:cubicBezTo>
                    <a:close/>
                    <a:moveTo>
                      <a:pt x="996" y="220"/>
                    </a:moveTo>
                    <a:cubicBezTo>
                      <a:pt x="999" y="220"/>
                      <a:pt x="999" y="220"/>
                      <a:pt x="999" y="220"/>
                    </a:cubicBezTo>
                    <a:cubicBezTo>
                      <a:pt x="1000" y="218"/>
                      <a:pt x="996" y="217"/>
                      <a:pt x="999" y="216"/>
                    </a:cubicBezTo>
                    <a:cubicBezTo>
                      <a:pt x="1000" y="216"/>
                      <a:pt x="1000" y="216"/>
                      <a:pt x="1001" y="215"/>
                    </a:cubicBezTo>
                    <a:cubicBezTo>
                      <a:pt x="1001" y="217"/>
                      <a:pt x="1002" y="218"/>
                      <a:pt x="1002" y="219"/>
                    </a:cubicBezTo>
                    <a:cubicBezTo>
                      <a:pt x="1010" y="219"/>
                      <a:pt x="1016" y="218"/>
                      <a:pt x="1021" y="215"/>
                    </a:cubicBezTo>
                    <a:cubicBezTo>
                      <a:pt x="1016" y="213"/>
                      <a:pt x="1013" y="209"/>
                      <a:pt x="1006" y="209"/>
                    </a:cubicBezTo>
                    <a:cubicBezTo>
                      <a:pt x="1006" y="210"/>
                      <a:pt x="1008" y="211"/>
                      <a:pt x="1006" y="211"/>
                    </a:cubicBezTo>
                    <a:cubicBezTo>
                      <a:pt x="999" y="211"/>
                      <a:pt x="990" y="204"/>
                      <a:pt x="980" y="206"/>
                    </a:cubicBezTo>
                    <a:cubicBezTo>
                      <a:pt x="982" y="214"/>
                      <a:pt x="992" y="214"/>
                      <a:pt x="996" y="220"/>
                    </a:cubicBezTo>
                    <a:close/>
                    <a:moveTo>
                      <a:pt x="1036" y="221"/>
                    </a:moveTo>
                    <a:cubicBezTo>
                      <a:pt x="1035" y="215"/>
                      <a:pt x="1039" y="214"/>
                      <a:pt x="1040" y="210"/>
                    </a:cubicBezTo>
                    <a:cubicBezTo>
                      <a:pt x="1032" y="207"/>
                      <a:pt x="1024" y="207"/>
                      <a:pt x="1019" y="208"/>
                    </a:cubicBezTo>
                    <a:cubicBezTo>
                      <a:pt x="1025" y="212"/>
                      <a:pt x="1028" y="219"/>
                      <a:pt x="1036" y="221"/>
                    </a:cubicBezTo>
                    <a:close/>
                    <a:moveTo>
                      <a:pt x="394" y="213"/>
                    </a:moveTo>
                    <a:cubicBezTo>
                      <a:pt x="394" y="215"/>
                      <a:pt x="394" y="216"/>
                      <a:pt x="395" y="216"/>
                    </a:cubicBezTo>
                    <a:cubicBezTo>
                      <a:pt x="397" y="216"/>
                      <a:pt x="398" y="215"/>
                      <a:pt x="399" y="213"/>
                    </a:cubicBezTo>
                    <a:cubicBezTo>
                      <a:pt x="397" y="212"/>
                      <a:pt x="395" y="212"/>
                      <a:pt x="394" y="213"/>
                    </a:cubicBezTo>
                    <a:close/>
                    <a:moveTo>
                      <a:pt x="315" y="221"/>
                    </a:moveTo>
                    <a:cubicBezTo>
                      <a:pt x="319" y="221"/>
                      <a:pt x="323" y="221"/>
                      <a:pt x="323" y="217"/>
                    </a:cubicBezTo>
                    <a:cubicBezTo>
                      <a:pt x="320" y="215"/>
                      <a:pt x="316" y="219"/>
                      <a:pt x="315" y="221"/>
                    </a:cubicBezTo>
                    <a:close/>
                    <a:moveTo>
                      <a:pt x="337" y="218"/>
                    </a:moveTo>
                    <a:cubicBezTo>
                      <a:pt x="334" y="219"/>
                      <a:pt x="332" y="220"/>
                      <a:pt x="331" y="223"/>
                    </a:cubicBezTo>
                    <a:cubicBezTo>
                      <a:pt x="334" y="222"/>
                      <a:pt x="338" y="222"/>
                      <a:pt x="337" y="218"/>
                    </a:cubicBezTo>
                    <a:close/>
                    <a:moveTo>
                      <a:pt x="250" y="247"/>
                    </a:moveTo>
                    <a:cubicBezTo>
                      <a:pt x="253" y="246"/>
                      <a:pt x="255" y="245"/>
                      <a:pt x="256" y="242"/>
                    </a:cubicBezTo>
                    <a:cubicBezTo>
                      <a:pt x="252" y="242"/>
                      <a:pt x="250" y="244"/>
                      <a:pt x="250" y="247"/>
                    </a:cubicBezTo>
                    <a:close/>
                    <a:moveTo>
                      <a:pt x="223" y="250"/>
                    </a:moveTo>
                    <a:cubicBezTo>
                      <a:pt x="220" y="250"/>
                      <a:pt x="220" y="253"/>
                      <a:pt x="218" y="255"/>
                    </a:cubicBezTo>
                    <a:cubicBezTo>
                      <a:pt x="221" y="254"/>
                      <a:pt x="222" y="253"/>
                      <a:pt x="223" y="250"/>
                    </a:cubicBezTo>
                    <a:close/>
                    <a:moveTo>
                      <a:pt x="933" y="295"/>
                    </a:moveTo>
                    <a:cubicBezTo>
                      <a:pt x="933" y="308"/>
                      <a:pt x="933" y="322"/>
                      <a:pt x="933" y="331"/>
                    </a:cubicBezTo>
                    <a:cubicBezTo>
                      <a:pt x="936" y="333"/>
                      <a:pt x="941" y="334"/>
                      <a:pt x="947" y="333"/>
                    </a:cubicBezTo>
                    <a:cubicBezTo>
                      <a:pt x="951" y="341"/>
                      <a:pt x="961" y="344"/>
                      <a:pt x="970" y="339"/>
                    </a:cubicBezTo>
                    <a:cubicBezTo>
                      <a:pt x="953" y="332"/>
                      <a:pt x="942" y="316"/>
                      <a:pt x="948" y="294"/>
                    </a:cubicBezTo>
                    <a:cubicBezTo>
                      <a:pt x="948" y="292"/>
                      <a:pt x="953" y="290"/>
                      <a:pt x="951" y="286"/>
                    </a:cubicBezTo>
                    <a:cubicBezTo>
                      <a:pt x="956" y="284"/>
                      <a:pt x="960" y="279"/>
                      <a:pt x="965" y="276"/>
                    </a:cubicBezTo>
                    <a:cubicBezTo>
                      <a:pt x="967" y="258"/>
                      <a:pt x="950" y="265"/>
                      <a:pt x="949" y="275"/>
                    </a:cubicBezTo>
                    <a:cubicBezTo>
                      <a:pt x="937" y="277"/>
                      <a:pt x="934" y="283"/>
                      <a:pt x="929" y="292"/>
                    </a:cubicBezTo>
                    <a:cubicBezTo>
                      <a:pt x="929" y="295"/>
                      <a:pt x="933" y="293"/>
                      <a:pt x="933" y="295"/>
                    </a:cubicBezTo>
                    <a:close/>
                    <a:moveTo>
                      <a:pt x="305" y="269"/>
                    </a:moveTo>
                    <a:cubicBezTo>
                      <a:pt x="301" y="269"/>
                      <a:pt x="301" y="272"/>
                      <a:pt x="300" y="275"/>
                    </a:cubicBezTo>
                    <a:cubicBezTo>
                      <a:pt x="303" y="274"/>
                      <a:pt x="305" y="273"/>
                      <a:pt x="305" y="269"/>
                    </a:cubicBezTo>
                    <a:close/>
                    <a:moveTo>
                      <a:pt x="319" y="275"/>
                    </a:moveTo>
                    <a:cubicBezTo>
                      <a:pt x="318" y="276"/>
                      <a:pt x="317" y="277"/>
                      <a:pt x="317" y="279"/>
                    </a:cubicBezTo>
                    <a:cubicBezTo>
                      <a:pt x="320" y="279"/>
                      <a:pt x="322" y="279"/>
                      <a:pt x="322" y="276"/>
                    </a:cubicBezTo>
                    <a:cubicBezTo>
                      <a:pt x="321" y="276"/>
                      <a:pt x="320" y="275"/>
                      <a:pt x="319" y="275"/>
                    </a:cubicBezTo>
                    <a:close/>
                    <a:moveTo>
                      <a:pt x="1006" y="296"/>
                    </a:moveTo>
                    <a:cubicBezTo>
                      <a:pt x="1006" y="292"/>
                      <a:pt x="1003" y="291"/>
                      <a:pt x="999" y="291"/>
                    </a:cubicBezTo>
                    <a:cubicBezTo>
                      <a:pt x="999" y="296"/>
                      <a:pt x="1003" y="298"/>
                      <a:pt x="1006" y="296"/>
                    </a:cubicBezTo>
                    <a:close/>
                    <a:moveTo>
                      <a:pt x="981" y="340"/>
                    </a:moveTo>
                    <a:cubicBezTo>
                      <a:pt x="983" y="346"/>
                      <a:pt x="989" y="347"/>
                      <a:pt x="995" y="348"/>
                    </a:cubicBezTo>
                    <a:cubicBezTo>
                      <a:pt x="995" y="341"/>
                      <a:pt x="986" y="339"/>
                      <a:pt x="981" y="340"/>
                    </a:cubicBezTo>
                    <a:close/>
                    <a:moveTo>
                      <a:pt x="171" y="378"/>
                    </a:moveTo>
                    <a:cubicBezTo>
                      <a:pt x="174" y="373"/>
                      <a:pt x="176" y="363"/>
                      <a:pt x="175" y="357"/>
                    </a:cubicBezTo>
                    <a:cubicBezTo>
                      <a:pt x="172" y="362"/>
                      <a:pt x="166" y="372"/>
                      <a:pt x="171" y="378"/>
                    </a:cubicBezTo>
                    <a:close/>
                    <a:moveTo>
                      <a:pt x="558" y="387"/>
                    </a:moveTo>
                    <a:cubicBezTo>
                      <a:pt x="558" y="383"/>
                      <a:pt x="560" y="382"/>
                      <a:pt x="561" y="379"/>
                    </a:cubicBezTo>
                    <a:cubicBezTo>
                      <a:pt x="558" y="379"/>
                      <a:pt x="556" y="377"/>
                      <a:pt x="557" y="373"/>
                    </a:cubicBezTo>
                    <a:cubicBezTo>
                      <a:pt x="551" y="378"/>
                      <a:pt x="547" y="374"/>
                      <a:pt x="541" y="375"/>
                    </a:cubicBezTo>
                    <a:cubicBezTo>
                      <a:pt x="539" y="373"/>
                      <a:pt x="542" y="372"/>
                      <a:pt x="539" y="371"/>
                    </a:cubicBezTo>
                    <a:cubicBezTo>
                      <a:pt x="537" y="373"/>
                      <a:pt x="534" y="374"/>
                      <a:pt x="531" y="375"/>
                    </a:cubicBezTo>
                    <a:cubicBezTo>
                      <a:pt x="531" y="372"/>
                      <a:pt x="533" y="371"/>
                      <a:pt x="530" y="370"/>
                    </a:cubicBezTo>
                    <a:cubicBezTo>
                      <a:pt x="528" y="376"/>
                      <a:pt x="524" y="375"/>
                      <a:pt x="521" y="375"/>
                    </a:cubicBezTo>
                    <a:cubicBezTo>
                      <a:pt x="521" y="372"/>
                      <a:pt x="523" y="371"/>
                      <a:pt x="525" y="370"/>
                    </a:cubicBezTo>
                    <a:cubicBezTo>
                      <a:pt x="526" y="366"/>
                      <a:pt x="525" y="364"/>
                      <a:pt x="524" y="361"/>
                    </a:cubicBezTo>
                    <a:cubicBezTo>
                      <a:pt x="518" y="364"/>
                      <a:pt x="509" y="362"/>
                      <a:pt x="505" y="371"/>
                    </a:cubicBezTo>
                    <a:cubicBezTo>
                      <a:pt x="509" y="373"/>
                      <a:pt x="514" y="369"/>
                      <a:pt x="516" y="373"/>
                    </a:cubicBezTo>
                    <a:cubicBezTo>
                      <a:pt x="513" y="374"/>
                      <a:pt x="512" y="376"/>
                      <a:pt x="510" y="378"/>
                    </a:cubicBezTo>
                    <a:cubicBezTo>
                      <a:pt x="507" y="377"/>
                      <a:pt x="502" y="374"/>
                      <a:pt x="499" y="376"/>
                    </a:cubicBezTo>
                    <a:cubicBezTo>
                      <a:pt x="501" y="380"/>
                      <a:pt x="509" y="383"/>
                      <a:pt x="504" y="389"/>
                    </a:cubicBezTo>
                    <a:cubicBezTo>
                      <a:pt x="501" y="392"/>
                      <a:pt x="500" y="387"/>
                      <a:pt x="497" y="389"/>
                    </a:cubicBezTo>
                    <a:cubicBezTo>
                      <a:pt x="497" y="391"/>
                      <a:pt x="495" y="391"/>
                      <a:pt x="496" y="393"/>
                    </a:cubicBezTo>
                    <a:cubicBezTo>
                      <a:pt x="497" y="395"/>
                      <a:pt x="500" y="395"/>
                      <a:pt x="504" y="395"/>
                    </a:cubicBezTo>
                    <a:cubicBezTo>
                      <a:pt x="505" y="400"/>
                      <a:pt x="508" y="402"/>
                      <a:pt x="509" y="406"/>
                    </a:cubicBezTo>
                    <a:cubicBezTo>
                      <a:pt x="528" y="404"/>
                      <a:pt x="551" y="409"/>
                      <a:pt x="562" y="389"/>
                    </a:cubicBezTo>
                    <a:cubicBezTo>
                      <a:pt x="562" y="389"/>
                      <a:pt x="559" y="388"/>
                      <a:pt x="558" y="387"/>
                    </a:cubicBezTo>
                    <a:close/>
                    <a:moveTo>
                      <a:pt x="136" y="406"/>
                    </a:moveTo>
                    <a:cubicBezTo>
                      <a:pt x="135" y="410"/>
                      <a:pt x="136" y="414"/>
                      <a:pt x="139" y="414"/>
                    </a:cubicBezTo>
                    <a:cubicBezTo>
                      <a:pt x="140" y="410"/>
                      <a:pt x="144" y="409"/>
                      <a:pt x="144" y="404"/>
                    </a:cubicBezTo>
                    <a:cubicBezTo>
                      <a:pt x="141" y="402"/>
                      <a:pt x="138" y="406"/>
                      <a:pt x="136" y="406"/>
                    </a:cubicBezTo>
                    <a:close/>
                    <a:moveTo>
                      <a:pt x="576" y="445"/>
                    </a:moveTo>
                    <a:cubicBezTo>
                      <a:pt x="573" y="445"/>
                      <a:pt x="572" y="447"/>
                      <a:pt x="572" y="451"/>
                    </a:cubicBezTo>
                    <a:cubicBezTo>
                      <a:pt x="576" y="450"/>
                      <a:pt x="576" y="448"/>
                      <a:pt x="576" y="445"/>
                    </a:cubicBezTo>
                    <a:close/>
                    <a:moveTo>
                      <a:pt x="607" y="477"/>
                    </a:moveTo>
                    <a:cubicBezTo>
                      <a:pt x="607" y="480"/>
                      <a:pt x="605" y="479"/>
                      <a:pt x="607" y="481"/>
                    </a:cubicBezTo>
                    <a:cubicBezTo>
                      <a:pt x="611" y="482"/>
                      <a:pt x="611" y="477"/>
                      <a:pt x="607" y="477"/>
                    </a:cubicBezTo>
                    <a:close/>
                    <a:moveTo>
                      <a:pt x="602" y="480"/>
                    </a:moveTo>
                    <a:cubicBezTo>
                      <a:pt x="600" y="482"/>
                      <a:pt x="598" y="485"/>
                      <a:pt x="599" y="490"/>
                    </a:cubicBezTo>
                    <a:cubicBezTo>
                      <a:pt x="603" y="490"/>
                      <a:pt x="607" y="482"/>
                      <a:pt x="602" y="480"/>
                    </a:cubicBezTo>
                    <a:close/>
                    <a:moveTo>
                      <a:pt x="486" y="492"/>
                    </a:moveTo>
                    <a:cubicBezTo>
                      <a:pt x="485" y="493"/>
                      <a:pt x="483" y="496"/>
                      <a:pt x="486" y="497"/>
                    </a:cubicBezTo>
                    <a:cubicBezTo>
                      <a:pt x="487" y="495"/>
                      <a:pt x="489" y="492"/>
                      <a:pt x="486" y="492"/>
                    </a:cubicBezTo>
                    <a:close/>
                    <a:moveTo>
                      <a:pt x="579" y="498"/>
                    </a:moveTo>
                    <a:cubicBezTo>
                      <a:pt x="579" y="498"/>
                      <a:pt x="579" y="499"/>
                      <a:pt x="578" y="499"/>
                    </a:cubicBezTo>
                    <a:cubicBezTo>
                      <a:pt x="579" y="502"/>
                      <a:pt x="579" y="504"/>
                      <a:pt x="582" y="504"/>
                    </a:cubicBezTo>
                    <a:cubicBezTo>
                      <a:pt x="580" y="501"/>
                      <a:pt x="584" y="498"/>
                      <a:pt x="579" y="498"/>
                    </a:cubicBezTo>
                    <a:close/>
                    <a:moveTo>
                      <a:pt x="551" y="502"/>
                    </a:moveTo>
                    <a:cubicBezTo>
                      <a:pt x="549" y="501"/>
                      <a:pt x="544" y="504"/>
                      <a:pt x="542" y="505"/>
                    </a:cubicBezTo>
                    <a:cubicBezTo>
                      <a:pt x="542" y="508"/>
                      <a:pt x="540" y="509"/>
                      <a:pt x="542" y="511"/>
                    </a:cubicBezTo>
                    <a:cubicBezTo>
                      <a:pt x="547" y="511"/>
                      <a:pt x="550" y="507"/>
                      <a:pt x="551" y="502"/>
                    </a:cubicBezTo>
                    <a:close/>
                    <a:moveTo>
                      <a:pt x="543" y="523"/>
                    </a:moveTo>
                    <a:cubicBezTo>
                      <a:pt x="544" y="521"/>
                      <a:pt x="546" y="519"/>
                      <a:pt x="545" y="515"/>
                    </a:cubicBezTo>
                    <a:cubicBezTo>
                      <a:pt x="539" y="514"/>
                      <a:pt x="538" y="522"/>
                      <a:pt x="543" y="523"/>
                    </a:cubicBezTo>
                    <a:close/>
                    <a:moveTo>
                      <a:pt x="466" y="602"/>
                    </a:moveTo>
                    <a:cubicBezTo>
                      <a:pt x="480" y="605"/>
                      <a:pt x="490" y="596"/>
                      <a:pt x="504" y="598"/>
                    </a:cubicBezTo>
                    <a:cubicBezTo>
                      <a:pt x="511" y="592"/>
                      <a:pt x="516" y="584"/>
                      <a:pt x="517" y="571"/>
                    </a:cubicBezTo>
                    <a:cubicBezTo>
                      <a:pt x="529" y="572"/>
                      <a:pt x="531" y="562"/>
                      <a:pt x="527" y="551"/>
                    </a:cubicBezTo>
                    <a:cubicBezTo>
                      <a:pt x="517" y="545"/>
                      <a:pt x="510" y="545"/>
                      <a:pt x="500" y="553"/>
                    </a:cubicBezTo>
                    <a:cubicBezTo>
                      <a:pt x="500" y="556"/>
                      <a:pt x="504" y="556"/>
                      <a:pt x="501" y="558"/>
                    </a:cubicBezTo>
                    <a:cubicBezTo>
                      <a:pt x="498" y="557"/>
                      <a:pt x="499" y="561"/>
                      <a:pt x="497" y="560"/>
                    </a:cubicBezTo>
                    <a:cubicBezTo>
                      <a:pt x="494" y="559"/>
                      <a:pt x="495" y="555"/>
                      <a:pt x="491" y="555"/>
                    </a:cubicBezTo>
                    <a:cubicBezTo>
                      <a:pt x="483" y="557"/>
                      <a:pt x="486" y="564"/>
                      <a:pt x="480" y="569"/>
                    </a:cubicBezTo>
                    <a:cubicBezTo>
                      <a:pt x="479" y="574"/>
                      <a:pt x="484" y="572"/>
                      <a:pt x="484" y="576"/>
                    </a:cubicBezTo>
                    <a:cubicBezTo>
                      <a:pt x="479" y="579"/>
                      <a:pt x="475" y="583"/>
                      <a:pt x="472" y="587"/>
                    </a:cubicBezTo>
                    <a:cubicBezTo>
                      <a:pt x="462" y="584"/>
                      <a:pt x="464" y="594"/>
                      <a:pt x="466" y="602"/>
                    </a:cubicBezTo>
                    <a:close/>
                    <a:moveTo>
                      <a:pt x="537" y="569"/>
                    </a:moveTo>
                    <a:cubicBezTo>
                      <a:pt x="533" y="568"/>
                      <a:pt x="532" y="572"/>
                      <a:pt x="531" y="574"/>
                    </a:cubicBezTo>
                    <a:cubicBezTo>
                      <a:pt x="535" y="575"/>
                      <a:pt x="537" y="573"/>
                      <a:pt x="537" y="569"/>
                    </a:cubicBezTo>
                    <a:close/>
                    <a:moveTo>
                      <a:pt x="609" y="872"/>
                    </a:moveTo>
                    <a:cubicBezTo>
                      <a:pt x="617" y="874"/>
                      <a:pt x="620" y="868"/>
                      <a:pt x="628" y="870"/>
                    </a:cubicBezTo>
                    <a:cubicBezTo>
                      <a:pt x="629" y="855"/>
                      <a:pt x="640" y="840"/>
                      <a:pt x="629" y="829"/>
                    </a:cubicBezTo>
                    <a:cubicBezTo>
                      <a:pt x="633" y="821"/>
                      <a:pt x="638" y="811"/>
                      <a:pt x="635" y="799"/>
                    </a:cubicBezTo>
                    <a:cubicBezTo>
                      <a:pt x="623" y="803"/>
                      <a:pt x="619" y="811"/>
                      <a:pt x="621" y="825"/>
                    </a:cubicBezTo>
                    <a:cubicBezTo>
                      <a:pt x="623" y="827"/>
                      <a:pt x="625" y="829"/>
                      <a:pt x="628" y="830"/>
                    </a:cubicBezTo>
                    <a:cubicBezTo>
                      <a:pt x="625" y="832"/>
                      <a:pt x="622" y="834"/>
                      <a:pt x="618" y="835"/>
                    </a:cubicBezTo>
                    <a:cubicBezTo>
                      <a:pt x="616" y="835"/>
                      <a:pt x="614" y="832"/>
                      <a:pt x="611" y="833"/>
                    </a:cubicBezTo>
                    <a:cubicBezTo>
                      <a:pt x="609" y="837"/>
                      <a:pt x="614" y="839"/>
                      <a:pt x="614" y="844"/>
                    </a:cubicBezTo>
                    <a:cubicBezTo>
                      <a:pt x="614" y="852"/>
                      <a:pt x="607" y="862"/>
                      <a:pt x="609" y="872"/>
                    </a:cubicBezTo>
                    <a:close/>
                    <a:moveTo>
                      <a:pt x="1654" y="815"/>
                    </a:moveTo>
                    <a:cubicBezTo>
                      <a:pt x="1655" y="818"/>
                      <a:pt x="1653" y="828"/>
                      <a:pt x="1655" y="826"/>
                    </a:cubicBezTo>
                    <a:cubicBezTo>
                      <a:pt x="1655" y="823"/>
                      <a:pt x="1656" y="813"/>
                      <a:pt x="1654" y="815"/>
                    </a:cubicBezTo>
                    <a:close/>
                    <a:moveTo>
                      <a:pt x="544" y="845"/>
                    </a:moveTo>
                    <a:cubicBezTo>
                      <a:pt x="543" y="839"/>
                      <a:pt x="531" y="837"/>
                      <a:pt x="528" y="845"/>
                    </a:cubicBezTo>
                    <a:cubicBezTo>
                      <a:pt x="531" y="852"/>
                      <a:pt x="544" y="854"/>
                      <a:pt x="544" y="845"/>
                    </a:cubicBezTo>
                    <a:close/>
                    <a:moveTo>
                      <a:pt x="549" y="840"/>
                    </a:moveTo>
                    <a:cubicBezTo>
                      <a:pt x="548" y="842"/>
                      <a:pt x="551" y="847"/>
                      <a:pt x="555" y="847"/>
                    </a:cubicBezTo>
                    <a:cubicBezTo>
                      <a:pt x="559" y="843"/>
                      <a:pt x="552" y="838"/>
                      <a:pt x="549" y="840"/>
                    </a:cubicBezTo>
                    <a:close/>
                    <a:moveTo>
                      <a:pt x="517" y="851"/>
                    </a:moveTo>
                    <a:cubicBezTo>
                      <a:pt x="515" y="851"/>
                      <a:pt x="515" y="848"/>
                      <a:pt x="513" y="849"/>
                    </a:cubicBezTo>
                    <a:cubicBezTo>
                      <a:pt x="511" y="850"/>
                      <a:pt x="509" y="854"/>
                      <a:pt x="511" y="856"/>
                    </a:cubicBezTo>
                    <a:cubicBezTo>
                      <a:pt x="514" y="855"/>
                      <a:pt x="516" y="854"/>
                      <a:pt x="517" y="851"/>
                    </a:cubicBezTo>
                    <a:close/>
                    <a:moveTo>
                      <a:pt x="838" y="859"/>
                    </a:moveTo>
                    <a:cubicBezTo>
                      <a:pt x="838" y="862"/>
                      <a:pt x="843" y="863"/>
                      <a:pt x="844" y="861"/>
                    </a:cubicBezTo>
                    <a:cubicBezTo>
                      <a:pt x="844" y="858"/>
                      <a:pt x="840" y="858"/>
                      <a:pt x="838" y="859"/>
                    </a:cubicBezTo>
                    <a:close/>
                    <a:moveTo>
                      <a:pt x="858" y="869"/>
                    </a:moveTo>
                    <a:cubicBezTo>
                      <a:pt x="858" y="868"/>
                      <a:pt x="859" y="867"/>
                      <a:pt x="859" y="866"/>
                    </a:cubicBezTo>
                    <a:cubicBezTo>
                      <a:pt x="858" y="863"/>
                      <a:pt x="852" y="864"/>
                      <a:pt x="852" y="868"/>
                    </a:cubicBezTo>
                    <a:cubicBezTo>
                      <a:pt x="853" y="869"/>
                      <a:pt x="856" y="869"/>
                      <a:pt x="858" y="869"/>
                    </a:cubicBezTo>
                    <a:close/>
                    <a:moveTo>
                      <a:pt x="786" y="895"/>
                    </a:moveTo>
                    <a:cubicBezTo>
                      <a:pt x="786" y="897"/>
                      <a:pt x="784" y="897"/>
                      <a:pt x="785" y="901"/>
                    </a:cubicBezTo>
                    <a:cubicBezTo>
                      <a:pt x="787" y="901"/>
                      <a:pt x="790" y="903"/>
                      <a:pt x="792" y="901"/>
                    </a:cubicBezTo>
                    <a:cubicBezTo>
                      <a:pt x="792" y="897"/>
                      <a:pt x="790" y="896"/>
                      <a:pt x="786" y="895"/>
                    </a:cubicBezTo>
                    <a:close/>
                    <a:moveTo>
                      <a:pt x="855" y="911"/>
                    </a:moveTo>
                    <a:cubicBezTo>
                      <a:pt x="861" y="911"/>
                      <a:pt x="857" y="903"/>
                      <a:pt x="852" y="904"/>
                    </a:cubicBezTo>
                    <a:cubicBezTo>
                      <a:pt x="851" y="908"/>
                      <a:pt x="855" y="908"/>
                      <a:pt x="855" y="911"/>
                    </a:cubicBezTo>
                    <a:close/>
                    <a:moveTo>
                      <a:pt x="882" y="904"/>
                    </a:moveTo>
                    <a:cubicBezTo>
                      <a:pt x="882" y="905"/>
                      <a:pt x="880" y="906"/>
                      <a:pt x="881" y="908"/>
                    </a:cubicBezTo>
                    <a:cubicBezTo>
                      <a:pt x="883" y="911"/>
                      <a:pt x="884" y="910"/>
                      <a:pt x="886" y="908"/>
                    </a:cubicBezTo>
                    <a:cubicBezTo>
                      <a:pt x="886" y="906"/>
                      <a:pt x="884" y="905"/>
                      <a:pt x="882" y="904"/>
                    </a:cubicBezTo>
                    <a:close/>
                    <a:moveTo>
                      <a:pt x="792" y="911"/>
                    </a:moveTo>
                    <a:cubicBezTo>
                      <a:pt x="792" y="909"/>
                      <a:pt x="793" y="906"/>
                      <a:pt x="791" y="905"/>
                    </a:cubicBezTo>
                    <a:cubicBezTo>
                      <a:pt x="788" y="905"/>
                      <a:pt x="788" y="905"/>
                      <a:pt x="788" y="905"/>
                    </a:cubicBezTo>
                    <a:cubicBezTo>
                      <a:pt x="787" y="908"/>
                      <a:pt x="787" y="912"/>
                      <a:pt x="792" y="911"/>
                    </a:cubicBezTo>
                    <a:close/>
                    <a:moveTo>
                      <a:pt x="872" y="908"/>
                    </a:moveTo>
                    <a:cubicBezTo>
                      <a:pt x="871" y="910"/>
                      <a:pt x="871" y="911"/>
                      <a:pt x="871" y="913"/>
                    </a:cubicBezTo>
                    <a:cubicBezTo>
                      <a:pt x="875" y="913"/>
                      <a:pt x="875" y="913"/>
                      <a:pt x="875" y="913"/>
                    </a:cubicBezTo>
                    <a:cubicBezTo>
                      <a:pt x="875" y="910"/>
                      <a:pt x="875" y="908"/>
                      <a:pt x="872" y="908"/>
                    </a:cubicBezTo>
                    <a:close/>
                    <a:moveTo>
                      <a:pt x="849" y="912"/>
                    </a:moveTo>
                    <a:cubicBezTo>
                      <a:pt x="849" y="910"/>
                      <a:pt x="845" y="912"/>
                      <a:pt x="844" y="911"/>
                    </a:cubicBezTo>
                    <a:cubicBezTo>
                      <a:pt x="842" y="915"/>
                      <a:pt x="850" y="916"/>
                      <a:pt x="849" y="912"/>
                    </a:cubicBezTo>
                    <a:close/>
                    <a:moveTo>
                      <a:pt x="887" y="914"/>
                    </a:moveTo>
                    <a:cubicBezTo>
                      <a:pt x="882" y="914"/>
                      <a:pt x="882" y="914"/>
                      <a:pt x="882" y="914"/>
                    </a:cubicBezTo>
                    <a:cubicBezTo>
                      <a:pt x="881" y="919"/>
                      <a:pt x="887" y="916"/>
                      <a:pt x="887" y="914"/>
                    </a:cubicBezTo>
                    <a:close/>
                    <a:moveTo>
                      <a:pt x="867" y="924"/>
                    </a:moveTo>
                    <a:cubicBezTo>
                      <a:pt x="867" y="922"/>
                      <a:pt x="868" y="922"/>
                      <a:pt x="868" y="920"/>
                    </a:cubicBezTo>
                    <a:cubicBezTo>
                      <a:pt x="867" y="917"/>
                      <a:pt x="863" y="916"/>
                      <a:pt x="860" y="918"/>
                    </a:cubicBezTo>
                    <a:cubicBezTo>
                      <a:pt x="860" y="922"/>
                      <a:pt x="862" y="925"/>
                      <a:pt x="867" y="924"/>
                    </a:cubicBezTo>
                    <a:close/>
                    <a:moveTo>
                      <a:pt x="889" y="927"/>
                    </a:moveTo>
                    <a:cubicBezTo>
                      <a:pt x="893" y="925"/>
                      <a:pt x="896" y="923"/>
                      <a:pt x="896" y="919"/>
                    </a:cubicBezTo>
                    <a:cubicBezTo>
                      <a:pt x="890" y="918"/>
                      <a:pt x="886" y="922"/>
                      <a:pt x="889" y="927"/>
                    </a:cubicBezTo>
                    <a:close/>
                    <a:moveTo>
                      <a:pt x="876" y="931"/>
                    </a:moveTo>
                    <a:cubicBezTo>
                      <a:pt x="886" y="935"/>
                      <a:pt x="879" y="921"/>
                      <a:pt x="876" y="931"/>
                    </a:cubicBezTo>
                    <a:close/>
                    <a:moveTo>
                      <a:pt x="856" y="928"/>
                    </a:moveTo>
                    <a:cubicBezTo>
                      <a:pt x="855" y="929"/>
                      <a:pt x="853" y="930"/>
                      <a:pt x="855" y="932"/>
                    </a:cubicBezTo>
                    <a:cubicBezTo>
                      <a:pt x="858" y="933"/>
                      <a:pt x="858" y="928"/>
                      <a:pt x="856" y="928"/>
                    </a:cubicBezTo>
                    <a:close/>
                    <a:moveTo>
                      <a:pt x="907" y="930"/>
                    </a:moveTo>
                    <a:cubicBezTo>
                      <a:pt x="902" y="926"/>
                      <a:pt x="898" y="935"/>
                      <a:pt x="901" y="940"/>
                    </a:cubicBezTo>
                    <a:cubicBezTo>
                      <a:pt x="906" y="940"/>
                      <a:pt x="906" y="934"/>
                      <a:pt x="907" y="930"/>
                    </a:cubicBezTo>
                    <a:close/>
                    <a:moveTo>
                      <a:pt x="695" y="941"/>
                    </a:moveTo>
                    <a:cubicBezTo>
                      <a:pt x="698" y="937"/>
                      <a:pt x="695" y="932"/>
                      <a:pt x="690" y="931"/>
                    </a:cubicBezTo>
                    <a:cubicBezTo>
                      <a:pt x="687" y="935"/>
                      <a:pt x="689" y="942"/>
                      <a:pt x="695" y="941"/>
                    </a:cubicBezTo>
                    <a:close/>
                    <a:moveTo>
                      <a:pt x="830" y="939"/>
                    </a:moveTo>
                    <a:cubicBezTo>
                      <a:pt x="829" y="935"/>
                      <a:pt x="827" y="935"/>
                      <a:pt x="824" y="936"/>
                    </a:cubicBezTo>
                    <a:cubicBezTo>
                      <a:pt x="823" y="941"/>
                      <a:pt x="827" y="940"/>
                      <a:pt x="830" y="939"/>
                    </a:cubicBezTo>
                    <a:close/>
                    <a:moveTo>
                      <a:pt x="972" y="947"/>
                    </a:moveTo>
                    <a:cubicBezTo>
                      <a:pt x="976" y="965"/>
                      <a:pt x="990" y="952"/>
                      <a:pt x="1001" y="949"/>
                    </a:cubicBezTo>
                    <a:cubicBezTo>
                      <a:pt x="999" y="942"/>
                      <a:pt x="1002" y="940"/>
                      <a:pt x="1003" y="935"/>
                    </a:cubicBezTo>
                    <a:cubicBezTo>
                      <a:pt x="993" y="940"/>
                      <a:pt x="982" y="943"/>
                      <a:pt x="972" y="947"/>
                    </a:cubicBezTo>
                    <a:close/>
                    <a:moveTo>
                      <a:pt x="895" y="951"/>
                    </a:moveTo>
                    <a:cubicBezTo>
                      <a:pt x="895" y="946"/>
                      <a:pt x="894" y="944"/>
                      <a:pt x="891" y="942"/>
                    </a:cubicBezTo>
                    <a:cubicBezTo>
                      <a:pt x="889" y="944"/>
                      <a:pt x="890" y="948"/>
                      <a:pt x="890" y="951"/>
                    </a:cubicBezTo>
                    <a:lnTo>
                      <a:pt x="895" y="951"/>
                    </a:lnTo>
                    <a:close/>
                    <a:moveTo>
                      <a:pt x="836" y="953"/>
                    </a:moveTo>
                    <a:cubicBezTo>
                      <a:pt x="837" y="958"/>
                      <a:pt x="845" y="954"/>
                      <a:pt x="851" y="956"/>
                    </a:cubicBezTo>
                    <a:cubicBezTo>
                      <a:pt x="854" y="958"/>
                      <a:pt x="855" y="962"/>
                      <a:pt x="858" y="962"/>
                    </a:cubicBezTo>
                    <a:cubicBezTo>
                      <a:pt x="865" y="963"/>
                      <a:pt x="884" y="961"/>
                      <a:pt x="880" y="953"/>
                    </a:cubicBezTo>
                    <a:cubicBezTo>
                      <a:pt x="866" y="954"/>
                      <a:pt x="851" y="950"/>
                      <a:pt x="838" y="947"/>
                    </a:cubicBezTo>
                    <a:cubicBezTo>
                      <a:pt x="838" y="949"/>
                      <a:pt x="837" y="950"/>
                      <a:pt x="836" y="953"/>
                    </a:cubicBezTo>
                    <a:close/>
                    <a:moveTo>
                      <a:pt x="1618" y="1038"/>
                    </a:moveTo>
                    <a:cubicBezTo>
                      <a:pt x="1625" y="1028"/>
                      <a:pt x="1635" y="1002"/>
                      <a:pt x="1623" y="990"/>
                    </a:cubicBezTo>
                    <a:cubicBezTo>
                      <a:pt x="1617" y="1003"/>
                      <a:pt x="1619" y="1020"/>
                      <a:pt x="1618" y="1038"/>
                    </a:cubicBezTo>
                    <a:close/>
                    <a:moveTo>
                      <a:pt x="1272" y="1507"/>
                    </a:moveTo>
                    <a:cubicBezTo>
                      <a:pt x="1255" y="1507"/>
                      <a:pt x="1255" y="1525"/>
                      <a:pt x="1240" y="1528"/>
                    </a:cubicBezTo>
                    <a:cubicBezTo>
                      <a:pt x="1238" y="1531"/>
                      <a:pt x="1238" y="1532"/>
                      <a:pt x="1235" y="1535"/>
                    </a:cubicBezTo>
                    <a:cubicBezTo>
                      <a:pt x="1232" y="1535"/>
                      <a:pt x="1231" y="1536"/>
                      <a:pt x="1229" y="1536"/>
                    </a:cubicBezTo>
                    <a:cubicBezTo>
                      <a:pt x="1213" y="1556"/>
                      <a:pt x="1182" y="1560"/>
                      <a:pt x="1164" y="1578"/>
                    </a:cubicBezTo>
                    <a:cubicBezTo>
                      <a:pt x="1162" y="1600"/>
                      <a:pt x="1128" y="1597"/>
                      <a:pt x="1128" y="1615"/>
                    </a:cubicBezTo>
                    <a:cubicBezTo>
                      <a:pt x="1178" y="1602"/>
                      <a:pt x="1209" y="1571"/>
                      <a:pt x="1245" y="1545"/>
                    </a:cubicBezTo>
                    <a:cubicBezTo>
                      <a:pt x="1250" y="1533"/>
                      <a:pt x="1261" y="1528"/>
                      <a:pt x="1271" y="1522"/>
                    </a:cubicBezTo>
                    <a:cubicBezTo>
                      <a:pt x="1270" y="1518"/>
                      <a:pt x="1273" y="1516"/>
                      <a:pt x="1275" y="1511"/>
                    </a:cubicBezTo>
                    <a:cubicBezTo>
                      <a:pt x="1270" y="1511"/>
                      <a:pt x="1274" y="1508"/>
                      <a:pt x="1272" y="1507"/>
                    </a:cubicBezTo>
                    <a:close/>
                    <a:moveTo>
                      <a:pt x="597" y="4"/>
                    </a:moveTo>
                    <a:cubicBezTo>
                      <a:pt x="601" y="2"/>
                      <a:pt x="608" y="3"/>
                      <a:pt x="611" y="0"/>
                    </a:cubicBezTo>
                    <a:cubicBezTo>
                      <a:pt x="606" y="0"/>
                      <a:pt x="598" y="2"/>
                      <a:pt x="597" y="4"/>
                    </a:cubicBezTo>
                    <a:close/>
                    <a:moveTo>
                      <a:pt x="138" y="388"/>
                    </a:moveTo>
                    <a:cubicBezTo>
                      <a:pt x="139" y="391"/>
                      <a:pt x="136" y="395"/>
                      <a:pt x="138" y="397"/>
                    </a:cubicBezTo>
                    <a:cubicBezTo>
                      <a:pt x="140" y="394"/>
                      <a:pt x="142" y="385"/>
                      <a:pt x="141" y="382"/>
                    </a:cubicBezTo>
                    <a:cubicBezTo>
                      <a:pt x="141" y="383"/>
                      <a:pt x="140" y="385"/>
                      <a:pt x="139" y="385"/>
                    </a:cubicBezTo>
                    <a:cubicBezTo>
                      <a:pt x="140" y="374"/>
                      <a:pt x="151" y="374"/>
                      <a:pt x="157" y="368"/>
                    </a:cubicBezTo>
                    <a:cubicBezTo>
                      <a:pt x="154" y="368"/>
                      <a:pt x="154" y="366"/>
                      <a:pt x="154" y="364"/>
                    </a:cubicBezTo>
                    <a:cubicBezTo>
                      <a:pt x="155" y="363"/>
                      <a:pt x="156" y="360"/>
                      <a:pt x="158" y="359"/>
                    </a:cubicBezTo>
                    <a:cubicBezTo>
                      <a:pt x="158" y="362"/>
                      <a:pt x="155" y="361"/>
                      <a:pt x="156" y="365"/>
                    </a:cubicBezTo>
                    <a:cubicBezTo>
                      <a:pt x="160" y="363"/>
                      <a:pt x="158" y="368"/>
                      <a:pt x="161" y="368"/>
                    </a:cubicBezTo>
                    <a:cubicBezTo>
                      <a:pt x="177" y="362"/>
                      <a:pt x="168" y="334"/>
                      <a:pt x="151" y="340"/>
                    </a:cubicBezTo>
                    <a:cubicBezTo>
                      <a:pt x="156" y="337"/>
                      <a:pt x="163" y="339"/>
                      <a:pt x="169" y="339"/>
                    </a:cubicBezTo>
                    <a:cubicBezTo>
                      <a:pt x="170" y="340"/>
                      <a:pt x="170" y="344"/>
                      <a:pt x="172" y="344"/>
                    </a:cubicBezTo>
                    <a:cubicBezTo>
                      <a:pt x="173" y="343"/>
                      <a:pt x="175" y="342"/>
                      <a:pt x="178" y="342"/>
                    </a:cubicBezTo>
                    <a:cubicBezTo>
                      <a:pt x="183" y="351"/>
                      <a:pt x="181" y="361"/>
                      <a:pt x="180" y="373"/>
                    </a:cubicBezTo>
                    <a:cubicBezTo>
                      <a:pt x="184" y="373"/>
                      <a:pt x="184" y="377"/>
                      <a:pt x="186" y="379"/>
                    </a:cubicBezTo>
                    <a:cubicBezTo>
                      <a:pt x="191" y="379"/>
                      <a:pt x="193" y="377"/>
                      <a:pt x="198" y="378"/>
                    </a:cubicBezTo>
                    <a:cubicBezTo>
                      <a:pt x="201" y="382"/>
                      <a:pt x="205" y="386"/>
                      <a:pt x="211" y="387"/>
                    </a:cubicBezTo>
                    <a:cubicBezTo>
                      <a:pt x="215" y="377"/>
                      <a:pt x="231" y="380"/>
                      <a:pt x="232" y="366"/>
                    </a:cubicBezTo>
                    <a:cubicBezTo>
                      <a:pt x="231" y="364"/>
                      <a:pt x="229" y="368"/>
                      <a:pt x="227" y="367"/>
                    </a:cubicBezTo>
                    <a:cubicBezTo>
                      <a:pt x="231" y="364"/>
                      <a:pt x="235" y="360"/>
                      <a:pt x="236" y="355"/>
                    </a:cubicBezTo>
                    <a:cubicBezTo>
                      <a:pt x="238" y="355"/>
                      <a:pt x="236" y="360"/>
                      <a:pt x="240" y="359"/>
                    </a:cubicBezTo>
                    <a:cubicBezTo>
                      <a:pt x="247" y="349"/>
                      <a:pt x="238" y="336"/>
                      <a:pt x="253" y="331"/>
                    </a:cubicBezTo>
                    <a:cubicBezTo>
                      <a:pt x="251" y="326"/>
                      <a:pt x="257" y="322"/>
                      <a:pt x="260" y="319"/>
                    </a:cubicBezTo>
                    <a:cubicBezTo>
                      <a:pt x="260" y="321"/>
                      <a:pt x="264" y="321"/>
                      <a:pt x="266" y="321"/>
                    </a:cubicBezTo>
                    <a:cubicBezTo>
                      <a:pt x="267" y="317"/>
                      <a:pt x="269" y="313"/>
                      <a:pt x="275" y="314"/>
                    </a:cubicBezTo>
                    <a:cubicBezTo>
                      <a:pt x="277" y="309"/>
                      <a:pt x="278" y="303"/>
                      <a:pt x="285" y="303"/>
                    </a:cubicBezTo>
                    <a:cubicBezTo>
                      <a:pt x="288" y="295"/>
                      <a:pt x="303" y="291"/>
                      <a:pt x="301" y="284"/>
                    </a:cubicBezTo>
                    <a:cubicBezTo>
                      <a:pt x="295" y="286"/>
                      <a:pt x="289" y="288"/>
                      <a:pt x="283" y="289"/>
                    </a:cubicBezTo>
                    <a:cubicBezTo>
                      <a:pt x="282" y="287"/>
                      <a:pt x="288" y="286"/>
                      <a:pt x="283" y="285"/>
                    </a:cubicBezTo>
                    <a:cubicBezTo>
                      <a:pt x="281" y="285"/>
                      <a:pt x="277" y="288"/>
                      <a:pt x="276" y="285"/>
                    </a:cubicBezTo>
                    <a:cubicBezTo>
                      <a:pt x="280" y="276"/>
                      <a:pt x="290" y="265"/>
                      <a:pt x="307" y="264"/>
                    </a:cubicBezTo>
                    <a:cubicBezTo>
                      <a:pt x="309" y="251"/>
                      <a:pt x="321" y="248"/>
                      <a:pt x="326" y="238"/>
                    </a:cubicBezTo>
                    <a:cubicBezTo>
                      <a:pt x="325" y="237"/>
                      <a:pt x="322" y="238"/>
                      <a:pt x="322" y="236"/>
                    </a:cubicBezTo>
                    <a:cubicBezTo>
                      <a:pt x="325" y="236"/>
                      <a:pt x="323" y="234"/>
                      <a:pt x="322" y="233"/>
                    </a:cubicBezTo>
                    <a:cubicBezTo>
                      <a:pt x="324" y="230"/>
                      <a:pt x="325" y="227"/>
                      <a:pt x="327" y="224"/>
                    </a:cubicBezTo>
                    <a:cubicBezTo>
                      <a:pt x="320" y="223"/>
                      <a:pt x="316" y="229"/>
                      <a:pt x="310" y="231"/>
                    </a:cubicBezTo>
                    <a:cubicBezTo>
                      <a:pt x="309" y="231"/>
                      <a:pt x="307" y="229"/>
                      <a:pt x="305" y="230"/>
                    </a:cubicBezTo>
                    <a:cubicBezTo>
                      <a:pt x="298" y="231"/>
                      <a:pt x="291" y="241"/>
                      <a:pt x="281" y="236"/>
                    </a:cubicBezTo>
                    <a:cubicBezTo>
                      <a:pt x="271" y="246"/>
                      <a:pt x="258" y="263"/>
                      <a:pt x="239" y="255"/>
                    </a:cubicBezTo>
                    <a:cubicBezTo>
                      <a:pt x="239" y="249"/>
                      <a:pt x="239" y="249"/>
                      <a:pt x="239" y="249"/>
                    </a:cubicBezTo>
                    <a:cubicBezTo>
                      <a:pt x="228" y="255"/>
                      <a:pt x="218" y="267"/>
                      <a:pt x="205" y="267"/>
                    </a:cubicBezTo>
                    <a:cubicBezTo>
                      <a:pt x="207" y="265"/>
                      <a:pt x="203" y="266"/>
                      <a:pt x="204" y="263"/>
                    </a:cubicBezTo>
                    <a:cubicBezTo>
                      <a:pt x="215" y="246"/>
                      <a:pt x="245" y="246"/>
                      <a:pt x="251" y="223"/>
                    </a:cubicBezTo>
                    <a:cubicBezTo>
                      <a:pt x="261" y="211"/>
                      <a:pt x="276" y="204"/>
                      <a:pt x="282" y="188"/>
                    </a:cubicBezTo>
                    <a:cubicBezTo>
                      <a:pt x="292" y="187"/>
                      <a:pt x="299" y="176"/>
                      <a:pt x="305" y="173"/>
                    </a:cubicBezTo>
                    <a:cubicBezTo>
                      <a:pt x="316" y="168"/>
                      <a:pt x="324" y="173"/>
                      <a:pt x="338" y="174"/>
                    </a:cubicBezTo>
                    <a:cubicBezTo>
                      <a:pt x="339" y="176"/>
                      <a:pt x="336" y="176"/>
                      <a:pt x="337" y="179"/>
                    </a:cubicBezTo>
                    <a:cubicBezTo>
                      <a:pt x="340" y="179"/>
                      <a:pt x="341" y="177"/>
                      <a:pt x="344" y="176"/>
                    </a:cubicBezTo>
                    <a:cubicBezTo>
                      <a:pt x="340" y="180"/>
                      <a:pt x="349" y="176"/>
                      <a:pt x="350" y="179"/>
                    </a:cubicBezTo>
                    <a:cubicBezTo>
                      <a:pt x="349" y="181"/>
                      <a:pt x="347" y="181"/>
                      <a:pt x="347" y="183"/>
                    </a:cubicBezTo>
                    <a:cubicBezTo>
                      <a:pt x="350" y="183"/>
                      <a:pt x="352" y="184"/>
                      <a:pt x="353" y="187"/>
                    </a:cubicBezTo>
                    <a:cubicBezTo>
                      <a:pt x="350" y="188"/>
                      <a:pt x="349" y="188"/>
                      <a:pt x="344" y="187"/>
                    </a:cubicBezTo>
                    <a:cubicBezTo>
                      <a:pt x="344" y="194"/>
                      <a:pt x="334" y="192"/>
                      <a:pt x="334" y="199"/>
                    </a:cubicBezTo>
                    <a:cubicBezTo>
                      <a:pt x="336" y="202"/>
                      <a:pt x="341" y="198"/>
                      <a:pt x="342" y="200"/>
                    </a:cubicBezTo>
                    <a:cubicBezTo>
                      <a:pt x="341" y="206"/>
                      <a:pt x="333" y="207"/>
                      <a:pt x="334" y="215"/>
                    </a:cubicBezTo>
                    <a:cubicBezTo>
                      <a:pt x="347" y="207"/>
                      <a:pt x="357" y="194"/>
                      <a:pt x="369" y="188"/>
                    </a:cubicBezTo>
                    <a:cubicBezTo>
                      <a:pt x="367" y="184"/>
                      <a:pt x="357" y="189"/>
                      <a:pt x="355" y="187"/>
                    </a:cubicBezTo>
                    <a:cubicBezTo>
                      <a:pt x="363" y="183"/>
                      <a:pt x="364" y="174"/>
                      <a:pt x="373" y="171"/>
                    </a:cubicBezTo>
                    <a:cubicBezTo>
                      <a:pt x="372" y="178"/>
                      <a:pt x="364" y="178"/>
                      <a:pt x="362" y="184"/>
                    </a:cubicBezTo>
                    <a:cubicBezTo>
                      <a:pt x="368" y="187"/>
                      <a:pt x="372" y="185"/>
                      <a:pt x="376" y="185"/>
                    </a:cubicBezTo>
                    <a:cubicBezTo>
                      <a:pt x="375" y="187"/>
                      <a:pt x="372" y="187"/>
                      <a:pt x="372" y="190"/>
                    </a:cubicBezTo>
                    <a:cubicBezTo>
                      <a:pt x="374" y="192"/>
                      <a:pt x="373" y="192"/>
                      <a:pt x="372" y="194"/>
                    </a:cubicBezTo>
                    <a:cubicBezTo>
                      <a:pt x="381" y="201"/>
                      <a:pt x="389" y="192"/>
                      <a:pt x="397" y="189"/>
                    </a:cubicBezTo>
                    <a:cubicBezTo>
                      <a:pt x="407" y="196"/>
                      <a:pt x="414" y="179"/>
                      <a:pt x="422" y="186"/>
                    </a:cubicBezTo>
                    <a:cubicBezTo>
                      <a:pt x="421" y="189"/>
                      <a:pt x="420" y="191"/>
                      <a:pt x="419" y="193"/>
                    </a:cubicBezTo>
                    <a:cubicBezTo>
                      <a:pt x="423" y="195"/>
                      <a:pt x="425" y="188"/>
                      <a:pt x="428" y="191"/>
                    </a:cubicBezTo>
                    <a:cubicBezTo>
                      <a:pt x="411" y="202"/>
                      <a:pt x="402" y="227"/>
                      <a:pt x="373" y="220"/>
                    </a:cubicBezTo>
                    <a:cubicBezTo>
                      <a:pt x="371" y="222"/>
                      <a:pt x="369" y="224"/>
                      <a:pt x="366" y="225"/>
                    </a:cubicBezTo>
                    <a:cubicBezTo>
                      <a:pt x="363" y="224"/>
                      <a:pt x="363" y="221"/>
                      <a:pt x="360" y="219"/>
                    </a:cubicBezTo>
                    <a:cubicBezTo>
                      <a:pt x="362" y="219"/>
                      <a:pt x="362" y="217"/>
                      <a:pt x="362" y="214"/>
                    </a:cubicBezTo>
                    <a:cubicBezTo>
                      <a:pt x="354" y="214"/>
                      <a:pt x="346" y="214"/>
                      <a:pt x="346" y="221"/>
                    </a:cubicBezTo>
                    <a:cubicBezTo>
                      <a:pt x="349" y="224"/>
                      <a:pt x="352" y="224"/>
                      <a:pt x="349" y="228"/>
                    </a:cubicBezTo>
                    <a:cubicBezTo>
                      <a:pt x="351" y="229"/>
                      <a:pt x="353" y="225"/>
                      <a:pt x="353" y="228"/>
                    </a:cubicBezTo>
                    <a:cubicBezTo>
                      <a:pt x="345" y="238"/>
                      <a:pt x="334" y="243"/>
                      <a:pt x="327" y="252"/>
                    </a:cubicBezTo>
                    <a:cubicBezTo>
                      <a:pt x="327" y="255"/>
                      <a:pt x="331" y="248"/>
                      <a:pt x="331" y="251"/>
                    </a:cubicBezTo>
                    <a:cubicBezTo>
                      <a:pt x="325" y="257"/>
                      <a:pt x="327" y="264"/>
                      <a:pt x="322" y="271"/>
                    </a:cubicBezTo>
                    <a:cubicBezTo>
                      <a:pt x="333" y="269"/>
                      <a:pt x="334" y="256"/>
                      <a:pt x="344" y="252"/>
                    </a:cubicBezTo>
                    <a:cubicBezTo>
                      <a:pt x="342" y="258"/>
                      <a:pt x="337" y="262"/>
                      <a:pt x="337" y="268"/>
                    </a:cubicBezTo>
                    <a:cubicBezTo>
                      <a:pt x="353" y="268"/>
                      <a:pt x="365" y="250"/>
                      <a:pt x="377" y="240"/>
                    </a:cubicBezTo>
                    <a:cubicBezTo>
                      <a:pt x="377" y="243"/>
                      <a:pt x="375" y="242"/>
                      <a:pt x="375" y="244"/>
                    </a:cubicBezTo>
                    <a:cubicBezTo>
                      <a:pt x="378" y="244"/>
                      <a:pt x="381" y="239"/>
                      <a:pt x="384" y="242"/>
                    </a:cubicBezTo>
                    <a:cubicBezTo>
                      <a:pt x="380" y="250"/>
                      <a:pt x="371" y="253"/>
                      <a:pt x="366" y="261"/>
                    </a:cubicBezTo>
                    <a:cubicBezTo>
                      <a:pt x="373" y="262"/>
                      <a:pt x="374" y="258"/>
                      <a:pt x="379" y="258"/>
                    </a:cubicBezTo>
                    <a:cubicBezTo>
                      <a:pt x="379" y="259"/>
                      <a:pt x="378" y="259"/>
                      <a:pt x="378" y="260"/>
                    </a:cubicBezTo>
                    <a:cubicBezTo>
                      <a:pt x="386" y="256"/>
                      <a:pt x="392" y="262"/>
                      <a:pt x="398" y="255"/>
                    </a:cubicBezTo>
                    <a:cubicBezTo>
                      <a:pt x="396" y="251"/>
                      <a:pt x="398" y="251"/>
                      <a:pt x="396" y="249"/>
                    </a:cubicBezTo>
                    <a:cubicBezTo>
                      <a:pt x="398" y="246"/>
                      <a:pt x="401" y="244"/>
                      <a:pt x="404" y="242"/>
                    </a:cubicBezTo>
                    <a:cubicBezTo>
                      <a:pt x="405" y="231"/>
                      <a:pt x="410" y="226"/>
                      <a:pt x="419" y="225"/>
                    </a:cubicBezTo>
                    <a:cubicBezTo>
                      <a:pt x="419" y="227"/>
                      <a:pt x="419" y="228"/>
                      <a:pt x="420" y="229"/>
                    </a:cubicBezTo>
                    <a:cubicBezTo>
                      <a:pt x="424" y="227"/>
                      <a:pt x="426" y="223"/>
                      <a:pt x="431" y="223"/>
                    </a:cubicBezTo>
                    <a:cubicBezTo>
                      <a:pt x="432" y="221"/>
                      <a:pt x="427" y="219"/>
                      <a:pt x="430" y="217"/>
                    </a:cubicBezTo>
                    <a:cubicBezTo>
                      <a:pt x="433" y="214"/>
                      <a:pt x="431" y="220"/>
                      <a:pt x="435" y="219"/>
                    </a:cubicBezTo>
                    <a:cubicBezTo>
                      <a:pt x="437" y="218"/>
                      <a:pt x="439" y="216"/>
                      <a:pt x="440" y="212"/>
                    </a:cubicBezTo>
                    <a:cubicBezTo>
                      <a:pt x="438" y="212"/>
                      <a:pt x="436" y="213"/>
                      <a:pt x="436" y="211"/>
                    </a:cubicBezTo>
                    <a:cubicBezTo>
                      <a:pt x="440" y="209"/>
                      <a:pt x="446" y="208"/>
                      <a:pt x="448" y="203"/>
                    </a:cubicBezTo>
                    <a:cubicBezTo>
                      <a:pt x="447" y="202"/>
                      <a:pt x="444" y="203"/>
                      <a:pt x="444" y="201"/>
                    </a:cubicBezTo>
                    <a:cubicBezTo>
                      <a:pt x="447" y="200"/>
                      <a:pt x="445" y="199"/>
                      <a:pt x="445" y="197"/>
                    </a:cubicBezTo>
                    <a:cubicBezTo>
                      <a:pt x="456" y="195"/>
                      <a:pt x="460" y="188"/>
                      <a:pt x="470" y="185"/>
                    </a:cubicBezTo>
                    <a:cubicBezTo>
                      <a:pt x="470" y="178"/>
                      <a:pt x="468" y="178"/>
                      <a:pt x="469" y="172"/>
                    </a:cubicBezTo>
                    <a:cubicBezTo>
                      <a:pt x="468" y="170"/>
                      <a:pt x="463" y="173"/>
                      <a:pt x="464" y="169"/>
                    </a:cubicBezTo>
                    <a:cubicBezTo>
                      <a:pt x="464" y="167"/>
                      <a:pt x="468" y="169"/>
                      <a:pt x="468" y="165"/>
                    </a:cubicBezTo>
                    <a:cubicBezTo>
                      <a:pt x="463" y="157"/>
                      <a:pt x="446" y="160"/>
                      <a:pt x="437" y="161"/>
                    </a:cubicBezTo>
                    <a:cubicBezTo>
                      <a:pt x="435" y="162"/>
                      <a:pt x="436" y="165"/>
                      <a:pt x="434" y="166"/>
                    </a:cubicBezTo>
                    <a:cubicBezTo>
                      <a:pt x="431" y="166"/>
                      <a:pt x="430" y="164"/>
                      <a:pt x="428" y="163"/>
                    </a:cubicBezTo>
                    <a:cubicBezTo>
                      <a:pt x="426" y="165"/>
                      <a:pt x="424" y="168"/>
                      <a:pt x="422" y="169"/>
                    </a:cubicBezTo>
                    <a:cubicBezTo>
                      <a:pt x="425" y="172"/>
                      <a:pt x="421" y="174"/>
                      <a:pt x="419" y="177"/>
                    </a:cubicBezTo>
                    <a:cubicBezTo>
                      <a:pt x="408" y="179"/>
                      <a:pt x="397" y="180"/>
                      <a:pt x="386" y="179"/>
                    </a:cubicBezTo>
                    <a:cubicBezTo>
                      <a:pt x="386" y="178"/>
                      <a:pt x="385" y="178"/>
                      <a:pt x="385" y="177"/>
                    </a:cubicBezTo>
                    <a:cubicBezTo>
                      <a:pt x="392" y="171"/>
                      <a:pt x="405" y="176"/>
                      <a:pt x="410" y="168"/>
                    </a:cubicBezTo>
                    <a:cubicBezTo>
                      <a:pt x="409" y="166"/>
                      <a:pt x="404" y="169"/>
                      <a:pt x="405" y="165"/>
                    </a:cubicBezTo>
                    <a:cubicBezTo>
                      <a:pt x="408" y="165"/>
                      <a:pt x="410" y="164"/>
                      <a:pt x="413" y="164"/>
                    </a:cubicBezTo>
                    <a:cubicBezTo>
                      <a:pt x="416" y="162"/>
                      <a:pt x="414" y="160"/>
                      <a:pt x="417" y="159"/>
                    </a:cubicBezTo>
                    <a:cubicBezTo>
                      <a:pt x="419" y="160"/>
                      <a:pt x="419" y="159"/>
                      <a:pt x="422" y="161"/>
                    </a:cubicBezTo>
                    <a:cubicBezTo>
                      <a:pt x="427" y="154"/>
                      <a:pt x="440" y="156"/>
                      <a:pt x="445" y="148"/>
                    </a:cubicBezTo>
                    <a:cubicBezTo>
                      <a:pt x="429" y="138"/>
                      <a:pt x="415" y="159"/>
                      <a:pt x="399" y="156"/>
                    </a:cubicBezTo>
                    <a:cubicBezTo>
                      <a:pt x="399" y="155"/>
                      <a:pt x="400" y="154"/>
                      <a:pt x="400" y="153"/>
                    </a:cubicBezTo>
                    <a:cubicBezTo>
                      <a:pt x="396" y="152"/>
                      <a:pt x="393" y="155"/>
                      <a:pt x="392" y="153"/>
                    </a:cubicBezTo>
                    <a:cubicBezTo>
                      <a:pt x="396" y="151"/>
                      <a:pt x="402" y="153"/>
                      <a:pt x="404" y="149"/>
                    </a:cubicBezTo>
                    <a:cubicBezTo>
                      <a:pt x="404" y="153"/>
                      <a:pt x="404" y="153"/>
                      <a:pt x="404" y="153"/>
                    </a:cubicBezTo>
                    <a:cubicBezTo>
                      <a:pt x="412" y="151"/>
                      <a:pt x="420" y="149"/>
                      <a:pt x="423" y="141"/>
                    </a:cubicBezTo>
                    <a:cubicBezTo>
                      <a:pt x="415" y="140"/>
                      <a:pt x="413" y="142"/>
                      <a:pt x="407" y="146"/>
                    </a:cubicBezTo>
                    <a:cubicBezTo>
                      <a:pt x="406" y="142"/>
                      <a:pt x="399" y="146"/>
                      <a:pt x="398" y="144"/>
                    </a:cubicBezTo>
                    <a:cubicBezTo>
                      <a:pt x="403" y="138"/>
                      <a:pt x="407" y="130"/>
                      <a:pt x="415" y="127"/>
                    </a:cubicBezTo>
                    <a:cubicBezTo>
                      <a:pt x="416" y="124"/>
                      <a:pt x="414" y="123"/>
                      <a:pt x="416" y="119"/>
                    </a:cubicBezTo>
                    <a:cubicBezTo>
                      <a:pt x="413" y="119"/>
                      <a:pt x="410" y="122"/>
                      <a:pt x="408" y="119"/>
                    </a:cubicBezTo>
                    <a:cubicBezTo>
                      <a:pt x="420" y="119"/>
                      <a:pt x="419" y="105"/>
                      <a:pt x="427" y="102"/>
                    </a:cubicBezTo>
                    <a:cubicBezTo>
                      <a:pt x="427" y="103"/>
                      <a:pt x="426" y="103"/>
                      <a:pt x="426" y="105"/>
                    </a:cubicBezTo>
                    <a:cubicBezTo>
                      <a:pt x="441" y="102"/>
                      <a:pt x="446" y="90"/>
                      <a:pt x="460" y="86"/>
                    </a:cubicBezTo>
                    <a:cubicBezTo>
                      <a:pt x="461" y="83"/>
                      <a:pt x="456" y="83"/>
                      <a:pt x="459" y="82"/>
                    </a:cubicBezTo>
                    <a:cubicBezTo>
                      <a:pt x="463" y="81"/>
                      <a:pt x="464" y="83"/>
                      <a:pt x="466" y="80"/>
                    </a:cubicBezTo>
                    <a:cubicBezTo>
                      <a:pt x="465" y="79"/>
                      <a:pt x="462" y="80"/>
                      <a:pt x="462" y="78"/>
                    </a:cubicBezTo>
                    <a:cubicBezTo>
                      <a:pt x="468" y="77"/>
                      <a:pt x="474" y="77"/>
                      <a:pt x="478" y="73"/>
                    </a:cubicBezTo>
                    <a:cubicBezTo>
                      <a:pt x="476" y="74"/>
                      <a:pt x="475" y="73"/>
                      <a:pt x="474" y="71"/>
                    </a:cubicBezTo>
                    <a:cubicBezTo>
                      <a:pt x="484" y="72"/>
                      <a:pt x="482" y="60"/>
                      <a:pt x="491" y="59"/>
                    </a:cubicBezTo>
                    <a:cubicBezTo>
                      <a:pt x="492" y="57"/>
                      <a:pt x="488" y="55"/>
                      <a:pt x="491" y="55"/>
                    </a:cubicBezTo>
                    <a:cubicBezTo>
                      <a:pt x="529" y="38"/>
                      <a:pt x="568" y="22"/>
                      <a:pt x="605" y="4"/>
                    </a:cubicBezTo>
                    <a:cubicBezTo>
                      <a:pt x="600" y="6"/>
                      <a:pt x="595" y="4"/>
                      <a:pt x="593" y="4"/>
                    </a:cubicBezTo>
                    <a:cubicBezTo>
                      <a:pt x="594" y="4"/>
                      <a:pt x="595" y="6"/>
                      <a:pt x="593" y="6"/>
                    </a:cubicBezTo>
                    <a:cubicBezTo>
                      <a:pt x="592" y="6"/>
                      <a:pt x="592" y="3"/>
                      <a:pt x="590" y="4"/>
                    </a:cubicBezTo>
                    <a:cubicBezTo>
                      <a:pt x="359" y="68"/>
                      <a:pt x="191" y="201"/>
                      <a:pt x="80" y="381"/>
                    </a:cubicBezTo>
                    <a:cubicBezTo>
                      <a:pt x="86" y="374"/>
                      <a:pt x="95" y="369"/>
                      <a:pt x="101" y="366"/>
                    </a:cubicBezTo>
                    <a:cubicBezTo>
                      <a:pt x="100" y="368"/>
                      <a:pt x="99" y="370"/>
                      <a:pt x="99" y="372"/>
                    </a:cubicBezTo>
                    <a:cubicBezTo>
                      <a:pt x="100" y="373"/>
                      <a:pt x="103" y="373"/>
                      <a:pt x="103" y="376"/>
                    </a:cubicBezTo>
                    <a:cubicBezTo>
                      <a:pt x="103" y="379"/>
                      <a:pt x="100" y="379"/>
                      <a:pt x="100" y="382"/>
                    </a:cubicBezTo>
                    <a:cubicBezTo>
                      <a:pt x="107" y="381"/>
                      <a:pt x="108" y="366"/>
                      <a:pt x="119" y="366"/>
                    </a:cubicBezTo>
                    <a:cubicBezTo>
                      <a:pt x="121" y="375"/>
                      <a:pt x="128" y="380"/>
                      <a:pt x="133" y="385"/>
                    </a:cubicBezTo>
                    <a:cubicBezTo>
                      <a:pt x="132" y="387"/>
                      <a:pt x="129" y="388"/>
                      <a:pt x="128" y="389"/>
                    </a:cubicBezTo>
                    <a:cubicBezTo>
                      <a:pt x="126" y="388"/>
                      <a:pt x="124" y="386"/>
                      <a:pt x="121" y="386"/>
                    </a:cubicBezTo>
                    <a:cubicBezTo>
                      <a:pt x="116" y="388"/>
                      <a:pt x="114" y="393"/>
                      <a:pt x="113" y="398"/>
                    </a:cubicBezTo>
                    <a:cubicBezTo>
                      <a:pt x="115" y="399"/>
                      <a:pt x="118" y="401"/>
                      <a:pt x="121" y="399"/>
                    </a:cubicBezTo>
                    <a:cubicBezTo>
                      <a:pt x="118" y="405"/>
                      <a:pt x="126" y="406"/>
                      <a:pt x="127" y="412"/>
                    </a:cubicBezTo>
                    <a:cubicBezTo>
                      <a:pt x="138" y="408"/>
                      <a:pt x="130" y="391"/>
                      <a:pt x="138" y="388"/>
                    </a:cubicBezTo>
                    <a:close/>
                    <a:moveTo>
                      <a:pt x="225" y="351"/>
                    </a:moveTo>
                    <a:cubicBezTo>
                      <a:pt x="228" y="353"/>
                      <a:pt x="235" y="351"/>
                      <a:pt x="233" y="356"/>
                    </a:cubicBezTo>
                    <a:cubicBezTo>
                      <a:pt x="231" y="354"/>
                      <a:pt x="230" y="356"/>
                      <a:pt x="226" y="355"/>
                    </a:cubicBezTo>
                    <a:cubicBezTo>
                      <a:pt x="225" y="354"/>
                      <a:pt x="225" y="353"/>
                      <a:pt x="225" y="351"/>
                    </a:cubicBezTo>
                    <a:close/>
                    <a:moveTo>
                      <a:pt x="457" y="181"/>
                    </a:moveTo>
                    <a:cubicBezTo>
                      <a:pt x="454" y="184"/>
                      <a:pt x="459" y="185"/>
                      <a:pt x="461" y="186"/>
                    </a:cubicBezTo>
                    <a:cubicBezTo>
                      <a:pt x="461" y="188"/>
                      <a:pt x="460" y="189"/>
                      <a:pt x="457" y="188"/>
                    </a:cubicBezTo>
                    <a:cubicBezTo>
                      <a:pt x="457" y="185"/>
                      <a:pt x="457" y="185"/>
                      <a:pt x="457" y="185"/>
                    </a:cubicBezTo>
                    <a:cubicBezTo>
                      <a:pt x="455" y="185"/>
                      <a:pt x="454" y="187"/>
                      <a:pt x="450" y="187"/>
                    </a:cubicBezTo>
                    <a:cubicBezTo>
                      <a:pt x="448" y="185"/>
                      <a:pt x="452" y="182"/>
                      <a:pt x="449" y="182"/>
                    </a:cubicBezTo>
                    <a:cubicBezTo>
                      <a:pt x="452" y="178"/>
                      <a:pt x="453" y="183"/>
                      <a:pt x="457" y="181"/>
                    </a:cubicBezTo>
                    <a:close/>
                    <a:moveTo>
                      <a:pt x="89" y="371"/>
                    </a:moveTo>
                    <a:cubicBezTo>
                      <a:pt x="90" y="369"/>
                      <a:pt x="92" y="367"/>
                      <a:pt x="93" y="364"/>
                    </a:cubicBezTo>
                    <a:cubicBezTo>
                      <a:pt x="95" y="363"/>
                      <a:pt x="91" y="371"/>
                      <a:pt x="89" y="371"/>
                    </a:cubicBezTo>
                    <a:close/>
                    <a:moveTo>
                      <a:pt x="80" y="381"/>
                    </a:moveTo>
                    <a:cubicBezTo>
                      <a:pt x="79" y="383"/>
                      <a:pt x="79" y="384"/>
                      <a:pt x="78" y="385"/>
                    </a:cubicBezTo>
                    <a:cubicBezTo>
                      <a:pt x="79" y="384"/>
                      <a:pt x="80" y="383"/>
                      <a:pt x="80" y="381"/>
                    </a:cubicBezTo>
                    <a:close/>
                    <a:moveTo>
                      <a:pt x="1653" y="739"/>
                    </a:moveTo>
                    <a:cubicBezTo>
                      <a:pt x="1639" y="588"/>
                      <a:pt x="1580" y="452"/>
                      <a:pt x="1512" y="356"/>
                    </a:cubicBezTo>
                    <a:cubicBezTo>
                      <a:pt x="1515" y="363"/>
                      <a:pt x="1520" y="368"/>
                      <a:pt x="1523" y="374"/>
                    </a:cubicBezTo>
                    <a:cubicBezTo>
                      <a:pt x="1519" y="372"/>
                      <a:pt x="1520" y="373"/>
                      <a:pt x="1521" y="377"/>
                    </a:cubicBezTo>
                    <a:cubicBezTo>
                      <a:pt x="1512" y="363"/>
                      <a:pt x="1500" y="348"/>
                      <a:pt x="1495" y="335"/>
                    </a:cubicBezTo>
                    <a:cubicBezTo>
                      <a:pt x="1498" y="338"/>
                      <a:pt x="1501" y="347"/>
                      <a:pt x="1505" y="346"/>
                    </a:cubicBezTo>
                    <a:cubicBezTo>
                      <a:pt x="1498" y="337"/>
                      <a:pt x="1489" y="325"/>
                      <a:pt x="1490" y="321"/>
                    </a:cubicBezTo>
                    <a:cubicBezTo>
                      <a:pt x="1448" y="272"/>
                      <a:pt x="1411" y="218"/>
                      <a:pt x="1353" y="186"/>
                    </a:cubicBezTo>
                    <a:cubicBezTo>
                      <a:pt x="1360" y="183"/>
                      <a:pt x="1367" y="195"/>
                      <a:pt x="1373" y="193"/>
                    </a:cubicBezTo>
                    <a:cubicBezTo>
                      <a:pt x="1367" y="189"/>
                      <a:pt x="1360" y="187"/>
                      <a:pt x="1357" y="180"/>
                    </a:cubicBezTo>
                    <a:cubicBezTo>
                      <a:pt x="1348" y="180"/>
                      <a:pt x="1342" y="175"/>
                      <a:pt x="1335" y="176"/>
                    </a:cubicBezTo>
                    <a:cubicBezTo>
                      <a:pt x="1340" y="179"/>
                      <a:pt x="1346" y="183"/>
                      <a:pt x="1352" y="186"/>
                    </a:cubicBezTo>
                    <a:cubicBezTo>
                      <a:pt x="1349" y="186"/>
                      <a:pt x="1346" y="182"/>
                      <a:pt x="1346" y="187"/>
                    </a:cubicBezTo>
                    <a:cubicBezTo>
                      <a:pt x="1344" y="194"/>
                      <a:pt x="1357" y="195"/>
                      <a:pt x="1356" y="202"/>
                    </a:cubicBezTo>
                    <a:cubicBezTo>
                      <a:pt x="1354" y="202"/>
                      <a:pt x="1354" y="201"/>
                      <a:pt x="1352" y="201"/>
                    </a:cubicBezTo>
                    <a:cubicBezTo>
                      <a:pt x="1351" y="204"/>
                      <a:pt x="1355" y="203"/>
                      <a:pt x="1354" y="207"/>
                    </a:cubicBezTo>
                    <a:cubicBezTo>
                      <a:pt x="1342" y="195"/>
                      <a:pt x="1326" y="188"/>
                      <a:pt x="1313" y="179"/>
                    </a:cubicBezTo>
                    <a:cubicBezTo>
                      <a:pt x="1308" y="176"/>
                      <a:pt x="1300" y="171"/>
                      <a:pt x="1296" y="166"/>
                    </a:cubicBezTo>
                    <a:cubicBezTo>
                      <a:pt x="1294" y="163"/>
                      <a:pt x="1294" y="160"/>
                      <a:pt x="1292" y="157"/>
                    </a:cubicBezTo>
                    <a:cubicBezTo>
                      <a:pt x="1287" y="149"/>
                      <a:pt x="1277" y="145"/>
                      <a:pt x="1274" y="137"/>
                    </a:cubicBezTo>
                    <a:cubicBezTo>
                      <a:pt x="1276" y="137"/>
                      <a:pt x="1277" y="139"/>
                      <a:pt x="1279" y="139"/>
                    </a:cubicBezTo>
                    <a:cubicBezTo>
                      <a:pt x="1275" y="134"/>
                      <a:pt x="1269" y="130"/>
                      <a:pt x="1265" y="125"/>
                    </a:cubicBezTo>
                    <a:cubicBezTo>
                      <a:pt x="1255" y="127"/>
                      <a:pt x="1241" y="119"/>
                      <a:pt x="1236" y="111"/>
                    </a:cubicBezTo>
                    <a:cubicBezTo>
                      <a:pt x="1237" y="111"/>
                      <a:pt x="1238" y="110"/>
                      <a:pt x="1239" y="109"/>
                    </a:cubicBezTo>
                    <a:cubicBezTo>
                      <a:pt x="1231" y="103"/>
                      <a:pt x="1222" y="102"/>
                      <a:pt x="1216" y="97"/>
                    </a:cubicBezTo>
                    <a:cubicBezTo>
                      <a:pt x="1243" y="102"/>
                      <a:pt x="1259" y="122"/>
                      <a:pt x="1285" y="126"/>
                    </a:cubicBezTo>
                    <a:cubicBezTo>
                      <a:pt x="1272" y="115"/>
                      <a:pt x="1254" y="104"/>
                      <a:pt x="1239" y="99"/>
                    </a:cubicBezTo>
                    <a:cubicBezTo>
                      <a:pt x="1236" y="100"/>
                      <a:pt x="1244" y="102"/>
                      <a:pt x="1241" y="103"/>
                    </a:cubicBezTo>
                    <a:cubicBezTo>
                      <a:pt x="1227" y="96"/>
                      <a:pt x="1212" y="90"/>
                      <a:pt x="1202" y="79"/>
                    </a:cubicBezTo>
                    <a:cubicBezTo>
                      <a:pt x="1185" y="74"/>
                      <a:pt x="1169" y="63"/>
                      <a:pt x="1155" y="58"/>
                    </a:cubicBezTo>
                    <a:cubicBezTo>
                      <a:pt x="1158" y="61"/>
                      <a:pt x="1156" y="63"/>
                      <a:pt x="1160" y="65"/>
                    </a:cubicBezTo>
                    <a:cubicBezTo>
                      <a:pt x="1154" y="64"/>
                      <a:pt x="1149" y="57"/>
                      <a:pt x="1144" y="61"/>
                    </a:cubicBezTo>
                    <a:cubicBezTo>
                      <a:pt x="1138" y="53"/>
                      <a:pt x="1123" y="41"/>
                      <a:pt x="1110" y="42"/>
                    </a:cubicBezTo>
                    <a:cubicBezTo>
                      <a:pt x="1115" y="46"/>
                      <a:pt x="1122" y="51"/>
                      <a:pt x="1128" y="52"/>
                    </a:cubicBezTo>
                    <a:cubicBezTo>
                      <a:pt x="1125" y="52"/>
                      <a:pt x="1125" y="52"/>
                      <a:pt x="1125" y="52"/>
                    </a:cubicBezTo>
                    <a:cubicBezTo>
                      <a:pt x="1133" y="63"/>
                      <a:pt x="1140" y="76"/>
                      <a:pt x="1150" y="85"/>
                    </a:cubicBezTo>
                    <a:cubicBezTo>
                      <a:pt x="1148" y="86"/>
                      <a:pt x="1151" y="88"/>
                      <a:pt x="1151" y="90"/>
                    </a:cubicBezTo>
                    <a:cubicBezTo>
                      <a:pt x="1158" y="93"/>
                      <a:pt x="1159" y="85"/>
                      <a:pt x="1164" y="90"/>
                    </a:cubicBezTo>
                    <a:cubicBezTo>
                      <a:pt x="1160" y="91"/>
                      <a:pt x="1165" y="94"/>
                      <a:pt x="1163" y="94"/>
                    </a:cubicBezTo>
                    <a:cubicBezTo>
                      <a:pt x="1160" y="95"/>
                      <a:pt x="1161" y="91"/>
                      <a:pt x="1157" y="92"/>
                    </a:cubicBezTo>
                    <a:cubicBezTo>
                      <a:pt x="1157" y="97"/>
                      <a:pt x="1162" y="96"/>
                      <a:pt x="1165" y="97"/>
                    </a:cubicBezTo>
                    <a:cubicBezTo>
                      <a:pt x="1165" y="106"/>
                      <a:pt x="1174" y="107"/>
                      <a:pt x="1174" y="115"/>
                    </a:cubicBezTo>
                    <a:cubicBezTo>
                      <a:pt x="1172" y="116"/>
                      <a:pt x="1168" y="115"/>
                      <a:pt x="1167" y="116"/>
                    </a:cubicBezTo>
                    <a:cubicBezTo>
                      <a:pt x="1164" y="124"/>
                      <a:pt x="1170" y="129"/>
                      <a:pt x="1173" y="133"/>
                    </a:cubicBezTo>
                    <a:cubicBezTo>
                      <a:pt x="1169" y="135"/>
                      <a:pt x="1168" y="140"/>
                      <a:pt x="1161" y="139"/>
                    </a:cubicBezTo>
                    <a:cubicBezTo>
                      <a:pt x="1157" y="147"/>
                      <a:pt x="1156" y="149"/>
                      <a:pt x="1157" y="158"/>
                    </a:cubicBezTo>
                    <a:cubicBezTo>
                      <a:pt x="1154" y="158"/>
                      <a:pt x="1154" y="158"/>
                      <a:pt x="1154" y="158"/>
                    </a:cubicBezTo>
                    <a:cubicBezTo>
                      <a:pt x="1155" y="161"/>
                      <a:pt x="1160" y="161"/>
                      <a:pt x="1162" y="164"/>
                    </a:cubicBezTo>
                    <a:cubicBezTo>
                      <a:pt x="1165" y="163"/>
                      <a:pt x="1168" y="162"/>
                      <a:pt x="1171" y="163"/>
                    </a:cubicBezTo>
                    <a:cubicBezTo>
                      <a:pt x="1167" y="166"/>
                      <a:pt x="1173" y="167"/>
                      <a:pt x="1174" y="169"/>
                    </a:cubicBezTo>
                    <a:cubicBezTo>
                      <a:pt x="1173" y="170"/>
                      <a:pt x="1171" y="170"/>
                      <a:pt x="1169" y="171"/>
                    </a:cubicBezTo>
                    <a:cubicBezTo>
                      <a:pt x="1169" y="175"/>
                      <a:pt x="1174" y="175"/>
                      <a:pt x="1171" y="178"/>
                    </a:cubicBezTo>
                    <a:cubicBezTo>
                      <a:pt x="1171" y="180"/>
                      <a:pt x="1165" y="178"/>
                      <a:pt x="1165" y="180"/>
                    </a:cubicBezTo>
                    <a:cubicBezTo>
                      <a:pt x="1168" y="183"/>
                      <a:pt x="1176" y="182"/>
                      <a:pt x="1178" y="187"/>
                    </a:cubicBezTo>
                    <a:cubicBezTo>
                      <a:pt x="1172" y="188"/>
                      <a:pt x="1168" y="186"/>
                      <a:pt x="1163" y="189"/>
                    </a:cubicBezTo>
                    <a:cubicBezTo>
                      <a:pt x="1158" y="184"/>
                      <a:pt x="1148" y="186"/>
                      <a:pt x="1139" y="187"/>
                    </a:cubicBezTo>
                    <a:cubicBezTo>
                      <a:pt x="1136" y="189"/>
                      <a:pt x="1141" y="189"/>
                      <a:pt x="1139" y="191"/>
                    </a:cubicBezTo>
                    <a:cubicBezTo>
                      <a:pt x="1136" y="191"/>
                      <a:pt x="1135" y="193"/>
                      <a:pt x="1132" y="192"/>
                    </a:cubicBezTo>
                    <a:cubicBezTo>
                      <a:pt x="1132" y="198"/>
                      <a:pt x="1140" y="196"/>
                      <a:pt x="1143" y="199"/>
                    </a:cubicBezTo>
                    <a:cubicBezTo>
                      <a:pt x="1138" y="202"/>
                      <a:pt x="1138" y="206"/>
                      <a:pt x="1134" y="208"/>
                    </a:cubicBezTo>
                    <a:cubicBezTo>
                      <a:pt x="1131" y="208"/>
                      <a:pt x="1132" y="205"/>
                      <a:pt x="1128" y="206"/>
                    </a:cubicBezTo>
                    <a:cubicBezTo>
                      <a:pt x="1126" y="210"/>
                      <a:pt x="1120" y="210"/>
                      <a:pt x="1121" y="217"/>
                    </a:cubicBezTo>
                    <a:cubicBezTo>
                      <a:pt x="1119" y="217"/>
                      <a:pt x="1115" y="214"/>
                      <a:pt x="1113" y="216"/>
                    </a:cubicBezTo>
                    <a:cubicBezTo>
                      <a:pt x="1114" y="217"/>
                      <a:pt x="1117" y="217"/>
                      <a:pt x="1117" y="220"/>
                    </a:cubicBezTo>
                    <a:cubicBezTo>
                      <a:pt x="1107" y="222"/>
                      <a:pt x="1112" y="211"/>
                      <a:pt x="1104" y="214"/>
                    </a:cubicBezTo>
                    <a:cubicBezTo>
                      <a:pt x="1105" y="219"/>
                      <a:pt x="1110" y="218"/>
                      <a:pt x="1109" y="223"/>
                    </a:cubicBezTo>
                    <a:cubicBezTo>
                      <a:pt x="1111" y="224"/>
                      <a:pt x="1115" y="223"/>
                      <a:pt x="1116" y="226"/>
                    </a:cubicBezTo>
                    <a:cubicBezTo>
                      <a:pt x="1116" y="232"/>
                      <a:pt x="1112" y="232"/>
                      <a:pt x="1114" y="236"/>
                    </a:cubicBezTo>
                    <a:cubicBezTo>
                      <a:pt x="1109" y="229"/>
                      <a:pt x="1104" y="222"/>
                      <a:pt x="1101" y="212"/>
                    </a:cubicBezTo>
                    <a:cubicBezTo>
                      <a:pt x="1092" y="204"/>
                      <a:pt x="1069" y="203"/>
                      <a:pt x="1067" y="215"/>
                    </a:cubicBezTo>
                    <a:cubicBezTo>
                      <a:pt x="1058" y="214"/>
                      <a:pt x="1054" y="213"/>
                      <a:pt x="1046" y="214"/>
                    </a:cubicBezTo>
                    <a:cubicBezTo>
                      <a:pt x="1047" y="217"/>
                      <a:pt x="1046" y="217"/>
                      <a:pt x="1046" y="220"/>
                    </a:cubicBezTo>
                    <a:cubicBezTo>
                      <a:pt x="1048" y="223"/>
                      <a:pt x="1053" y="223"/>
                      <a:pt x="1055" y="226"/>
                    </a:cubicBezTo>
                    <a:cubicBezTo>
                      <a:pt x="1049" y="227"/>
                      <a:pt x="1058" y="234"/>
                      <a:pt x="1052" y="236"/>
                    </a:cubicBezTo>
                    <a:cubicBezTo>
                      <a:pt x="1049" y="236"/>
                      <a:pt x="1049" y="233"/>
                      <a:pt x="1046" y="235"/>
                    </a:cubicBezTo>
                    <a:cubicBezTo>
                      <a:pt x="1044" y="240"/>
                      <a:pt x="1043" y="245"/>
                      <a:pt x="1039" y="249"/>
                    </a:cubicBezTo>
                    <a:cubicBezTo>
                      <a:pt x="1039" y="253"/>
                      <a:pt x="1042" y="255"/>
                      <a:pt x="1041" y="259"/>
                    </a:cubicBezTo>
                    <a:cubicBezTo>
                      <a:pt x="1044" y="263"/>
                      <a:pt x="1051" y="262"/>
                      <a:pt x="1050" y="268"/>
                    </a:cubicBezTo>
                    <a:cubicBezTo>
                      <a:pt x="1045" y="272"/>
                      <a:pt x="1040" y="271"/>
                      <a:pt x="1037" y="278"/>
                    </a:cubicBezTo>
                    <a:cubicBezTo>
                      <a:pt x="1040" y="288"/>
                      <a:pt x="1058" y="283"/>
                      <a:pt x="1065" y="290"/>
                    </a:cubicBezTo>
                    <a:cubicBezTo>
                      <a:pt x="1059" y="293"/>
                      <a:pt x="1050" y="287"/>
                      <a:pt x="1043" y="290"/>
                    </a:cubicBezTo>
                    <a:cubicBezTo>
                      <a:pt x="1040" y="293"/>
                      <a:pt x="1048" y="295"/>
                      <a:pt x="1046" y="297"/>
                    </a:cubicBezTo>
                    <a:cubicBezTo>
                      <a:pt x="1044" y="296"/>
                      <a:pt x="1040" y="295"/>
                      <a:pt x="1039" y="296"/>
                    </a:cubicBezTo>
                    <a:cubicBezTo>
                      <a:pt x="1039" y="301"/>
                      <a:pt x="1048" y="302"/>
                      <a:pt x="1047" y="305"/>
                    </a:cubicBezTo>
                    <a:cubicBezTo>
                      <a:pt x="1035" y="304"/>
                      <a:pt x="1036" y="292"/>
                      <a:pt x="1025" y="291"/>
                    </a:cubicBezTo>
                    <a:cubicBezTo>
                      <a:pt x="1025" y="296"/>
                      <a:pt x="1031" y="294"/>
                      <a:pt x="1031" y="298"/>
                    </a:cubicBezTo>
                    <a:cubicBezTo>
                      <a:pt x="1029" y="307"/>
                      <a:pt x="1036" y="312"/>
                      <a:pt x="1046" y="312"/>
                    </a:cubicBezTo>
                    <a:cubicBezTo>
                      <a:pt x="1050" y="321"/>
                      <a:pt x="1058" y="325"/>
                      <a:pt x="1065" y="330"/>
                    </a:cubicBezTo>
                    <a:cubicBezTo>
                      <a:pt x="1071" y="331"/>
                      <a:pt x="1072" y="322"/>
                      <a:pt x="1075" y="324"/>
                    </a:cubicBezTo>
                    <a:cubicBezTo>
                      <a:pt x="1075" y="327"/>
                      <a:pt x="1072" y="328"/>
                      <a:pt x="1072" y="331"/>
                    </a:cubicBezTo>
                    <a:cubicBezTo>
                      <a:pt x="1074" y="336"/>
                      <a:pt x="1079" y="337"/>
                      <a:pt x="1083" y="340"/>
                    </a:cubicBezTo>
                    <a:cubicBezTo>
                      <a:pt x="1085" y="348"/>
                      <a:pt x="1090" y="352"/>
                      <a:pt x="1090" y="362"/>
                    </a:cubicBezTo>
                    <a:cubicBezTo>
                      <a:pt x="1082" y="361"/>
                      <a:pt x="1076" y="369"/>
                      <a:pt x="1073" y="362"/>
                    </a:cubicBezTo>
                    <a:cubicBezTo>
                      <a:pt x="1077" y="362"/>
                      <a:pt x="1077" y="356"/>
                      <a:pt x="1082" y="356"/>
                    </a:cubicBezTo>
                    <a:cubicBezTo>
                      <a:pt x="1079" y="349"/>
                      <a:pt x="1075" y="342"/>
                      <a:pt x="1071" y="335"/>
                    </a:cubicBezTo>
                    <a:cubicBezTo>
                      <a:pt x="1067" y="335"/>
                      <a:pt x="1065" y="336"/>
                      <a:pt x="1063" y="336"/>
                    </a:cubicBezTo>
                    <a:cubicBezTo>
                      <a:pt x="1052" y="327"/>
                      <a:pt x="1042" y="316"/>
                      <a:pt x="1029" y="309"/>
                    </a:cubicBezTo>
                    <a:cubicBezTo>
                      <a:pt x="1028" y="298"/>
                      <a:pt x="1012" y="293"/>
                      <a:pt x="1002" y="301"/>
                    </a:cubicBezTo>
                    <a:cubicBezTo>
                      <a:pt x="1008" y="306"/>
                      <a:pt x="1011" y="312"/>
                      <a:pt x="1010" y="322"/>
                    </a:cubicBezTo>
                    <a:cubicBezTo>
                      <a:pt x="1017" y="325"/>
                      <a:pt x="1023" y="329"/>
                      <a:pt x="1026" y="336"/>
                    </a:cubicBezTo>
                    <a:cubicBezTo>
                      <a:pt x="1034" y="335"/>
                      <a:pt x="1036" y="340"/>
                      <a:pt x="1045" y="340"/>
                    </a:cubicBezTo>
                    <a:cubicBezTo>
                      <a:pt x="1045" y="343"/>
                      <a:pt x="1048" y="343"/>
                      <a:pt x="1048" y="346"/>
                    </a:cubicBezTo>
                    <a:cubicBezTo>
                      <a:pt x="1029" y="346"/>
                      <a:pt x="1016" y="338"/>
                      <a:pt x="997" y="344"/>
                    </a:cubicBezTo>
                    <a:cubicBezTo>
                      <a:pt x="996" y="350"/>
                      <a:pt x="1002" y="350"/>
                      <a:pt x="1004" y="354"/>
                    </a:cubicBezTo>
                    <a:cubicBezTo>
                      <a:pt x="1004" y="356"/>
                      <a:pt x="1006" y="361"/>
                      <a:pt x="1003" y="361"/>
                    </a:cubicBezTo>
                    <a:cubicBezTo>
                      <a:pt x="999" y="360"/>
                      <a:pt x="1001" y="354"/>
                      <a:pt x="996" y="354"/>
                    </a:cubicBezTo>
                    <a:cubicBezTo>
                      <a:pt x="992" y="355"/>
                      <a:pt x="994" y="361"/>
                      <a:pt x="991" y="362"/>
                    </a:cubicBezTo>
                    <a:cubicBezTo>
                      <a:pt x="988" y="363"/>
                      <a:pt x="988" y="361"/>
                      <a:pt x="985" y="361"/>
                    </a:cubicBezTo>
                    <a:cubicBezTo>
                      <a:pt x="979" y="363"/>
                      <a:pt x="982" y="372"/>
                      <a:pt x="975" y="372"/>
                    </a:cubicBezTo>
                    <a:cubicBezTo>
                      <a:pt x="971" y="369"/>
                      <a:pt x="972" y="362"/>
                      <a:pt x="968" y="361"/>
                    </a:cubicBezTo>
                    <a:cubicBezTo>
                      <a:pt x="965" y="364"/>
                      <a:pt x="964" y="365"/>
                      <a:pt x="965" y="371"/>
                    </a:cubicBezTo>
                    <a:cubicBezTo>
                      <a:pt x="956" y="368"/>
                      <a:pt x="945" y="382"/>
                      <a:pt x="948" y="394"/>
                    </a:cubicBezTo>
                    <a:cubicBezTo>
                      <a:pt x="943" y="398"/>
                      <a:pt x="930" y="396"/>
                      <a:pt x="930" y="386"/>
                    </a:cubicBezTo>
                    <a:cubicBezTo>
                      <a:pt x="932" y="385"/>
                      <a:pt x="935" y="385"/>
                      <a:pt x="937" y="385"/>
                    </a:cubicBezTo>
                    <a:cubicBezTo>
                      <a:pt x="938" y="379"/>
                      <a:pt x="922" y="369"/>
                      <a:pt x="915" y="379"/>
                    </a:cubicBezTo>
                    <a:cubicBezTo>
                      <a:pt x="924" y="378"/>
                      <a:pt x="920" y="391"/>
                      <a:pt x="924" y="397"/>
                    </a:cubicBezTo>
                    <a:cubicBezTo>
                      <a:pt x="925" y="399"/>
                      <a:pt x="929" y="398"/>
                      <a:pt x="931" y="400"/>
                    </a:cubicBezTo>
                    <a:cubicBezTo>
                      <a:pt x="930" y="403"/>
                      <a:pt x="934" y="407"/>
                      <a:pt x="931" y="408"/>
                    </a:cubicBezTo>
                    <a:cubicBezTo>
                      <a:pt x="927" y="410"/>
                      <a:pt x="924" y="403"/>
                      <a:pt x="917" y="403"/>
                    </a:cubicBezTo>
                    <a:cubicBezTo>
                      <a:pt x="917" y="413"/>
                      <a:pt x="909" y="415"/>
                      <a:pt x="907" y="423"/>
                    </a:cubicBezTo>
                    <a:cubicBezTo>
                      <a:pt x="910" y="427"/>
                      <a:pt x="916" y="427"/>
                      <a:pt x="917" y="433"/>
                    </a:cubicBezTo>
                    <a:cubicBezTo>
                      <a:pt x="910" y="438"/>
                      <a:pt x="900" y="431"/>
                      <a:pt x="895" y="427"/>
                    </a:cubicBezTo>
                    <a:cubicBezTo>
                      <a:pt x="892" y="428"/>
                      <a:pt x="891" y="431"/>
                      <a:pt x="889" y="433"/>
                    </a:cubicBezTo>
                    <a:cubicBezTo>
                      <a:pt x="892" y="437"/>
                      <a:pt x="896" y="440"/>
                      <a:pt x="903" y="441"/>
                    </a:cubicBezTo>
                    <a:cubicBezTo>
                      <a:pt x="902" y="442"/>
                      <a:pt x="904" y="446"/>
                      <a:pt x="902" y="446"/>
                    </a:cubicBezTo>
                    <a:cubicBezTo>
                      <a:pt x="892" y="446"/>
                      <a:pt x="891" y="438"/>
                      <a:pt x="881" y="441"/>
                    </a:cubicBezTo>
                    <a:cubicBezTo>
                      <a:pt x="879" y="433"/>
                      <a:pt x="874" y="429"/>
                      <a:pt x="878" y="422"/>
                    </a:cubicBezTo>
                    <a:cubicBezTo>
                      <a:pt x="871" y="414"/>
                      <a:pt x="858" y="414"/>
                      <a:pt x="856" y="403"/>
                    </a:cubicBezTo>
                    <a:cubicBezTo>
                      <a:pt x="858" y="408"/>
                      <a:pt x="864" y="406"/>
                      <a:pt x="868" y="407"/>
                    </a:cubicBezTo>
                    <a:cubicBezTo>
                      <a:pt x="870" y="408"/>
                      <a:pt x="872" y="412"/>
                      <a:pt x="875" y="413"/>
                    </a:cubicBezTo>
                    <a:cubicBezTo>
                      <a:pt x="877" y="414"/>
                      <a:pt x="883" y="412"/>
                      <a:pt x="887" y="413"/>
                    </a:cubicBezTo>
                    <a:cubicBezTo>
                      <a:pt x="890" y="414"/>
                      <a:pt x="892" y="416"/>
                      <a:pt x="894" y="416"/>
                    </a:cubicBezTo>
                    <a:cubicBezTo>
                      <a:pt x="904" y="416"/>
                      <a:pt x="913" y="409"/>
                      <a:pt x="913" y="403"/>
                    </a:cubicBezTo>
                    <a:cubicBezTo>
                      <a:pt x="913" y="396"/>
                      <a:pt x="905" y="394"/>
                      <a:pt x="903" y="388"/>
                    </a:cubicBezTo>
                    <a:cubicBezTo>
                      <a:pt x="891" y="388"/>
                      <a:pt x="884" y="379"/>
                      <a:pt x="874" y="376"/>
                    </a:cubicBezTo>
                    <a:cubicBezTo>
                      <a:pt x="865" y="373"/>
                      <a:pt x="854" y="378"/>
                      <a:pt x="850" y="372"/>
                    </a:cubicBezTo>
                    <a:cubicBezTo>
                      <a:pt x="849" y="369"/>
                      <a:pt x="851" y="369"/>
                      <a:pt x="851" y="366"/>
                    </a:cubicBezTo>
                    <a:cubicBezTo>
                      <a:pt x="847" y="366"/>
                      <a:pt x="846" y="364"/>
                      <a:pt x="842" y="364"/>
                    </a:cubicBezTo>
                    <a:cubicBezTo>
                      <a:pt x="843" y="370"/>
                      <a:pt x="834" y="372"/>
                      <a:pt x="832" y="368"/>
                    </a:cubicBezTo>
                    <a:cubicBezTo>
                      <a:pt x="832" y="364"/>
                      <a:pt x="837" y="365"/>
                      <a:pt x="837" y="361"/>
                    </a:cubicBezTo>
                    <a:cubicBezTo>
                      <a:pt x="834" y="358"/>
                      <a:pt x="831" y="356"/>
                      <a:pt x="826" y="355"/>
                    </a:cubicBezTo>
                    <a:cubicBezTo>
                      <a:pt x="823" y="356"/>
                      <a:pt x="825" y="361"/>
                      <a:pt x="822" y="361"/>
                    </a:cubicBezTo>
                    <a:cubicBezTo>
                      <a:pt x="824" y="356"/>
                      <a:pt x="822" y="351"/>
                      <a:pt x="816" y="352"/>
                    </a:cubicBezTo>
                    <a:cubicBezTo>
                      <a:pt x="816" y="356"/>
                      <a:pt x="816" y="361"/>
                      <a:pt x="813" y="362"/>
                    </a:cubicBezTo>
                    <a:cubicBezTo>
                      <a:pt x="811" y="362"/>
                      <a:pt x="814" y="357"/>
                      <a:pt x="811" y="356"/>
                    </a:cubicBezTo>
                    <a:cubicBezTo>
                      <a:pt x="809" y="358"/>
                      <a:pt x="808" y="365"/>
                      <a:pt x="806" y="363"/>
                    </a:cubicBezTo>
                    <a:cubicBezTo>
                      <a:pt x="806" y="359"/>
                      <a:pt x="810" y="357"/>
                      <a:pt x="809" y="353"/>
                    </a:cubicBezTo>
                    <a:cubicBezTo>
                      <a:pt x="801" y="353"/>
                      <a:pt x="797" y="359"/>
                      <a:pt x="793" y="364"/>
                    </a:cubicBezTo>
                    <a:cubicBezTo>
                      <a:pt x="788" y="358"/>
                      <a:pt x="788" y="369"/>
                      <a:pt x="781" y="367"/>
                    </a:cubicBezTo>
                    <a:cubicBezTo>
                      <a:pt x="781" y="370"/>
                      <a:pt x="781" y="373"/>
                      <a:pt x="778" y="373"/>
                    </a:cubicBezTo>
                    <a:cubicBezTo>
                      <a:pt x="775" y="373"/>
                      <a:pt x="779" y="366"/>
                      <a:pt x="775" y="368"/>
                    </a:cubicBezTo>
                    <a:cubicBezTo>
                      <a:pt x="772" y="369"/>
                      <a:pt x="773" y="373"/>
                      <a:pt x="770" y="374"/>
                    </a:cubicBezTo>
                    <a:cubicBezTo>
                      <a:pt x="770" y="370"/>
                      <a:pt x="773" y="368"/>
                      <a:pt x="770" y="365"/>
                    </a:cubicBezTo>
                    <a:cubicBezTo>
                      <a:pt x="767" y="375"/>
                      <a:pt x="757" y="379"/>
                      <a:pt x="754" y="389"/>
                    </a:cubicBezTo>
                    <a:cubicBezTo>
                      <a:pt x="750" y="386"/>
                      <a:pt x="749" y="392"/>
                      <a:pt x="745" y="391"/>
                    </a:cubicBezTo>
                    <a:cubicBezTo>
                      <a:pt x="744" y="394"/>
                      <a:pt x="746" y="394"/>
                      <a:pt x="746" y="397"/>
                    </a:cubicBezTo>
                    <a:cubicBezTo>
                      <a:pt x="740" y="398"/>
                      <a:pt x="738" y="403"/>
                      <a:pt x="733" y="405"/>
                    </a:cubicBezTo>
                    <a:cubicBezTo>
                      <a:pt x="734" y="414"/>
                      <a:pt x="722" y="414"/>
                      <a:pt x="726" y="422"/>
                    </a:cubicBezTo>
                    <a:cubicBezTo>
                      <a:pt x="725" y="423"/>
                      <a:pt x="722" y="423"/>
                      <a:pt x="721" y="424"/>
                    </a:cubicBezTo>
                    <a:cubicBezTo>
                      <a:pt x="721" y="428"/>
                      <a:pt x="722" y="429"/>
                      <a:pt x="721" y="432"/>
                    </a:cubicBezTo>
                    <a:cubicBezTo>
                      <a:pt x="715" y="431"/>
                      <a:pt x="717" y="437"/>
                      <a:pt x="713" y="438"/>
                    </a:cubicBezTo>
                    <a:cubicBezTo>
                      <a:pt x="708" y="436"/>
                      <a:pt x="703" y="444"/>
                      <a:pt x="700" y="448"/>
                    </a:cubicBezTo>
                    <a:cubicBezTo>
                      <a:pt x="685" y="441"/>
                      <a:pt x="686" y="463"/>
                      <a:pt x="674" y="460"/>
                    </a:cubicBezTo>
                    <a:cubicBezTo>
                      <a:pt x="672" y="463"/>
                      <a:pt x="677" y="464"/>
                      <a:pt x="674" y="466"/>
                    </a:cubicBezTo>
                    <a:cubicBezTo>
                      <a:pt x="667" y="464"/>
                      <a:pt x="658" y="469"/>
                      <a:pt x="659" y="480"/>
                    </a:cubicBezTo>
                    <a:cubicBezTo>
                      <a:pt x="660" y="483"/>
                      <a:pt x="665" y="481"/>
                      <a:pt x="665" y="484"/>
                    </a:cubicBezTo>
                    <a:cubicBezTo>
                      <a:pt x="661" y="484"/>
                      <a:pt x="660" y="482"/>
                      <a:pt x="656" y="483"/>
                    </a:cubicBezTo>
                    <a:cubicBezTo>
                      <a:pt x="657" y="494"/>
                      <a:pt x="657" y="503"/>
                      <a:pt x="649" y="507"/>
                    </a:cubicBezTo>
                    <a:cubicBezTo>
                      <a:pt x="650" y="510"/>
                      <a:pt x="656" y="508"/>
                      <a:pt x="656" y="512"/>
                    </a:cubicBezTo>
                    <a:cubicBezTo>
                      <a:pt x="655" y="516"/>
                      <a:pt x="651" y="515"/>
                      <a:pt x="649" y="516"/>
                    </a:cubicBezTo>
                    <a:cubicBezTo>
                      <a:pt x="648" y="524"/>
                      <a:pt x="655" y="525"/>
                      <a:pt x="656" y="532"/>
                    </a:cubicBezTo>
                    <a:cubicBezTo>
                      <a:pt x="674" y="538"/>
                      <a:pt x="679" y="519"/>
                      <a:pt x="694" y="516"/>
                    </a:cubicBezTo>
                    <a:cubicBezTo>
                      <a:pt x="694" y="518"/>
                      <a:pt x="698" y="517"/>
                      <a:pt x="698" y="520"/>
                    </a:cubicBezTo>
                    <a:cubicBezTo>
                      <a:pt x="698" y="527"/>
                      <a:pt x="696" y="531"/>
                      <a:pt x="701" y="534"/>
                    </a:cubicBezTo>
                    <a:cubicBezTo>
                      <a:pt x="694" y="545"/>
                      <a:pt x="704" y="552"/>
                      <a:pt x="706" y="563"/>
                    </a:cubicBezTo>
                    <a:cubicBezTo>
                      <a:pt x="701" y="569"/>
                      <a:pt x="706" y="575"/>
                      <a:pt x="707" y="583"/>
                    </a:cubicBezTo>
                    <a:cubicBezTo>
                      <a:pt x="712" y="582"/>
                      <a:pt x="714" y="584"/>
                      <a:pt x="718" y="584"/>
                    </a:cubicBezTo>
                    <a:cubicBezTo>
                      <a:pt x="719" y="576"/>
                      <a:pt x="724" y="566"/>
                      <a:pt x="736" y="572"/>
                    </a:cubicBezTo>
                    <a:cubicBezTo>
                      <a:pt x="742" y="561"/>
                      <a:pt x="746" y="546"/>
                      <a:pt x="746" y="533"/>
                    </a:cubicBezTo>
                    <a:cubicBezTo>
                      <a:pt x="753" y="533"/>
                      <a:pt x="752" y="524"/>
                      <a:pt x="759" y="527"/>
                    </a:cubicBezTo>
                    <a:cubicBezTo>
                      <a:pt x="765" y="519"/>
                      <a:pt x="768" y="509"/>
                      <a:pt x="760" y="500"/>
                    </a:cubicBezTo>
                    <a:cubicBezTo>
                      <a:pt x="757" y="500"/>
                      <a:pt x="753" y="501"/>
                      <a:pt x="753" y="499"/>
                    </a:cubicBezTo>
                    <a:cubicBezTo>
                      <a:pt x="752" y="477"/>
                      <a:pt x="758" y="459"/>
                      <a:pt x="779" y="456"/>
                    </a:cubicBezTo>
                    <a:cubicBezTo>
                      <a:pt x="785" y="447"/>
                      <a:pt x="785" y="438"/>
                      <a:pt x="786" y="427"/>
                    </a:cubicBezTo>
                    <a:cubicBezTo>
                      <a:pt x="794" y="420"/>
                      <a:pt x="802" y="425"/>
                      <a:pt x="809" y="427"/>
                    </a:cubicBezTo>
                    <a:cubicBezTo>
                      <a:pt x="809" y="430"/>
                      <a:pt x="812" y="430"/>
                      <a:pt x="811" y="433"/>
                    </a:cubicBezTo>
                    <a:cubicBezTo>
                      <a:pt x="806" y="442"/>
                      <a:pt x="799" y="447"/>
                      <a:pt x="793" y="453"/>
                    </a:cubicBezTo>
                    <a:cubicBezTo>
                      <a:pt x="791" y="455"/>
                      <a:pt x="792" y="458"/>
                      <a:pt x="791" y="459"/>
                    </a:cubicBezTo>
                    <a:cubicBezTo>
                      <a:pt x="788" y="463"/>
                      <a:pt x="786" y="462"/>
                      <a:pt x="785" y="464"/>
                    </a:cubicBezTo>
                    <a:cubicBezTo>
                      <a:pt x="781" y="472"/>
                      <a:pt x="786" y="475"/>
                      <a:pt x="786" y="486"/>
                    </a:cubicBezTo>
                    <a:cubicBezTo>
                      <a:pt x="787" y="491"/>
                      <a:pt x="784" y="496"/>
                      <a:pt x="785" y="500"/>
                    </a:cubicBezTo>
                    <a:cubicBezTo>
                      <a:pt x="787" y="505"/>
                      <a:pt x="792" y="505"/>
                      <a:pt x="796" y="507"/>
                    </a:cubicBezTo>
                    <a:cubicBezTo>
                      <a:pt x="800" y="509"/>
                      <a:pt x="800" y="512"/>
                      <a:pt x="803" y="513"/>
                    </a:cubicBezTo>
                    <a:cubicBezTo>
                      <a:pt x="812" y="515"/>
                      <a:pt x="820" y="506"/>
                      <a:pt x="830" y="503"/>
                    </a:cubicBezTo>
                    <a:cubicBezTo>
                      <a:pt x="836" y="502"/>
                      <a:pt x="840" y="505"/>
                      <a:pt x="845" y="500"/>
                    </a:cubicBezTo>
                    <a:cubicBezTo>
                      <a:pt x="846" y="505"/>
                      <a:pt x="850" y="506"/>
                      <a:pt x="853" y="509"/>
                    </a:cubicBezTo>
                    <a:cubicBezTo>
                      <a:pt x="850" y="513"/>
                      <a:pt x="844" y="514"/>
                      <a:pt x="842" y="519"/>
                    </a:cubicBezTo>
                    <a:cubicBezTo>
                      <a:pt x="829" y="513"/>
                      <a:pt x="812" y="517"/>
                      <a:pt x="804" y="524"/>
                    </a:cubicBezTo>
                    <a:cubicBezTo>
                      <a:pt x="801" y="535"/>
                      <a:pt x="809" y="536"/>
                      <a:pt x="813" y="539"/>
                    </a:cubicBezTo>
                    <a:cubicBezTo>
                      <a:pt x="809" y="545"/>
                      <a:pt x="818" y="554"/>
                      <a:pt x="812" y="558"/>
                    </a:cubicBezTo>
                    <a:cubicBezTo>
                      <a:pt x="801" y="559"/>
                      <a:pt x="805" y="547"/>
                      <a:pt x="797" y="547"/>
                    </a:cubicBezTo>
                    <a:cubicBezTo>
                      <a:pt x="791" y="546"/>
                      <a:pt x="784" y="559"/>
                      <a:pt x="784" y="563"/>
                    </a:cubicBezTo>
                    <a:cubicBezTo>
                      <a:pt x="782" y="573"/>
                      <a:pt x="788" y="585"/>
                      <a:pt x="786" y="592"/>
                    </a:cubicBezTo>
                    <a:cubicBezTo>
                      <a:pt x="783" y="594"/>
                      <a:pt x="776" y="592"/>
                      <a:pt x="773" y="594"/>
                    </a:cubicBezTo>
                    <a:cubicBezTo>
                      <a:pt x="779" y="604"/>
                      <a:pt x="761" y="606"/>
                      <a:pt x="761" y="596"/>
                    </a:cubicBezTo>
                    <a:cubicBezTo>
                      <a:pt x="746" y="591"/>
                      <a:pt x="741" y="603"/>
                      <a:pt x="730" y="604"/>
                    </a:cubicBezTo>
                    <a:cubicBezTo>
                      <a:pt x="721" y="605"/>
                      <a:pt x="719" y="607"/>
                      <a:pt x="714" y="611"/>
                    </a:cubicBezTo>
                    <a:cubicBezTo>
                      <a:pt x="712" y="605"/>
                      <a:pt x="707" y="601"/>
                      <a:pt x="700" y="598"/>
                    </a:cubicBezTo>
                    <a:cubicBezTo>
                      <a:pt x="695" y="601"/>
                      <a:pt x="689" y="602"/>
                      <a:pt x="684" y="604"/>
                    </a:cubicBezTo>
                    <a:cubicBezTo>
                      <a:pt x="682" y="602"/>
                      <a:pt x="684" y="598"/>
                      <a:pt x="685" y="595"/>
                    </a:cubicBezTo>
                    <a:cubicBezTo>
                      <a:pt x="677" y="595"/>
                      <a:pt x="677" y="595"/>
                      <a:pt x="677" y="595"/>
                    </a:cubicBezTo>
                    <a:cubicBezTo>
                      <a:pt x="669" y="590"/>
                      <a:pt x="675" y="581"/>
                      <a:pt x="674" y="573"/>
                    </a:cubicBezTo>
                    <a:cubicBezTo>
                      <a:pt x="681" y="572"/>
                      <a:pt x="682" y="565"/>
                      <a:pt x="687" y="562"/>
                    </a:cubicBezTo>
                    <a:cubicBezTo>
                      <a:pt x="688" y="558"/>
                      <a:pt x="682" y="561"/>
                      <a:pt x="683" y="557"/>
                    </a:cubicBezTo>
                    <a:cubicBezTo>
                      <a:pt x="683" y="551"/>
                      <a:pt x="690" y="549"/>
                      <a:pt x="687" y="542"/>
                    </a:cubicBezTo>
                    <a:cubicBezTo>
                      <a:pt x="678" y="540"/>
                      <a:pt x="680" y="550"/>
                      <a:pt x="673" y="551"/>
                    </a:cubicBezTo>
                    <a:cubicBezTo>
                      <a:pt x="671" y="551"/>
                      <a:pt x="673" y="548"/>
                      <a:pt x="672" y="547"/>
                    </a:cubicBezTo>
                    <a:cubicBezTo>
                      <a:pt x="669" y="547"/>
                      <a:pt x="667" y="549"/>
                      <a:pt x="665" y="551"/>
                    </a:cubicBezTo>
                    <a:cubicBezTo>
                      <a:pt x="665" y="555"/>
                      <a:pt x="669" y="554"/>
                      <a:pt x="668" y="557"/>
                    </a:cubicBezTo>
                    <a:cubicBezTo>
                      <a:pt x="653" y="559"/>
                      <a:pt x="665" y="577"/>
                      <a:pt x="660" y="583"/>
                    </a:cubicBezTo>
                    <a:cubicBezTo>
                      <a:pt x="664" y="589"/>
                      <a:pt x="662" y="595"/>
                      <a:pt x="662" y="601"/>
                    </a:cubicBezTo>
                    <a:cubicBezTo>
                      <a:pt x="657" y="602"/>
                      <a:pt x="657" y="607"/>
                      <a:pt x="653" y="608"/>
                    </a:cubicBezTo>
                    <a:cubicBezTo>
                      <a:pt x="650" y="607"/>
                      <a:pt x="650" y="602"/>
                      <a:pt x="644" y="603"/>
                    </a:cubicBezTo>
                    <a:cubicBezTo>
                      <a:pt x="642" y="604"/>
                      <a:pt x="643" y="609"/>
                      <a:pt x="641" y="609"/>
                    </a:cubicBezTo>
                    <a:cubicBezTo>
                      <a:pt x="636" y="607"/>
                      <a:pt x="631" y="605"/>
                      <a:pt x="627" y="606"/>
                    </a:cubicBezTo>
                    <a:cubicBezTo>
                      <a:pt x="614" y="609"/>
                      <a:pt x="610" y="628"/>
                      <a:pt x="599" y="634"/>
                    </a:cubicBezTo>
                    <a:cubicBezTo>
                      <a:pt x="598" y="635"/>
                      <a:pt x="595" y="634"/>
                      <a:pt x="593" y="635"/>
                    </a:cubicBezTo>
                    <a:cubicBezTo>
                      <a:pt x="585" y="638"/>
                      <a:pt x="582" y="643"/>
                      <a:pt x="571" y="637"/>
                    </a:cubicBezTo>
                    <a:cubicBezTo>
                      <a:pt x="575" y="632"/>
                      <a:pt x="569" y="631"/>
                      <a:pt x="569" y="627"/>
                    </a:cubicBezTo>
                    <a:cubicBezTo>
                      <a:pt x="575" y="622"/>
                      <a:pt x="587" y="619"/>
                      <a:pt x="585" y="610"/>
                    </a:cubicBezTo>
                    <a:cubicBezTo>
                      <a:pt x="584" y="604"/>
                      <a:pt x="575" y="603"/>
                      <a:pt x="570" y="604"/>
                    </a:cubicBezTo>
                    <a:cubicBezTo>
                      <a:pt x="571" y="601"/>
                      <a:pt x="574" y="600"/>
                      <a:pt x="574" y="596"/>
                    </a:cubicBezTo>
                    <a:cubicBezTo>
                      <a:pt x="569" y="592"/>
                      <a:pt x="574" y="585"/>
                      <a:pt x="572" y="578"/>
                    </a:cubicBezTo>
                    <a:cubicBezTo>
                      <a:pt x="571" y="573"/>
                      <a:pt x="567" y="571"/>
                      <a:pt x="567" y="567"/>
                    </a:cubicBezTo>
                    <a:cubicBezTo>
                      <a:pt x="566" y="562"/>
                      <a:pt x="570" y="559"/>
                      <a:pt x="569" y="554"/>
                    </a:cubicBezTo>
                    <a:cubicBezTo>
                      <a:pt x="569" y="550"/>
                      <a:pt x="565" y="548"/>
                      <a:pt x="563" y="546"/>
                    </a:cubicBezTo>
                    <a:cubicBezTo>
                      <a:pt x="569" y="538"/>
                      <a:pt x="578" y="533"/>
                      <a:pt x="582" y="523"/>
                    </a:cubicBezTo>
                    <a:cubicBezTo>
                      <a:pt x="576" y="521"/>
                      <a:pt x="569" y="520"/>
                      <a:pt x="565" y="517"/>
                    </a:cubicBezTo>
                    <a:cubicBezTo>
                      <a:pt x="569" y="513"/>
                      <a:pt x="577" y="513"/>
                      <a:pt x="576" y="504"/>
                    </a:cubicBezTo>
                    <a:cubicBezTo>
                      <a:pt x="569" y="505"/>
                      <a:pt x="566" y="505"/>
                      <a:pt x="562" y="502"/>
                    </a:cubicBezTo>
                    <a:cubicBezTo>
                      <a:pt x="557" y="506"/>
                      <a:pt x="556" y="513"/>
                      <a:pt x="548" y="514"/>
                    </a:cubicBezTo>
                    <a:cubicBezTo>
                      <a:pt x="551" y="528"/>
                      <a:pt x="537" y="526"/>
                      <a:pt x="536" y="536"/>
                    </a:cubicBezTo>
                    <a:cubicBezTo>
                      <a:pt x="539" y="537"/>
                      <a:pt x="541" y="531"/>
                      <a:pt x="543" y="534"/>
                    </a:cubicBezTo>
                    <a:cubicBezTo>
                      <a:pt x="538" y="536"/>
                      <a:pt x="538" y="543"/>
                      <a:pt x="535" y="547"/>
                    </a:cubicBezTo>
                    <a:cubicBezTo>
                      <a:pt x="533" y="546"/>
                      <a:pt x="535" y="540"/>
                      <a:pt x="532" y="541"/>
                    </a:cubicBezTo>
                    <a:cubicBezTo>
                      <a:pt x="525" y="544"/>
                      <a:pt x="535" y="547"/>
                      <a:pt x="531" y="552"/>
                    </a:cubicBezTo>
                    <a:cubicBezTo>
                      <a:pt x="535" y="553"/>
                      <a:pt x="533" y="549"/>
                      <a:pt x="536" y="548"/>
                    </a:cubicBezTo>
                    <a:cubicBezTo>
                      <a:pt x="535" y="552"/>
                      <a:pt x="539" y="550"/>
                      <a:pt x="540" y="552"/>
                    </a:cubicBezTo>
                    <a:cubicBezTo>
                      <a:pt x="538" y="556"/>
                      <a:pt x="531" y="558"/>
                      <a:pt x="534" y="563"/>
                    </a:cubicBezTo>
                    <a:cubicBezTo>
                      <a:pt x="538" y="565"/>
                      <a:pt x="545" y="563"/>
                      <a:pt x="549" y="563"/>
                    </a:cubicBezTo>
                    <a:cubicBezTo>
                      <a:pt x="548" y="566"/>
                      <a:pt x="543" y="566"/>
                      <a:pt x="545" y="572"/>
                    </a:cubicBezTo>
                    <a:cubicBezTo>
                      <a:pt x="545" y="576"/>
                      <a:pt x="549" y="575"/>
                      <a:pt x="548" y="578"/>
                    </a:cubicBezTo>
                    <a:cubicBezTo>
                      <a:pt x="546" y="583"/>
                      <a:pt x="544" y="587"/>
                      <a:pt x="541" y="591"/>
                    </a:cubicBezTo>
                    <a:cubicBezTo>
                      <a:pt x="536" y="589"/>
                      <a:pt x="533" y="585"/>
                      <a:pt x="526" y="585"/>
                    </a:cubicBezTo>
                    <a:cubicBezTo>
                      <a:pt x="528" y="590"/>
                      <a:pt x="524" y="590"/>
                      <a:pt x="523" y="593"/>
                    </a:cubicBezTo>
                    <a:cubicBezTo>
                      <a:pt x="523" y="596"/>
                      <a:pt x="529" y="593"/>
                      <a:pt x="528" y="597"/>
                    </a:cubicBezTo>
                    <a:cubicBezTo>
                      <a:pt x="525" y="603"/>
                      <a:pt x="521" y="606"/>
                      <a:pt x="513" y="606"/>
                    </a:cubicBezTo>
                    <a:cubicBezTo>
                      <a:pt x="513" y="609"/>
                      <a:pt x="510" y="609"/>
                      <a:pt x="511" y="613"/>
                    </a:cubicBezTo>
                    <a:cubicBezTo>
                      <a:pt x="513" y="616"/>
                      <a:pt x="514" y="613"/>
                      <a:pt x="518" y="613"/>
                    </a:cubicBezTo>
                    <a:cubicBezTo>
                      <a:pt x="520" y="618"/>
                      <a:pt x="525" y="619"/>
                      <a:pt x="529" y="622"/>
                    </a:cubicBezTo>
                    <a:cubicBezTo>
                      <a:pt x="525" y="624"/>
                      <a:pt x="521" y="621"/>
                      <a:pt x="518" y="621"/>
                    </a:cubicBezTo>
                    <a:cubicBezTo>
                      <a:pt x="512" y="622"/>
                      <a:pt x="511" y="626"/>
                      <a:pt x="505" y="630"/>
                    </a:cubicBezTo>
                    <a:cubicBezTo>
                      <a:pt x="506" y="630"/>
                      <a:pt x="503" y="629"/>
                      <a:pt x="502" y="629"/>
                    </a:cubicBezTo>
                    <a:cubicBezTo>
                      <a:pt x="499" y="631"/>
                      <a:pt x="495" y="635"/>
                      <a:pt x="495" y="638"/>
                    </a:cubicBezTo>
                    <a:cubicBezTo>
                      <a:pt x="499" y="642"/>
                      <a:pt x="503" y="636"/>
                      <a:pt x="507" y="635"/>
                    </a:cubicBezTo>
                    <a:cubicBezTo>
                      <a:pt x="510" y="636"/>
                      <a:pt x="513" y="637"/>
                      <a:pt x="514" y="641"/>
                    </a:cubicBezTo>
                    <a:cubicBezTo>
                      <a:pt x="518" y="639"/>
                      <a:pt x="521" y="635"/>
                      <a:pt x="524" y="633"/>
                    </a:cubicBezTo>
                    <a:cubicBezTo>
                      <a:pt x="528" y="642"/>
                      <a:pt x="537" y="634"/>
                      <a:pt x="543" y="641"/>
                    </a:cubicBezTo>
                    <a:cubicBezTo>
                      <a:pt x="547" y="635"/>
                      <a:pt x="564" y="645"/>
                      <a:pt x="571" y="638"/>
                    </a:cubicBezTo>
                    <a:cubicBezTo>
                      <a:pt x="577" y="660"/>
                      <a:pt x="554" y="650"/>
                      <a:pt x="548" y="664"/>
                    </a:cubicBezTo>
                    <a:cubicBezTo>
                      <a:pt x="536" y="667"/>
                      <a:pt x="541" y="653"/>
                      <a:pt x="531" y="653"/>
                    </a:cubicBezTo>
                    <a:cubicBezTo>
                      <a:pt x="531" y="660"/>
                      <a:pt x="534" y="667"/>
                      <a:pt x="528" y="669"/>
                    </a:cubicBezTo>
                    <a:cubicBezTo>
                      <a:pt x="523" y="669"/>
                      <a:pt x="521" y="667"/>
                      <a:pt x="515" y="667"/>
                    </a:cubicBezTo>
                    <a:cubicBezTo>
                      <a:pt x="515" y="659"/>
                      <a:pt x="499" y="663"/>
                      <a:pt x="493" y="665"/>
                    </a:cubicBezTo>
                    <a:cubicBezTo>
                      <a:pt x="492" y="668"/>
                      <a:pt x="494" y="667"/>
                      <a:pt x="494" y="670"/>
                    </a:cubicBezTo>
                    <a:cubicBezTo>
                      <a:pt x="491" y="670"/>
                      <a:pt x="488" y="670"/>
                      <a:pt x="489" y="673"/>
                    </a:cubicBezTo>
                    <a:cubicBezTo>
                      <a:pt x="495" y="682"/>
                      <a:pt x="508" y="683"/>
                      <a:pt x="511" y="693"/>
                    </a:cubicBezTo>
                    <a:cubicBezTo>
                      <a:pt x="513" y="701"/>
                      <a:pt x="509" y="709"/>
                      <a:pt x="517" y="715"/>
                    </a:cubicBezTo>
                    <a:cubicBezTo>
                      <a:pt x="514" y="733"/>
                      <a:pt x="506" y="749"/>
                      <a:pt x="496" y="762"/>
                    </a:cubicBezTo>
                    <a:cubicBezTo>
                      <a:pt x="487" y="762"/>
                      <a:pt x="481" y="756"/>
                      <a:pt x="473" y="754"/>
                    </a:cubicBezTo>
                    <a:cubicBezTo>
                      <a:pt x="469" y="753"/>
                      <a:pt x="464" y="755"/>
                      <a:pt x="460" y="752"/>
                    </a:cubicBezTo>
                    <a:cubicBezTo>
                      <a:pt x="458" y="751"/>
                      <a:pt x="458" y="747"/>
                      <a:pt x="456" y="746"/>
                    </a:cubicBezTo>
                    <a:cubicBezTo>
                      <a:pt x="448" y="740"/>
                      <a:pt x="434" y="744"/>
                      <a:pt x="427" y="734"/>
                    </a:cubicBezTo>
                    <a:cubicBezTo>
                      <a:pt x="422" y="737"/>
                      <a:pt x="413" y="736"/>
                      <a:pt x="406" y="738"/>
                    </a:cubicBezTo>
                    <a:cubicBezTo>
                      <a:pt x="404" y="742"/>
                      <a:pt x="405" y="745"/>
                      <a:pt x="406" y="751"/>
                    </a:cubicBezTo>
                    <a:cubicBezTo>
                      <a:pt x="401" y="762"/>
                      <a:pt x="400" y="777"/>
                      <a:pt x="390" y="788"/>
                    </a:cubicBezTo>
                    <a:cubicBezTo>
                      <a:pt x="384" y="796"/>
                      <a:pt x="375" y="803"/>
                      <a:pt x="375" y="811"/>
                    </a:cubicBezTo>
                    <a:cubicBezTo>
                      <a:pt x="375" y="814"/>
                      <a:pt x="378" y="817"/>
                      <a:pt x="378" y="819"/>
                    </a:cubicBezTo>
                    <a:cubicBezTo>
                      <a:pt x="379" y="828"/>
                      <a:pt x="371" y="833"/>
                      <a:pt x="370" y="843"/>
                    </a:cubicBezTo>
                    <a:cubicBezTo>
                      <a:pt x="379" y="846"/>
                      <a:pt x="382" y="852"/>
                      <a:pt x="393" y="849"/>
                    </a:cubicBezTo>
                    <a:cubicBezTo>
                      <a:pt x="402" y="856"/>
                      <a:pt x="393" y="874"/>
                      <a:pt x="405" y="876"/>
                    </a:cubicBezTo>
                    <a:cubicBezTo>
                      <a:pt x="408" y="876"/>
                      <a:pt x="411" y="873"/>
                      <a:pt x="415" y="872"/>
                    </a:cubicBezTo>
                    <a:cubicBezTo>
                      <a:pt x="430" y="868"/>
                      <a:pt x="441" y="878"/>
                      <a:pt x="456" y="880"/>
                    </a:cubicBezTo>
                    <a:cubicBezTo>
                      <a:pt x="462" y="874"/>
                      <a:pt x="466" y="865"/>
                      <a:pt x="478" y="868"/>
                    </a:cubicBezTo>
                    <a:cubicBezTo>
                      <a:pt x="480" y="860"/>
                      <a:pt x="484" y="854"/>
                      <a:pt x="495" y="855"/>
                    </a:cubicBezTo>
                    <a:cubicBezTo>
                      <a:pt x="498" y="848"/>
                      <a:pt x="491" y="846"/>
                      <a:pt x="491" y="840"/>
                    </a:cubicBezTo>
                    <a:cubicBezTo>
                      <a:pt x="495" y="828"/>
                      <a:pt x="510" y="825"/>
                      <a:pt x="517" y="814"/>
                    </a:cubicBezTo>
                    <a:cubicBezTo>
                      <a:pt x="528" y="813"/>
                      <a:pt x="539" y="811"/>
                      <a:pt x="548" y="806"/>
                    </a:cubicBezTo>
                    <a:cubicBezTo>
                      <a:pt x="552" y="801"/>
                      <a:pt x="551" y="797"/>
                      <a:pt x="549" y="790"/>
                    </a:cubicBezTo>
                    <a:cubicBezTo>
                      <a:pt x="554" y="784"/>
                      <a:pt x="558" y="779"/>
                      <a:pt x="568" y="778"/>
                    </a:cubicBezTo>
                    <a:cubicBezTo>
                      <a:pt x="572" y="779"/>
                      <a:pt x="572" y="783"/>
                      <a:pt x="579" y="782"/>
                    </a:cubicBezTo>
                    <a:cubicBezTo>
                      <a:pt x="584" y="784"/>
                      <a:pt x="586" y="795"/>
                      <a:pt x="596" y="792"/>
                    </a:cubicBezTo>
                    <a:cubicBezTo>
                      <a:pt x="599" y="792"/>
                      <a:pt x="600" y="785"/>
                      <a:pt x="606" y="783"/>
                    </a:cubicBezTo>
                    <a:cubicBezTo>
                      <a:pt x="609" y="781"/>
                      <a:pt x="613" y="783"/>
                      <a:pt x="617" y="782"/>
                    </a:cubicBezTo>
                    <a:cubicBezTo>
                      <a:pt x="622" y="779"/>
                      <a:pt x="624" y="773"/>
                      <a:pt x="630" y="773"/>
                    </a:cubicBezTo>
                    <a:cubicBezTo>
                      <a:pt x="641" y="773"/>
                      <a:pt x="650" y="785"/>
                      <a:pt x="647" y="802"/>
                    </a:cubicBezTo>
                    <a:cubicBezTo>
                      <a:pt x="649" y="807"/>
                      <a:pt x="656" y="806"/>
                      <a:pt x="656" y="812"/>
                    </a:cubicBezTo>
                    <a:cubicBezTo>
                      <a:pt x="672" y="816"/>
                      <a:pt x="669" y="838"/>
                      <a:pt x="688" y="839"/>
                    </a:cubicBezTo>
                    <a:cubicBezTo>
                      <a:pt x="689" y="850"/>
                      <a:pt x="701" y="845"/>
                      <a:pt x="706" y="853"/>
                    </a:cubicBezTo>
                    <a:cubicBezTo>
                      <a:pt x="708" y="856"/>
                      <a:pt x="705" y="859"/>
                      <a:pt x="709" y="862"/>
                    </a:cubicBezTo>
                    <a:cubicBezTo>
                      <a:pt x="711" y="864"/>
                      <a:pt x="716" y="863"/>
                      <a:pt x="716" y="866"/>
                    </a:cubicBezTo>
                    <a:cubicBezTo>
                      <a:pt x="717" y="874"/>
                      <a:pt x="719" y="878"/>
                      <a:pt x="722" y="883"/>
                    </a:cubicBezTo>
                    <a:cubicBezTo>
                      <a:pt x="717" y="887"/>
                      <a:pt x="718" y="896"/>
                      <a:pt x="711" y="898"/>
                    </a:cubicBezTo>
                    <a:cubicBezTo>
                      <a:pt x="709" y="898"/>
                      <a:pt x="703" y="896"/>
                      <a:pt x="698" y="897"/>
                    </a:cubicBezTo>
                    <a:cubicBezTo>
                      <a:pt x="688" y="898"/>
                      <a:pt x="684" y="900"/>
                      <a:pt x="680" y="894"/>
                    </a:cubicBezTo>
                    <a:cubicBezTo>
                      <a:pt x="675" y="897"/>
                      <a:pt x="673" y="895"/>
                      <a:pt x="667" y="894"/>
                    </a:cubicBezTo>
                    <a:cubicBezTo>
                      <a:pt x="665" y="897"/>
                      <a:pt x="664" y="899"/>
                      <a:pt x="665" y="903"/>
                    </a:cubicBezTo>
                    <a:cubicBezTo>
                      <a:pt x="668" y="904"/>
                      <a:pt x="670" y="906"/>
                      <a:pt x="674" y="906"/>
                    </a:cubicBezTo>
                    <a:cubicBezTo>
                      <a:pt x="678" y="911"/>
                      <a:pt x="681" y="918"/>
                      <a:pt x="690" y="917"/>
                    </a:cubicBezTo>
                    <a:cubicBezTo>
                      <a:pt x="694" y="921"/>
                      <a:pt x="697" y="925"/>
                      <a:pt x="704" y="926"/>
                    </a:cubicBezTo>
                    <a:cubicBezTo>
                      <a:pt x="710" y="920"/>
                      <a:pt x="702" y="906"/>
                      <a:pt x="712" y="903"/>
                    </a:cubicBezTo>
                    <a:cubicBezTo>
                      <a:pt x="726" y="906"/>
                      <a:pt x="726" y="887"/>
                      <a:pt x="737" y="884"/>
                    </a:cubicBezTo>
                    <a:cubicBezTo>
                      <a:pt x="739" y="875"/>
                      <a:pt x="732" y="874"/>
                      <a:pt x="729" y="869"/>
                    </a:cubicBezTo>
                    <a:cubicBezTo>
                      <a:pt x="730" y="864"/>
                      <a:pt x="732" y="859"/>
                      <a:pt x="737" y="858"/>
                    </a:cubicBezTo>
                    <a:cubicBezTo>
                      <a:pt x="738" y="860"/>
                      <a:pt x="742" y="861"/>
                      <a:pt x="746" y="861"/>
                    </a:cubicBezTo>
                    <a:cubicBezTo>
                      <a:pt x="747" y="866"/>
                      <a:pt x="753" y="872"/>
                      <a:pt x="758" y="867"/>
                    </a:cubicBezTo>
                    <a:cubicBezTo>
                      <a:pt x="755" y="848"/>
                      <a:pt x="733" y="847"/>
                      <a:pt x="721" y="836"/>
                    </a:cubicBezTo>
                    <a:cubicBezTo>
                      <a:pt x="723" y="834"/>
                      <a:pt x="725" y="833"/>
                      <a:pt x="725" y="829"/>
                    </a:cubicBezTo>
                    <a:cubicBezTo>
                      <a:pt x="709" y="826"/>
                      <a:pt x="698" y="821"/>
                      <a:pt x="694" y="806"/>
                    </a:cubicBezTo>
                    <a:cubicBezTo>
                      <a:pt x="691" y="790"/>
                      <a:pt x="680" y="785"/>
                      <a:pt x="675" y="773"/>
                    </a:cubicBezTo>
                    <a:cubicBezTo>
                      <a:pt x="679" y="771"/>
                      <a:pt x="680" y="766"/>
                      <a:pt x="677" y="762"/>
                    </a:cubicBezTo>
                    <a:cubicBezTo>
                      <a:pt x="681" y="758"/>
                      <a:pt x="691" y="752"/>
                      <a:pt x="696" y="757"/>
                    </a:cubicBezTo>
                    <a:cubicBezTo>
                      <a:pt x="696" y="762"/>
                      <a:pt x="692" y="765"/>
                      <a:pt x="694" y="771"/>
                    </a:cubicBezTo>
                    <a:cubicBezTo>
                      <a:pt x="700" y="772"/>
                      <a:pt x="697" y="765"/>
                      <a:pt x="703" y="766"/>
                    </a:cubicBezTo>
                    <a:cubicBezTo>
                      <a:pt x="704" y="771"/>
                      <a:pt x="705" y="774"/>
                      <a:pt x="709" y="775"/>
                    </a:cubicBezTo>
                    <a:cubicBezTo>
                      <a:pt x="709" y="787"/>
                      <a:pt x="720" y="788"/>
                      <a:pt x="721" y="799"/>
                    </a:cubicBezTo>
                    <a:cubicBezTo>
                      <a:pt x="725" y="800"/>
                      <a:pt x="731" y="800"/>
                      <a:pt x="735" y="801"/>
                    </a:cubicBezTo>
                    <a:cubicBezTo>
                      <a:pt x="734" y="804"/>
                      <a:pt x="736" y="804"/>
                      <a:pt x="736" y="808"/>
                    </a:cubicBezTo>
                    <a:cubicBezTo>
                      <a:pt x="752" y="812"/>
                      <a:pt x="757" y="828"/>
                      <a:pt x="772" y="834"/>
                    </a:cubicBezTo>
                    <a:cubicBezTo>
                      <a:pt x="772" y="845"/>
                      <a:pt x="769" y="852"/>
                      <a:pt x="767" y="861"/>
                    </a:cubicBezTo>
                    <a:cubicBezTo>
                      <a:pt x="770" y="865"/>
                      <a:pt x="776" y="867"/>
                      <a:pt x="776" y="874"/>
                    </a:cubicBezTo>
                    <a:cubicBezTo>
                      <a:pt x="786" y="878"/>
                      <a:pt x="790" y="889"/>
                      <a:pt x="796" y="897"/>
                    </a:cubicBezTo>
                    <a:cubicBezTo>
                      <a:pt x="799" y="898"/>
                      <a:pt x="805" y="895"/>
                      <a:pt x="807" y="900"/>
                    </a:cubicBezTo>
                    <a:cubicBezTo>
                      <a:pt x="804" y="901"/>
                      <a:pt x="799" y="901"/>
                      <a:pt x="798" y="905"/>
                    </a:cubicBezTo>
                    <a:cubicBezTo>
                      <a:pt x="801" y="912"/>
                      <a:pt x="805" y="914"/>
                      <a:pt x="803" y="925"/>
                    </a:cubicBezTo>
                    <a:cubicBezTo>
                      <a:pt x="806" y="928"/>
                      <a:pt x="809" y="926"/>
                      <a:pt x="814" y="926"/>
                    </a:cubicBezTo>
                    <a:cubicBezTo>
                      <a:pt x="815" y="928"/>
                      <a:pt x="816" y="929"/>
                      <a:pt x="816" y="931"/>
                    </a:cubicBezTo>
                    <a:cubicBezTo>
                      <a:pt x="820" y="930"/>
                      <a:pt x="822" y="931"/>
                      <a:pt x="828" y="933"/>
                    </a:cubicBezTo>
                    <a:cubicBezTo>
                      <a:pt x="830" y="926"/>
                      <a:pt x="824" y="919"/>
                      <a:pt x="823" y="912"/>
                    </a:cubicBezTo>
                    <a:cubicBezTo>
                      <a:pt x="827" y="912"/>
                      <a:pt x="829" y="918"/>
                      <a:pt x="833" y="914"/>
                    </a:cubicBezTo>
                    <a:cubicBezTo>
                      <a:pt x="829" y="905"/>
                      <a:pt x="817" y="905"/>
                      <a:pt x="810" y="898"/>
                    </a:cubicBezTo>
                    <a:cubicBezTo>
                      <a:pt x="823" y="894"/>
                      <a:pt x="831" y="908"/>
                      <a:pt x="840" y="907"/>
                    </a:cubicBezTo>
                    <a:cubicBezTo>
                      <a:pt x="842" y="904"/>
                      <a:pt x="840" y="902"/>
                      <a:pt x="839" y="899"/>
                    </a:cubicBezTo>
                    <a:cubicBezTo>
                      <a:pt x="841" y="896"/>
                      <a:pt x="846" y="896"/>
                      <a:pt x="845" y="890"/>
                    </a:cubicBezTo>
                    <a:cubicBezTo>
                      <a:pt x="842" y="889"/>
                      <a:pt x="839" y="890"/>
                      <a:pt x="836" y="889"/>
                    </a:cubicBezTo>
                    <a:cubicBezTo>
                      <a:pt x="828" y="886"/>
                      <a:pt x="818" y="866"/>
                      <a:pt x="817" y="859"/>
                    </a:cubicBezTo>
                    <a:cubicBezTo>
                      <a:pt x="823" y="861"/>
                      <a:pt x="825" y="866"/>
                      <a:pt x="831" y="868"/>
                    </a:cubicBezTo>
                    <a:cubicBezTo>
                      <a:pt x="831" y="867"/>
                      <a:pt x="832" y="865"/>
                      <a:pt x="834" y="865"/>
                    </a:cubicBezTo>
                    <a:cubicBezTo>
                      <a:pt x="835" y="859"/>
                      <a:pt x="833" y="851"/>
                      <a:pt x="839" y="851"/>
                    </a:cubicBezTo>
                    <a:cubicBezTo>
                      <a:pt x="843" y="851"/>
                      <a:pt x="842" y="856"/>
                      <a:pt x="847" y="855"/>
                    </a:cubicBezTo>
                    <a:cubicBezTo>
                      <a:pt x="850" y="853"/>
                      <a:pt x="851" y="849"/>
                      <a:pt x="855" y="848"/>
                    </a:cubicBezTo>
                    <a:cubicBezTo>
                      <a:pt x="859" y="851"/>
                      <a:pt x="867" y="850"/>
                      <a:pt x="868" y="857"/>
                    </a:cubicBezTo>
                    <a:cubicBezTo>
                      <a:pt x="866" y="860"/>
                      <a:pt x="860" y="858"/>
                      <a:pt x="861" y="864"/>
                    </a:cubicBezTo>
                    <a:cubicBezTo>
                      <a:pt x="866" y="868"/>
                      <a:pt x="867" y="861"/>
                      <a:pt x="871" y="861"/>
                    </a:cubicBezTo>
                    <a:cubicBezTo>
                      <a:pt x="870" y="867"/>
                      <a:pt x="870" y="877"/>
                      <a:pt x="866" y="882"/>
                    </a:cubicBezTo>
                    <a:cubicBezTo>
                      <a:pt x="869" y="883"/>
                      <a:pt x="874" y="887"/>
                      <a:pt x="877" y="883"/>
                    </a:cubicBezTo>
                    <a:cubicBezTo>
                      <a:pt x="877" y="880"/>
                      <a:pt x="877" y="880"/>
                      <a:pt x="877" y="880"/>
                    </a:cubicBezTo>
                    <a:cubicBezTo>
                      <a:pt x="876" y="877"/>
                      <a:pt x="871" y="879"/>
                      <a:pt x="872" y="876"/>
                    </a:cubicBezTo>
                    <a:cubicBezTo>
                      <a:pt x="880" y="873"/>
                      <a:pt x="882" y="890"/>
                      <a:pt x="882" y="895"/>
                    </a:cubicBezTo>
                    <a:cubicBezTo>
                      <a:pt x="878" y="890"/>
                      <a:pt x="871" y="890"/>
                      <a:pt x="866" y="893"/>
                    </a:cubicBezTo>
                    <a:cubicBezTo>
                      <a:pt x="865" y="896"/>
                      <a:pt x="868" y="896"/>
                      <a:pt x="867" y="899"/>
                    </a:cubicBezTo>
                    <a:cubicBezTo>
                      <a:pt x="874" y="895"/>
                      <a:pt x="876" y="903"/>
                      <a:pt x="883" y="899"/>
                    </a:cubicBezTo>
                    <a:cubicBezTo>
                      <a:pt x="885" y="903"/>
                      <a:pt x="889" y="904"/>
                      <a:pt x="891" y="907"/>
                    </a:cubicBezTo>
                    <a:cubicBezTo>
                      <a:pt x="884" y="918"/>
                      <a:pt x="904" y="915"/>
                      <a:pt x="904" y="925"/>
                    </a:cubicBezTo>
                    <a:cubicBezTo>
                      <a:pt x="916" y="923"/>
                      <a:pt x="923" y="937"/>
                      <a:pt x="940" y="931"/>
                    </a:cubicBezTo>
                    <a:cubicBezTo>
                      <a:pt x="938" y="918"/>
                      <a:pt x="953" y="915"/>
                      <a:pt x="963" y="921"/>
                    </a:cubicBezTo>
                    <a:cubicBezTo>
                      <a:pt x="966" y="923"/>
                      <a:pt x="966" y="928"/>
                      <a:pt x="970" y="930"/>
                    </a:cubicBezTo>
                    <a:cubicBezTo>
                      <a:pt x="993" y="937"/>
                      <a:pt x="1000" y="900"/>
                      <a:pt x="1016" y="915"/>
                    </a:cubicBezTo>
                    <a:cubicBezTo>
                      <a:pt x="1019" y="913"/>
                      <a:pt x="1021" y="907"/>
                      <a:pt x="1025" y="908"/>
                    </a:cubicBezTo>
                    <a:cubicBezTo>
                      <a:pt x="1024" y="922"/>
                      <a:pt x="1017" y="941"/>
                      <a:pt x="1028" y="949"/>
                    </a:cubicBezTo>
                    <a:cubicBezTo>
                      <a:pt x="1014" y="962"/>
                      <a:pt x="1025" y="990"/>
                      <a:pt x="1019" y="1005"/>
                    </a:cubicBezTo>
                    <a:cubicBezTo>
                      <a:pt x="1016" y="1005"/>
                      <a:pt x="1016" y="1007"/>
                      <a:pt x="1013" y="1006"/>
                    </a:cubicBezTo>
                    <a:cubicBezTo>
                      <a:pt x="1011" y="1020"/>
                      <a:pt x="997" y="1015"/>
                      <a:pt x="986" y="1018"/>
                    </a:cubicBezTo>
                    <a:cubicBezTo>
                      <a:pt x="971" y="1004"/>
                      <a:pt x="948" y="1023"/>
                      <a:pt x="934" y="1029"/>
                    </a:cubicBezTo>
                    <a:cubicBezTo>
                      <a:pt x="928" y="1024"/>
                      <a:pt x="918" y="1029"/>
                      <a:pt x="909" y="1027"/>
                    </a:cubicBezTo>
                    <a:cubicBezTo>
                      <a:pt x="907" y="1026"/>
                      <a:pt x="905" y="1023"/>
                      <a:pt x="903" y="1023"/>
                    </a:cubicBezTo>
                    <a:cubicBezTo>
                      <a:pt x="900" y="1022"/>
                      <a:pt x="896" y="1023"/>
                      <a:pt x="892" y="1023"/>
                    </a:cubicBezTo>
                    <a:cubicBezTo>
                      <a:pt x="887" y="1022"/>
                      <a:pt x="884" y="1019"/>
                      <a:pt x="881" y="1020"/>
                    </a:cubicBezTo>
                    <a:cubicBezTo>
                      <a:pt x="873" y="1021"/>
                      <a:pt x="868" y="1025"/>
                      <a:pt x="866" y="1015"/>
                    </a:cubicBezTo>
                    <a:cubicBezTo>
                      <a:pt x="853" y="1016"/>
                      <a:pt x="850" y="1009"/>
                      <a:pt x="835" y="1011"/>
                    </a:cubicBezTo>
                    <a:cubicBezTo>
                      <a:pt x="835" y="1008"/>
                      <a:pt x="831" y="1006"/>
                      <a:pt x="831" y="1003"/>
                    </a:cubicBezTo>
                    <a:cubicBezTo>
                      <a:pt x="815" y="1000"/>
                      <a:pt x="802" y="999"/>
                      <a:pt x="792" y="1003"/>
                    </a:cubicBezTo>
                    <a:cubicBezTo>
                      <a:pt x="789" y="1004"/>
                      <a:pt x="780" y="1012"/>
                      <a:pt x="780" y="1016"/>
                    </a:cubicBezTo>
                    <a:cubicBezTo>
                      <a:pt x="779" y="1022"/>
                      <a:pt x="786" y="1029"/>
                      <a:pt x="785" y="1036"/>
                    </a:cubicBezTo>
                    <a:cubicBezTo>
                      <a:pt x="784" y="1038"/>
                      <a:pt x="776" y="1046"/>
                      <a:pt x="772" y="1047"/>
                    </a:cubicBezTo>
                    <a:cubicBezTo>
                      <a:pt x="758" y="1049"/>
                      <a:pt x="750" y="1032"/>
                      <a:pt x="738" y="1028"/>
                    </a:cubicBezTo>
                    <a:cubicBezTo>
                      <a:pt x="724" y="1024"/>
                      <a:pt x="715" y="1030"/>
                      <a:pt x="710" y="1023"/>
                    </a:cubicBezTo>
                    <a:cubicBezTo>
                      <a:pt x="707" y="1019"/>
                      <a:pt x="709" y="1015"/>
                      <a:pt x="707" y="1010"/>
                    </a:cubicBezTo>
                    <a:cubicBezTo>
                      <a:pt x="704" y="1004"/>
                      <a:pt x="699" y="1005"/>
                      <a:pt x="692" y="1002"/>
                    </a:cubicBezTo>
                    <a:cubicBezTo>
                      <a:pt x="689" y="1000"/>
                      <a:pt x="687" y="996"/>
                      <a:pt x="684" y="995"/>
                    </a:cubicBezTo>
                    <a:cubicBezTo>
                      <a:pt x="676" y="993"/>
                      <a:pt x="668" y="997"/>
                      <a:pt x="661" y="995"/>
                    </a:cubicBezTo>
                    <a:cubicBezTo>
                      <a:pt x="653" y="993"/>
                      <a:pt x="640" y="981"/>
                      <a:pt x="638" y="975"/>
                    </a:cubicBezTo>
                    <a:cubicBezTo>
                      <a:pt x="630" y="974"/>
                      <a:pt x="624" y="972"/>
                      <a:pt x="623" y="964"/>
                    </a:cubicBezTo>
                    <a:cubicBezTo>
                      <a:pt x="630" y="956"/>
                      <a:pt x="644" y="954"/>
                      <a:pt x="642" y="942"/>
                    </a:cubicBezTo>
                    <a:cubicBezTo>
                      <a:pt x="642" y="937"/>
                      <a:pt x="635" y="936"/>
                      <a:pt x="635" y="931"/>
                    </a:cubicBezTo>
                    <a:cubicBezTo>
                      <a:pt x="634" y="922"/>
                      <a:pt x="647" y="923"/>
                      <a:pt x="643" y="911"/>
                    </a:cubicBezTo>
                    <a:cubicBezTo>
                      <a:pt x="637" y="911"/>
                      <a:pt x="635" y="919"/>
                      <a:pt x="630" y="917"/>
                    </a:cubicBezTo>
                    <a:cubicBezTo>
                      <a:pt x="629" y="912"/>
                      <a:pt x="632" y="909"/>
                      <a:pt x="630" y="905"/>
                    </a:cubicBezTo>
                    <a:cubicBezTo>
                      <a:pt x="617" y="903"/>
                      <a:pt x="601" y="912"/>
                      <a:pt x="590" y="903"/>
                    </a:cubicBezTo>
                    <a:cubicBezTo>
                      <a:pt x="584" y="907"/>
                      <a:pt x="578" y="902"/>
                      <a:pt x="575" y="899"/>
                    </a:cubicBezTo>
                    <a:cubicBezTo>
                      <a:pt x="571" y="906"/>
                      <a:pt x="565" y="900"/>
                      <a:pt x="558" y="905"/>
                    </a:cubicBezTo>
                    <a:cubicBezTo>
                      <a:pt x="551" y="898"/>
                      <a:pt x="537" y="899"/>
                      <a:pt x="524" y="898"/>
                    </a:cubicBezTo>
                    <a:cubicBezTo>
                      <a:pt x="508" y="897"/>
                      <a:pt x="487" y="888"/>
                      <a:pt x="478" y="902"/>
                    </a:cubicBezTo>
                    <a:cubicBezTo>
                      <a:pt x="473" y="900"/>
                      <a:pt x="469" y="901"/>
                      <a:pt x="463" y="901"/>
                    </a:cubicBezTo>
                    <a:cubicBezTo>
                      <a:pt x="454" y="916"/>
                      <a:pt x="442" y="898"/>
                      <a:pt x="430" y="900"/>
                    </a:cubicBezTo>
                    <a:cubicBezTo>
                      <a:pt x="427" y="897"/>
                      <a:pt x="422" y="893"/>
                      <a:pt x="417" y="896"/>
                    </a:cubicBezTo>
                    <a:cubicBezTo>
                      <a:pt x="408" y="893"/>
                      <a:pt x="411" y="878"/>
                      <a:pt x="400" y="879"/>
                    </a:cubicBezTo>
                    <a:cubicBezTo>
                      <a:pt x="391" y="887"/>
                      <a:pt x="386" y="903"/>
                      <a:pt x="374" y="907"/>
                    </a:cubicBezTo>
                    <a:cubicBezTo>
                      <a:pt x="369" y="908"/>
                      <a:pt x="365" y="903"/>
                      <a:pt x="360" y="907"/>
                    </a:cubicBezTo>
                    <a:cubicBezTo>
                      <a:pt x="351" y="901"/>
                      <a:pt x="347" y="914"/>
                      <a:pt x="338" y="914"/>
                    </a:cubicBezTo>
                    <a:cubicBezTo>
                      <a:pt x="339" y="917"/>
                      <a:pt x="336" y="918"/>
                      <a:pt x="337" y="921"/>
                    </a:cubicBezTo>
                    <a:cubicBezTo>
                      <a:pt x="328" y="925"/>
                      <a:pt x="325" y="934"/>
                      <a:pt x="322" y="943"/>
                    </a:cubicBezTo>
                    <a:cubicBezTo>
                      <a:pt x="323" y="948"/>
                      <a:pt x="323" y="950"/>
                      <a:pt x="322" y="955"/>
                    </a:cubicBezTo>
                    <a:cubicBezTo>
                      <a:pt x="312" y="956"/>
                      <a:pt x="310" y="968"/>
                      <a:pt x="299" y="965"/>
                    </a:cubicBezTo>
                    <a:cubicBezTo>
                      <a:pt x="294" y="973"/>
                      <a:pt x="277" y="973"/>
                      <a:pt x="269" y="968"/>
                    </a:cubicBezTo>
                    <a:cubicBezTo>
                      <a:pt x="260" y="973"/>
                      <a:pt x="259" y="990"/>
                      <a:pt x="242" y="982"/>
                    </a:cubicBezTo>
                    <a:cubicBezTo>
                      <a:pt x="240" y="988"/>
                      <a:pt x="238" y="992"/>
                      <a:pt x="233" y="994"/>
                    </a:cubicBezTo>
                    <a:cubicBezTo>
                      <a:pt x="237" y="1007"/>
                      <a:pt x="226" y="1010"/>
                      <a:pt x="215" y="1010"/>
                    </a:cubicBezTo>
                    <a:cubicBezTo>
                      <a:pt x="212" y="1018"/>
                      <a:pt x="208" y="1024"/>
                      <a:pt x="203" y="1029"/>
                    </a:cubicBezTo>
                    <a:cubicBezTo>
                      <a:pt x="200" y="1028"/>
                      <a:pt x="196" y="1030"/>
                      <a:pt x="195" y="1031"/>
                    </a:cubicBezTo>
                    <a:cubicBezTo>
                      <a:pt x="188" y="1041"/>
                      <a:pt x="199" y="1057"/>
                      <a:pt x="199" y="1061"/>
                    </a:cubicBezTo>
                    <a:cubicBezTo>
                      <a:pt x="199" y="1066"/>
                      <a:pt x="194" y="1070"/>
                      <a:pt x="193" y="1075"/>
                    </a:cubicBezTo>
                    <a:cubicBezTo>
                      <a:pt x="192" y="1081"/>
                      <a:pt x="197" y="1087"/>
                      <a:pt x="196" y="1094"/>
                    </a:cubicBezTo>
                    <a:cubicBezTo>
                      <a:pt x="195" y="1099"/>
                      <a:pt x="191" y="1101"/>
                      <a:pt x="192" y="1107"/>
                    </a:cubicBezTo>
                    <a:cubicBezTo>
                      <a:pt x="185" y="1108"/>
                      <a:pt x="186" y="1118"/>
                      <a:pt x="185" y="1125"/>
                    </a:cubicBezTo>
                    <a:cubicBezTo>
                      <a:pt x="179" y="1125"/>
                      <a:pt x="178" y="1130"/>
                      <a:pt x="173" y="1130"/>
                    </a:cubicBezTo>
                    <a:cubicBezTo>
                      <a:pt x="174" y="1138"/>
                      <a:pt x="180" y="1145"/>
                      <a:pt x="180" y="1153"/>
                    </a:cubicBezTo>
                    <a:cubicBezTo>
                      <a:pt x="179" y="1159"/>
                      <a:pt x="176" y="1161"/>
                      <a:pt x="176" y="1165"/>
                    </a:cubicBezTo>
                    <a:cubicBezTo>
                      <a:pt x="176" y="1171"/>
                      <a:pt x="185" y="1175"/>
                      <a:pt x="184" y="1182"/>
                    </a:cubicBezTo>
                    <a:cubicBezTo>
                      <a:pt x="194" y="1183"/>
                      <a:pt x="190" y="1191"/>
                      <a:pt x="194" y="1199"/>
                    </a:cubicBezTo>
                    <a:cubicBezTo>
                      <a:pt x="196" y="1203"/>
                      <a:pt x="201" y="1206"/>
                      <a:pt x="203" y="1210"/>
                    </a:cubicBezTo>
                    <a:cubicBezTo>
                      <a:pt x="204" y="1212"/>
                      <a:pt x="203" y="1215"/>
                      <a:pt x="205" y="1218"/>
                    </a:cubicBezTo>
                    <a:cubicBezTo>
                      <a:pt x="207" y="1222"/>
                      <a:pt x="213" y="1225"/>
                      <a:pt x="215" y="1229"/>
                    </a:cubicBezTo>
                    <a:cubicBezTo>
                      <a:pt x="219" y="1235"/>
                      <a:pt x="222" y="1242"/>
                      <a:pt x="220" y="1248"/>
                    </a:cubicBezTo>
                    <a:cubicBezTo>
                      <a:pt x="225" y="1256"/>
                      <a:pt x="227" y="1266"/>
                      <a:pt x="233" y="1273"/>
                    </a:cubicBezTo>
                    <a:cubicBezTo>
                      <a:pt x="244" y="1284"/>
                      <a:pt x="254" y="1293"/>
                      <a:pt x="263" y="1304"/>
                    </a:cubicBezTo>
                    <a:cubicBezTo>
                      <a:pt x="269" y="1311"/>
                      <a:pt x="272" y="1319"/>
                      <a:pt x="279" y="1325"/>
                    </a:cubicBezTo>
                    <a:cubicBezTo>
                      <a:pt x="281" y="1327"/>
                      <a:pt x="285" y="1329"/>
                      <a:pt x="289" y="1333"/>
                    </a:cubicBezTo>
                    <a:cubicBezTo>
                      <a:pt x="299" y="1341"/>
                      <a:pt x="300" y="1344"/>
                      <a:pt x="316" y="1345"/>
                    </a:cubicBezTo>
                    <a:cubicBezTo>
                      <a:pt x="333" y="1347"/>
                      <a:pt x="354" y="1357"/>
                      <a:pt x="369" y="1362"/>
                    </a:cubicBezTo>
                    <a:cubicBezTo>
                      <a:pt x="374" y="1365"/>
                      <a:pt x="381" y="1375"/>
                      <a:pt x="390" y="1377"/>
                    </a:cubicBezTo>
                    <a:cubicBezTo>
                      <a:pt x="394" y="1378"/>
                      <a:pt x="398" y="1376"/>
                      <a:pt x="402" y="1376"/>
                    </a:cubicBezTo>
                    <a:cubicBezTo>
                      <a:pt x="411" y="1376"/>
                      <a:pt x="420" y="1380"/>
                      <a:pt x="427" y="1376"/>
                    </a:cubicBezTo>
                    <a:cubicBezTo>
                      <a:pt x="438" y="1382"/>
                      <a:pt x="452" y="1377"/>
                      <a:pt x="467" y="1381"/>
                    </a:cubicBezTo>
                    <a:cubicBezTo>
                      <a:pt x="472" y="1387"/>
                      <a:pt x="477" y="1384"/>
                      <a:pt x="482" y="1385"/>
                    </a:cubicBezTo>
                    <a:cubicBezTo>
                      <a:pt x="494" y="1387"/>
                      <a:pt x="506" y="1394"/>
                      <a:pt x="513" y="1404"/>
                    </a:cubicBezTo>
                    <a:cubicBezTo>
                      <a:pt x="517" y="1409"/>
                      <a:pt x="516" y="1417"/>
                      <a:pt x="522" y="1420"/>
                    </a:cubicBezTo>
                    <a:cubicBezTo>
                      <a:pt x="529" y="1424"/>
                      <a:pt x="539" y="1422"/>
                      <a:pt x="544" y="1422"/>
                    </a:cubicBezTo>
                    <a:cubicBezTo>
                      <a:pt x="551" y="1422"/>
                      <a:pt x="558" y="1429"/>
                      <a:pt x="565" y="1429"/>
                    </a:cubicBezTo>
                    <a:cubicBezTo>
                      <a:pt x="567" y="1429"/>
                      <a:pt x="569" y="1427"/>
                      <a:pt x="571" y="1427"/>
                    </a:cubicBezTo>
                    <a:cubicBezTo>
                      <a:pt x="579" y="1428"/>
                      <a:pt x="578" y="1432"/>
                      <a:pt x="582" y="1436"/>
                    </a:cubicBezTo>
                    <a:cubicBezTo>
                      <a:pt x="589" y="1443"/>
                      <a:pt x="598" y="1446"/>
                      <a:pt x="599" y="1451"/>
                    </a:cubicBezTo>
                    <a:cubicBezTo>
                      <a:pt x="600" y="1456"/>
                      <a:pt x="592" y="1459"/>
                      <a:pt x="595" y="1464"/>
                    </a:cubicBezTo>
                    <a:cubicBezTo>
                      <a:pt x="592" y="1465"/>
                      <a:pt x="590" y="1466"/>
                      <a:pt x="588" y="1467"/>
                    </a:cubicBezTo>
                    <a:cubicBezTo>
                      <a:pt x="589" y="1472"/>
                      <a:pt x="594" y="1472"/>
                      <a:pt x="593" y="1479"/>
                    </a:cubicBezTo>
                    <a:cubicBezTo>
                      <a:pt x="591" y="1478"/>
                      <a:pt x="590" y="1479"/>
                      <a:pt x="589" y="1480"/>
                    </a:cubicBezTo>
                    <a:cubicBezTo>
                      <a:pt x="589" y="1487"/>
                      <a:pt x="589" y="1487"/>
                      <a:pt x="589" y="1487"/>
                    </a:cubicBezTo>
                    <a:cubicBezTo>
                      <a:pt x="586" y="1489"/>
                      <a:pt x="583" y="1490"/>
                      <a:pt x="579" y="1489"/>
                    </a:cubicBezTo>
                    <a:cubicBezTo>
                      <a:pt x="580" y="1495"/>
                      <a:pt x="586" y="1496"/>
                      <a:pt x="591" y="1499"/>
                    </a:cubicBezTo>
                    <a:cubicBezTo>
                      <a:pt x="591" y="1501"/>
                      <a:pt x="590" y="1501"/>
                      <a:pt x="590" y="1503"/>
                    </a:cubicBezTo>
                    <a:cubicBezTo>
                      <a:pt x="609" y="1520"/>
                      <a:pt x="634" y="1531"/>
                      <a:pt x="650" y="1551"/>
                    </a:cubicBezTo>
                    <a:cubicBezTo>
                      <a:pt x="650" y="1552"/>
                      <a:pt x="648" y="1551"/>
                      <a:pt x="648" y="1554"/>
                    </a:cubicBezTo>
                    <a:cubicBezTo>
                      <a:pt x="656" y="1560"/>
                      <a:pt x="663" y="1566"/>
                      <a:pt x="668" y="1574"/>
                    </a:cubicBezTo>
                    <a:cubicBezTo>
                      <a:pt x="669" y="1577"/>
                      <a:pt x="665" y="1576"/>
                      <a:pt x="664" y="1578"/>
                    </a:cubicBezTo>
                    <a:cubicBezTo>
                      <a:pt x="666" y="1587"/>
                      <a:pt x="677" y="1589"/>
                      <a:pt x="680" y="1598"/>
                    </a:cubicBezTo>
                    <a:cubicBezTo>
                      <a:pt x="678" y="1600"/>
                      <a:pt x="676" y="1602"/>
                      <a:pt x="674" y="1604"/>
                    </a:cubicBezTo>
                    <a:cubicBezTo>
                      <a:pt x="667" y="1603"/>
                      <a:pt x="666" y="1607"/>
                      <a:pt x="659" y="1606"/>
                    </a:cubicBezTo>
                    <a:cubicBezTo>
                      <a:pt x="659" y="1613"/>
                      <a:pt x="655" y="1610"/>
                      <a:pt x="657" y="1617"/>
                    </a:cubicBezTo>
                    <a:cubicBezTo>
                      <a:pt x="653" y="1617"/>
                      <a:pt x="654" y="1622"/>
                      <a:pt x="648" y="1621"/>
                    </a:cubicBezTo>
                    <a:cubicBezTo>
                      <a:pt x="647" y="1636"/>
                      <a:pt x="659" y="1637"/>
                      <a:pt x="672" y="1644"/>
                    </a:cubicBezTo>
                    <a:cubicBezTo>
                      <a:pt x="684" y="1650"/>
                      <a:pt x="690" y="1655"/>
                      <a:pt x="700" y="1657"/>
                    </a:cubicBezTo>
                    <a:cubicBezTo>
                      <a:pt x="704" y="1673"/>
                      <a:pt x="737" y="1679"/>
                      <a:pt x="751" y="1681"/>
                    </a:cubicBezTo>
                    <a:cubicBezTo>
                      <a:pt x="756" y="1682"/>
                      <a:pt x="767" y="1682"/>
                      <a:pt x="760" y="1684"/>
                    </a:cubicBezTo>
                    <a:cubicBezTo>
                      <a:pt x="839" y="1688"/>
                      <a:pt x="918" y="1682"/>
                      <a:pt x="976" y="1661"/>
                    </a:cubicBezTo>
                    <a:cubicBezTo>
                      <a:pt x="978" y="1660"/>
                      <a:pt x="974" y="1659"/>
                      <a:pt x="977" y="1658"/>
                    </a:cubicBezTo>
                    <a:cubicBezTo>
                      <a:pt x="994" y="1651"/>
                      <a:pt x="1017" y="1650"/>
                      <a:pt x="1027" y="1639"/>
                    </a:cubicBezTo>
                    <a:cubicBezTo>
                      <a:pt x="1028" y="1635"/>
                      <a:pt x="1023" y="1637"/>
                      <a:pt x="1023" y="1635"/>
                    </a:cubicBezTo>
                    <a:cubicBezTo>
                      <a:pt x="1027" y="1633"/>
                      <a:pt x="1022" y="1632"/>
                      <a:pt x="1021" y="1631"/>
                    </a:cubicBezTo>
                    <a:cubicBezTo>
                      <a:pt x="1035" y="1625"/>
                      <a:pt x="1048" y="1621"/>
                      <a:pt x="1060" y="1614"/>
                    </a:cubicBezTo>
                    <a:cubicBezTo>
                      <a:pt x="1084" y="1599"/>
                      <a:pt x="1115" y="1595"/>
                      <a:pt x="1133" y="1575"/>
                    </a:cubicBezTo>
                    <a:cubicBezTo>
                      <a:pt x="1131" y="1565"/>
                      <a:pt x="1138" y="1555"/>
                      <a:pt x="1143" y="1547"/>
                    </a:cubicBezTo>
                    <a:cubicBezTo>
                      <a:pt x="1139" y="1544"/>
                      <a:pt x="1136" y="1546"/>
                      <a:pt x="1131" y="1546"/>
                    </a:cubicBezTo>
                    <a:cubicBezTo>
                      <a:pt x="1130" y="1542"/>
                      <a:pt x="1130" y="1538"/>
                      <a:pt x="1127" y="1536"/>
                    </a:cubicBezTo>
                    <a:cubicBezTo>
                      <a:pt x="1130" y="1531"/>
                      <a:pt x="1131" y="1527"/>
                      <a:pt x="1134" y="1521"/>
                    </a:cubicBezTo>
                    <a:cubicBezTo>
                      <a:pt x="1129" y="1520"/>
                      <a:pt x="1126" y="1524"/>
                      <a:pt x="1123" y="1520"/>
                    </a:cubicBezTo>
                    <a:cubicBezTo>
                      <a:pt x="1131" y="1503"/>
                      <a:pt x="1147" y="1494"/>
                      <a:pt x="1154" y="1478"/>
                    </a:cubicBezTo>
                    <a:cubicBezTo>
                      <a:pt x="1160" y="1476"/>
                      <a:pt x="1162" y="1472"/>
                      <a:pt x="1166" y="1468"/>
                    </a:cubicBezTo>
                    <a:cubicBezTo>
                      <a:pt x="1179" y="1465"/>
                      <a:pt x="1183" y="1452"/>
                      <a:pt x="1192" y="1444"/>
                    </a:cubicBezTo>
                    <a:cubicBezTo>
                      <a:pt x="1196" y="1440"/>
                      <a:pt x="1201" y="1439"/>
                      <a:pt x="1204" y="1435"/>
                    </a:cubicBezTo>
                    <a:cubicBezTo>
                      <a:pt x="1206" y="1433"/>
                      <a:pt x="1207" y="1430"/>
                      <a:pt x="1209" y="1428"/>
                    </a:cubicBezTo>
                    <a:cubicBezTo>
                      <a:pt x="1228" y="1406"/>
                      <a:pt x="1254" y="1393"/>
                      <a:pt x="1271" y="1373"/>
                    </a:cubicBezTo>
                    <a:cubicBezTo>
                      <a:pt x="1278" y="1365"/>
                      <a:pt x="1284" y="1355"/>
                      <a:pt x="1290" y="1344"/>
                    </a:cubicBezTo>
                    <a:cubicBezTo>
                      <a:pt x="1294" y="1338"/>
                      <a:pt x="1300" y="1334"/>
                      <a:pt x="1304" y="1327"/>
                    </a:cubicBezTo>
                    <a:cubicBezTo>
                      <a:pt x="1306" y="1323"/>
                      <a:pt x="1306" y="1317"/>
                      <a:pt x="1308" y="1313"/>
                    </a:cubicBezTo>
                    <a:cubicBezTo>
                      <a:pt x="1312" y="1304"/>
                      <a:pt x="1322" y="1292"/>
                      <a:pt x="1323" y="1281"/>
                    </a:cubicBezTo>
                    <a:cubicBezTo>
                      <a:pt x="1326" y="1280"/>
                      <a:pt x="1327" y="1277"/>
                      <a:pt x="1329" y="1275"/>
                    </a:cubicBezTo>
                    <a:cubicBezTo>
                      <a:pt x="1325" y="1265"/>
                      <a:pt x="1332" y="1259"/>
                      <a:pt x="1334" y="1252"/>
                    </a:cubicBezTo>
                    <a:cubicBezTo>
                      <a:pt x="1335" y="1246"/>
                      <a:pt x="1331" y="1240"/>
                      <a:pt x="1335" y="1234"/>
                    </a:cubicBezTo>
                    <a:cubicBezTo>
                      <a:pt x="1326" y="1232"/>
                      <a:pt x="1325" y="1238"/>
                      <a:pt x="1321" y="1243"/>
                    </a:cubicBezTo>
                    <a:cubicBezTo>
                      <a:pt x="1311" y="1255"/>
                      <a:pt x="1293" y="1257"/>
                      <a:pt x="1284" y="1268"/>
                    </a:cubicBezTo>
                    <a:cubicBezTo>
                      <a:pt x="1281" y="1269"/>
                      <a:pt x="1282" y="1267"/>
                      <a:pt x="1279" y="1267"/>
                    </a:cubicBezTo>
                    <a:cubicBezTo>
                      <a:pt x="1274" y="1270"/>
                      <a:pt x="1270" y="1279"/>
                      <a:pt x="1262" y="1283"/>
                    </a:cubicBezTo>
                    <a:cubicBezTo>
                      <a:pt x="1260" y="1284"/>
                      <a:pt x="1257" y="1282"/>
                      <a:pt x="1255" y="1283"/>
                    </a:cubicBezTo>
                    <a:cubicBezTo>
                      <a:pt x="1248" y="1285"/>
                      <a:pt x="1244" y="1293"/>
                      <a:pt x="1239" y="1295"/>
                    </a:cubicBezTo>
                    <a:cubicBezTo>
                      <a:pt x="1223" y="1303"/>
                      <a:pt x="1218" y="1294"/>
                      <a:pt x="1205" y="1291"/>
                    </a:cubicBezTo>
                    <a:cubicBezTo>
                      <a:pt x="1207" y="1287"/>
                      <a:pt x="1211" y="1284"/>
                      <a:pt x="1212" y="1279"/>
                    </a:cubicBezTo>
                    <a:cubicBezTo>
                      <a:pt x="1207" y="1270"/>
                      <a:pt x="1194" y="1277"/>
                      <a:pt x="1192" y="1267"/>
                    </a:cubicBezTo>
                    <a:cubicBezTo>
                      <a:pt x="1187" y="1268"/>
                      <a:pt x="1185" y="1266"/>
                      <a:pt x="1179" y="1267"/>
                    </a:cubicBezTo>
                    <a:cubicBezTo>
                      <a:pt x="1178" y="1264"/>
                      <a:pt x="1178" y="1260"/>
                      <a:pt x="1176" y="1258"/>
                    </a:cubicBezTo>
                    <a:cubicBezTo>
                      <a:pt x="1161" y="1255"/>
                      <a:pt x="1142" y="1260"/>
                      <a:pt x="1137" y="1245"/>
                    </a:cubicBezTo>
                    <a:cubicBezTo>
                      <a:pt x="1136" y="1243"/>
                      <a:pt x="1137" y="1239"/>
                      <a:pt x="1137" y="1237"/>
                    </a:cubicBezTo>
                    <a:cubicBezTo>
                      <a:pt x="1134" y="1222"/>
                      <a:pt x="1121" y="1221"/>
                      <a:pt x="1110" y="1212"/>
                    </a:cubicBezTo>
                    <a:cubicBezTo>
                      <a:pt x="1106" y="1211"/>
                      <a:pt x="1105" y="1213"/>
                      <a:pt x="1101" y="1213"/>
                    </a:cubicBezTo>
                    <a:cubicBezTo>
                      <a:pt x="1100" y="1199"/>
                      <a:pt x="1090" y="1188"/>
                      <a:pt x="1095" y="1175"/>
                    </a:cubicBezTo>
                    <a:cubicBezTo>
                      <a:pt x="1090" y="1174"/>
                      <a:pt x="1086" y="1170"/>
                      <a:pt x="1089" y="1164"/>
                    </a:cubicBezTo>
                    <a:cubicBezTo>
                      <a:pt x="1078" y="1156"/>
                      <a:pt x="1054" y="1153"/>
                      <a:pt x="1062" y="1133"/>
                    </a:cubicBezTo>
                    <a:cubicBezTo>
                      <a:pt x="1045" y="1127"/>
                      <a:pt x="1043" y="1106"/>
                      <a:pt x="1028" y="1097"/>
                    </a:cubicBezTo>
                    <a:cubicBezTo>
                      <a:pt x="1029" y="1094"/>
                      <a:pt x="1027" y="1093"/>
                      <a:pt x="1027" y="1089"/>
                    </a:cubicBezTo>
                    <a:cubicBezTo>
                      <a:pt x="1024" y="1085"/>
                      <a:pt x="1018" y="1084"/>
                      <a:pt x="1017" y="1078"/>
                    </a:cubicBezTo>
                    <a:cubicBezTo>
                      <a:pt x="1021" y="1080"/>
                      <a:pt x="1023" y="1083"/>
                      <a:pt x="1030" y="1082"/>
                    </a:cubicBezTo>
                    <a:cubicBezTo>
                      <a:pt x="1033" y="1076"/>
                      <a:pt x="1025" y="1064"/>
                      <a:pt x="1030" y="1058"/>
                    </a:cubicBezTo>
                    <a:cubicBezTo>
                      <a:pt x="1035" y="1061"/>
                      <a:pt x="1032" y="1072"/>
                      <a:pt x="1035" y="1076"/>
                    </a:cubicBezTo>
                    <a:cubicBezTo>
                      <a:pt x="1039" y="1080"/>
                      <a:pt x="1047" y="1078"/>
                      <a:pt x="1051" y="1081"/>
                    </a:cubicBezTo>
                    <a:cubicBezTo>
                      <a:pt x="1056" y="1084"/>
                      <a:pt x="1058" y="1094"/>
                      <a:pt x="1062" y="1098"/>
                    </a:cubicBezTo>
                    <a:cubicBezTo>
                      <a:pt x="1069" y="1104"/>
                      <a:pt x="1077" y="1106"/>
                      <a:pt x="1081" y="1111"/>
                    </a:cubicBezTo>
                    <a:cubicBezTo>
                      <a:pt x="1085" y="1116"/>
                      <a:pt x="1084" y="1124"/>
                      <a:pt x="1091" y="1127"/>
                    </a:cubicBezTo>
                    <a:cubicBezTo>
                      <a:pt x="1136" y="1115"/>
                      <a:pt x="1111" y="1186"/>
                      <a:pt x="1153" y="1173"/>
                    </a:cubicBezTo>
                    <a:cubicBezTo>
                      <a:pt x="1160" y="1180"/>
                      <a:pt x="1167" y="1191"/>
                      <a:pt x="1177" y="1199"/>
                    </a:cubicBezTo>
                    <a:cubicBezTo>
                      <a:pt x="1188" y="1208"/>
                      <a:pt x="1205" y="1214"/>
                      <a:pt x="1194" y="1233"/>
                    </a:cubicBezTo>
                    <a:cubicBezTo>
                      <a:pt x="1197" y="1236"/>
                      <a:pt x="1200" y="1236"/>
                      <a:pt x="1202" y="1240"/>
                    </a:cubicBezTo>
                    <a:cubicBezTo>
                      <a:pt x="1202" y="1247"/>
                      <a:pt x="1203" y="1254"/>
                      <a:pt x="1201" y="1260"/>
                    </a:cubicBezTo>
                    <a:cubicBezTo>
                      <a:pt x="1206" y="1262"/>
                      <a:pt x="1210" y="1266"/>
                      <a:pt x="1214" y="1269"/>
                    </a:cubicBezTo>
                    <a:cubicBezTo>
                      <a:pt x="1229" y="1269"/>
                      <a:pt x="1236" y="1260"/>
                      <a:pt x="1242" y="1250"/>
                    </a:cubicBezTo>
                    <a:cubicBezTo>
                      <a:pt x="1290" y="1241"/>
                      <a:pt x="1302" y="1194"/>
                      <a:pt x="1341" y="1176"/>
                    </a:cubicBezTo>
                    <a:cubicBezTo>
                      <a:pt x="1346" y="1150"/>
                      <a:pt x="1369" y="1143"/>
                      <a:pt x="1383" y="1125"/>
                    </a:cubicBezTo>
                    <a:cubicBezTo>
                      <a:pt x="1383" y="1118"/>
                      <a:pt x="1383" y="1118"/>
                      <a:pt x="1383" y="1118"/>
                    </a:cubicBezTo>
                    <a:cubicBezTo>
                      <a:pt x="1387" y="1110"/>
                      <a:pt x="1398" y="1109"/>
                      <a:pt x="1397" y="1095"/>
                    </a:cubicBezTo>
                    <a:cubicBezTo>
                      <a:pt x="1404" y="1087"/>
                      <a:pt x="1409" y="1079"/>
                      <a:pt x="1408" y="1063"/>
                    </a:cubicBezTo>
                    <a:cubicBezTo>
                      <a:pt x="1411" y="1062"/>
                      <a:pt x="1414" y="1060"/>
                      <a:pt x="1416" y="1057"/>
                    </a:cubicBezTo>
                    <a:cubicBezTo>
                      <a:pt x="1415" y="1040"/>
                      <a:pt x="1429" y="1033"/>
                      <a:pt x="1422" y="1016"/>
                    </a:cubicBezTo>
                    <a:cubicBezTo>
                      <a:pt x="1419" y="1015"/>
                      <a:pt x="1418" y="1017"/>
                      <a:pt x="1416" y="1017"/>
                    </a:cubicBezTo>
                    <a:cubicBezTo>
                      <a:pt x="1407" y="1002"/>
                      <a:pt x="1387" y="1013"/>
                      <a:pt x="1374" y="1014"/>
                    </a:cubicBezTo>
                    <a:cubicBezTo>
                      <a:pt x="1364" y="1009"/>
                      <a:pt x="1366" y="992"/>
                      <a:pt x="1360" y="983"/>
                    </a:cubicBezTo>
                    <a:cubicBezTo>
                      <a:pt x="1357" y="1004"/>
                      <a:pt x="1343" y="1012"/>
                      <a:pt x="1343" y="1035"/>
                    </a:cubicBezTo>
                    <a:cubicBezTo>
                      <a:pt x="1329" y="1035"/>
                      <a:pt x="1315" y="1059"/>
                      <a:pt x="1306" y="1049"/>
                    </a:cubicBezTo>
                    <a:cubicBezTo>
                      <a:pt x="1308" y="1037"/>
                      <a:pt x="1310" y="1020"/>
                      <a:pt x="1300" y="1020"/>
                    </a:cubicBezTo>
                    <a:cubicBezTo>
                      <a:pt x="1287" y="1020"/>
                      <a:pt x="1302" y="1040"/>
                      <a:pt x="1293" y="1046"/>
                    </a:cubicBezTo>
                    <a:cubicBezTo>
                      <a:pt x="1291" y="1040"/>
                      <a:pt x="1288" y="1035"/>
                      <a:pt x="1280" y="1035"/>
                    </a:cubicBezTo>
                    <a:cubicBezTo>
                      <a:pt x="1276" y="1028"/>
                      <a:pt x="1276" y="1016"/>
                      <a:pt x="1261" y="1020"/>
                    </a:cubicBezTo>
                    <a:cubicBezTo>
                      <a:pt x="1256" y="1008"/>
                      <a:pt x="1245" y="1001"/>
                      <a:pt x="1236" y="994"/>
                    </a:cubicBezTo>
                    <a:cubicBezTo>
                      <a:pt x="1237" y="991"/>
                      <a:pt x="1243" y="992"/>
                      <a:pt x="1244" y="989"/>
                    </a:cubicBezTo>
                    <a:cubicBezTo>
                      <a:pt x="1245" y="986"/>
                      <a:pt x="1243" y="986"/>
                      <a:pt x="1243" y="983"/>
                    </a:cubicBezTo>
                    <a:cubicBezTo>
                      <a:pt x="1245" y="982"/>
                      <a:pt x="1249" y="983"/>
                      <a:pt x="1250" y="981"/>
                    </a:cubicBezTo>
                    <a:cubicBezTo>
                      <a:pt x="1250" y="976"/>
                      <a:pt x="1248" y="973"/>
                      <a:pt x="1252" y="971"/>
                    </a:cubicBezTo>
                    <a:cubicBezTo>
                      <a:pt x="1258" y="973"/>
                      <a:pt x="1263" y="974"/>
                      <a:pt x="1268" y="978"/>
                    </a:cubicBezTo>
                    <a:cubicBezTo>
                      <a:pt x="1274" y="981"/>
                      <a:pt x="1285" y="1000"/>
                      <a:pt x="1291" y="1001"/>
                    </a:cubicBezTo>
                    <a:cubicBezTo>
                      <a:pt x="1296" y="1001"/>
                      <a:pt x="1301" y="993"/>
                      <a:pt x="1306" y="993"/>
                    </a:cubicBezTo>
                    <a:cubicBezTo>
                      <a:pt x="1316" y="992"/>
                      <a:pt x="1325" y="1003"/>
                      <a:pt x="1336" y="1000"/>
                    </a:cubicBezTo>
                    <a:cubicBezTo>
                      <a:pt x="1348" y="995"/>
                      <a:pt x="1348" y="979"/>
                      <a:pt x="1361" y="973"/>
                    </a:cubicBezTo>
                    <a:cubicBezTo>
                      <a:pt x="1367" y="976"/>
                      <a:pt x="1371" y="981"/>
                      <a:pt x="1374" y="987"/>
                    </a:cubicBezTo>
                    <a:cubicBezTo>
                      <a:pt x="1386" y="989"/>
                      <a:pt x="1391" y="977"/>
                      <a:pt x="1404" y="980"/>
                    </a:cubicBezTo>
                    <a:cubicBezTo>
                      <a:pt x="1407" y="978"/>
                      <a:pt x="1410" y="977"/>
                      <a:pt x="1411" y="974"/>
                    </a:cubicBezTo>
                    <a:cubicBezTo>
                      <a:pt x="1422" y="976"/>
                      <a:pt x="1426" y="966"/>
                      <a:pt x="1432" y="961"/>
                    </a:cubicBezTo>
                    <a:cubicBezTo>
                      <a:pt x="1433" y="960"/>
                      <a:pt x="1435" y="961"/>
                      <a:pt x="1437" y="959"/>
                    </a:cubicBezTo>
                    <a:cubicBezTo>
                      <a:pt x="1442" y="957"/>
                      <a:pt x="1443" y="951"/>
                      <a:pt x="1447" y="947"/>
                    </a:cubicBezTo>
                    <a:cubicBezTo>
                      <a:pt x="1448" y="946"/>
                      <a:pt x="1451" y="946"/>
                      <a:pt x="1453" y="945"/>
                    </a:cubicBezTo>
                    <a:cubicBezTo>
                      <a:pt x="1459" y="940"/>
                      <a:pt x="1464" y="929"/>
                      <a:pt x="1471" y="925"/>
                    </a:cubicBezTo>
                    <a:cubicBezTo>
                      <a:pt x="1476" y="925"/>
                      <a:pt x="1476" y="932"/>
                      <a:pt x="1481" y="932"/>
                    </a:cubicBezTo>
                    <a:cubicBezTo>
                      <a:pt x="1485" y="931"/>
                      <a:pt x="1488" y="928"/>
                      <a:pt x="1492" y="927"/>
                    </a:cubicBezTo>
                    <a:cubicBezTo>
                      <a:pt x="1494" y="929"/>
                      <a:pt x="1495" y="931"/>
                      <a:pt x="1498" y="931"/>
                    </a:cubicBezTo>
                    <a:cubicBezTo>
                      <a:pt x="1499" y="929"/>
                      <a:pt x="1503" y="929"/>
                      <a:pt x="1505" y="927"/>
                    </a:cubicBezTo>
                    <a:cubicBezTo>
                      <a:pt x="1505" y="930"/>
                      <a:pt x="1507" y="931"/>
                      <a:pt x="1506" y="934"/>
                    </a:cubicBezTo>
                    <a:cubicBezTo>
                      <a:pt x="1517" y="934"/>
                      <a:pt x="1519" y="924"/>
                      <a:pt x="1524" y="918"/>
                    </a:cubicBezTo>
                    <a:cubicBezTo>
                      <a:pt x="1524" y="932"/>
                      <a:pt x="1510" y="936"/>
                      <a:pt x="1512" y="949"/>
                    </a:cubicBezTo>
                    <a:cubicBezTo>
                      <a:pt x="1532" y="957"/>
                      <a:pt x="1545" y="945"/>
                      <a:pt x="1546" y="928"/>
                    </a:cubicBezTo>
                    <a:cubicBezTo>
                      <a:pt x="1546" y="920"/>
                      <a:pt x="1541" y="911"/>
                      <a:pt x="1548" y="906"/>
                    </a:cubicBezTo>
                    <a:cubicBezTo>
                      <a:pt x="1548" y="912"/>
                      <a:pt x="1546" y="916"/>
                      <a:pt x="1546" y="923"/>
                    </a:cubicBezTo>
                    <a:cubicBezTo>
                      <a:pt x="1547" y="925"/>
                      <a:pt x="1552" y="923"/>
                      <a:pt x="1553" y="926"/>
                    </a:cubicBezTo>
                    <a:cubicBezTo>
                      <a:pt x="1552" y="950"/>
                      <a:pt x="1558" y="969"/>
                      <a:pt x="1569" y="981"/>
                    </a:cubicBezTo>
                    <a:cubicBezTo>
                      <a:pt x="1569" y="987"/>
                      <a:pt x="1569" y="987"/>
                      <a:pt x="1569" y="987"/>
                    </a:cubicBezTo>
                    <a:cubicBezTo>
                      <a:pt x="1571" y="989"/>
                      <a:pt x="1573" y="987"/>
                      <a:pt x="1575" y="986"/>
                    </a:cubicBezTo>
                    <a:cubicBezTo>
                      <a:pt x="1575" y="994"/>
                      <a:pt x="1581" y="992"/>
                      <a:pt x="1583" y="996"/>
                    </a:cubicBezTo>
                    <a:cubicBezTo>
                      <a:pt x="1579" y="1009"/>
                      <a:pt x="1593" y="1015"/>
                      <a:pt x="1596" y="1024"/>
                    </a:cubicBezTo>
                    <a:cubicBezTo>
                      <a:pt x="1598" y="1031"/>
                      <a:pt x="1595" y="1040"/>
                      <a:pt x="1604" y="1043"/>
                    </a:cubicBezTo>
                    <a:cubicBezTo>
                      <a:pt x="1610" y="1036"/>
                      <a:pt x="1607" y="1027"/>
                      <a:pt x="1610" y="1019"/>
                    </a:cubicBezTo>
                    <a:cubicBezTo>
                      <a:pt x="1611" y="1015"/>
                      <a:pt x="1616" y="1011"/>
                      <a:pt x="1616" y="1007"/>
                    </a:cubicBezTo>
                    <a:cubicBezTo>
                      <a:pt x="1616" y="999"/>
                      <a:pt x="1620" y="990"/>
                      <a:pt x="1621" y="983"/>
                    </a:cubicBezTo>
                    <a:cubicBezTo>
                      <a:pt x="1621" y="977"/>
                      <a:pt x="1618" y="970"/>
                      <a:pt x="1618" y="963"/>
                    </a:cubicBezTo>
                    <a:cubicBezTo>
                      <a:pt x="1618" y="954"/>
                      <a:pt x="1617" y="949"/>
                      <a:pt x="1616" y="941"/>
                    </a:cubicBezTo>
                    <a:cubicBezTo>
                      <a:pt x="1613" y="921"/>
                      <a:pt x="1618" y="909"/>
                      <a:pt x="1621" y="892"/>
                    </a:cubicBezTo>
                    <a:cubicBezTo>
                      <a:pt x="1622" y="885"/>
                      <a:pt x="1621" y="878"/>
                      <a:pt x="1622" y="871"/>
                    </a:cubicBezTo>
                    <a:cubicBezTo>
                      <a:pt x="1626" y="837"/>
                      <a:pt x="1627" y="804"/>
                      <a:pt x="1625" y="771"/>
                    </a:cubicBezTo>
                    <a:cubicBezTo>
                      <a:pt x="1628" y="770"/>
                      <a:pt x="1627" y="773"/>
                      <a:pt x="1629" y="773"/>
                    </a:cubicBezTo>
                    <a:cubicBezTo>
                      <a:pt x="1627" y="759"/>
                      <a:pt x="1632" y="746"/>
                      <a:pt x="1632" y="734"/>
                    </a:cubicBezTo>
                    <a:cubicBezTo>
                      <a:pt x="1635" y="742"/>
                      <a:pt x="1637" y="747"/>
                      <a:pt x="1643" y="746"/>
                    </a:cubicBezTo>
                    <a:cubicBezTo>
                      <a:pt x="1643" y="748"/>
                      <a:pt x="1642" y="751"/>
                      <a:pt x="1644" y="751"/>
                    </a:cubicBezTo>
                    <a:cubicBezTo>
                      <a:pt x="1644" y="749"/>
                      <a:pt x="1644" y="748"/>
                      <a:pt x="1646" y="747"/>
                    </a:cubicBezTo>
                    <a:cubicBezTo>
                      <a:pt x="1650" y="754"/>
                      <a:pt x="1650" y="766"/>
                      <a:pt x="1652" y="775"/>
                    </a:cubicBezTo>
                    <a:cubicBezTo>
                      <a:pt x="1654" y="765"/>
                      <a:pt x="1650" y="748"/>
                      <a:pt x="1651" y="739"/>
                    </a:cubicBezTo>
                    <a:cubicBezTo>
                      <a:pt x="1651" y="742"/>
                      <a:pt x="1653" y="744"/>
                      <a:pt x="1653" y="747"/>
                    </a:cubicBezTo>
                    <a:cubicBezTo>
                      <a:pt x="1656" y="758"/>
                      <a:pt x="1653" y="738"/>
                      <a:pt x="1653" y="739"/>
                    </a:cubicBezTo>
                    <a:close/>
                    <a:moveTo>
                      <a:pt x="871" y="858"/>
                    </a:moveTo>
                    <a:cubicBezTo>
                      <a:pt x="871" y="854"/>
                      <a:pt x="876" y="853"/>
                      <a:pt x="879" y="855"/>
                    </a:cubicBezTo>
                    <a:cubicBezTo>
                      <a:pt x="876" y="857"/>
                      <a:pt x="874" y="861"/>
                      <a:pt x="871" y="858"/>
                    </a:cubicBezTo>
                    <a:close/>
                    <a:moveTo>
                      <a:pt x="904" y="855"/>
                    </a:moveTo>
                    <a:cubicBezTo>
                      <a:pt x="895" y="853"/>
                      <a:pt x="888" y="858"/>
                      <a:pt x="882" y="854"/>
                    </a:cubicBezTo>
                    <a:cubicBezTo>
                      <a:pt x="885" y="844"/>
                      <a:pt x="900" y="841"/>
                      <a:pt x="907" y="847"/>
                    </a:cubicBezTo>
                    <a:cubicBezTo>
                      <a:pt x="907" y="851"/>
                      <a:pt x="904" y="851"/>
                      <a:pt x="904" y="855"/>
                    </a:cubicBezTo>
                    <a:close/>
                    <a:moveTo>
                      <a:pt x="1022" y="828"/>
                    </a:moveTo>
                    <a:cubicBezTo>
                      <a:pt x="1019" y="827"/>
                      <a:pt x="1019" y="824"/>
                      <a:pt x="1016" y="823"/>
                    </a:cubicBezTo>
                    <a:cubicBezTo>
                      <a:pt x="1012" y="822"/>
                      <a:pt x="1011" y="825"/>
                      <a:pt x="1008" y="825"/>
                    </a:cubicBezTo>
                    <a:cubicBezTo>
                      <a:pt x="1004" y="824"/>
                      <a:pt x="1004" y="819"/>
                      <a:pt x="1001" y="818"/>
                    </a:cubicBezTo>
                    <a:cubicBezTo>
                      <a:pt x="998" y="819"/>
                      <a:pt x="996" y="820"/>
                      <a:pt x="993" y="821"/>
                    </a:cubicBezTo>
                    <a:cubicBezTo>
                      <a:pt x="989" y="820"/>
                      <a:pt x="986" y="818"/>
                      <a:pt x="984" y="814"/>
                    </a:cubicBezTo>
                    <a:cubicBezTo>
                      <a:pt x="979" y="822"/>
                      <a:pt x="970" y="817"/>
                      <a:pt x="963" y="818"/>
                    </a:cubicBezTo>
                    <a:cubicBezTo>
                      <a:pt x="950" y="820"/>
                      <a:pt x="943" y="831"/>
                      <a:pt x="935" y="839"/>
                    </a:cubicBezTo>
                    <a:cubicBezTo>
                      <a:pt x="922" y="840"/>
                      <a:pt x="910" y="838"/>
                      <a:pt x="896" y="837"/>
                    </a:cubicBezTo>
                    <a:cubicBezTo>
                      <a:pt x="890" y="832"/>
                      <a:pt x="890" y="821"/>
                      <a:pt x="883" y="817"/>
                    </a:cubicBezTo>
                    <a:cubicBezTo>
                      <a:pt x="886" y="814"/>
                      <a:pt x="887" y="809"/>
                      <a:pt x="885" y="804"/>
                    </a:cubicBezTo>
                    <a:cubicBezTo>
                      <a:pt x="901" y="802"/>
                      <a:pt x="884" y="773"/>
                      <a:pt x="905" y="773"/>
                    </a:cubicBezTo>
                    <a:cubicBezTo>
                      <a:pt x="906" y="767"/>
                      <a:pt x="904" y="764"/>
                      <a:pt x="903" y="760"/>
                    </a:cubicBezTo>
                    <a:cubicBezTo>
                      <a:pt x="912" y="752"/>
                      <a:pt x="911" y="735"/>
                      <a:pt x="929" y="737"/>
                    </a:cubicBezTo>
                    <a:cubicBezTo>
                      <a:pt x="934" y="737"/>
                      <a:pt x="927" y="739"/>
                      <a:pt x="929" y="741"/>
                    </a:cubicBezTo>
                    <a:cubicBezTo>
                      <a:pt x="932" y="748"/>
                      <a:pt x="943" y="743"/>
                      <a:pt x="950" y="745"/>
                    </a:cubicBezTo>
                    <a:cubicBezTo>
                      <a:pt x="949" y="752"/>
                      <a:pt x="941" y="752"/>
                      <a:pt x="940" y="758"/>
                    </a:cubicBezTo>
                    <a:cubicBezTo>
                      <a:pt x="943" y="761"/>
                      <a:pt x="951" y="759"/>
                      <a:pt x="953" y="763"/>
                    </a:cubicBezTo>
                    <a:cubicBezTo>
                      <a:pt x="955" y="766"/>
                      <a:pt x="952" y="772"/>
                      <a:pt x="955" y="775"/>
                    </a:cubicBezTo>
                    <a:cubicBezTo>
                      <a:pt x="966" y="777"/>
                      <a:pt x="964" y="765"/>
                      <a:pt x="974" y="766"/>
                    </a:cubicBezTo>
                    <a:cubicBezTo>
                      <a:pt x="976" y="766"/>
                      <a:pt x="976" y="762"/>
                      <a:pt x="977" y="760"/>
                    </a:cubicBezTo>
                    <a:cubicBezTo>
                      <a:pt x="980" y="760"/>
                      <a:pt x="983" y="761"/>
                      <a:pt x="986" y="761"/>
                    </a:cubicBezTo>
                    <a:cubicBezTo>
                      <a:pt x="990" y="759"/>
                      <a:pt x="989" y="754"/>
                      <a:pt x="991" y="750"/>
                    </a:cubicBezTo>
                    <a:cubicBezTo>
                      <a:pt x="984" y="747"/>
                      <a:pt x="981" y="755"/>
                      <a:pt x="976" y="755"/>
                    </a:cubicBezTo>
                    <a:cubicBezTo>
                      <a:pt x="970" y="754"/>
                      <a:pt x="969" y="746"/>
                      <a:pt x="961" y="745"/>
                    </a:cubicBezTo>
                    <a:cubicBezTo>
                      <a:pt x="967" y="733"/>
                      <a:pt x="985" y="732"/>
                      <a:pt x="992" y="720"/>
                    </a:cubicBezTo>
                    <a:cubicBezTo>
                      <a:pt x="1000" y="720"/>
                      <a:pt x="1004" y="716"/>
                      <a:pt x="1009" y="714"/>
                    </a:cubicBezTo>
                    <a:cubicBezTo>
                      <a:pt x="1010" y="714"/>
                      <a:pt x="1011" y="714"/>
                      <a:pt x="1011" y="715"/>
                    </a:cubicBezTo>
                    <a:cubicBezTo>
                      <a:pt x="1011" y="723"/>
                      <a:pt x="1004" y="724"/>
                      <a:pt x="1000" y="727"/>
                    </a:cubicBezTo>
                    <a:cubicBezTo>
                      <a:pt x="1000" y="731"/>
                      <a:pt x="1004" y="732"/>
                      <a:pt x="1006" y="734"/>
                    </a:cubicBezTo>
                    <a:cubicBezTo>
                      <a:pt x="1002" y="739"/>
                      <a:pt x="1005" y="745"/>
                      <a:pt x="1001" y="751"/>
                    </a:cubicBezTo>
                    <a:cubicBezTo>
                      <a:pt x="997" y="752"/>
                      <a:pt x="997" y="749"/>
                      <a:pt x="994" y="749"/>
                    </a:cubicBezTo>
                    <a:cubicBezTo>
                      <a:pt x="990" y="757"/>
                      <a:pt x="1001" y="758"/>
                      <a:pt x="1003" y="763"/>
                    </a:cubicBezTo>
                    <a:cubicBezTo>
                      <a:pt x="1006" y="764"/>
                      <a:pt x="1006" y="762"/>
                      <a:pt x="1008" y="763"/>
                    </a:cubicBezTo>
                    <a:cubicBezTo>
                      <a:pt x="1013" y="764"/>
                      <a:pt x="1015" y="768"/>
                      <a:pt x="1023" y="766"/>
                    </a:cubicBezTo>
                    <a:cubicBezTo>
                      <a:pt x="1030" y="774"/>
                      <a:pt x="1040" y="779"/>
                      <a:pt x="1052" y="784"/>
                    </a:cubicBezTo>
                    <a:cubicBezTo>
                      <a:pt x="1066" y="789"/>
                      <a:pt x="1072" y="792"/>
                      <a:pt x="1076" y="807"/>
                    </a:cubicBezTo>
                    <a:cubicBezTo>
                      <a:pt x="1069" y="826"/>
                      <a:pt x="1040" y="825"/>
                      <a:pt x="1022" y="828"/>
                    </a:cubicBezTo>
                    <a:close/>
                    <a:moveTo>
                      <a:pt x="1081" y="327"/>
                    </a:moveTo>
                    <a:cubicBezTo>
                      <a:pt x="1084" y="322"/>
                      <a:pt x="1092" y="327"/>
                      <a:pt x="1093" y="331"/>
                    </a:cubicBezTo>
                    <a:cubicBezTo>
                      <a:pt x="1088" y="330"/>
                      <a:pt x="1084" y="328"/>
                      <a:pt x="1081" y="327"/>
                    </a:cubicBezTo>
                    <a:close/>
                    <a:moveTo>
                      <a:pt x="506" y="107"/>
                    </a:moveTo>
                    <a:cubicBezTo>
                      <a:pt x="504" y="101"/>
                      <a:pt x="498" y="105"/>
                      <a:pt x="496" y="101"/>
                    </a:cubicBezTo>
                    <a:cubicBezTo>
                      <a:pt x="491" y="107"/>
                      <a:pt x="481" y="107"/>
                      <a:pt x="480" y="115"/>
                    </a:cubicBezTo>
                    <a:cubicBezTo>
                      <a:pt x="484" y="116"/>
                      <a:pt x="488" y="118"/>
                      <a:pt x="485" y="122"/>
                    </a:cubicBezTo>
                    <a:cubicBezTo>
                      <a:pt x="488" y="126"/>
                      <a:pt x="496" y="126"/>
                      <a:pt x="498" y="121"/>
                    </a:cubicBezTo>
                    <a:cubicBezTo>
                      <a:pt x="497" y="121"/>
                      <a:pt x="496" y="121"/>
                      <a:pt x="496" y="120"/>
                    </a:cubicBezTo>
                    <a:cubicBezTo>
                      <a:pt x="499" y="119"/>
                      <a:pt x="504" y="120"/>
                      <a:pt x="506" y="117"/>
                    </a:cubicBezTo>
                    <a:cubicBezTo>
                      <a:pt x="502" y="112"/>
                      <a:pt x="499" y="119"/>
                      <a:pt x="495" y="116"/>
                    </a:cubicBezTo>
                    <a:cubicBezTo>
                      <a:pt x="496" y="110"/>
                      <a:pt x="506" y="114"/>
                      <a:pt x="506" y="107"/>
                    </a:cubicBezTo>
                    <a:close/>
                    <a:moveTo>
                      <a:pt x="607" y="185"/>
                    </a:moveTo>
                    <a:cubicBezTo>
                      <a:pt x="602" y="184"/>
                      <a:pt x="600" y="182"/>
                      <a:pt x="595" y="181"/>
                    </a:cubicBezTo>
                    <a:cubicBezTo>
                      <a:pt x="599" y="176"/>
                      <a:pt x="596" y="177"/>
                      <a:pt x="598" y="171"/>
                    </a:cubicBezTo>
                    <a:cubicBezTo>
                      <a:pt x="593" y="170"/>
                      <a:pt x="594" y="169"/>
                      <a:pt x="594" y="164"/>
                    </a:cubicBezTo>
                    <a:cubicBezTo>
                      <a:pt x="591" y="165"/>
                      <a:pt x="591" y="161"/>
                      <a:pt x="587" y="163"/>
                    </a:cubicBezTo>
                    <a:cubicBezTo>
                      <a:pt x="587" y="161"/>
                      <a:pt x="588" y="161"/>
                      <a:pt x="588" y="159"/>
                    </a:cubicBezTo>
                    <a:cubicBezTo>
                      <a:pt x="581" y="159"/>
                      <a:pt x="581" y="149"/>
                      <a:pt x="573" y="153"/>
                    </a:cubicBezTo>
                    <a:cubicBezTo>
                      <a:pt x="573" y="151"/>
                      <a:pt x="575" y="150"/>
                      <a:pt x="573" y="148"/>
                    </a:cubicBezTo>
                    <a:cubicBezTo>
                      <a:pt x="572" y="148"/>
                      <a:pt x="570" y="148"/>
                      <a:pt x="569" y="148"/>
                    </a:cubicBezTo>
                    <a:cubicBezTo>
                      <a:pt x="569" y="143"/>
                      <a:pt x="565" y="143"/>
                      <a:pt x="562" y="141"/>
                    </a:cubicBezTo>
                    <a:cubicBezTo>
                      <a:pt x="560" y="144"/>
                      <a:pt x="557" y="145"/>
                      <a:pt x="554" y="146"/>
                    </a:cubicBezTo>
                    <a:cubicBezTo>
                      <a:pt x="554" y="152"/>
                      <a:pt x="560" y="147"/>
                      <a:pt x="560" y="152"/>
                    </a:cubicBezTo>
                    <a:cubicBezTo>
                      <a:pt x="549" y="150"/>
                      <a:pt x="538" y="153"/>
                      <a:pt x="534" y="161"/>
                    </a:cubicBezTo>
                    <a:cubicBezTo>
                      <a:pt x="532" y="154"/>
                      <a:pt x="543" y="151"/>
                      <a:pt x="549" y="149"/>
                    </a:cubicBezTo>
                    <a:cubicBezTo>
                      <a:pt x="548" y="144"/>
                      <a:pt x="555" y="143"/>
                      <a:pt x="558" y="139"/>
                    </a:cubicBezTo>
                    <a:cubicBezTo>
                      <a:pt x="542" y="135"/>
                      <a:pt x="528" y="139"/>
                      <a:pt x="519" y="149"/>
                    </a:cubicBezTo>
                    <a:cubicBezTo>
                      <a:pt x="520" y="149"/>
                      <a:pt x="522" y="149"/>
                      <a:pt x="522" y="150"/>
                    </a:cubicBezTo>
                    <a:cubicBezTo>
                      <a:pt x="516" y="155"/>
                      <a:pt x="508" y="156"/>
                      <a:pt x="501" y="151"/>
                    </a:cubicBezTo>
                    <a:cubicBezTo>
                      <a:pt x="500" y="153"/>
                      <a:pt x="499" y="154"/>
                      <a:pt x="498" y="156"/>
                    </a:cubicBezTo>
                    <a:cubicBezTo>
                      <a:pt x="501" y="161"/>
                      <a:pt x="500" y="162"/>
                      <a:pt x="504" y="167"/>
                    </a:cubicBezTo>
                    <a:cubicBezTo>
                      <a:pt x="503" y="169"/>
                      <a:pt x="500" y="169"/>
                      <a:pt x="500" y="172"/>
                    </a:cubicBezTo>
                    <a:cubicBezTo>
                      <a:pt x="505" y="172"/>
                      <a:pt x="506" y="175"/>
                      <a:pt x="512" y="174"/>
                    </a:cubicBezTo>
                    <a:cubicBezTo>
                      <a:pt x="513" y="172"/>
                      <a:pt x="513" y="170"/>
                      <a:pt x="515" y="169"/>
                    </a:cubicBezTo>
                    <a:cubicBezTo>
                      <a:pt x="522" y="172"/>
                      <a:pt x="541" y="179"/>
                      <a:pt x="542" y="167"/>
                    </a:cubicBezTo>
                    <a:cubicBezTo>
                      <a:pt x="546" y="167"/>
                      <a:pt x="546" y="167"/>
                      <a:pt x="546" y="167"/>
                    </a:cubicBezTo>
                    <a:cubicBezTo>
                      <a:pt x="546" y="170"/>
                      <a:pt x="547" y="171"/>
                      <a:pt x="547" y="172"/>
                    </a:cubicBezTo>
                    <a:cubicBezTo>
                      <a:pt x="551" y="174"/>
                      <a:pt x="551" y="172"/>
                      <a:pt x="554" y="171"/>
                    </a:cubicBezTo>
                    <a:cubicBezTo>
                      <a:pt x="554" y="173"/>
                      <a:pt x="555" y="173"/>
                      <a:pt x="554" y="174"/>
                    </a:cubicBezTo>
                    <a:cubicBezTo>
                      <a:pt x="564" y="172"/>
                      <a:pt x="573" y="180"/>
                      <a:pt x="585" y="175"/>
                    </a:cubicBezTo>
                    <a:cubicBezTo>
                      <a:pt x="587" y="177"/>
                      <a:pt x="591" y="178"/>
                      <a:pt x="593" y="180"/>
                    </a:cubicBezTo>
                    <a:cubicBezTo>
                      <a:pt x="584" y="185"/>
                      <a:pt x="576" y="175"/>
                      <a:pt x="566" y="179"/>
                    </a:cubicBezTo>
                    <a:cubicBezTo>
                      <a:pt x="560" y="193"/>
                      <a:pt x="545" y="176"/>
                      <a:pt x="535" y="177"/>
                    </a:cubicBezTo>
                    <a:cubicBezTo>
                      <a:pt x="529" y="181"/>
                      <a:pt x="531" y="186"/>
                      <a:pt x="529" y="188"/>
                    </a:cubicBezTo>
                    <a:cubicBezTo>
                      <a:pt x="527" y="188"/>
                      <a:pt x="527" y="188"/>
                      <a:pt x="527" y="188"/>
                    </a:cubicBezTo>
                    <a:cubicBezTo>
                      <a:pt x="526" y="185"/>
                      <a:pt x="528" y="186"/>
                      <a:pt x="528" y="183"/>
                    </a:cubicBezTo>
                    <a:cubicBezTo>
                      <a:pt x="520" y="183"/>
                      <a:pt x="515" y="188"/>
                      <a:pt x="513" y="194"/>
                    </a:cubicBezTo>
                    <a:cubicBezTo>
                      <a:pt x="514" y="196"/>
                      <a:pt x="516" y="196"/>
                      <a:pt x="516" y="199"/>
                    </a:cubicBezTo>
                    <a:cubicBezTo>
                      <a:pt x="532" y="203"/>
                      <a:pt x="518" y="216"/>
                      <a:pt x="513" y="222"/>
                    </a:cubicBezTo>
                    <a:cubicBezTo>
                      <a:pt x="500" y="228"/>
                      <a:pt x="493" y="240"/>
                      <a:pt x="474" y="240"/>
                    </a:cubicBezTo>
                    <a:cubicBezTo>
                      <a:pt x="474" y="242"/>
                      <a:pt x="472" y="243"/>
                      <a:pt x="472" y="245"/>
                    </a:cubicBezTo>
                    <a:cubicBezTo>
                      <a:pt x="475" y="249"/>
                      <a:pt x="479" y="245"/>
                      <a:pt x="482" y="247"/>
                    </a:cubicBezTo>
                    <a:cubicBezTo>
                      <a:pt x="478" y="252"/>
                      <a:pt x="477" y="259"/>
                      <a:pt x="469" y="259"/>
                    </a:cubicBezTo>
                    <a:cubicBezTo>
                      <a:pt x="469" y="255"/>
                      <a:pt x="469" y="254"/>
                      <a:pt x="469" y="249"/>
                    </a:cubicBezTo>
                    <a:cubicBezTo>
                      <a:pt x="465" y="248"/>
                      <a:pt x="464" y="251"/>
                      <a:pt x="462" y="252"/>
                    </a:cubicBezTo>
                    <a:cubicBezTo>
                      <a:pt x="465" y="254"/>
                      <a:pt x="460" y="260"/>
                      <a:pt x="460" y="261"/>
                    </a:cubicBezTo>
                    <a:cubicBezTo>
                      <a:pt x="460" y="264"/>
                      <a:pt x="464" y="262"/>
                      <a:pt x="463" y="264"/>
                    </a:cubicBezTo>
                    <a:cubicBezTo>
                      <a:pt x="459" y="271"/>
                      <a:pt x="446" y="270"/>
                      <a:pt x="440" y="274"/>
                    </a:cubicBezTo>
                    <a:cubicBezTo>
                      <a:pt x="440" y="272"/>
                      <a:pt x="444" y="272"/>
                      <a:pt x="443" y="268"/>
                    </a:cubicBezTo>
                    <a:cubicBezTo>
                      <a:pt x="436" y="267"/>
                      <a:pt x="437" y="273"/>
                      <a:pt x="432" y="274"/>
                    </a:cubicBezTo>
                    <a:cubicBezTo>
                      <a:pt x="433" y="271"/>
                      <a:pt x="430" y="272"/>
                      <a:pt x="429" y="271"/>
                    </a:cubicBezTo>
                    <a:cubicBezTo>
                      <a:pt x="409" y="277"/>
                      <a:pt x="399" y="294"/>
                      <a:pt x="382" y="304"/>
                    </a:cubicBezTo>
                    <a:cubicBezTo>
                      <a:pt x="387" y="305"/>
                      <a:pt x="390" y="300"/>
                      <a:pt x="393" y="304"/>
                    </a:cubicBezTo>
                    <a:cubicBezTo>
                      <a:pt x="390" y="307"/>
                      <a:pt x="384" y="308"/>
                      <a:pt x="377" y="307"/>
                    </a:cubicBezTo>
                    <a:cubicBezTo>
                      <a:pt x="375" y="313"/>
                      <a:pt x="367" y="317"/>
                      <a:pt x="361" y="324"/>
                    </a:cubicBezTo>
                    <a:cubicBezTo>
                      <a:pt x="361" y="325"/>
                      <a:pt x="362" y="327"/>
                      <a:pt x="361" y="328"/>
                    </a:cubicBezTo>
                    <a:cubicBezTo>
                      <a:pt x="356" y="336"/>
                      <a:pt x="343" y="343"/>
                      <a:pt x="352" y="351"/>
                    </a:cubicBezTo>
                    <a:cubicBezTo>
                      <a:pt x="353" y="351"/>
                      <a:pt x="356" y="348"/>
                      <a:pt x="357" y="351"/>
                    </a:cubicBezTo>
                    <a:cubicBezTo>
                      <a:pt x="352" y="356"/>
                      <a:pt x="348" y="359"/>
                      <a:pt x="349" y="369"/>
                    </a:cubicBezTo>
                    <a:cubicBezTo>
                      <a:pt x="372" y="364"/>
                      <a:pt x="384" y="349"/>
                      <a:pt x="403" y="343"/>
                    </a:cubicBezTo>
                    <a:cubicBezTo>
                      <a:pt x="404" y="347"/>
                      <a:pt x="408" y="342"/>
                      <a:pt x="410" y="345"/>
                    </a:cubicBezTo>
                    <a:cubicBezTo>
                      <a:pt x="416" y="338"/>
                      <a:pt x="422" y="337"/>
                      <a:pt x="427" y="331"/>
                    </a:cubicBezTo>
                    <a:cubicBezTo>
                      <a:pt x="429" y="331"/>
                      <a:pt x="430" y="333"/>
                      <a:pt x="432" y="333"/>
                    </a:cubicBezTo>
                    <a:cubicBezTo>
                      <a:pt x="434" y="332"/>
                      <a:pt x="436" y="330"/>
                      <a:pt x="439" y="330"/>
                    </a:cubicBezTo>
                    <a:cubicBezTo>
                      <a:pt x="441" y="332"/>
                      <a:pt x="444" y="333"/>
                      <a:pt x="448" y="331"/>
                    </a:cubicBezTo>
                    <a:cubicBezTo>
                      <a:pt x="448" y="332"/>
                      <a:pt x="446" y="333"/>
                      <a:pt x="447" y="334"/>
                    </a:cubicBezTo>
                    <a:cubicBezTo>
                      <a:pt x="451" y="333"/>
                      <a:pt x="454" y="332"/>
                      <a:pt x="457" y="335"/>
                    </a:cubicBezTo>
                    <a:cubicBezTo>
                      <a:pt x="473" y="334"/>
                      <a:pt x="491" y="326"/>
                      <a:pt x="503" y="321"/>
                    </a:cubicBezTo>
                    <a:cubicBezTo>
                      <a:pt x="503" y="323"/>
                      <a:pt x="501" y="323"/>
                      <a:pt x="501" y="326"/>
                    </a:cubicBezTo>
                    <a:cubicBezTo>
                      <a:pt x="522" y="332"/>
                      <a:pt x="543" y="327"/>
                      <a:pt x="563" y="323"/>
                    </a:cubicBezTo>
                    <a:cubicBezTo>
                      <a:pt x="560" y="319"/>
                      <a:pt x="557" y="316"/>
                      <a:pt x="553" y="313"/>
                    </a:cubicBezTo>
                    <a:cubicBezTo>
                      <a:pt x="557" y="312"/>
                      <a:pt x="559" y="303"/>
                      <a:pt x="565" y="307"/>
                    </a:cubicBezTo>
                    <a:cubicBezTo>
                      <a:pt x="564" y="309"/>
                      <a:pt x="561" y="310"/>
                      <a:pt x="561" y="313"/>
                    </a:cubicBezTo>
                    <a:cubicBezTo>
                      <a:pt x="563" y="316"/>
                      <a:pt x="564" y="319"/>
                      <a:pt x="568" y="320"/>
                    </a:cubicBezTo>
                    <a:cubicBezTo>
                      <a:pt x="577" y="315"/>
                      <a:pt x="582" y="297"/>
                      <a:pt x="573" y="286"/>
                    </a:cubicBezTo>
                    <a:cubicBezTo>
                      <a:pt x="578" y="284"/>
                      <a:pt x="578" y="288"/>
                      <a:pt x="584" y="286"/>
                    </a:cubicBezTo>
                    <a:cubicBezTo>
                      <a:pt x="585" y="290"/>
                      <a:pt x="590" y="291"/>
                      <a:pt x="587" y="296"/>
                    </a:cubicBezTo>
                    <a:cubicBezTo>
                      <a:pt x="593" y="297"/>
                      <a:pt x="590" y="291"/>
                      <a:pt x="592" y="289"/>
                    </a:cubicBezTo>
                    <a:cubicBezTo>
                      <a:pt x="595" y="291"/>
                      <a:pt x="598" y="292"/>
                      <a:pt x="603" y="292"/>
                    </a:cubicBezTo>
                    <a:cubicBezTo>
                      <a:pt x="606" y="290"/>
                      <a:pt x="604" y="282"/>
                      <a:pt x="611" y="283"/>
                    </a:cubicBezTo>
                    <a:cubicBezTo>
                      <a:pt x="612" y="284"/>
                      <a:pt x="612" y="285"/>
                      <a:pt x="612" y="286"/>
                    </a:cubicBezTo>
                    <a:cubicBezTo>
                      <a:pt x="614" y="286"/>
                      <a:pt x="617" y="285"/>
                      <a:pt x="617" y="283"/>
                    </a:cubicBezTo>
                    <a:cubicBezTo>
                      <a:pt x="618" y="279"/>
                      <a:pt x="614" y="281"/>
                      <a:pt x="615" y="278"/>
                    </a:cubicBezTo>
                    <a:cubicBezTo>
                      <a:pt x="616" y="276"/>
                      <a:pt x="616" y="274"/>
                      <a:pt x="617" y="273"/>
                    </a:cubicBezTo>
                    <a:cubicBezTo>
                      <a:pt x="620" y="273"/>
                      <a:pt x="618" y="277"/>
                      <a:pt x="621" y="277"/>
                    </a:cubicBezTo>
                    <a:cubicBezTo>
                      <a:pt x="627" y="275"/>
                      <a:pt x="629" y="265"/>
                      <a:pt x="624" y="260"/>
                    </a:cubicBezTo>
                    <a:cubicBezTo>
                      <a:pt x="626" y="260"/>
                      <a:pt x="626" y="259"/>
                      <a:pt x="627" y="259"/>
                    </a:cubicBezTo>
                    <a:cubicBezTo>
                      <a:pt x="631" y="261"/>
                      <a:pt x="642" y="265"/>
                      <a:pt x="643" y="258"/>
                    </a:cubicBezTo>
                    <a:cubicBezTo>
                      <a:pt x="644" y="255"/>
                      <a:pt x="641" y="256"/>
                      <a:pt x="641" y="255"/>
                    </a:cubicBezTo>
                    <a:cubicBezTo>
                      <a:pt x="642" y="246"/>
                      <a:pt x="656" y="238"/>
                      <a:pt x="664" y="239"/>
                    </a:cubicBezTo>
                    <a:cubicBezTo>
                      <a:pt x="669" y="235"/>
                      <a:pt x="677" y="233"/>
                      <a:pt x="684" y="230"/>
                    </a:cubicBezTo>
                    <a:cubicBezTo>
                      <a:pt x="687" y="232"/>
                      <a:pt x="691" y="230"/>
                      <a:pt x="691" y="227"/>
                    </a:cubicBezTo>
                    <a:cubicBezTo>
                      <a:pt x="684" y="220"/>
                      <a:pt x="674" y="224"/>
                      <a:pt x="665" y="222"/>
                    </a:cubicBezTo>
                    <a:cubicBezTo>
                      <a:pt x="668" y="219"/>
                      <a:pt x="672" y="217"/>
                      <a:pt x="675" y="213"/>
                    </a:cubicBezTo>
                    <a:cubicBezTo>
                      <a:pt x="665" y="207"/>
                      <a:pt x="656" y="195"/>
                      <a:pt x="640" y="197"/>
                    </a:cubicBezTo>
                    <a:cubicBezTo>
                      <a:pt x="638" y="193"/>
                      <a:pt x="635" y="190"/>
                      <a:pt x="628" y="191"/>
                    </a:cubicBezTo>
                    <a:cubicBezTo>
                      <a:pt x="627" y="196"/>
                      <a:pt x="623" y="197"/>
                      <a:pt x="618" y="198"/>
                    </a:cubicBezTo>
                    <a:cubicBezTo>
                      <a:pt x="618" y="195"/>
                      <a:pt x="619" y="192"/>
                      <a:pt x="617" y="190"/>
                    </a:cubicBezTo>
                    <a:cubicBezTo>
                      <a:pt x="614" y="188"/>
                      <a:pt x="613" y="192"/>
                      <a:pt x="609" y="192"/>
                    </a:cubicBezTo>
                    <a:cubicBezTo>
                      <a:pt x="608" y="188"/>
                      <a:pt x="605" y="189"/>
                      <a:pt x="607" y="185"/>
                    </a:cubicBezTo>
                    <a:close/>
                    <a:moveTo>
                      <a:pt x="522" y="156"/>
                    </a:moveTo>
                    <a:cubicBezTo>
                      <a:pt x="520" y="157"/>
                      <a:pt x="517" y="159"/>
                      <a:pt x="514" y="160"/>
                    </a:cubicBezTo>
                    <a:cubicBezTo>
                      <a:pt x="516" y="157"/>
                      <a:pt x="518" y="152"/>
                      <a:pt x="524" y="153"/>
                    </a:cubicBezTo>
                    <a:cubicBezTo>
                      <a:pt x="528" y="154"/>
                      <a:pt x="518" y="154"/>
                      <a:pt x="522" y="156"/>
                    </a:cubicBezTo>
                    <a:close/>
                    <a:moveTo>
                      <a:pt x="545" y="161"/>
                    </a:moveTo>
                    <a:cubicBezTo>
                      <a:pt x="546" y="158"/>
                      <a:pt x="552" y="151"/>
                      <a:pt x="555" y="157"/>
                    </a:cubicBezTo>
                    <a:cubicBezTo>
                      <a:pt x="549" y="155"/>
                      <a:pt x="549" y="160"/>
                      <a:pt x="545" y="161"/>
                    </a:cubicBezTo>
                    <a:close/>
                    <a:moveTo>
                      <a:pt x="558" y="162"/>
                    </a:moveTo>
                    <a:cubicBezTo>
                      <a:pt x="559" y="157"/>
                      <a:pt x="561" y="160"/>
                      <a:pt x="565" y="160"/>
                    </a:cubicBezTo>
                    <a:cubicBezTo>
                      <a:pt x="563" y="161"/>
                      <a:pt x="561" y="162"/>
                      <a:pt x="558" y="162"/>
                    </a:cubicBezTo>
                    <a:close/>
                    <a:moveTo>
                      <a:pt x="660" y="218"/>
                    </a:moveTo>
                    <a:cubicBezTo>
                      <a:pt x="659" y="215"/>
                      <a:pt x="664" y="215"/>
                      <a:pt x="665" y="216"/>
                    </a:cubicBezTo>
                    <a:cubicBezTo>
                      <a:pt x="665" y="216"/>
                      <a:pt x="662" y="218"/>
                      <a:pt x="660" y="218"/>
                    </a:cubicBezTo>
                    <a:close/>
                    <a:moveTo>
                      <a:pt x="0" y="1114"/>
                    </a:moveTo>
                    <a:cubicBezTo>
                      <a:pt x="13" y="1155"/>
                      <a:pt x="31" y="1195"/>
                      <a:pt x="50" y="1230"/>
                    </a:cubicBezTo>
                    <a:cubicBezTo>
                      <a:pt x="50" y="1230"/>
                      <a:pt x="15" y="1154"/>
                      <a:pt x="0" y="1114"/>
                    </a:cubicBezTo>
                    <a:close/>
                    <a:moveTo>
                      <a:pt x="185" y="418"/>
                    </a:moveTo>
                    <a:cubicBezTo>
                      <a:pt x="183" y="417"/>
                      <a:pt x="180" y="419"/>
                      <a:pt x="180" y="417"/>
                    </a:cubicBezTo>
                    <a:cubicBezTo>
                      <a:pt x="181" y="410"/>
                      <a:pt x="186" y="407"/>
                      <a:pt x="187" y="401"/>
                    </a:cubicBezTo>
                    <a:cubicBezTo>
                      <a:pt x="191" y="397"/>
                      <a:pt x="202" y="397"/>
                      <a:pt x="205" y="390"/>
                    </a:cubicBezTo>
                    <a:cubicBezTo>
                      <a:pt x="204" y="389"/>
                      <a:pt x="203" y="388"/>
                      <a:pt x="203" y="386"/>
                    </a:cubicBezTo>
                    <a:cubicBezTo>
                      <a:pt x="192" y="389"/>
                      <a:pt x="179" y="398"/>
                      <a:pt x="167" y="398"/>
                    </a:cubicBezTo>
                    <a:cubicBezTo>
                      <a:pt x="161" y="398"/>
                      <a:pt x="158" y="399"/>
                      <a:pt x="155" y="403"/>
                    </a:cubicBezTo>
                    <a:cubicBezTo>
                      <a:pt x="157" y="410"/>
                      <a:pt x="156" y="419"/>
                      <a:pt x="158" y="427"/>
                    </a:cubicBezTo>
                    <a:cubicBezTo>
                      <a:pt x="155" y="428"/>
                      <a:pt x="152" y="428"/>
                      <a:pt x="152" y="431"/>
                    </a:cubicBezTo>
                    <a:cubicBezTo>
                      <a:pt x="157" y="437"/>
                      <a:pt x="152" y="443"/>
                      <a:pt x="154" y="450"/>
                    </a:cubicBezTo>
                    <a:cubicBezTo>
                      <a:pt x="158" y="448"/>
                      <a:pt x="162" y="447"/>
                      <a:pt x="165" y="445"/>
                    </a:cubicBezTo>
                    <a:cubicBezTo>
                      <a:pt x="166" y="440"/>
                      <a:pt x="165" y="440"/>
                      <a:pt x="166" y="434"/>
                    </a:cubicBezTo>
                    <a:cubicBezTo>
                      <a:pt x="176" y="432"/>
                      <a:pt x="181" y="426"/>
                      <a:pt x="185" y="418"/>
                    </a:cubicBezTo>
                    <a:close/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 dirty="0">
                  <a:latin typeface="+mj-lt"/>
                </a:endParaRPr>
              </a:p>
            </p:txBody>
          </p:sp>
        </p:grpSp>
        <p:grpSp>
          <p:nvGrpSpPr>
            <p:cNvPr id="79" name="Group 86">
              <a:extLst>
                <a:ext uri="{FF2B5EF4-FFF2-40B4-BE49-F238E27FC236}">
                  <a16:creationId xmlns:a16="http://schemas.microsoft.com/office/drawing/2014/main" id="{16C77F62-BAB4-4BBF-8BE4-2F5B32747C66}"/>
                </a:ext>
              </a:extLst>
            </p:cNvPr>
            <p:cNvGrpSpPr>
              <a:grpSpLocks/>
            </p:cNvGrpSpPr>
            <p:nvPr/>
          </p:nvGrpSpPr>
          <p:grpSpPr>
            <a:xfrm>
              <a:off x="10476046" y="3301521"/>
              <a:ext cx="1166454" cy="1166134"/>
              <a:chOff x="7130066" y="4154229"/>
              <a:chExt cx="1660544" cy="1660088"/>
            </a:xfrm>
            <a:solidFill>
              <a:srgbClr val="E6EBEE"/>
            </a:solidFill>
          </p:grpSpPr>
          <p:sp>
            <p:nvSpPr>
              <p:cNvPr id="80" name="Freeform 13">
                <a:extLst>
                  <a:ext uri="{FF2B5EF4-FFF2-40B4-BE49-F238E27FC236}">
                    <a16:creationId xmlns:a16="http://schemas.microsoft.com/office/drawing/2014/main" id="{B09EC5E5-7CB0-4BC8-9DD4-FFC3389A3B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30066" y="4154229"/>
                <a:ext cx="1660544" cy="1660088"/>
              </a:xfrm>
              <a:custGeom>
                <a:avLst/>
                <a:gdLst/>
                <a:ahLst/>
                <a:cxnLst>
                  <a:cxn ang="0">
                    <a:pos x="43" y="519"/>
                  </a:cxn>
                  <a:cxn ang="0">
                    <a:pos x="688" y="16"/>
                  </a:cxn>
                  <a:cxn ang="0">
                    <a:pos x="710" y="20"/>
                  </a:cxn>
                  <a:cxn ang="0">
                    <a:pos x="799" y="22"/>
                  </a:cxn>
                  <a:cxn ang="0">
                    <a:pos x="581" y="42"/>
                  </a:cxn>
                  <a:cxn ang="0">
                    <a:pos x="530" y="61"/>
                  </a:cxn>
                  <a:cxn ang="0">
                    <a:pos x="991" y="49"/>
                  </a:cxn>
                  <a:cxn ang="0">
                    <a:pos x="372" y="115"/>
                  </a:cxn>
                  <a:cxn ang="0">
                    <a:pos x="428" y="107"/>
                  </a:cxn>
                  <a:cxn ang="0">
                    <a:pos x="818" y="92"/>
                  </a:cxn>
                  <a:cxn ang="0">
                    <a:pos x="1055" y="192"/>
                  </a:cxn>
                  <a:cxn ang="0">
                    <a:pos x="825" y="120"/>
                  </a:cxn>
                  <a:cxn ang="0">
                    <a:pos x="386" y="131"/>
                  </a:cxn>
                  <a:cxn ang="0">
                    <a:pos x="360" y="122"/>
                  </a:cxn>
                  <a:cxn ang="0">
                    <a:pos x="307" y="157"/>
                  </a:cxn>
                  <a:cxn ang="0">
                    <a:pos x="1281" y="215"/>
                  </a:cxn>
                  <a:cxn ang="0">
                    <a:pos x="262" y="197"/>
                  </a:cxn>
                  <a:cxn ang="0">
                    <a:pos x="342" y="207"/>
                  </a:cxn>
                  <a:cxn ang="0">
                    <a:pos x="515" y="222"/>
                  </a:cxn>
                  <a:cxn ang="0">
                    <a:pos x="1092" y="232"/>
                  </a:cxn>
                  <a:cxn ang="0">
                    <a:pos x="1054" y="395"/>
                  </a:cxn>
                  <a:cxn ang="0">
                    <a:pos x="286" y="259"/>
                  </a:cxn>
                  <a:cxn ang="0">
                    <a:pos x="422" y="400"/>
                  </a:cxn>
                  <a:cxn ang="0">
                    <a:pos x="139" y="360"/>
                  </a:cxn>
                  <a:cxn ang="0">
                    <a:pos x="735" y="383"/>
                  </a:cxn>
                  <a:cxn ang="0">
                    <a:pos x="401" y="453"/>
                  </a:cxn>
                  <a:cxn ang="0">
                    <a:pos x="1275" y="515"/>
                  </a:cxn>
                  <a:cxn ang="0">
                    <a:pos x="965" y="472"/>
                  </a:cxn>
                  <a:cxn ang="0">
                    <a:pos x="1457" y="507"/>
                  </a:cxn>
                  <a:cxn ang="0">
                    <a:pos x="1123" y="716"/>
                  </a:cxn>
                  <a:cxn ang="0">
                    <a:pos x="1284" y="635"/>
                  </a:cxn>
                  <a:cxn ang="0">
                    <a:pos x="109" y="683"/>
                  </a:cxn>
                  <a:cxn ang="0">
                    <a:pos x="320" y="836"/>
                  </a:cxn>
                  <a:cxn ang="0">
                    <a:pos x="942" y="737"/>
                  </a:cxn>
                  <a:cxn ang="0">
                    <a:pos x="1520" y="791"/>
                  </a:cxn>
                  <a:cxn ang="0">
                    <a:pos x="1506" y="837"/>
                  </a:cxn>
                  <a:cxn ang="0">
                    <a:pos x="1392" y="910"/>
                  </a:cxn>
                  <a:cxn ang="0">
                    <a:pos x="1322" y="936"/>
                  </a:cxn>
                  <a:cxn ang="0">
                    <a:pos x="497" y="992"/>
                  </a:cxn>
                  <a:cxn ang="0">
                    <a:pos x="637" y="1004"/>
                  </a:cxn>
                  <a:cxn ang="0">
                    <a:pos x="75" y="1026"/>
                  </a:cxn>
                  <a:cxn ang="0">
                    <a:pos x="155" y="1216"/>
                  </a:cxn>
                  <a:cxn ang="0">
                    <a:pos x="1376" y="1175"/>
                  </a:cxn>
                  <a:cxn ang="0">
                    <a:pos x="187" y="1148"/>
                  </a:cxn>
                  <a:cxn ang="0">
                    <a:pos x="163" y="1223"/>
                  </a:cxn>
                  <a:cxn ang="0">
                    <a:pos x="363" y="1201"/>
                  </a:cxn>
                  <a:cxn ang="0">
                    <a:pos x="535" y="1295"/>
                  </a:cxn>
                  <a:cxn ang="0">
                    <a:pos x="170" y="1239"/>
                  </a:cxn>
                  <a:cxn ang="0">
                    <a:pos x="195" y="1266"/>
                  </a:cxn>
                  <a:cxn ang="0">
                    <a:pos x="224" y="1300"/>
                  </a:cxn>
                  <a:cxn ang="0">
                    <a:pos x="309" y="1356"/>
                  </a:cxn>
                  <a:cxn ang="0">
                    <a:pos x="1151" y="1402"/>
                  </a:cxn>
                  <a:cxn ang="0">
                    <a:pos x="618" y="1375"/>
                  </a:cxn>
                  <a:cxn ang="0">
                    <a:pos x="956" y="1397"/>
                  </a:cxn>
                  <a:cxn ang="0">
                    <a:pos x="1038" y="1391"/>
                  </a:cxn>
                  <a:cxn ang="0">
                    <a:pos x="697" y="1413"/>
                  </a:cxn>
                  <a:cxn ang="0">
                    <a:pos x="987" y="1439"/>
                  </a:cxn>
                  <a:cxn ang="0">
                    <a:pos x="513" y="1480"/>
                  </a:cxn>
                  <a:cxn ang="0">
                    <a:pos x="749" y="1462"/>
                  </a:cxn>
                  <a:cxn ang="0">
                    <a:pos x="975" y="1464"/>
                  </a:cxn>
                  <a:cxn ang="0">
                    <a:pos x="782" y="1475"/>
                  </a:cxn>
                  <a:cxn ang="0">
                    <a:pos x="738" y="1484"/>
                  </a:cxn>
                  <a:cxn ang="0">
                    <a:pos x="845" y="1510"/>
                  </a:cxn>
                </a:cxnLst>
                <a:rect l="0" t="0" r="r" b="b"/>
                <a:pathLst>
                  <a:path w="1525" h="1529">
                    <a:moveTo>
                      <a:pt x="760" y="11"/>
                    </a:moveTo>
                    <a:cubicBezTo>
                      <a:pt x="764" y="10"/>
                      <a:pt x="762" y="3"/>
                      <a:pt x="767" y="3"/>
                    </a:cubicBezTo>
                    <a:cubicBezTo>
                      <a:pt x="772" y="2"/>
                      <a:pt x="769" y="11"/>
                      <a:pt x="774" y="8"/>
                    </a:cubicBezTo>
                    <a:cubicBezTo>
                      <a:pt x="798" y="0"/>
                      <a:pt x="832" y="6"/>
                      <a:pt x="860" y="10"/>
                    </a:cubicBezTo>
                    <a:cubicBezTo>
                      <a:pt x="920" y="18"/>
                      <a:pt x="979" y="31"/>
                      <a:pt x="1027" y="50"/>
                    </a:cubicBezTo>
                    <a:cubicBezTo>
                      <a:pt x="1077" y="70"/>
                      <a:pt x="1124" y="92"/>
                      <a:pt x="1166" y="119"/>
                    </a:cubicBezTo>
                    <a:cubicBezTo>
                      <a:pt x="1181" y="129"/>
                      <a:pt x="1197" y="136"/>
                      <a:pt x="1209" y="145"/>
                    </a:cubicBezTo>
                    <a:cubicBezTo>
                      <a:pt x="1217" y="151"/>
                      <a:pt x="1224" y="160"/>
                      <a:pt x="1232" y="167"/>
                    </a:cubicBezTo>
                    <a:cubicBezTo>
                      <a:pt x="1281" y="205"/>
                      <a:pt x="1322" y="252"/>
                      <a:pt x="1362" y="301"/>
                    </a:cubicBezTo>
                    <a:cubicBezTo>
                      <a:pt x="1369" y="310"/>
                      <a:pt x="1378" y="316"/>
                      <a:pt x="1383" y="323"/>
                    </a:cubicBezTo>
                    <a:cubicBezTo>
                      <a:pt x="1388" y="331"/>
                      <a:pt x="1392" y="340"/>
                      <a:pt x="1398" y="348"/>
                    </a:cubicBezTo>
                    <a:cubicBezTo>
                      <a:pt x="1468" y="449"/>
                      <a:pt x="1525" y="587"/>
                      <a:pt x="1522" y="761"/>
                    </a:cubicBezTo>
                    <a:cubicBezTo>
                      <a:pt x="1522" y="773"/>
                      <a:pt x="1525" y="784"/>
                      <a:pt x="1524" y="795"/>
                    </a:cubicBezTo>
                    <a:cubicBezTo>
                      <a:pt x="1524" y="805"/>
                      <a:pt x="1520" y="815"/>
                      <a:pt x="1518" y="826"/>
                    </a:cubicBezTo>
                    <a:cubicBezTo>
                      <a:pt x="1515" y="857"/>
                      <a:pt x="1508" y="890"/>
                      <a:pt x="1502" y="919"/>
                    </a:cubicBezTo>
                    <a:cubicBezTo>
                      <a:pt x="1495" y="950"/>
                      <a:pt x="1489" y="979"/>
                      <a:pt x="1481" y="1007"/>
                    </a:cubicBezTo>
                    <a:cubicBezTo>
                      <a:pt x="1478" y="1017"/>
                      <a:pt x="1477" y="1028"/>
                      <a:pt x="1474" y="1037"/>
                    </a:cubicBezTo>
                    <a:cubicBezTo>
                      <a:pt x="1472" y="1045"/>
                      <a:pt x="1468" y="1051"/>
                      <a:pt x="1465" y="1058"/>
                    </a:cubicBezTo>
                    <a:cubicBezTo>
                      <a:pt x="1455" y="1079"/>
                      <a:pt x="1446" y="1102"/>
                      <a:pt x="1436" y="1122"/>
                    </a:cubicBezTo>
                    <a:cubicBezTo>
                      <a:pt x="1414" y="1164"/>
                      <a:pt x="1392" y="1199"/>
                      <a:pt x="1364" y="1233"/>
                    </a:cubicBezTo>
                    <a:cubicBezTo>
                      <a:pt x="1355" y="1245"/>
                      <a:pt x="1347" y="1257"/>
                      <a:pt x="1337" y="1268"/>
                    </a:cubicBezTo>
                    <a:cubicBezTo>
                      <a:pt x="1318" y="1289"/>
                      <a:pt x="1295" y="1305"/>
                      <a:pt x="1274" y="1326"/>
                    </a:cubicBezTo>
                    <a:cubicBezTo>
                      <a:pt x="1232" y="1368"/>
                      <a:pt x="1185" y="1404"/>
                      <a:pt x="1136" y="1434"/>
                    </a:cubicBezTo>
                    <a:cubicBezTo>
                      <a:pt x="1110" y="1450"/>
                      <a:pt x="1082" y="1460"/>
                      <a:pt x="1052" y="1471"/>
                    </a:cubicBezTo>
                    <a:cubicBezTo>
                      <a:pt x="1037" y="1477"/>
                      <a:pt x="1023" y="1484"/>
                      <a:pt x="1008" y="1488"/>
                    </a:cubicBezTo>
                    <a:cubicBezTo>
                      <a:pt x="992" y="1493"/>
                      <a:pt x="976" y="1494"/>
                      <a:pt x="958" y="1499"/>
                    </a:cubicBezTo>
                    <a:cubicBezTo>
                      <a:pt x="948" y="1502"/>
                      <a:pt x="940" y="1508"/>
                      <a:pt x="930" y="1511"/>
                    </a:cubicBezTo>
                    <a:cubicBezTo>
                      <a:pt x="904" y="1518"/>
                      <a:pt x="872" y="1514"/>
                      <a:pt x="846" y="1522"/>
                    </a:cubicBezTo>
                    <a:cubicBezTo>
                      <a:pt x="840" y="1524"/>
                      <a:pt x="835" y="1527"/>
                      <a:pt x="828" y="1528"/>
                    </a:cubicBezTo>
                    <a:cubicBezTo>
                      <a:pt x="823" y="1528"/>
                      <a:pt x="818" y="1526"/>
                      <a:pt x="813" y="1526"/>
                    </a:cubicBezTo>
                    <a:cubicBezTo>
                      <a:pt x="796" y="1525"/>
                      <a:pt x="777" y="1527"/>
                      <a:pt x="758" y="1528"/>
                    </a:cubicBezTo>
                    <a:cubicBezTo>
                      <a:pt x="735" y="1529"/>
                      <a:pt x="713" y="1524"/>
                      <a:pt x="691" y="1523"/>
                    </a:cubicBezTo>
                    <a:cubicBezTo>
                      <a:pt x="683" y="1523"/>
                      <a:pt x="676" y="1525"/>
                      <a:pt x="669" y="1524"/>
                    </a:cubicBezTo>
                    <a:cubicBezTo>
                      <a:pt x="656" y="1523"/>
                      <a:pt x="646" y="1514"/>
                      <a:pt x="635" y="1512"/>
                    </a:cubicBezTo>
                    <a:cubicBezTo>
                      <a:pt x="620" y="1510"/>
                      <a:pt x="607" y="1512"/>
                      <a:pt x="594" y="1511"/>
                    </a:cubicBezTo>
                    <a:cubicBezTo>
                      <a:pt x="571" y="1507"/>
                      <a:pt x="551" y="1496"/>
                      <a:pt x="531" y="1489"/>
                    </a:cubicBezTo>
                    <a:cubicBezTo>
                      <a:pt x="520" y="1486"/>
                      <a:pt x="508" y="1484"/>
                      <a:pt x="497" y="1481"/>
                    </a:cubicBezTo>
                    <a:cubicBezTo>
                      <a:pt x="454" y="1468"/>
                      <a:pt x="414" y="1451"/>
                      <a:pt x="380" y="1429"/>
                    </a:cubicBezTo>
                    <a:cubicBezTo>
                      <a:pt x="363" y="1418"/>
                      <a:pt x="347" y="1404"/>
                      <a:pt x="330" y="1393"/>
                    </a:cubicBezTo>
                    <a:cubicBezTo>
                      <a:pt x="287" y="1366"/>
                      <a:pt x="251" y="1334"/>
                      <a:pt x="216" y="1296"/>
                    </a:cubicBezTo>
                    <a:cubicBezTo>
                      <a:pt x="202" y="1282"/>
                      <a:pt x="187" y="1270"/>
                      <a:pt x="174" y="1252"/>
                    </a:cubicBezTo>
                    <a:cubicBezTo>
                      <a:pt x="169" y="1244"/>
                      <a:pt x="165" y="1234"/>
                      <a:pt x="159" y="1225"/>
                    </a:cubicBezTo>
                    <a:cubicBezTo>
                      <a:pt x="147" y="1209"/>
                      <a:pt x="133" y="1193"/>
                      <a:pt x="123" y="1177"/>
                    </a:cubicBezTo>
                    <a:cubicBezTo>
                      <a:pt x="60" y="1083"/>
                      <a:pt x="16" y="977"/>
                      <a:pt x="6" y="830"/>
                    </a:cubicBezTo>
                    <a:cubicBezTo>
                      <a:pt x="5" y="816"/>
                      <a:pt x="0" y="804"/>
                      <a:pt x="0" y="791"/>
                    </a:cubicBezTo>
                    <a:cubicBezTo>
                      <a:pt x="0" y="782"/>
                      <a:pt x="4" y="772"/>
                      <a:pt x="5" y="762"/>
                    </a:cubicBezTo>
                    <a:cubicBezTo>
                      <a:pt x="11" y="698"/>
                      <a:pt x="14" y="634"/>
                      <a:pt x="27" y="577"/>
                    </a:cubicBezTo>
                    <a:cubicBezTo>
                      <a:pt x="29" y="567"/>
                      <a:pt x="29" y="558"/>
                      <a:pt x="31" y="549"/>
                    </a:cubicBezTo>
                    <a:cubicBezTo>
                      <a:pt x="34" y="539"/>
                      <a:pt x="40" y="529"/>
                      <a:pt x="43" y="519"/>
                    </a:cubicBezTo>
                    <a:cubicBezTo>
                      <a:pt x="65" y="448"/>
                      <a:pt x="100" y="386"/>
                      <a:pt x="137" y="330"/>
                    </a:cubicBezTo>
                    <a:cubicBezTo>
                      <a:pt x="170" y="280"/>
                      <a:pt x="209" y="240"/>
                      <a:pt x="252" y="202"/>
                    </a:cubicBezTo>
                    <a:cubicBezTo>
                      <a:pt x="266" y="190"/>
                      <a:pt x="282" y="179"/>
                      <a:pt x="296" y="166"/>
                    </a:cubicBezTo>
                    <a:cubicBezTo>
                      <a:pt x="303" y="159"/>
                      <a:pt x="307" y="151"/>
                      <a:pt x="315" y="145"/>
                    </a:cubicBezTo>
                    <a:cubicBezTo>
                      <a:pt x="323" y="139"/>
                      <a:pt x="332" y="137"/>
                      <a:pt x="341" y="132"/>
                    </a:cubicBezTo>
                    <a:cubicBezTo>
                      <a:pt x="354" y="124"/>
                      <a:pt x="367" y="114"/>
                      <a:pt x="380" y="106"/>
                    </a:cubicBezTo>
                    <a:cubicBezTo>
                      <a:pt x="419" y="82"/>
                      <a:pt x="466" y="61"/>
                      <a:pt x="514" y="46"/>
                    </a:cubicBezTo>
                    <a:cubicBezTo>
                      <a:pt x="531" y="40"/>
                      <a:pt x="546" y="33"/>
                      <a:pt x="563" y="29"/>
                    </a:cubicBezTo>
                    <a:cubicBezTo>
                      <a:pt x="605" y="19"/>
                      <a:pt x="652" y="8"/>
                      <a:pt x="702" y="5"/>
                    </a:cubicBezTo>
                    <a:cubicBezTo>
                      <a:pt x="711" y="5"/>
                      <a:pt x="721" y="5"/>
                      <a:pt x="731" y="3"/>
                    </a:cubicBezTo>
                    <a:cubicBezTo>
                      <a:pt x="741" y="1"/>
                      <a:pt x="752" y="5"/>
                      <a:pt x="760" y="11"/>
                    </a:cubicBezTo>
                    <a:close/>
                    <a:moveTo>
                      <a:pt x="765" y="11"/>
                    </a:moveTo>
                    <a:cubicBezTo>
                      <a:pt x="767" y="11"/>
                      <a:pt x="769" y="11"/>
                      <a:pt x="770" y="9"/>
                    </a:cubicBezTo>
                    <a:cubicBezTo>
                      <a:pt x="768" y="9"/>
                      <a:pt x="769" y="6"/>
                      <a:pt x="767" y="5"/>
                    </a:cubicBezTo>
                    <a:cubicBezTo>
                      <a:pt x="766" y="7"/>
                      <a:pt x="764" y="8"/>
                      <a:pt x="765" y="11"/>
                    </a:cubicBezTo>
                    <a:close/>
                    <a:moveTo>
                      <a:pt x="737" y="6"/>
                    </a:moveTo>
                    <a:cubicBezTo>
                      <a:pt x="736" y="6"/>
                      <a:pt x="735" y="6"/>
                      <a:pt x="735" y="7"/>
                    </a:cubicBezTo>
                    <a:cubicBezTo>
                      <a:pt x="736" y="7"/>
                      <a:pt x="737" y="7"/>
                      <a:pt x="737" y="6"/>
                    </a:cubicBezTo>
                    <a:close/>
                    <a:moveTo>
                      <a:pt x="800" y="6"/>
                    </a:moveTo>
                    <a:cubicBezTo>
                      <a:pt x="790" y="5"/>
                      <a:pt x="794" y="9"/>
                      <a:pt x="800" y="6"/>
                    </a:cubicBezTo>
                    <a:close/>
                    <a:moveTo>
                      <a:pt x="744" y="7"/>
                    </a:moveTo>
                    <a:cubicBezTo>
                      <a:pt x="742" y="8"/>
                      <a:pt x="738" y="6"/>
                      <a:pt x="738" y="8"/>
                    </a:cubicBezTo>
                    <a:cubicBezTo>
                      <a:pt x="740" y="8"/>
                      <a:pt x="744" y="9"/>
                      <a:pt x="744" y="7"/>
                    </a:cubicBezTo>
                    <a:close/>
                    <a:moveTo>
                      <a:pt x="792" y="7"/>
                    </a:moveTo>
                    <a:cubicBezTo>
                      <a:pt x="790" y="8"/>
                      <a:pt x="785" y="6"/>
                      <a:pt x="785" y="8"/>
                    </a:cubicBezTo>
                    <a:cubicBezTo>
                      <a:pt x="787" y="8"/>
                      <a:pt x="791" y="9"/>
                      <a:pt x="792" y="7"/>
                    </a:cubicBezTo>
                    <a:close/>
                    <a:moveTo>
                      <a:pt x="727" y="8"/>
                    </a:moveTo>
                    <a:cubicBezTo>
                      <a:pt x="726" y="8"/>
                      <a:pt x="725" y="8"/>
                      <a:pt x="725" y="9"/>
                    </a:cubicBezTo>
                    <a:cubicBezTo>
                      <a:pt x="726" y="9"/>
                      <a:pt x="727" y="9"/>
                      <a:pt x="727" y="8"/>
                    </a:cubicBezTo>
                    <a:close/>
                    <a:moveTo>
                      <a:pt x="747" y="8"/>
                    </a:moveTo>
                    <a:cubicBezTo>
                      <a:pt x="746" y="8"/>
                      <a:pt x="745" y="8"/>
                      <a:pt x="745" y="9"/>
                    </a:cubicBezTo>
                    <a:cubicBezTo>
                      <a:pt x="745" y="9"/>
                      <a:pt x="747" y="9"/>
                      <a:pt x="747" y="8"/>
                    </a:cubicBezTo>
                    <a:close/>
                    <a:moveTo>
                      <a:pt x="784" y="8"/>
                    </a:moveTo>
                    <a:cubicBezTo>
                      <a:pt x="783" y="8"/>
                      <a:pt x="781" y="8"/>
                      <a:pt x="781" y="9"/>
                    </a:cubicBezTo>
                    <a:cubicBezTo>
                      <a:pt x="782" y="9"/>
                      <a:pt x="784" y="9"/>
                      <a:pt x="784" y="8"/>
                    </a:cubicBezTo>
                    <a:close/>
                    <a:moveTo>
                      <a:pt x="748" y="10"/>
                    </a:moveTo>
                    <a:cubicBezTo>
                      <a:pt x="747" y="10"/>
                      <a:pt x="748" y="11"/>
                      <a:pt x="748" y="10"/>
                    </a:cubicBezTo>
                    <a:close/>
                    <a:moveTo>
                      <a:pt x="778" y="10"/>
                    </a:moveTo>
                    <a:cubicBezTo>
                      <a:pt x="778" y="10"/>
                      <a:pt x="779" y="11"/>
                      <a:pt x="778" y="10"/>
                    </a:cubicBezTo>
                    <a:close/>
                    <a:moveTo>
                      <a:pt x="688" y="10"/>
                    </a:moveTo>
                    <a:cubicBezTo>
                      <a:pt x="686" y="11"/>
                      <a:pt x="682" y="9"/>
                      <a:pt x="682" y="11"/>
                    </a:cubicBezTo>
                    <a:cubicBezTo>
                      <a:pt x="684" y="10"/>
                      <a:pt x="688" y="12"/>
                      <a:pt x="688" y="10"/>
                    </a:cubicBezTo>
                    <a:close/>
                    <a:moveTo>
                      <a:pt x="841" y="11"/>
                    </a:moveTo>
                    <a:cubicBezTo>
                      <a:pt x="836" y="10"/>
                      <a:pt x="840" y="14"/>
                      <a:pt x="841" y="11"/>
                    </a:cubicBezTo>
                    <a:close/>
                    <a:moveTo>
                      <a:pt x="857" y="12"/>
                    </a:moveTo>
                    <a:cubicBezTo>
                      <a:pt x="856" y="12"/>
                      <a:pt x="854" y="12"/>
                      <a:pt x="854" y="13"/>
                    </a:cubicBezTo>
                    <a:cubicBezTo>
                      <a:pt x="855" y="13"/>
                      <a:pt x="857" y="13"/>
                      <a:pt x="857" y="12"/>
                    </a:cubicBezTo>
                    <a:close/>
                    <a:moveTo>
                      <a:pt x="688" y="16"/>
                    </a:moveTo>
                    <a:cubicBezTo>
                      <a:pt x="680" y="15"/>
                      <a:pt x="684" y="19"/>
                      <a:pt x="688" y="16"/>
                    </a:cubicBezTo>
                    <a:close/>
                    <a:moveTo>
                      <a:pt x="678" y="17"/>
                    </a:moveTo>
                    <a:cubicBezTo>
                      <a:pt x="676" y="17"/>
                      <a:pt x="671" y="16"/>
                      <a:pt x="671" y="18"/>
                    </a:cubicBezTo>
                    <a:cubicBezTo>
                      <a:pt x="673" y="17"/>
                      <a:pt x="677" y="19"/>
                      <a:pt x="678" y="17"/>
                    </a:cubicBezTo>
                    <a:close/>
                    <a:moveTo>
                      <a:pt x="842" y="17"/>
                    </a:moveTo>
                    <a:cubicBezTo>
                      <a:pt x="836" y="16"/>
                      <a:pt x="840" y="20"/>
                      <a:pt x="842" y="17"/>
                    </a:cubicBezTo>
                    <a:close/>
                    <a:moveTo>
                      <a:pt x="664" y="19"/>
                    </a:moveTo>
                    <a:cubicBezTo>
                      <a:pt x="674" y="17"/>
                      <a:pt x="664" y="18"/>
                      <a:pt x="658" y="19"/>
                    </a:cubicBezTo>
                    <a:cubicBezTo>
                      <a:pt x="655" y="19"/>
                      <a:pt x="652" y="18"/>
                      <a:pt x="651" y="21"/>
                    </a:cubicBezTo>
                    <a:cubicBezTo>
                      <a:pt x="656" y="20"/>
                      <a:pt x="660" y="19"/>
                      <a:pt x="664" y="19"/>
                    </a:cubicBezTo>
                    <a:close/>
                    <a:moveTo>
                      <a:pt x="700" y="19"/>
                    </a:moveTo>
                    <a:cubicBezTo>
                      <a:pt x="699" y="18"/>
                      <a:pt x="700" y="19"/>
                      <a:pt x="700" y="19"/>
                    </a:cubicBezTo>
                    <a:close/>
                    <a:moveTo>
                      <a:pt x="698" y="81"/>
                    </a:moveTo>
                    <a:cubicBezTo>
                      <a:pt x="716" y="81"/>
                      <a:pt x="734" y="81"/>
                      <a:pt x="751" y="81"/>
                    </a:cubicBezTo>
                    <a:cubicBezTo>
                      <a:pt x="753" y="60"/>
                      <a:pt x="757" y="36"/>
                      <a:pt x="759" y="18"/>
                    </a:cubicBezTo>
                    <a:cubicBezTo>
                      <a:pt x="733" y="34"/>
                      <a:pt x="714" y="56"/>
                      <a:pt x="698" y="81"/>
                    </a:cubicBezTo>
                    <a:close/>
                    <a:moveTo>
                      <a:pt x="852" y="19"/>
                    </a:moveTo>
                    <a:cubicBezTo>
                      <a:pt x="852" y="19"/>
                      <a:pt x="852" y="19"/>
                      <a:pt x="852" y="20"/>
                    </a:cubicBezTo>
                    <a:cubicBezTo>
                      <a:pt x="870" y="21"/>
                      <a:pt x="885" y="24"/>
                      <a:pt x="901" y="26"/>
                    </a:cubicBezTo>
                    <a:moveTo>
                      <a:pt x="901" y="26"/>
                    </a:moveTo>
                    <a:cubicBezTo>
                      <a:pt x="902" y="29"/>
                      <a:pt x="906" y="25"/>
                      <a:pt x="901" y="26"/>
                    </a:cubicBezTo>
                    <a:moveTo>
                      <a:pt x="901" y="26"/>
                    </a:moveTo>
                    <a:cubicBezTo>
                      <a:pt x="901" y="26"/>
                      <a:pt x="901" y="26"/>
                      <a:pt x="901" y="25"/>
                    </a:cubicBezTo>
                    <a:cubicBezTo>
                      <a:pt x="887" y="21"/>
                      <a:pt x="870" y="20"/>
                      <a:pt x="852" y="19"/>
                    </a:cubicBezTo>
                    <a:moveTo>
                      <a:pt x="852" y="19"/>
                    </a:moveTo>
                    <a:cubicBezTo>
                      <a:pt x="846" y="16"/>
                      <a:pt x="842" y="20"/>
                      <a:pt x="852" y="19"/>
                    </a:cubicBezTo>
                    <a:moveTo>
                      <a:pt x="693" y="19"/>
                    </a:moveTo>
                    <a:cubicBezTo>
                      <a:pt x="683" y="17"/>
                      <a:pt x="687" y="22"/>
                      <a:pt x="693" y="19"/>
                    </a:cubicBezTo>
                    <a:close/>
                    <a:moveTo>
                      <a:pt x="751" y="20"/>
                    </a:moveTo>
                    <a:cubicBezTo>
                      <a:pt x="751" y="19"/>
                      <a:pt x="752" y="20"/>
                      <a:pt x="751" y="20"/>
                    </a:cubicBezTo>
                    <a:close/>
                    <a:moveTo>
                      <a:pt x="754" y="81"/>
                    </a:moveTo>
                    <a:cubicBezTo>
                      <a:pt x="762" y="81"/>
                      <a:pt x="770" y="81"/>
                      <a:pt x="778" y="81"/>
                    </a:cubicBezTo>
                    <a:cubicBezTo>
                      <a:pt x="774" y="59"/>
                      <a:pt x="781" y="26"/>
                      <a:pt x="762" y="19"/>
                    </a:cubicBezTo>
                    <a:cubicBezTo>
                      <a:pt x="759" y="39"/>
                      <a:pt x="756" y="59"/>
                      <a:pt x="754" y="81"/>
                    </a:cubicBezTo>
                    <a:close/>
                    <a:moveTo>
                      <a:pt x="826" y="19"/>
                    </a:moveTo>
                    <a:cubicBezTo>
                      <a:pt x="820" y="18"/>
                      <a:pt x="824" y="22"/>
                      <a:pt x="826" y="19"/>
                    </a:cubicBezTo>
                    <a:close/>
                    <a:moveTo>
                      <a:pt x="641" y="21"/>
                    </a:moveTo>
                    <a:cubicBezTo>
                      <a:pt x="619" y="23"/>
                      <a:pt x="596" y="25"/>
                      <a:pt x="580" y="33"/>
                    </a:cubicBezTo>
                    <a:moveTo>
                      <a:pt x="580" y="33"/>
                    </a:moveTo>
                    <a:cubicBezTo>
                      <a:pt x="576" y="32"/>
                      <a:pt x="579" y="36"/>
                      <a:pt x="580" y="33"/>
                    </a:cubicBezTo>
                    <a:moveTo>
                      <a:pt x="580" y="33"/>
                    </a:moveTo>
                    <a:cubicBezTo>
                      <a:pt x="600" y="29"/>
                      <a:pt x="622" y="26"/>
                      <a:pt x="641" y="21"/>
                    </a:cubicBezTo>
                    <a:moveTo>
                      <a:pt x="641" y="21"/>
                    </a:moveTo>
                    <a:cubicBezTo>
                      <a:pt x="646" y="22"/>
                      <a:pt x="642" y="18"/>
                      <a:pt x="641" y="21"/>
                    </a:cubicBezTo>
                    <a:moveTo>
                      <a:pt x="632" y="29"/>
                    </a:moveTo>
                    <a:cubicBezTo>
                      <a:pt x="649" y="25"/>
                      <a:pt x="668" y="24"/>
                      <a:pt x="684" y="20"/>
                    </a:cubicBezTo>
                    <a:cubicBezTo>
                      <a:pt x="666" y="22"/>
                      <a:pt x="644" y="21"/>
                      <a:pt x="632" y="29"/>
                    </a:cubicBezTo>
                    <a:close/>
                    <a:moveTo>
                      <a:pt x="710" y="20"/>
                    </a:moveTo>
                    <a:cubicBezTo>
                      <a:pt x="709" y="20"/>
                      <a:pt x="707" y="19"/>
                      <a:pt x="707" y="21"/>
                    </a:cubicBezTo>
                    <a:cubicBezTo>
                      <a:pt x="708" y="20"/>
                      <a:pt x="710" y="21"/>
                      <a:pt x="710" y="20"/>
                    </a:cubicBezTo>
                    <a:close/>
                    <a:moveTo>
                      <a:pt x="726" y="21"/>
                    </a:moveTo>
                    <a:cubicBezTo>
                      <a:pt x="725" y="20"/>
                      <a:pt x="726" y="21"/>
                      <a:pt x="726" y="21"/>
                    </a:cubicBezTo>
                    <a:close/>
                    <a:moveTo>
                      <a:pt x="739" y="21"/>
                    </a:moveTo>
                    <a:cubicBezTo>
                      <a:pt x="739" y="20"/>
                      <a:pt x="740" y="21"/>
                      <a:pt x="739" y="21"/>
                    </a:cubicBezTo>
                    <a:close/>
                    <a:moveTo>
                      <a:pt x="749" y="21"/>
                    </a:moveTo>
                    <a:cubicBezTo>
                      <a:pt x="725" y="27"/>
                      <a:pt x="705" y="37"/>
                      <a:pt x="686" y="48"/>
                    </a:cubicBezTo>
                    <a:cubicBezTo>
                      <a:pt x="681" y="59"/>
                      <a:pt x="675" y="70"/>
                      <a:pt x="672" y="82"/>
                    </a:cubicBezTo>
                    <a:cubicBezTo>
                      <a:pt x="679" y="82"/>
                      <a:pt x="686" y="82"/>
                      <a:pt x="693" y="82"/>
                    </a:cubicBezTo>
                    <a:cubicBezTo>
                      <a:pt x="709" y="59"/>
                      <a:pt x="727" y="38"/>
                      <a:pt x="749" y="21"/>
                    </a:cubicBezTo>
                    <a:moveTo>
                      <a:pt x="749" y="21"/>
                    </a:moveTo>
                    <a:cubicBezTo>
                      <a:pt x="753" y="22"/>
                      <a:pt x="749" y="18"/>
                      <a:pt x="749" y="21"/>
                    </a:cubicBezTo>
                    <a:moveTo>
                      <a:pt x="793" y="21"/>
                    </a:moveTo>
                    <a:cubicBezTo>
                      <a:pt x="792" y="20"/>
                      <a:pt x="793" y="21"/>
                      <a:pt x="793" y="21"/>
                    </a:cubicBezTo>
                    <a:close/>
                    <a:moveTo>
                      <a:pt x="810" y="20"/>
                    </a:moveTo>
                    <a:cubicBezTo>
                      <a:pt x="809" y="20"/>
                      <a:pt x="808" y="20"/>
                      <a:pt x="808" y="21"/>
                    </a:cubicBezTo>
                    <a:cubicBezTo>
                      <a:pt x="809" y="20"/>
                      <a:pt x="810" y="21"/>
                      <a:pt x="810" y="20"/>
                    </a:cubicBezTo>
                    <a:close/>
                    <a:moveTo>
                      <a:pt x="837" y="21"/>
                    </a:moveTo>
                    <a:cubicBezTo>
                      <a:pt x="837" y="22"/>
                      <a:pt x="839" y="22"/>
                      <a:pt x="839" y="21"/>
                    </a:cubicBezTo>
                    <a:cubicBezTo>
                      <a:pt x="834" y="18"/>
                      <a:pt x="826" y="21"/>
                      <a:pt x="837" y="21"/>
                    </a:cubicBezTo>
                    <a:close/>
                    <a:moveTo>
                      <a:pt x="699" y="22"/>
                    </a:moveTo>
                    <a:cubicBezTo>
                      <a:pt x="667" y="27"/>
                      <a:pt x="629" y="26"/>
                      <a:pt x="610" y="45"/>
                    </a:cubicBezTo>
                    <a:moveTo>
                      <a:pt x="610" y="45"/>
                    </a:moveTo>
                    <a:cubicBezTo>
                      <a:pt x="606" y="44"/>
                      <a:pt x="610" y="47"/>
                      <a:pt x="610" y="45"/>
                    </a:cubicBezTo>
                    <a:moveTo>
                      <a:pt x="699" y="22"/>
                    </a:moveTo>
                    <a:cubicBezTo>
                      <a:pt x="668" y="28"/>
                      <a:pt x="639" y="36"/>
                      <a:pt x="610" y="45"/>
                    </a:cubicBezTo>
                    <a:moveTo>
                      <a:pt x="699" y="22"/>
                    </a:moveTo>
                    <a:cubicBezTo>
                      <a:pt x="703" y="22"/>
                      <a:pt x="699" y="19"/>
                      <a:pt x="699" y="22"/>
                    </a:cubicBezTo>
                    <a:moveTo>
                      <a:pt x="720" y="22"/>
                    </a:moveTo>
                    <a:cubicBezTo>
                      <a:pt x="713" y="23"/>
                      <a:pt x="705" y="22"/>
                      <a:pt x="702" y="26"/>
                    </a:cubicBezTo>
                    <a:cubicBezTo>
                      <a:pt x="708" y="25"/>
                      <a:pt x="714" y="24"/>
                      <a:pt x="720" y="22"/>
                    </a:cubicBezTo>
                    <a:moveTo>
                      <a:pt x="720" y="22"/>
                    </a:moveTo>
                    <a:cubicBezTo>
                      <a:pt x="725" y="23"/>
                      <a:pt x="721" y="19"/>
                      <a:pt x="720" y="22"/>
                    </a:cubicBezTo>
                    <a:moveTo>
                      <a:pt x="690" y="43"/>
                    </a:moveTo>
                    <a:cubicBezTo>
                      <a:pt x="689" y="43"/>
                      <a:pt x="690" y="44"/>
                      <a:pt x="690" y="43"/>
                    </a:cubicBezTo>
                    <a:moveTo>
                      <a:pt x="690" y="43"/>
                    </a:moveTo>
                    <a:cubicBezTo>
                      <a:pt x="705" y="35"/>
                      <a:pt x="721" y="28"/>
                      <a:pt x="737" y="21"/>
                    </a:cubicBezTo>
                    <a:cubicBezTo>
                      <a:pt x="720" y="26"/>
                      <a:pt x="695" y="25"/>
                      <a:pt x="690" y="43"/>
                    </a:cubicBezTo>
                    <a:moveTo>
                      <a:pt x="812" y="81"/>
                    </a:moveTo>
                    <a:cubicBezTo>
                      <a:pt x="830" y="82"/>
                      <a:pt x="849" y="82"/>
                      <a:pt x="867" y="83"/>
                    </a:cubicBezTo>
                    <a:cubicBezTo>
                      <a:pt x="844" y="58"/>
                      <a:pt x="811" y="35"/>
                      <a:pt x="774" y="21"/>
                    </a:cubicBezTo>
                    <a:cubicBezTo>
                      <a:pt x="788" y="40"/>
                      <a:pt x="803" y="58"/>
                      <a:pt x="812" y="81"/>
                    </a:cubicBezTo>
                    <a:close/>
                    <a:moveTo>
                      <a:pt x="852" y="66"/>
                    </a:moveTo>
                    <a:cubicBezTo>
                      <a:pt x="863" y="75"/>
                      <a:pt x="870" y="86"/>
                      <a:pt x="887" y="84"/>
                    </a:cubicBezTo>
                    <a:cubicBezTo>
                      <a:pt x="882" y="71"/>
                      <a:pt x="874" y="61"/>
                      <a:pt x="867" y="49"/>
                    </a:cubicBezTo>
                    <a:cubicBezTo>
                      <a:pt x="840" y="39"/>
                      <a:pt x="812" y="26"/>
                      <a:pt x="783" y="22"/>
                    </a:cubicBezTo>
                    <a:cubicBezTo>
                      <a:pt x="810" y="32"/>
                      <a:pt x="831" y="48"/>
                      <a:pt x="852" y="66"/>
                    </a:cubicBezTo>
                    <a:close/>
                    <a:moveTo>
                      <a:pt x="799" y="22"/>
                    </a:moveTo>
                    <a:cubicBezTo>
                      <a:pt x="821" y="29"/>
                      <a:pt x="844" y="36"/>
                      <a:pt x="863" y="46"/>
                    </a:cubicBezTo>
                    <a:cubicBezTo>
                      <a:pt x="854" y="26"/>
                      <a:pt x="823" y="27"/>
                      <a:pt x="799" y="22"/>
                    </a:cubicBezTo>
                    <a:moveTo>
                      <a:pt x="799" y="22"/>
                    </a:moveTo>
                    <a:cubicBezTo>
                      <a:pt x="797" y="19"/>
                      <a:pt x="793" y="23"/>
                      <a:pt x="799" y="22"/>
                    </a:cubicBezTo>
                    <a:moveTo>
                      <a:pt x="817" y="21"/>
                    </a:moveTo>
                    <a:cubicBezTo>
                      <a:pt x="811" y="19"/>
                      <a:pt x="815" y="24"/>
                      <a:pt x="817" y="21"/>
                    </a:cubicBezTo>
                    <a:close/>
                    <a:moveTo>
                      <a:pt x="928" y="41"/>
                    </a:moveTo>
                    <a:cubicBezTo>
                      <a:pt x="928" y="44"/>
                      <a:pt x="932" y="40"/>
                      <a:pt x="928" y="41"/>
                    </a:cubicBezTo>
                    <a:moveTo>
                      <a:pt x="928" y="41"/>
                    </a:moveTo>
                    <a:cubicBezTo>
                      <a:pt x="909" y="25"/>
                      <a:pt x="871" y="25"/>
                      <a:pt x="844" y="22"/>
                    </a:cubicBezTo>
                    <a:cubicBezTo>
                      <a:pt x="872" y="28"/>
                      <a:pt x="901" y="33"/>
                      <a:pt x="928" y="41"/>
                    </a:cubicBezTo>
                    <a:moveTo>
                      <a:pt x="901" y="21"/>
                    </a:moveTo>
                    <a:cubicBezTo>
                      <a:pt x="900" y="21"/>
                      <a:pt x="899" y="21"/>
                      <a:pt x="899" y="22"/>
                    </a:cubicBezTo>
                    <a:cubicBezTo>
                      <a:pt x="900" y="21"/>
                      <a:pt x="901" y="22"/>
                      <a:pt x="901" y="21"/>
                    </a:cubicBezTo>
                    <a:close/>
                    <a:moveTo>
                      <a:pt x="847" y="28"/>
                    </a:moveTo>
                    <a:cubicBezTo>
                      <a:pt x="848" y="30"/>
                      <a:pt x="849" y="28"/>
                      <a:pt x="847" y="28"/>
                    </a:cubicBezTo>
                    <a:moveTo>
                      <a:pt x="847" y="28"/>
                    </a:moveTo>
                    <a:cubicBezTo>
                      <a:pt x="842" y="22"/>
                      <a:pt x="827" y="22"/>
                      <a:pt x="818" y="23"/>
                    </a:cubicBezTo>
                    <a:cubicBezTo>
                      <a:pt x="829" y="23"/>
                      <a:pt x="837" y="27"/>
                      <a:pt x="847" y="28"/>
                    </a:cubicBezTo>
                    <a:moveTo>
                      <a:pt x="909" y="22"/>
                    </a:moveTo>
                    <a:cubicBezTo>
                      <a:pt x="904" y="21"/>
                      <a:pt x="908" y="24"/>
                      <a:pt x="909" y="22"/>
                    </a:cubicBezTo>
                    <a:close/>
                    <a:moveTo>
                      <a:pt x="916" y="23"/>
                    </a:moveTo>
                    <a:cubicBezTo>
                      <a:pt x="914" y="23"/>
                      <a:pt x="913" y="22"/>
                      <a:pt x="913" y="23"/>
                    </a:cubicBezTo>
                    <a:cubicBezTo>
                      <a:pt x="914" y="23"/>
                      <a:pt x="915" y="24"/>
                      <a:pt x="916" y="23"/>
                    </a:cubicBezTo>
                    <a:close/>
                    <a:moveTo>
                      <a:pt x="922" y="24"/>
                    </a:moveTo>
                    <a:cubicBezTo>
                      <a:pt x="922" y="25"/>
                      <a:pt x="922" y="25"/>
                      <a:pt x="922" y="25"/>
                    </a:cubicBezTo>
                    <a:cubicBezTo>
                      <a:pt x="927" y="25"/>
                      <a:pt x="928" y="27"/>
                      <a:pt x="932" y="26"/>
                    </a:cubicBezTo>
                    <a:moveTo>
                      <a:pt x="932" y="26"/>
                    </a:moveTo>
                    <a:cubicBezTo>
                      <a:pt x="934" y="29"/>
                      <a:pt x="938" y="25"/>
                      <a:pt x="932" y="26"/>
                    </a:cubicBezTo>
                    <a:moveTo>
                      <a:pt x="932" y="26"/>
                    </a:moveTo>
                    <a:cubicBezTo>
                      <a:pt x="932" y="26"/>
                      <a:pt x="932" y="26"/>
                      <a:pt x="932" y="25"/>
                    </a:cubicBezTo>
                    <a:cubicBezTo>
                      <a:pt x="928" y="26"/>
                      <a:pt x="927" y="24"/>
                      <a:pt x="922" y="24"/>
                    </a:cubicBezTo>
                    <a:moveTo>
                      <a:pt x="922" y="24"/>
                    </a:moveTo>
                    <a:cubicBezTo>
                      <a:pt x="919" y="22"/>
                      <a:pt x="915" y="26"/>
                      <a:pt x="922" y="24"/>
                    </a:cubicBezTo>
                    <a:moveTo>
                      <a:pt x="907" y="25"/>
                    </a:moveTo>
                    <a:cubicBezTo>
                      <a:pt x="907" y="26"/>
                      <a:pt x="907" y="26"/>
                      <a:pt x="907" y="26"/>
                    </a:cubicBezTo>
                    <a:cubicBezTo>
                      <a:pt x="934" y="34"/>
                      <a:pt x="965" y="42"/>
                      <a:pt x="990" y="47"/>
                    </a:cubicBezTo>
                    <a:cubicBezTo>
                      <a:pt x="967" y="36"/>
                      <a:pt x="938" y="29"/>
                      <a:pt x="907" y="25"/>
                    </a:cubicBezTo>
                    <a:moveTo>
                      <a:pt x="907" y="25"/>
                    </a:moveTo>
                    <a:cubicBezTo>
                      <a:pt x="907" y="23"/>
                      <a:pt x="903" y="26"/>
                      <a:pt x="907" y="25"/>
                    </a:cubicBezTo>
                    <a:moveTo>
                      <a:pt x="602" y="50"/>
                    </a:moveTo>
                    <a:cubicBezTo>
                      <a:pt x="598" y="55"/>
                      <a:pt x="592" y="59"/>
                      <a:pt x="587" y="64"/>
                    </a:cubicBezTo>
                    <a:cubicBezTo>
                      <a:pt x="583" y="68"/>
                      <a:pt x="576" y="75"/>
                      <a:pt x="577" y="78"/>
                    </a:cubicBezTo>
                    <a:cubicBezTo>
                      <a:pt x="587" y="77"/>
                      <a:pt x="597" y="71"/>
                      <a:pt x="606" y="66"/>
                    </a:cubicBezTo>
                    <a:cubicBezTo>
                      <a:pt x="631" y="53"/>
                      <a:pt x="656" y="41"/>
                      <a:pt x="683" y="32"/>
                    </a:cubicBezTo>
                    <a:cubicBezTo>
                      <a:pt x="687" y="31"/>
                      <a:pt x="696" y="31"/>
                      <a:pt x="695" y="25"/>
                    </a:cubicBezTo>
                    <a:cubicBezTo>
                      <a:pt x="662" y="32"/>
                      <a:pt x="632" y="41"/>
                      <a:pt x="602" y="50"/>
                    </a:cubicBezTo>
                    <a:close/>
                    <a:moveTo>
                      <a:pt x="530" y="58"/>
                    </a:moveTo>
                    <a:cubicBezTo>
                      <a:pt x="526" y="57"/>
                      <a:pt x="529" y="61"/>
                      <a:pt x="530" y="58"/>
                    </a:cubicBezTo>
                    <a:moveTo>
                      <a:pt x="530" y="58"/>
                    </a:moveTo>
                    <a:cubicBezTo>
                      <a:pt x="546" y="53"/>
                      <a:pt x="563" y="47"/>
                      <a:pt x="581" y="42"/>
                    </a:cubicBezTo>
                    <a:cubicBezTo>
                      <a:pt x="598" y="37"/>
                      <a:pt x="617" y="35"/>
                      <a:pt x="631" y="26"/>
                    </a:cubicBezTo>
                    <a:cubicBezTo>
                      <a:pt x="593" y="33"/>
                      <a:pt x="554" y="38"/>
                      <a:pt x="530" y="58"/>
                    </a:cubicBezTo>
                    <a:moveTo>
                      <a:pt x="969" y="73"/>
                    </a:moveTo>
                    <a:cubicBezTo>
                      <a:pt x="947" y="41"/>
                      <a:pt x="895" y="34"/>
                      <a:pt x="850" y="27"/>
                    </a:cubicBezTo>
                    <a:cubicBezTo>
                      <a:pt x="890" y="42"/>
                      <a:pt x="933" y="54"/>
                      <a:pt x="969" y="73"/>
                    </a:cubicBezTo>
                    <a:close/>
                    <a:moveTo>
                      <a:pt x="939" y="27"/>
                    </a:moveTo>
                    <a:cubicBezTo>
                      <a:pt x="938" y="28"/>
                      <a:pt x="937" y="27"/>
                      <a:pt x="937" y="28"/>
                    </a:cubicBezTo>
                    <a:cubicBezTo>
                      <a:pt x="937" y="28"/>
                      <a:pt x="939" y="28"/>
                      <a:pt x="939" y="27"/>
                    </a:cubicBezTo>
                    <a:close/>
                    <a:moveTo>
                      <a:pt x="574" y="32"/>
                    </a:moveTo>
                    <a:cubicBezTo>
                      <a:pt x="574" y="33"/>
                      <a:pt x="573" y="32"/>
                      <a:pt x="574" y="32"/>
                    </a:cubicBezTo>
                    <a:close/>
                    <a:moveTo>
                      <a:pt x="781" y="81"/>
                    </a:moveTo>
                    <a:cubicBezTo>
                      <a:pt x="790" y="80"/>
                      <a:pt x="801" y="82"/>
                      <a:pt x="808" y="80"/>
                    </a:cubicBezTo>
                    <a:cubicBezTo>
                      <a:pt x="798" y="63"/>
                      <a:pt x="789" y="45"/>
                      <a:pt x="776" y="31"/>
                    </a:cubicBezTo>
                    <a:cubicBezTo>
                      <a:pt x="778" y="48"/>
                      <a:pt x="779" y="65"/>
                      <a:pt x="781" y="81"/>
                    </a:cubicBezTo>
                    <a:close/>
                    <a:moveTo>
                      <a:pt x="526" y="47"/>
                    </a:moveTo>
                    <a:cubicBezTo>
                      <a:pt x="524" y="48"/>
                      <a:pt x="526" y="49"/>
                      <a:pt x="526" y="47"/>
                    </a:cubicBezTo>
                    <a:moveTo>
                      <a:pt x="526" y="47"/>
                    </a:moveTo>
                    <a:cubicBezTo>
                      <a:pt x="543" y="43"/>
                      <a:pt x="560" y="40"/>
                      <a:pt x="573" y="32"/>
                    </a:cubicBezTo>
                    <a:cubicBezTo>
                      <a:pt x="557" y="37"/>
                      <a:pt x="537" y="38"/>
                      <a:pt x="526" y="47"/>
                    </a:cubicBezTo>
                    <a:moveTo>
                      <a:pt x="963" y="32"/>
                    </a:moveTo>
                    <a:cubicBezTo>
                      <a:pt x="962" y="32"/>
                      <a:pt x="961" y="32"/>
                      <a:pt x="961" y="33"/>
                    </a:cubicBezTo>
                    <a:cubicBezTo>
                      <a:pt x="961" y="33"/>
                      <a:pt x="963" y="33"/>
                      <a:pt x="963" y="32"/>
                    </a:cubicBezTo>
                    <a:close/>
                    <a:moveTo>
                      <a:pt x="585" y="80"/>
                    </a:moveTo>
                    <a:cubicBezTo>
                      <a:pt x="601" y="82"/>
                      <a:pt x="616" y="87"/>
                      <a:pt x="632" y="84"/>
                    </a:cubicBezTo>
                    <a:cubicBezTo>
                      <a:pt x="648" y="70"/>
                      <a:pt x="665" y="58"/>
                      <a:pt x="683" y="47"/>
                    </a:cubicBezTo>
                    <a:cubicBezTo>
                      <a:pt x="683" y="42"/>
                      <a:pt x="693" y="36"/>
                      <a:pt x="689" y="33"/>
                    </a:cubicBezTo>
                    <a:cubicBezTo>
                      <a:pt x="652" y="46"/>
                      <a:pt x="617" y="61"/>
                      <a:pt x="585" y="80"/>
                    </a:cubicBezTo>
                    <a:close/>
                    <a:moveTo>
                      <a:pt x="966" y="34"/>
                    </a:moveTo>
                    <a:cubicBezTo>
                      <a:pt x="968" y="37"/>
                      <a:pt x="972" y="33"/>
                      <a:pt x="966" y="34"/>
                    </a:cubicBezTo>
                    <a:moveTo>
                      <a:pt x="966" y="34"/>
                    </a:moveTo>
                    <a:cubicBezTo>
                      <a:pt x="965" y="31"/>
                      <a:pt x="961" y="35"/>
                      <a:pt x="966" y="34"/>
                    </a:cubicBezTo>
                    <a:moveTo>
                      <a:pt x="575" y="35"/>
                    </a:moveTo>
                    <a:cubicBezTo>
                      <a:pt x="574" y="35"/>
                      <a:pt x="575" y="36"/>
                      <a:pt x="575" y="35"/>
                    </a:cubicBezTo>
                    <a:close/>
                    <a:moveTo>
                      <a:pt x="859" y="35"/>
                    </a:moveTo>
                    <a:cubicBezTo>
                      <a:pt x="861" y="40"/>
                      <a:pt x="866" y="43"/>
                      <a:pt x="869" y="48"/>
                    </a:cubicBezTo>
                    <a:cubicBezTo>
                      <a:pt x="878" y="53"/>
                      <a:pt x="889" y="57"/>
                      <a:pt x="900" y="64"/>
                    </a:cubicBezTo>
                    <a:cubicBezTo>
                      <a:pt x="909" y="69"/>
                      <a:pt x="921" y="80"/>
                      <a:pt x="930" y="81"/>
                    </a:cubicBezTo>
                    <a:cubicBezTo>
                      <a:pt x="940" y="82"/>
                      <a:pt x="953" y="76"/>
                      <a:pt x="965" y="73"/>
                    </a:cubicBezTo>
                    <a:cubicBezTo>
                      <a:pt x="931" y="59"/>
                      <a:pt x="898" y="44"/>
                      <a:pt x="859" y="35"/>
                    </a:cubicBezTo>
                    <a:moveTo>
                      <a:pt x="859" y="35"/>
                    </a:moveTo>
                    <a:cubicBezTo>
                      <a:pt x="858" y="34"/>
                      <a:pt x="858" y="35"/>
                      <a:pt x="859" y="35"/>
                    </a:cubicBezTo>
                    <a:moveTo>
                      <a:pt x="993" y="63"/>
                    </a:moveTo>
                    <a:cubicBezTo>
                      <a:pt x="997" y="61"/>
                      <a:pt x="1000" y="59"/>
                      <a:pt x="1001" y="55"/>
                    </a:cubicBezTo>
                    <a:cubicBezTo>
                      <a:pt x="977" y="47"/>
                      <a:pt x="949" y="38"/>
                      <a:pt x="924" y="35"/>
                    </a:cubicBezTo>
                    <a:cubicBezTo>
                      <a:pt x="943" y="48"/>
                      <a:pt x="970" y="54"/>
                      <a:pt x="993" y="63"/>
                    </a:cubicBezTo>
                    <a:close/>
                    <a:moveTo>
                      <a:pt x="973" y="35"/>
                    </a:moveTo>
                    <a:cubicBezTo>
                      <a:pt x="972" y="35"/>
                      <a:pt x="970" y="35"/>
                      <a:pt x="970" y="36"/>
                    </a:cubicBezTo>
                    <a:cubicBezTo>
                      <a:pt x="971" y="36"/>
                      <a:pt x="973" y="36"/>
                      <a:pt x="973" y="35"/>
                    </a:cubicBezTo>
                    <a:close/>
                    <a:moveTo>
                      <a:pt x="530" y="61"/>
                    </a:moveTo>
                    <a:cubicBezTo>
                      <a:pt x="542" y="76"/>
                      <a:pt x="556" y="66"/>
                      <a:pt x="573" y="59"/>
                    </a:cubicBezTo>
                    <a:cubicBezTo>
                      <a:pt x="588" y="53"/>
                      <a:pt x="599" y="49"/>
                      <a:pt x="608" y="42"/>
                    </a:cubicBezTo>
                    <a:cubicBezTo>
                      <a:pt x="611" y="39"/>
                      <a:pt x="617" y="37"/>
                      <a:pt x="614" y="36"/>
                    </a:cubicBezTo>
                    <a:cubicBezTo>
                      <a:pt x="585" y="43"/>
                      <a:pt x="557" y="52"/>
                      <a:pt x="530" y="61"/>
                    </a:cubicBezTo>
                    <a:close/>
                    <a:moveTo>
                      <a:pt x="976" y="36"/>
                    </a:moveTo>
                    <a:cubicBezTo>
                      <a:pt x="975" y="36"/>
                      <a:pt x="974" y="36"/>
                      <a:pt x="974" y="37"/>
                    </a:cubicBezTo>
                    <a:cubicBezTo>
                      <a:pt x="975" y="37"/>
                      <a:pt x="976" y="37"/>
                      <a:pt x="976" y="36"/>
                    </a:cubicBezTo>
                    <a:close/>
                    <a:moveTo>
                      <a:pt x="978" y="38"/>
                    </a:moveTo>
                    <a:cubicBezTo>
                      <a:pt x="978" y="37"/>
                      <a:pt x="979" y="39"/>
                      <a:pt x="978" y="38"/>
                    </a:cubicBezTo>
                    <a:close/>
                    <a:moveTo>
                      <a:pt x="982" y="39"/>
                    </a:moveTo>
                    <a:cubicBezTo>
                      <a:pt x="981" y="38"/>
                      <a:pt x="982" y="39"/>
                      <a:pt x="982" y="39"/>
                    </a:cubicBezTo>
                    <a:close/>
                    <a:moveTo>
                      <a:pt x="931" y="43"/>
                    </a:moveTo>
                    <a:cubicBezTo>
                      <a:pt x="931" y="42"/>
                      <a:pt x="932" y="43"/>
                      <a:pt x="931" y="43"/>
                    </a:cubicBezTo>
                    <a:close/>
                    <a:moveTo>
                      <a:pt x="985" y="43"/>
                    </a:moveTo>
                    <a:cubicBezTo>
                      <a:pt x="984" y="42"/>
                      <a:pt x="985" y="43"/>
                      <a:pt x="985" y="43"/>
                    </a:cubicBezTo>
                    <a:close/>
                    <a:moveTo>
                      <a:pt x="1000" y="48"/>
                    </a:moveTo>
                    <a:cubicBezTo>
                      <a:pt x="997" y="46"/>
                      <a:pt x="991" y="42"/>
                      <a:pt x="987" y="44"/>
                    </a:cubicBezTo>
                    <a:cubicBezTo>
                      <a:pt x="992" y="44"/>
                      <a:pt x="996" y="50"/>
                      <a:pt x="1000" y="48"/>
                    </a:cubicBezTo>
                    <a:close/>
                    <a:moveTo>
                      <a:pt x="489" y="60"/>
                    </a:moveTo>
                    <a:cubicBezTo>
                      <a:pt x="488" y="60"/>
                      <a:pt x="487" y="60"/>
                      <a:pt x="486" y="61"/>
                    </a:cubicBezTo>
                    <a:moveTo>
                      <a:pt x="486" y="61"/>
                    </a:moveTo>
                    <a:cubicBezTo>
                      <a:pt x="485" y="61"/>
                      <a:pt x="485" y="61"/>
                      <a:pt x="485" y="62"/>
                    </a:cubicBezTo>
                    <a:moveTo>
                      <a:pt x="485" y="62"/>
                    </a:moveTo>
                    <a:cubicBezTo>
                      <a:pt x="481" y="61"/>
                      <a:pt x="484" y="65"/>
                      <a:pt x="485" y="62"/>
                    </a:cubicBezTo>
                    <a:moveTo>
                      <a:pt x="485" y="62"/>
                    </a:moveTo>
                    <a:cubicBezTo>
                      <a:pt x="486" y="62"/>
                      <a:pt x="486" y="62"/>
                      <a:pt x="486" y="61"/>
                    </a:cubicBezTo>
                    <a:moveTo>
                      <a:pt x="486" y="61"/>
                    </a:moveTo>
                    <a:cubicBezTo>
                      <a:pt x="488" y="61"/>
                      <a:pt x="489" y="61"/>
                      <a:pt x="489" y="60"/>
                    </a:cubicBezTo>
                    <a:moveTo>
                      <a:pt x="489" y="60"/>
                    </a:moveTo>
                    <a:cubicBezTo>
                      <a:pt x="500" y="55"/>
                      <a:pt x="516" y="55"/>
                      <a:pt x="523" y="46"/>
                    </a:cubicBezTo>
                    <a:cubicBezTo>
                      <a:pt x="511" y="50"/>
                      <a:pt x="500" y="54"/>
                      <a:pt x="489" y="60"/>
                    </a:cubicBezTo>
                    <a:moveTo>
                      <a:pt x="542" y="47"/>
                    </a:moveTo>
                    <a:cubicBezTo>
                      <a:pt x="535" y="47"/>
                      <a:pt x="530" y="50"/>
                      <a:pt x="523" y="51"/>
                    </a:cubicBezTo>
                    <a:cubicBezTo>
                      <a:pt x="523" y="54"/>
                      <a:pt x="523" y="56"/>
                      <a:pt x="524" y="57"/>
                    </a:cubicBezTo>
                    <a:cubicBezTo>
                      <a:pt x="531" y="55"/>
                      <a:pt x="537" y="50"/>
                      <a:pt x="542" y="47"/>
                    </a:cubicBezTo>
                    <a:moveTo>
                      <a:pt x="542" y="47"/>
                    </a:moveTo>
                    <a:cubicBezTo>
                      <a:pt x="546" y="47"/>
                      <a:pt x="542" y="44"/>
                      <a:pt x="542" y="47"/>
                    </a:cubicBezTo>
                    <a:moveTo>
                      <a:pt x="1113" y="98"/>
                    </a:moveTo>
                    <a:cubicBezTo>
                      <a:pt x="1113" y="99"/>
                      <a:pt x="1115" y="99"/>
                      <a:pt x="1115" y="99"/>
                    </a:cubicBezTo>
                    <a:moveTo>
                      <a:pt x="1115" y="99"/>
                    </a:moveTo>
                    <a:cubicBezTo>
                      <a:pt x="1116" y="101"/>
                      <a:pt x="1116" y="99"/>
                      <a:pt x="1115" y="99"/>
                    </a:cubicBezTo>
                    <a:moveTo>
                      <a:pt x="1115" y="99"/>
                    </a:moveTo>
                    <a:cubicBezTo>
                      <a:pt x="1115" y="98"/>
                      <a:pt x="1114" y="99"/>
                      <a:pt x="1113" y="98"/>
                    </a:cubicBezTo>
                    <a:moveTo>
                      <a:pt x="1113" y="98"/>
                    </a:moveTo>
                    <a:cubicBezTo>
                      <a:pt x="1081" y="77"/>
                      <a:pt x="1043" y="57"/>
                      <a:pt x="1002" y="48"/>
                    </a:cubicBezTo>
                    <a:cubicBezTo>
                      <a:pt x="1008" y="57"/>
                      <a:pt x="1020" y="58"/>
                      <a:pt x="1029" y="62"/>
                    </a:cubicBezTo>
                    <a:cubicBezTo>
                      <a:pt x="1057" y="72"/>
                      <a:pt x="1086" y="86"/>
                      <a:pt x="1113" y="98"/>
                    </a:cubicBezTo>
                    <a:moveTo>
                      <a:pt x="991" y="49"/>
                    </a:moveTo>
                    <a:cubicBezTo>
                      <a:pt x="991" y="49"/>
                      <a:pt x="992" y="50"/>
                      <a:pt x="991" y="49"/>
                    </a:cubicBezTo>
                    <a:close/>
                    <a:moveTo>
                      <a:pt x="948" y="50"/>
                    </a:moveTo>
                    <a:cubicBezTo>
                      <a:pt x="957" y="57"/>
                      <a:pt x="965" y="65"/>
                      <a:pt x="974" y="71"/>
                    </a:cubicBezTo>
                    <a:cubicBezTo>
                      <a:pt x="979" y="69"/>
                      <a:pt x="987" y="69"/>
                      <a:pt x="990" y="64"/>
                    </a:cubicBezTo>
                    <a:cubicBezTo>
                      <a:pt x="975" y="60"/>
                      <a:pt x="963" y="54"/>
                      <a:pt x="948" y="50"/>
                    </a:cubicBezTo>
                    <a:moveTo>
                      <a:pt x="948" y="50"/>
                    </a:moveTo>
                    <a:cubicBezTo>
                      <a:pt x="948" y="49"/>
                      <a:pt x="947" y="50"/>
                      <a:pt x="948" y="50"/>
                    </a:cubicBezTo>
                    <a:moveTo>
                      <a:pt x="399" y="114"/>
                    </a:moveTo>
                    <a:cubicBezTo>
                      <a:pt x="405" y="112"/>
                      <a:pt x="411" y="111"/>
                      <a:pt x="416" y="110"/>
                    </a:cubicBezTo>
                    <a:cubicBezTo>
                      <a:pt x="433" y="101"/>
                      <a:pt x="450" y="91"/>
                      <a:pt x="468" y="83"/>
                    </a:cubicBezTo>
                    <a:cubicBezTo>
                      <a:pt x="486" y="75"/>
                      <a:pt x="506" y="70"/>
                      <a:pt x="522" y="58"/>
                    </a:cubicBezTo>
                    <a:cubicBezTo>
                      <a:pt x="520" y="58"/>
                      <a:pt x="520" y="56"/>
                      <a:pt x="520" y="53"/>
                    </a:cubicBezTo>
                    <a:cubicBezTo>
                      <a:pt x="473" y="66"/>
                      <a:pt x="432" y="86"/>
                      <a:pt x="399" y="114"/>
                    </a:cubicBezTo>
                    <a:close/>
                    <a:moveTo>
                      <a:pt x="593" y="54"/>
                    </a:moveTo>
                    <a:cubicBezTo>
                      <a:pt x="578" y="59"/>
                      <a:pt x="564" y="65"/>
                      <a:pt x="550" y="71"/>
                    </a:cubicBezTo>
                    <a:cubicBezTo>
                      <a:pt x="556" y="74"/>
                      <a:pt x="564" y="75"/>
                      <a:pt x="570" y="77"/>
                    </a:cubicBezTo>
                    <a:cubicBezTo>
                      <a:pt x="579" y="71"/>
                      <a:pt x="585" y="62"/>
                      <a:pt x="593" y="54"/>
                    </a:cubicBezTo>
                    <a:moveTo>
                      <a:pt x="593" y="54"/>
                    </a:moveTo>
                    <a:cubicBezTo>
                      <a:pt x="594" y="54"/>
                      <a:pt x="593" y="53"/>
                      <a:pt x="593" y="54"/>
                    </a:cubicBezTo>
                    <a:moveTo>
                      <a:pt x="637" y="84"/>
                    </a:moveTo>
                    <a:cubicBezTo>
                      <a:pt x="647" y="83"/>
                      <a:pt x="659" y="84"/>
                      <a:pt x="668" y="82"/>
                    </a:cubicBezTo>
                    <a:cubicBezTo>
                      <a:pt x="669" y="72"/>
                      <a:pt x="679" y="60"/>
                      <a:pt x="678" y="53"/>
                    </a:cubicBezTo>
                    <a:cubicBezTo>
                      <a:pt x="664" y="64"/>
                      <a:pt x="649" y="72"/>
                      <a:pt x="637" y="84"/>
                    </a:cubicBezTo>
                    <a:close/>
                    <a:moveTo>
                      <a:pt x="890" y="84"/>
                    </a:moveTo>
                    <a:cubicBezTo>
                      <a:pt x="901" y="85"/>
                      <a:pt x="916" y="86"/>
                      <a:pt x="924" y="81"/>
                    </a:cubicBezTo>
                    <a:cubicBezTo>
                      <a:pt x="907" y="73"/>
                      <a:pt x="890" y="59"/>
                      <a:pt x="872" y="54"/>
                    </a:cubicBezTo>
                    <a:cubicBezTo>
                      <a:pt x="879" y="63"/>
                      <a:pt x="885" y="73"/>
                      <a:pt x="890" y="84"/>
                    </a:cubicBezTo>
                    <a:close/>
                    <a:moveTo>
                      <a:pt x="1063" y="94"/>
                    </a:moveTo>
                    <a:cubicBezTo>
                      <a:pt x="1063" y="94"/>
                      <a:pt x="1063" y="94"/>
                      <a:pt x="1063" y="95"/>
                    </a:cubicBezTo>
                    <a:cubicBezTo>
                      <a:pt x="1064" y="95"/>
                      <a:pt x="1065" y="96"/>
                      <a:pt x="1066" y="95"/>
                    </a:cubicBezTo>
                    <a:moveTo>
                      <a:pt x="1066" y="95"/>
                    </a:moveTo>
                    <a:cubicBezTo>
                      <a:pt x="1067" y="97"/>
                      <a:pt x="1067" y="95"/>
                      <a:pt x="1066" y="95"/>
                    </a:cubicBezTo>
                    <a:moveTo>
                      <a:pt x="1066" y="95"/>
                    </a:moveTo>
                    <a:cubicBezTo>
                      <a:pt x="1066" y="94"/>
                      <a:pt x="1065" y="94"/>
                      <a:pt x="1063" y="94"/>
                    </a:cubicBezTo>
                    <a:moveTo>
                      <a:pt x="1063" y="94"/>
                    </a:moveTo>
                    <a:cubicBezTo>
                      <a:pt x="1046" y="79"/>
                      <a:pt x="1027" y="67"/>
                      <a:pt x="1006" y="56"/>
                    </a:cubicBezTo>
                    <a:cubicBezTo>
                      <a:pt x="1001" y="58"/>
                      <a:pt x="1000" y="63"/>
                      <a:pt x="996" y="65"/>
                    </a:cubicBezTo>
                    <a:cubicBezTo>
                      <a:pt x="1020" y="73"/>
                      <a:pt x="1041" y="84"/>
                      <a:pt x="1063" y="94"/>
                    </a:cubicBezTo>
                    <a:moveTo>
                      <a:pt x="482" y="60"/>
                    </a:moveTo>
                    <a:cubicBezTo>
                      <a:pt x="482" y="61"/>
                      <a:pt x="481" y="60"/>
                      <a:pt x="482" y="60"/>
                    </a:cubicBezTo>
                    <a:close/>
                    <a:moveTo>
                      <a:pt x="526" y="60"/>
                    </a:moveTo>
                    <a:cubicBezTo>
                      <a:pt x="526" y="61"/>
                      <a:pt x="525" y="60"/>
                      <a:pt x="526" y="60"/>
                    </a:cubicBezTo>
                    <a:close/>
                    <a:moveTo>
                      <a:pt x="479" y="61"/>
                    </a:moveTo>
                    <a:cubicBezTo>
                      <a:pt x="478" y="61"/>
                      <a:pt x="477" y="61"/>
                      <a:pt x="477" y="62"/>
                    </a:cubicBezTo>
                    <a:moveTo>
                      <a:pt x="477" y="62"/>
                    </a:moveTo>
                    <a:cubicBezTo>
                      <a:pt x="441" y="76"/>
                      <a:pt x="407" y="92"/>
                      <a:pt x="377" y="112"/>
                    </a:cubicBezTo>
                    <a:moveTo>
                      <a:pt x="377" y="112"/>
                    </a:moveTo>
                    <a:cubicBezTo>
                      <a:pt x="375" y="112"/>
                      <a:pt x="375" y="113"/>
                      <a:pt x="374" y="114"/>
                    </a:cubicBezTo>
                    <a:moveTo>
                      <a:pt x="374" y="114"/>
                    </a:moveTo>
                    <a:cubicBezTo>
                      <a:pt x="373" y="114"/>
                      <a:pt x="372" y="114"/>
                      <a:pt x="372" y="115"/>
                    </a:cubicBezTo>
                    <a:moveTo>
                      <a:pt x="372" y="115"/>
                    </a:moveTo>
                    <a:cubicBezTo>
                      <a:pt x="371" y="115"/>
                      <a:pt x="371" y="115"/>
                      <a:pt x="370" y="116"/>
                    </a:cubicBezTo>
                    <a:moveTo>
                      <a:pt x="370" y="116"/>
                    </a:moveTo>
                    <a:cubicBezTo>
                      <a:pt x="370" y="115"/>
                      <a:pt x="369" y="116"/>
                      <a:pt x="369" y="117"/>
                    </a:cubicBezTo>
                    <a:moveTo>
                      <a:pt x="369" y="117"/>
                    </a:moveTo>
                    <a:cubicBezTo>
                      <a:pt x="368" y="116"/>
                      <a:pt x="368" y="117"/>
                      <a:pt x="367" y="118"/>
                    </a:cubicBezTo>
                    <a:moveTo>
                      <a:pt x="367" y="118"/>
                    </a:moveTo>
                    <a:cubicBezTo>
                      <a:pt x="366" y="118"/>
                      <a:pt x="368" y="119"/>
                      <a:pt x="367" y="118"/>
                    </a:cubicBezTo>
                    <a:moveTo>
                      <a:pt x="367" y="118"/>
                    </a:moveTo>
                    <a:cubicBezTo>
                      <a:pt x="369" y="118"/>
                      <a:pt x="369" y="117"/>
                      <a:pt x="369" y="117"/>
                    </a:cubicBezTo>
                    <a:moveTo>
                      <a:pt x="369" y="117"/>
                    </a:moveTo>
                    <a:cubicBezTo>
                      <a:pt x="370" y="117"/>
                      <a:pt x="370" y="116"/>
                      <a:pt x="370" y="116"/>
                    </a:cubicBezTo>
                    <a:moveTo>
                      <a:pt x="370" y="116"/>
                    </a:moveTo>
                    <a:cubicBezTo>
                      <a:pt x="371" y="116"/>
                      <a:pt x="372" y="115"/>
                      <a:pt x="372" y="115"/>
                    </a:cubicBezTo>
                    <a:moveTo>
                      <a:pt x="372" y="115"/>
                    </a:moveTo>
                    <a:cubicBezTo>
                      <a:pt x="373" y="115"/>
                      <a:pt x="374" y="114"/>
                      <a:pt x="374" y="114"/>
                    </a:cubicBezTo>
                    <a:moveTo>
                      <a:pt x="374" y="114"/>
                    </a:moveTo>
                    <a:cubicBezTo>
                      <a:pt x="376" y="114"/>
                      <a:pt x="377" y="113"/>
                      <a:pt x="377" y="112"/>
                    </a:cubicBezTo>
                    <a:moveTo>
                      <a:pt x="377" y="112"/>
                    </a:moveTo>
                    <a:cubicBezTo>
                      <a:pt x="409" y="94"/>
                      <a:pt x="445" y="80"/>
                      <a:pt x="477" y="62"/>
                    </a:cubicBezTo>
                    <a:moveTo>
                      <a:pt x="477" y="62"/>
                    </a:moveTo>
                    <a:cubicBezTo>
                      <a:pt x="478" y="62"/>
                      <a:pt x="479" y="62"/>
                      <a:pt x="479" y="61"/>
                    </a:cubicBezTo>
                    <a:moveTo>
                      <a:pt x="479" y="61"/>
                    </a:moveTo>
                    <a:cubicBezTo>
                      <a:pt x="483" y="62"/>
                      <a:pt x="479" y="58"/>
                      <a:pt x="479" y="61"/>
                    </a:cubicBezTo>
                    <a:moveTo>
                      <a:pt x="481" y="64"/>
                    </a:moveTo>
                    <a:cubicBezTo>
                      <a:pt x="480" y="63"/>
                      <a:pt x="481" y="64"/>
                      <a:pt x="481" y="64"/>
                    </a:cubicBezTo>
                    <a:close/>
                    <a:moveTo>
                      <a:pt x="524" y="63"/>
                    </a:moveTo>
                    <a:cubicBezTo>
                      <a:pt x="510" y="69"/>
                      <a:pt x="495" y="80"/>
                      <a:pt x="484" y="90"/>
                    </a:cubicBezTo>
                    <a:cubicBezTo>
                      <a:pt x="480" y="92"/>
                      <a:pt x="475" y="96"/>
                      <a:pt x="476" y="99"/>
                    </a:cubicBezTo>
                    <a:cubicBezTo>
                      <a:pt x="504" y="96"/>
                      <a:pt x="519" y="80"/>
                      <a:pt x="542" y="71"/>
                    </a:cubicBezTo>
                    <a:cubicBezTo>
                      <a:pt x="535" y="69"/>
                      <a:pt x="530" y="65"/>
                      <a:pt x="524" y="63"/>
                    </a:cubicBezTo>
                    <a:close/>
                    <a:moveTo>
                      <a:pt x="479" y="65"/>
                    </a:moveTo>
                    <a:cubicBezTo>
                      <a:pt x="478" y="64"/>
                      <a:pt x="479" y="65"/>
                      <a:pt x="479" y="65"/>
                    </a:cubicBezTo>
                    <a:close/>
                    <a:moveTo>
                      <a:pt x="1028" y="65"/>
                    </a:moveTo>
                    <a:cubicBezTo>
                      <a:pt x="1048" y="78"/>
                      <a:pt x="1066" y="92"/>
                      <a:pt x="1086" y="106"/>
                    </a:cubicBezTo>
                    <a:cubicBezTo>
                      <a:pt x="1106" y="107"/>
                      <a:pt x="1124" y="115"/>
                      <a:pt x="1141" y="117"/>
                    </a:cubicBezTo>
                    <a:cubicBezTo>
                      <a:pt x="1105" y="97"/>
                      <a:pt x="1069" y="79"/>
                      <a:pt x="1028" y="65"/>
                    </a:cubicBezTo>
                    <a:moveTo>
                      <a:pt x="1028" y="65"/>
                    </a:moveTo>
                    <a:cubicBezTo>
                      <a:pt x="1028" y="62"/>
                      <a:pt x="1024" y="66"/>
                      <a:pt x="1028" y="65"/>
                    </a:cubicBezTo>
                    <a:moveTo>
                      <a:pt x="993" y="66"/>
                    </a:moveTo>
                    <a:cubicBezTo>
                      <a:pt x="989" y="70"/>
                      <a:pt x="981" y="71"/>
                      <a:pt x="975" y="74"/>
                    </a:cubicBezTo>
                    <a:cubicBezTo>
                      <a:pt x="984" y="83"/>
                      <a:pt x="999" y="87"/>
                      <a:pt x="1009" y="95"/>
                    </a:cubicBezTo>
                    <a:cubicBezTo>
                      <a:pt x="1032" y="95"/>
                      <a:pt x="1054" y="102"/>
                      <a:pt x="1074" y="102"/>
                    </a:cubicBezTo>
                    <a:cubicBezTo>
                      <a:pt x="1048" y="89"/>
                      <a:pt x="1021" y="77"/>
                      <a:pt x="993" y="66"/>
                    </a:cubicBezTo>
                    <a:close/>
                    <a:moveTo>
                      <a:pt x="504" y="71"/>
                    </a:moveTo>
                    <a:cubicBezTo>
                      <a:pt x="503" y="71"/>
                      <a:pt x="504" y="72"/>
                      <a:pt x="504" y="71"/>
                    </a:cubicBezTo>
                    <a:close/>
                    <a:moveTo>
                      <a:pt x="502" y="72"/>
                    </a:moveTo>
                    <a:cubicBezTo>
                      <a:pt x="476" y="83"/>
                      <a:pt x="450" y="93"/>
                      <a:pt x="428" y="107"/>
                    </a:cubicBezTo>
                    <a:moveTo>
                      <a:pt x="428" y="107"/>
                    </a:moveTo>
                    <a:cubicBezTo>
                      <a:pt x="424" y="106"/>
                      <a:pt x="428" y="110"/>
                      <a:pt x="428" y="107"/>
                    </a:cubicBezTo>
                    <a:moveTo>
                      <a:pt x="428" y="107"/>
                    </a:moveTo>
                    <a:cubicBezTo>
                      <a:pt x="442" y="105"/>
                      <a:pt x="455" y="103"/>
                      <a:pt x="468" y="100"/>
                    </a:cubicBezTo>
                    <a:cubicBezTo>
                      <a:pt x="479" y="91"/>
                      <a:pt x="490" y="82"/>
                      <a:pt x="502" y="72"/>
                    </a:cubicBezTo>
                    <a:moveTo>
                      <a:pt x="502" y="72"/>
                    </a:moveTo>
                    <a:cubicBezTo>
                      <a:pt x="503" y="72"/>
                      <a:pt x="502" y="71"/>
                      <a:pt x="502" y="72"/>
                    </a:cubicBezTo>
                    <a:moveTo>
                      <a:pt x="544" y="73"/>
                    </a:moveTo>
                    <a:cubicBezTo>
                      <a:pt x="530" y="79"/>
                      <a:pt x="513" y="89"/>
                      <a:pt x="501" y="95"/>
                    </a:cubicBezTo>
                    <a:cubicBezTo>
                      <a:pt x="522" y="94"/>
                      <a:pt x="540" y="90"/>
                      <a:pt x="561" y="90"/>
                    </a:cubicBezTo>
                    <a:cubicBezTo>
                      <a:pt x="565" y="87"/>
                      <a:pt x="567" y="83"/>
                      <a:pt x="570" y="79"/>
                    </a:cubicBezTo>
                    <a:cubicBezTo>
                      <a:pt x="561" y="81"/>
                      <a:pt x="551" y="71"/>
                      <a:pt x="544" y="73"/>
                    </a:cubicBezTo>
                    <a:close/>
                    <a:moveTo>
                      <a:pt x="933" y="85"/>
                    </a:moveTo>
                    <a:cubicBezTo>
                      <a:pt x="948" y="90"/>
                      <a:pt x="970" y="89"/>
                      <a:pt x="988" y="92"/>
                    </a:cubicBezTo>
                    <a:cubicBezTo>
                      <a:pt x="981" y="71"/>
                      <a:pt x="952" y="78"/>
                      <a:pt x="933" y="85"/>
                    </a:cubicBezTo>
                    <a:close/>
                    <a:moveTo>
                      <a:pt x="569" y="86"/>
                    </a:moveTo>
                    <a:cubicBezTo>
                      <a:pt x="568" y="86"/>
                      <a:pt x="569" y="87"/>
                      <a:pt x="569" y="86"/>
                    </a:cubicBezTo>
                    <a:moveTo>
                      <a:pt x="569" y="86"/>
                    </a:moveTo>
                    <a:cubicBezTo>
                      <a:pt x="572" y="85"/>
                      <a:pt x="575" y="84"/>
                      <a:pt x="577" y="81"/>
                    </a:cubicBezTo>
                    <a:cubicBezTo>
                      <a:pt x="574" y="81"/>
                      <a:pt x="575" y="79"/>
                      <a:pt x="572" y="80"/>
                    </a:cubicBezTo>
                    <a:cubicBezTo>
                      <a:pt x="572" y="84"/>
                      <a:pt x="569" y="82"/>
                      <a:pt x="569" y="86"/>
                    </a:cubicBezTo>
                    <a:moveTo>
                      <a:pt x="573" y="88"/>
                    </a:moveTo>
                    <a:cubicBezTo>
                      <a:pt x="569" y="87"/>
                      <a:pt x="573" y="91"/>
                      <a:pt x="573" y="88"/>
                    </a:cubicBezTo>
                    <a:moveTo>
                      <a:pt x="573" y="88"/>
                    </a:moveTo>
                    <a:cubicBezTo>
                      <a:pt x="583" y="87"/>
                      <a:pt x="594" y="88"/>
                      <a:pt x="602" y="85"/>
                    </a:cubicBezTo>
                    <a:cubicBezTo>
                      <a:pt x="590" y="84"/>
                      <a:pt x="579" y="79"/>
                      <a:pt x="573" y="88"/>
                    </a:cubicBezTo>
                    <a:moveTo>
                      <a:pt x="1092" y="83"/>
                    </a:moveTo>
                    <a:cubicBezTo>
                      <a:pt x="1092" y="83"/>
                      <a:pt x="1093" y="84"/>
                      <a:pt x="1092" y="83"/>
                    </a:cubicBezTo>
                    <a:close/>
                    <a:moveTo>
                      <a:pt x="695" y="84"/>
                    </a:moveTo>
                    <a:cubicBezTo>
                      <a:pt x="694" y="87"/>
                      <a:pt x="692" y="89"/>
                      <a:pt x="690" y="92"/>
                    </a:cubicBezTo>
                    <a:cubicBezTo>
                      <a:pt x="710" y="92"/>
                      <a:pt x="729" y="93"/>
                      <a:pt x="750" y="93"/>
                    </a:cubicBezTo>
                    <a:cubicBezTo>
                      <a:pt x="750" y="88"/>
                      <a:pt x="752" y="87"/>
                      <a:pt x="751" y="83"/>
                    </a:cubicBezTo>
                    <a:cubicBezTo>
                      <a:pt x="732" y="82"/>
                      <a:pt x="715" y="85"/>
                      <a:pt x="695" y="84"/>
                    </a:cubicBezTo>
                    <a:close/>
                    <a:moveTo>
                      <a:pt x="753" y="94"/>
                    </a:moveTo>
                    <a:cubicBezTo>
                      <a:pt x="763" y="94"/>
                      <a:pt x="770" y="92"/>
                      <a:pt x="779" y="93"/>
                    </a:cubicBezTo>
                    <a:cubicBezTo>
                      <a:pt x="780" y="89"/>
                      <a:pt x="778" y="87"/>
                      <a:pt x="778" y="83"/>
                    </a:cubicBezTo>
                    <a:cubicBezTo>
                      <a:pt x="768" y="84"/>
                      <a:pt x="749" y="77"/>
                      <a:pt x="753" y="94"/>
                    </a:cubicBezTo>
                    <a:close/>
                    <a:moveTo>
                      <a:pt x="781" y="93"/>
                    </a:moveTo>
                    <a:cubicBezTo>
                      <a:pt x="792" y="92"/>
                      <a:pt x="805" y="94"/>
                      <a:pt x="814" y="92"/>
                    </a:cubicBezTo>
                    <a:cubicBezTo>
                      <a:pt x="812" y="90"/>
                      <a:pt x="811" y="87"/>
                      <a:pt x="810" y="84"/>
                    </a:cubicBezTo>
                    <a:cubicBezTo>
                      <a:pt x="800" y="84"/>
                      <a:pt x="792" y="82"/>
                      <a:pt x="781" y="83"/>
                    </a:cubicBezTo>
                    <a:cubicBezTo>
                      <a:pt x="781" y="86"/>
                      <a:pt x="781" y="89"/>
                      <a:pt x="781" y="93"/>
                    </a:cubicBezTo>
                    <a:close/>
                    <a:moveTo>
                      <a:pt x="1094" y="84"/>
                    </a:moveTo>
                    <a:cubicBezTo>
                      <a:pt x="1095" y="85"/>
                      <a:pt x="1094" y="84"/>
                      <a:pt x="1094" y="84"/>
                    </a:cubicBezTo>
                    <a:close/>
                    <a:moveTo>
                      <a:pt x="670" y="85"/>
                    </a:moveTo>
                    <a:cubicBezTo>
                      <a:pt x="671" y="88"/>
                      <a:pt x="668" y="87"/>
                      <a:pt x="669" y="90"/>
                    </a:cubicBezTo>
                    <a:cubicBezTo>
                      <a:pt x="675" y="90"/>
                      <a:pt x="681" y="91"/>
                      <a:pt x="688" y="91"/>
                    </a:cubicBezTo>
                    <a:cubicBezTo>
                      <a:pt x="688" y="88"/>
                      <a:pt x="691" y="86"/>
                      <a:pt x="692" y="84"/>
                    </a:cubicBezTo>
                    <a:cubicBezTo>
                      <a:pt x="685" y="84"/>
                      <a:pt x="678" y="85"/>
                      <a:pt x="670" y="85"/>
                    </a:cubicBezTo>
                    <a:close/>
                    <a:moveTo>
                      <a:pt x="818" y="92"/>
                    </a:moveTo>
                    <a:cubicBezTo>
                      <a:pt x="837" y="91"/>
                      <a:pt x="856" y="90"/>
                      <a:pt x="873" y="88"/>
                    </a:cubicBezTo>
                    <a:cubicBezTo>
                      <a:pt x="858" y="83"/>
                      <a:pt x="832" y="84"/>
                      <a:pt x="814" y="85"/>
                    </a:cubicBezTo>
                    <a:cubicBezTo>
                      <a:pt x="816" y="86"/>
                      <a:pt x="816" y="90"/>
                      <a:pt x="818" y="92"/>
                    </a:cubicBezTo>
                    <a:close/>
                    <a:moveTo>
                      <a:pt x="1096" y="85"/>
                    </a:moveTo>
                    <a:cubicBezTo>
                      <a:pt x="1096" y="85"/>
                      <a:pt x="1097" y="86"/>
                      <a:pt x="1096" y="85"/>
                    </a:cubicBezTo>
                    <a:close/>
                    <a:moveTo>
                      <a:pt x="639" y="88"/>
                    </a:moveTo>
                    <a:cubicBezTo>
                      <a:pt x="648" y="88"/>
                      <a:pt x="656" y="89"/>
                      <a:pt x="665" y="90"/>
                    </a:cubicBezTo>
                    <a:cubicBezTo>
                      <a:pt x="664" y="87"/>
                      <a:pt x="666" y="87"/>
                      <a:pt x="666" y="85"/>
                    </a:cubicBezTo>
                    <a:cubicBezTo>
                      <a:pt x="658" y="87"/>
                      <a:pt x="645" y="84"/>
                      <a:pt x="639" y="88"/>
                    </a:cubicBezTo>
                    <a:close/>
                    <a:moveTo>
                      <a:pt x="931" y="86"/>
                    </a:moveTo>
                    <a:cubicBezTo>
                      <a:pt x="930" y="85"/>
                      <a:pt x="923" y="84"/>
                      <a:pt x="922" y="86"/>
                    </a:cubicBezTo>
                    <a:cubicBezTo>
                      <a:pt x="926" y="85"/>
                      <a:pt x="929" y="89"/>
                      <a:pt x="931" y="86"/>
                    </a:cubicBezTo>
                    <a:close/>
                    <a:moveTo>
                      <a:pt x="988" y="86"/>
                    </a:moveTo>
                    <a:cubicBezTo>
                      <a:pt x="988" y="86"/>
                      <a:pt x="988" y="87"/>
                      <a:pt x="988" y="87"/>
                    </a:cubicBezTo>
                    <a:cubicBezTo>
                      <a:pt x="990" y="88"/>
                      <a:pt x="991" y="90"/>
                      <a:pt x="992" y="93"/>
                    </a:cubicBezTo>
                    <a:cubicBezTo>
                      <a:pt x="995" y="93"/>
                      <a:pt x="998" y="93"/>
                      <a:pt x="1000" y="93"/>
                    </a:cubicBezTo>
                    <a:moveTo>
                      <a:pt x="1000" y="93"/>
                    </a:moveTo>
                    <a:cubicBezTo>
                      <a:pt x="1001" y="94"/>
                      <a:pt x="1001" y="93"/>
                      <a:pt x="1000" y="93"/>
                    </a:cubicBezTo>
                    <a:moveTo>
                      <a:pt x="1000" y="93"/>
                    </a:moveTo>
                    <a:cubicBezTo>
                      <a:pt x="996" y="90"/>
                      <a:pt x="993" y="87"/>
                      <a:pt x="988" y="86"/>
                    </a:cubicBezTo>
                    <a:moveTo>
                      <a:pt x="988" y="86"/>
                    </a:moveTo>
                    <a:cubicBezTo>
                      <a:pt x="987" y="84"/>
                      <a:pt x="986" y="86"/>
                      <a:pt x="988" y="86"/>
                    </a:cubicBezTo>
                    <a:moveTo>
                      <a:pt x="1173" y="127"/>
                    </a:moveTo>
                    <a:cubicBezTo>
                      <a:pt x="1173" y="128"/>
                      <a:pt x="1174" y="128"/>
                      <a:pt x="1175" y="128"/>
                    </a:cubicBezTo>
                    <a:moveTo>
                      <a:pt x="1175" y="128"/>
                    </a:moveTo>
                    <a:cubicBezTo>
                      <a:pt x="1175" y="130"/>
                      <a:pt x="1176" y="128"/>
                      <a:pt x="1175" y="128"/>
                    </a:cubicBezTo>
                    <a:moveTo>
                      <a:pt x="1175" y="128"/>
                    </a:moveTo>
                    <a:cubicBezTo>
                      <a:pt x="1175" y="127"/>
                      <a:pt x="1174" y="127"/>
                      <a:pt x="1173" y="127"/>
                    </a:cubicBezTo>
                    <a:moveTo>
                      <a:pt x="1173" y="127"/>
                    </a:moveTo>
                    <a:cubicBezTo>
                      <a:pt x="1150" y="112"/>
                      <a:pt x="1124" y="95"/>
                      <a:pt x="1098" y="86"/>
                    </a:cubicBezTo>
                    <a:cubicBezTo>
                      <a:pt x="1125" y="98"/>
                      <a:pt x="1141" y="120"/>
                      <a:pt x="1173" y="127"/>
                    </a:cubicBezTo>
                    <a:moveTo>
                      <a:pt x="885" y="86"/>
                    </a:moveTo>
                    <a:cubicBezTo>
                      <a:pt x="882" y="86"/>
                      <a:pt x="877" y="85"/>
                      <a:pt x="875" y="87"/>
                    </a:cubicBezTo>
                    <a:cubicBezTo>
                      <a:pt x="877" y="88"/>
                      <a:pt x="885" y="90"/>
                      <a:pt x="885" y="86"/>
                    </a:cubicBezTo>
                    <a:close/>
                    <a:moveTo>
                      <a:pt x="430" y="89"/>
                    </a:moveTo>
                    <a:cubicBezTo>
                      <a:pt x="429" y="88"/>
                      <a:pt x="430" y="89"/>
                      <a:pt x="430" y="89"/>
                    </a:cubicBezTo>
                    <a:close/>
                    <a:moveTo>
                      <a:pt x="564" y="92"/>
                    </a:moveTo>
                    <a:cubicBezTo>
                      <a:pt x="535" y="128"/>
                      <a:pt x="514" y="173"/>
                      <a:pt x="497" y="221"/>
                    </a:cubicBezTo>
                    <a:cubicBezTo>
                      <a:pt x="502" y="220"/>
                      <a:pt x="508" y="220"/>
                      <a:pt x="513" y="219"/>
                    </a:cubicBezTo>
                    <a:cubicBezTo>
                      <a:pt x="545" y="174"/>
                      <a:pt x="578" y="131"/>
                      <a:pt x="619" y="95"/>
                    </a:cubicBezTo>
                    <a:cubicBezTo>
                      <a:pt x="620" y="94"/>
                      <a:pt x="628" y="90"/>
                      <a:pt x="624" y="89"/>
                    </a:cubicBezTo>
                    <a:cubicBezTo>
                      <a:pt x="604" y="86"/>
                      <a:pt x="584" y="91"/>
                      <a:pt x="564" y="92"/>
                    </a:cubicBezTo>
                    <a:close/>
                    <a:moveTo>
                      <a:pt x="1055" y="192"/>
                    </a:moveTo>
                    <a:cubicBezTo>
                      <a:pt x="1019" y="154"/>
                      <a:pt x="980" y="120"/>
                      <a:pt x="937" y="90"/>
                    </a:cubicBezTo>
                    <a:cubicBezTo>
                      <a:pt x="922" y="89"/>
                      <a:pt x="906" y="86"/>
                      <a:pt x="893" y="90"/>
                    </a:cubicBezTo>
                    <a:cubicBezTo>
                      <a:pt x="901" y="111"/>
                      <a:pt x="911" y="126"/>
                      <a:pt x="923" y="142"/>
                    </a:cubicBezTo>
                    <a:cubicBezTo>
                      <a:pt x="942" y="166"/>
                      <a:pt x="959" y="189"/>
                      <a:pt x="973" y="216"/>
                    </a:cubicBezTo>
                    <a:cubicBezTo>
                      <a:pt x="1006" y="219"/>
                      <a:pt x="1038" y="222"/>
                      <a:pt x="1069" y="226"/>
                    </a:cubicBezTo>
                    <a:cubicBezTo>
                      <a:pt x="1065" y="214"/>
                      <a:pt x="1059" y="204"/>
                      <a:pt x="1055" y="192"/>
                    </a:cubicBezTo>
                    <a:close/>
                    <a:moveTo>
                      <a:pt x="366" y="122"/>
                    </a:moveTo>
                    <a:cubicBezTo>
                      <a:pt x="394" y="118"/>
                      <a:pt x="410" y="101"/>
                      <a:pt x="429" y="89"/>
                    </a:cubicBezTo>
                    <a:cubicBezTo>
                      <a:pt x="407" y="99"/>
                      <a:pt x="386" y="110"/>
                      <a:pt x="366" y="122"/>
                    </a:cubicBezTo>
                    <a:close/>
                    <a:moveTo>
                      <a:pt x="631" y="90"/>
                    </a:moveTo>
                    <a:cubicBezTo>
                      <a:pt x="632" y="88"/>
                      <a:pt x="629" y="90"/>
                      <a:pt x="629" y="91"/>
                    </a:cubicBezTo>
                    <a:cubicBezTo>
                      <a:pt x="589" y="125"/>
                      <a:pt x="552" y="168"/>
                      <a:pt x="523" y="212"/>
                    </a:cubicBezTo>
                    <a:cubicBezTo>
                      <a:pt x="522" y="214"/>
                      <a:pt x="517" y="216"/>
                      <a:pt x="519" y="219"/>
                    </a:cubicBezTo>
                    <a:cubicBezTo>
                      <a:pt x="554" y="215"/>
                      <a:pt x="591" y="214"/>
                      <a:pt x="629" y="212"/>
                    </a:cubicBezTo>
                    <a:cubicBezTo>
                      <a:pt x="645" y="177"/>
                      <a:pt x="650" y="130"/>
                      <a:pt x="663" y="93"/>
                    </a:cubicBezTo>
                    <a:cubicBezTo>
                      <a:pt x="653" y="91"/>
                      <a:pt x="643" y="90"/>
                      <a:pt x="631" y="90"/>
                    </a:cubicBezTo>
                    <a:close/>
                    <a:moveTo>
                      <a:pt x="899" y="111"/>
                    </a:moveTo>
                    <a:cubicBezTo>
                      <a:pt x="900" y="112"/>
                      <a:pt x="900" y="111"/>
                      <a:pt x="899" y="111"/>
                    </a:cubicBezTo>
                    <a:moveTo>
                      <a:pt x="899" y="111"/>
                    </a:moveTo>
                    <a:cubicBezTo>
                      <a:pt x="897" y="103"/>
                      <a:pt x="893" y="97"/>
                      <a:pt x="891" y="90"/>
                    </a:cubicBezTo>
                    <a:cubicBezTo>
                      <a:pt x="886" y="90"/>
                      <a:pt x="882" y="89"/>
                      <a:pt x="880" y="92"/>
                    </a:cubicBezTo>
                    <a:cubicBezTo>
                      <a:pt x="887" y="97"/>
                      <a:pt x="892" y="105"/>
                      <a:pt x="899" y="111"/>
                    </a:cubicBezTo>
                    <a:moveTo>
                      <a:pt x="943" y="91"/>
                    </a:moveTo>
                    <a:cubicBezTo>
                      <a:pt x="979" y="114"/>
                      <a:pt x="1013" y="148"/>
                      <a:pt x="1044" y="177"/>
                    </a:cubicBezTo>
                    <a:cubicBezTo>
                      <a:pt x="1045" y="178"/>
                      <a:pt x="1047" y="183"/>
                      <a:pt x="1049" y="180"/>
                    </a:cubicBezTo>
                    <a:cubicBezTo>
                      <a:pt x="1032" y="150"/>
                      <a:pt x="1014" y="120"/>
                      <a:pt x="991" y="95"/>
                    </a:cubicBezTo>
                    <a:cubicBezTo>
                      <a:pt x="975" y="94"/>
                      <a:pt x="961" y="91"/>
                      <a:pt x="943" y="91"/>
                    </a:cubicBezTo>
                    <a:moveTo>
                      <a:pt x="943" y="91"/>
                    </a:moveTo>
                    <a:cubicBezTo>
                      <a:pt x="943" y="88"/>
                      <a:pt x="939" y="92"/>
                      <a:pt x="943" y="91"/>
                    </a:cubicBezTo>
                    <a:moveTo>
                      <a:pt x="904" y="120"/>
                    </a:moveTo>
                    <a:cubicBezTo>
                      <a:pt x="894" y="111"/>
                      <a:pt x="886" y="98"/>
                      <a:pt x="874" y="91"/>
                    </a:cubicBezTo>
                    <a:cubicBezTo>
                      <a:pt x="857" y="93"/>
                      <a:pt x="838" y="94"/>
                      <a:pt x="820" y="95"/>
                    </a:cubicBezTo>
                    <a:cubicBezTo>
                      <a:pt x="835" y="132"/>
                      <a:pt x="849" y="170"/>
                      <a:pt x="860" y="211"/>
                    </a:cubicBezTo>
                    <a:cubicBezTo>
                      <a:pt x="885" y="210"/>
                      <a:pt x="907" y="212"/>
                      <a:pt x="931" y="214"/>
                    </a:cubicBezTo>
                    <a:cubicBezTo>
                      <a:pt x="924" y="180"/>
                      <a:pt x="914" y="150"/>
                      <a:pt x="904" y="120"/>
                    </a:cubicBezTo>
                    <a:close/>
                    <a:moveTo>
                      <a:pt x="558" y="93"/>
                    </a:moveTo>
                    <a:cubicBezTo>
                      <a:pt x="558" y="92"/>
                      <a:pt x="559" y="93"/>
                      <a:pt x="558" y="93"/>
                    </a:cubicBezTo>
                    <a:close/>
                    <a:moveTo>
                      <a:pt x="492" y="99"/>
                    </a:moveTo>
                    <a:cubicBezTo>
                      <a:pt x="485" y="102"/>
                      <a:pt x="476" y="109"/>
                      <a:pt x="468" y="114"/>
                    </a:cubicBezTo>
                    <a:cubicBezTo>
                      <a:pt x="460" y="119"/>
                      <a:pt x="450" y="123"/>
                      <a:pt x="444" y="128"/>
                    </a:cubicBezTo>
                    <a:cubicBezTo>
                      <a:pt x="432" y="139"/>
                      <a:pt x="421" y="155"/>
                      <a:pt x="411" y="169"/>
                    </a:cubicBezTo>
                    <a:cubicBezTo>
                      <a:pt x="400" y="185"/>
                      <a:pt x="389" y="201"/>
                      <a:pt x="382" y="216"/>
                    </a:cubicBezTo>
                    <a:cubicBezTo>
                      <a:pt x="390" y="219"/>
                      <a:pt x="399" y="220"/>
                      <a:pt x="407" y="223"/>
                    </a:cubicBezTo>
                    <a:cubicBezTo>
                      <a:pt x="452" y="175"/>
                      <a:pt x="501" y="130"/>
                      <a:pt x="558" y="93"/>
                    </a:cubicBezTo>
                    <a:cubicBezTo>
                      <a:pt x="533" y="97"/>
                      <a:pt x="512" y="93"/>
                      <a:pt x="492" y="99"/>
                    </a:cubicBezTo>
                    <a:close/>
                    <a:moveTo>
                      <a:pt x="667" y="93"/>
                    </a:moveTo>
                    <a:cubicBezTo>
                      <a:pt x="661" y="115"/>
                      <a:pt x="652" y="139"/>
                      <a:pt x="650" y="163"/>
                    </a:cubicBezTo>
                    <a:cubicBezTo>
                      <a:pt x="660" y="138"/>
                      <a:pt x="673" y="116"/>
                      <a:pt x="685" y="94"/>
                    </a:cubicBezTo>
                    <a:cubicBezTo>
                      <a:pt x="678" y="94"/>
                      <a:pt x="674" y="92"/>
                      <a:pt x="667" y="93"/>
                    </a:cubicBezTo>
                    <a:close/>
                    <a:moveTo>
                      <a:pt x="639" y="211"/>
                    </a:moveTo>
                    <a:cubicBezTo>
                      <a:pt x="674" y="211"/>
                      <a:pt x="707" y="208"/>
                      <a:pt x="743" y="209"/>
                    </a:cubicBezTo>
                    <a:cubicBezTo>
                      <a:pt x="745" y="170"/>
                      <a:pt x="747" y="132"/>
                      <a:pt x="750" y="95"/>
                    </a:cubicBezTo>
                    <a:cubicBezTo>
                      <a:pt x="729" y="96"/>
                      <a:pt x="708" y="95"/>
                      <a:pt x="689" y="94"/>
                    </a:cubicBezTo>
                    <a:cubicBezTo>
                      <a:pt x="669" y="129"/>
                      <a:pt x="646" y="162"/>
                      <a:pt x="639" y="211"/>
                    </a:cubicBezTo>
                    <a:close/>
                    <a:moveTo>
                      <a:pt x="825" y="120"/>
                    </a:moveTo>
                    <a:cubicBezTo>
                      <a:pt x="823" y="113"/>
                      <a:pt x="819" y="96"/>
                      <a:pt x="811" y="95"/>
                    </a:cubicBezTo>
                    <a:cubicBezTo>
                      <a:pt x="803" y="93"/>
                      <a:pt x="791" y="98"/>
                      <a:pt x="782" y="95"/>
                    </a:cubicBezTo>
                    <a:cubicBezTo>
                      <a:pt x="784" y="133"/>
                      <a:pt x="786" y="171"/>
                      <a:pt x="787" y="209"/>
                    </a:cubicBezTo>
                    <a:cubicBezTo>
                      <a:pt x="811" y="208"/>
                      <a:pt x="832" y="210"/>
                      <a:pt x="855" y="210"/>
                    </a:cubicBezTo>
                    <a:cubicBezTo>
                      <a:pt x="848" y="183"/>
                      <a:pt x="836" y="148"/>
                      <a:pt x="825" y="120"/>
                    </a:cubicBezTo>
                    <a:close/>
                    <a:moveTo>
                      <a:pt x="499" y="96"/>
                    </a:moveTo>
                    <a:cubicBezTo>
                      <a:pt x="499" y="96"/>
                      <a:pt x="500" y="97"/>
                      <a:pt x="499" y="96"/>
                    </a:cubicBezTo>
                    <a:close/>
                    <a:moveTo>
                      <a:pt x="752" y="98"/>
                    </a:moveTo>
                    <a:cubicBezTo>
                      <a:pt x="750" y="135"/>
                      <a:pt x="747" y="171"/>
                      <a:pt x="746" y="209"/>
                    </a:cubicBezTo>
                    <a:cubicBezTo>
                      <a:pt x="758" y="209"/>
                      <a:pt x="771" y="209"/>
                      <a:pt x="784" y="209"/>
                    </a:cubicBezTo>
                    <a:cubicBezTo>
                      <a:pt x="783" y="170"/>
                      <a:pt x="781" y="133"/>
                      <a:pt x="779" y="95"/>
                    </a:cubicBezTo>
                    <a:cubicBezTo>
                      <a:pt x="771" y="97"/>
                      <a:pt x="756" y="92"/>
                      <a:pt x="752" y="98"/>
                    </a:cubicBezTo>
                    <a:close/>
                    <a:moveTo>
                      <a:pt x="1056" y="191"/>
                    </a:moveTo>
                    <a:cubicBezTo>
                      <a:pt x="1069" y="202"/>
                      <a:pt x="1077" y="217"/>
                      <a:pt x="1090" y="228"/>
                    </a:cubicBezTo>
                    <a:cubicBezTo>
                      <a:pt x="1115" y="224"/>
                      <a:pt x="1137" y="218"/>
                      <a:pt x="1159" y="212"/>
                    </a:cubicBezTo>
                    <a:cubicBezTo>
                      <a:pt x="1152" y="199"/>
                      <a:pt x="1138" y="190"/>
                      <a:pt x="1126" y="180"/>
                    </a:cubicBezTo>
                    <a:cubicBezTo>
                      <a:pt x="1101" y="159"/>
                      <a:pt x="1078" y="141"/>
                      <a:pt x="1049" y="122"/>
                    </a:cubicBezTo>
                    <a:cubicBezTo>
                      <a:pt x="1032" y="112"/>
                      <a:pt x="1016" y="96"/>
                      <a:pt x="996" y="96"/>
                    </a:cubicBezTo>
                    <a:cubicBezTo>
                      <a:pt x="1020" y="124"/>
                      <a:pt x="1040" y="155"/>
                      <a:pt x="1056" y="191"/>
                    </a:cubicBezTo>
                    <a:close/>
                    <a:moveTo>
                      <a:pt x="1095" y="150"/>
                    </a:moveTo>
                    <a:cubicBezTo>
                      <a:pt x="1112" y="165"/>
                      <a:pt x="1132" y="180"/>
                      <a:pt x="1149" y="195"/>
                    </a:cubicBezTo>
                    <a:cubicBezTo>
                      <a:pt x="1154" y="200"/>
                      <a:pt x="1159" y="209"/>
                      <a:pt x="1167" y="209"/>
                    </a:cubicBezTo>
                    <a:cubicBezTo>
                      <a:pt x="1146" y="171"/>
                      <a:pt x="1113" y="136"/>
                      <a:pt x="1081" y="107"/>
                    </a:cubicBezTo>
                    <a:cubicBezTo>
                      <a:pt x="1060" y="104"/>
                      <a:pt x="1036" y="99"/>
                      <a:pt x="1015" y="98"/>
                    </a:cubicBezTo>
                    <a:cubicBezTo>
                      <a:pt x="1044" y="113"/>
                      <a:pt x="1069" y="132"/>
                      <a:pt x="1095" y="150"/>
                    </a:cubicBezTo>
                    <a:close/>
                    <a:moveTo>
                      <a:pt x="555" y="99"/>
                    </a:moveTo>
                    <a:cubicBezTo>
                      <a:pt x="506" y="130"/>
                      <a:pt x="457" y="172"/>
                      <a:pt x="418" y="216"/>
                    </a:cubicBezTo>
                    <a:cubicBezTo>
                      <a:pt x="417" y="218"/>
                      <a:pt x="411" y="220"/>
                      <a:pt x="414" y="224"/>
                    </a:cubicBezTo>
                    <a:cubicBezTo>
                      <a:pt x="438" y="232"/>
                      <a:pt x="467" y="223"/>
                      <a:pt x="494" y="221"/>
                    </a:cubicBezTo>
                    <a:cubicBezTo>
                      <a:pt x="510" y="176"/>
                      <a:pt x="530" y="135"/>
                      <a:pt x="555" y="99"/>
                    </a:cubicBezTo>
                    <a:moveTo>
                      <a:pt x="555" y="99"/>
                    </a:moveTo>
                    <a:cubicBezTo>
                      <a:pt x="556" y="99"/>
                      <a:pt x="555" y="98"/>
                      <a:pt x="555" y="99"/>
                    </a:cubicBezTo>
                    <a:moveTo>
                      <a:pt x="484" y="101"/>
                    </a:moveTo>
                    <a:cubicBezTo>
                      <a:pt x="483" y="101"/>
                      <a:pt x="484" y="102"/>
                      <a:pt x="484" y="101"/>
                    </a:cubicBezTo>
                    <a:close/>
                    <a:moveTo>
                      <a:pt x="1118" y="101"/>
                    </a:moveTo>
                    <a:cubicBezTo>
                      <a:pt x="1119" y="103"/>
                      <a:pt x="1119" y="101"/>
                      <a:pt x="1118" y="101"/>
                    </a:cubicBezTo>
                    <a:moveTo>
                      <a:pt x="1118" y="101"/>
                    </a:moveTo>
                    <a:cubicBezTo>
                      <a:pt x="1118" y="100"/>
                      <a:pt x="1117" y="101"/>
                      <a:pt x="1118" y="101"/>
                    </a:cubicBezTo>
                    <a:moveTo>
                      <a:pt x="454" y="119"/>
                    </a:moveTo>
                    <a:cubicBezTo>
                      <a:pt x="452" y="119"/>
                      <a:pt x="454" y="120"/>
                      <a:pt x="454" y="119"/>
                    </a:cubicBezTo>
                    <a:moveTo>
                      <a:pt x="454" y="119"/>
                    </a:moveTo>
                    <a:cubicBezTo>
                      <a:pt x="464" y="113"/>
                      <a:pt x="474" y="108"/>
                      <a:pt x="483" y="101"/>
                    </a:cubicBezTo>
                    <a:cubicBezTo>
                      <a:pt x="466" y="100"/>
                      <a:pt x="462" y="111"/>
                      <a:pt x="454" y="119"/>
                    </a:cubicBezTo>
                    <a:moveTo>
                      <a:pt x="1120" y="103"/>
                    </a:moveTo>
                    <a:cubicBezTo>
                      <a:pt x="1120" y="103"/>
                      <a:pt x="1121" y="104"/>
                      <a:pt x="1120" y="103"/>
                    </a:cubicBezTo>
                    <a:close/>
                    <a:moveTo>
                      <a:pt x="1075" y="104"/>
                    </a:moveTo>
                    <a:cubicBezTo>
                      <a:pt x="1075" y="104"/>
                      <a:pt x="1076" y="105"/>
                      <a:pt x="1075" y="104"/>
                    </a:cubicBezTo>
                    <a:close/>
                    <a:moveTo>
                      <a:pt x="417" y="112"/>
                    </a:moveTo>
                    <a:cubicBezTo>
                      <a:pt x="407" y="115"/>
                      <a:pt x="396" y="125"/>
                      <a:pt x="386" y="131"/>
                    </a:cubicBezTo>
                    <a:cubicBezTo>
                      <a:pt x="357" y="148"/>
                      <a:pt x="335" y="165"/>
                      <a:pt x="317" y="191"/>
                    </a:cubicBezTo>
                    <a:cubicBezTo>
                      <a:pt x="325" y="195"/>
                      <a:pt x="332" y="200"/>
                      <a:pt x="342" y="203"/>
                    </a:cubicBezTo>
                    <a:cubicBezTo>
                      <a:pt x="374" y="176"/>
                      <a:pt x="406" y="149"/>
                      <a:pt x="442" y="127"/>
                    </a:cubicBezTo>
                    <a:cubicBezTo>
                      <a:pt x="445" y="123"/>
                      <a:pt x="449" y="119"/>
                      <a:pt x="453" y="115"/>
                    </a:cubicBezTo>
                    <a:cubicBezTo>
                      <a:pt x="455" y="112"/>
                      <a:pt x="466" y="105"/>
                      <a:pt x="461" y="104"/>
                    </a:cubicBezTo>
                    <a:cubicBezTo>
                      <a:pt x="446" y="109"/>
                      <a:pt x="430" y="107"/>
                      <a:pt x="417" y="112"/>
                    </a:cubicBezTo>
                    <a:close/>
                    <a:moveTo>
                      <a:pt x="1210" y="188"/>
                    </a:moveTo>
                    <a:cubicBezTo>
                      <a:pt x="1213" y="187"/>
                      <a:pt x="1214" y="184"/>
                      <a:pt x="1216" y="183"/>
                    </a:cubicBezTo>
                    <a:cubicBezTo>
                      <a:pt x="1210" y="171"/>
                      <a:pt x="1197" y="162"/>
                      <a:pt x="1185" y="152"/>
                    </a:cubicBezTo>
                    <a:cubicBezTo>
                      <a:pt x="1175" y="143"/>
                      <a:pt x="1164" y="130"/>
                      <a:pt x="1151" y="123"/>
                    </a:cubicBezTo>
                    <a:cubicBezTo>
                      <a:pt x="1135" y="116"/>
                      <a:pt x="1116" y="117"/>
                      <a:pt x="1097" y="110"/>
                    </a:cubicBezTo>
                    <a:cubicBezTo>
                      <a:pt x="1096" y="110"/>
                      <a:pt x="1094" y="110"/>
                      <a:pt x="1094" y="111"/>
                    </a:cubicBezTo>
                    <a:cubicBezTo>
                      <a:pt x="1136" y="132"/>
                      <a:pt x="1174" y="163"/>
                      <a:pt x="1210" y="188"/>
                    </a:cubicBezTo>
                    <a:close/>
                    <a:moveTo>
                      <a:pt x="1090" y="112"/>
                    </a:moveTo>
                    <a:cubicBezTo>
                      <a:pt x="1090" y="112"/>
                      <a:pt x="1090" y="113"/>
                      <a:pt x="1090" y="113"/>
                    </a:cubicBezTo>
                    <a:cubicBezTo>
                      <a:pt x="1124" y="138"/>
                      <a:pt x="1146" y="175"/>
                      <a:pt x="1173" y="207"/>
                    </a:cubicBezTo>
                    <a:cubicBezTo>
                      <a:pt x="1185" y="202"/>
                      <a:pt x="1198" y="198"/>
                      <a:pt x="1206" y="190"/>
                    </a:cubicBezTo>
                    <a:cubicBezTo>
                      <a:pt x="1170" y="161"/>
                      <a:pt x="1132" y="134"/>
                      <a:pt x="1090" y="112"/>
                    </a:cubicBezTo>
                    <a:moveTo>
                      <a:pt x="1090" y="112"/>
                    </a:moveTo>
                    <a:cubicBezTo>
                      <a:pt x="1090" y="110"/>
                      <a:pt x="1089" y="112"/>
                      <a:pt x="1090" y="112"/>
                    </a:cubicBezTo>
                    <a:moveTo>
                      <a:pt x="405" y="116"/>
                    </a:moveTo>
                    <a:cubicBezTo>
                      <a:pt x="389" y="116"/>
                      <a:pt x="383" y="126"/>
                      <a:pt x="374" y="134"/>
                    </a:cubicBezTo>
                    <a:moveTo>
                      <a:pt x="374" y="134"/>
                    </a:moveTo>
                    <a:cubicBezTo>
                      <a:pt x="373" y="134"/>
                      <a:pt x="372" y="135"/>
                      <a:pt x="371" y="136"/>
                    </a:cubicBezTo>
                    <a:moveTo>
                      <a:pt x="371" y="136"/>
                    </a:moveTo>
                    <a:cubicBezTo>
                      <a:pt x="370" y="136"/>
                      <a:pt x="370" y="136"/>
                      <a:pt x="370" y="137"/>
                    </a:cubicBezTo>
                    <a:moveTo>
                      <a:pt x="370" y="137"/>
                    </a:moveTo>
                    <a:cubicBezTo>
                      <a:pt x="369" y="137"/>
                      <a:pt x="370" y="138"/>
                      <a:pt x="370" y="137"/>
                    </a:cubicBezTo>
                    <a:moveTo>
                      <a:pt x="370" y="137"/>
                    </a:moveTo>
                    <a:cubicBezTo>
                      <a:pt x="371" y="137"/>
                      <a:pt x="371" y="136"/>
                      <a:pt x="371" y="136"/>
                    </a:cubicBezTo>
                    <a:moveTo>
                      <a:pt x="371" y="136"/>
                    </a:moveTo>
                    <a:cubicBezTo>
                      <a:pt x="373" y="136"/>
                      <a:pt x="374" y="135"/>
                      <a:pt x="374" y="134"/>
                    </a:cubicBezTo>
                    <a:moveTo>
                      <a:pt x="374" y="134"/>
                    </a:moveTo>
                    <a:cubicBezTo>
                      <a:pt x="385" y="129"/>
                      <a:pt x="395" y="122"/>
                      <a:pt x="405" y="116"/>
                    </a:cubicBezTo>
                    <a:moveTo>
                      <a:pt x="405" y="116"/>
                    </a:moveTo>
                    <a:cubicBezTo>
                      <a:pt x="409" y="117"/>
                      <a:pt x="405" y="113"/>
                      <a:pt x="405" y="116"/>
                    </a:cubicBezTo>
                    <a:moveTo>
                      <a:pt x="1142" y="119"/>
                    </a:moveTo>
                    <a:cubicBezTo>
                      <a:pt x="1142" y="118"/>
                      <a:pt x="1143" y="119"/>
                      <a:pt x="1142" y="119"/>
                    </a:cubicBezTo>
                    <a:close/>
                    <a:moveTo>
                      <a:pt x="365" y="119"/>
                    </a:moveTo>
                    <a:cubicBezTo>
                      <a:pt x="364" y="119"/>
                      <a:pt x="365" y="120"/>
                      <a:pt x="365" y="119"/>
                    </a:cubicBezTo>
                    <a:close/>
                    <a:moveTo>
                      <a:pt x="363" y="120"/>
                    </a:moveTo>
                    <a:cubicBezTo>
                      <a:pt x="361" y="121"/>
                      <a:pt x="363" y="122"/>
                      <a:pt x="363" y="120"/>
                    </a:cubicBezTo>
                    <a:moveTo>
                      <a:pt x="363" y="120"/>
                    </a:moveTo>
                    <a:cubicBezTo>
                      <a:pt x="364" y="120"/>
                      <a:pt x="363" y="119"/>
                      <a:pt x="363" y="120"/>
                    </a:cubicBezTo>
                    <a:moveTo>
                      <a:pt x="326" y="147"/>
                    </a:moveTo>
                    <a:cubicBezTo>
                      <a:pt x="312" y="157"/>
                      <a:pt x="291" y="166"/>
                      <a:pt x="308" y="182"/>
                    </a:cubicBezTo>
                    <a:cubicBezTo>
                      <a:pt x="333" y="161"/>
                      <a:pt x="362" y="143"/>
                      <a:pt x="385" y="120"/>
                    </a:cubicBezTo>
                    <a:cubicBezTo>
                      <a:pt x="360" y="124"/>
                      <a:pt x="343" y="136"/>
                      <a:pt x="326" y="147"/>
                    </a:cubicBezTo>
                    <a:close/>
                    <a:moveTo>
                      <a:pt x="360" y="122"/>
                    </a:moveTo>
                    <a:cubicBezTo>
                      <a:pt x="359" y="122"/>
                      <a:pt x="360" y="123"/>
                      <a:pt x="360" y="122"/>
                    </a:cubicBezTo>
                    <a:close/>
                    <a:moveTo>
                      <a:pt x="365" y="123"/>
                    </a:moveTo>
                    <a:cubicBezTo>
                      <a:pt x="364" y="123"/>
                      <a:pt x="365" y="124"/>
                      <a:pt x="365" y="123"/>
                    </a:cubicBezTo>
                    <a:close/>
                    <a:moveTo>
                      <a:pt x="357" y="124"/>
                    </a:moveTo>
                    <a:cubicBezTo>
                      <a:pt x="356" y="124"/>
                      <a:pt x="358" y="125"/>
                      <a:pt x="357" y="124"/>
                    </a:cubicBezTo>
                    <a:close/>
                    <a:moveTo>
                      <a:pt x="354" y="126"/>
                    </a:moveTo>
                    <a:cubicBezTo>
                      <a:pt x="354" y="126"/>
                      <a:pt x="355" y="127"/>
                      <a:pt x="354" y="126"/>
                    </a:cubicBezTo>
                    <a:close/>
                    <a:moveTo>
                      <a:pt x="910" y="129"/>
                    </a:moveTo>
                    <a:cubicBezTo>
                      <a:pt x="919" y="156"/>
                      <a:pt x="927" y="184"/>
                      <a:pt x="934" y="214"/>
                    </a:cubicBezTo>
                    <a:cubicBezTo>
                      <a:pt x="946" y="215"/>
                      <a:pt x="959" y="215"/>
                      <a:pt x="970" y="216"/>
                    </a:cubicBezTo>
                    <a:cubicBezTo>
                      <a:pt x="952" y="185"/>
                      <a:pt x="933" y="155"/>
                      <a:pt x="910" y="129"/>
                    </a:cubicBezTo>
                    <a:moveTo>
                      <a:pt x="910" y="129"/>
                    </a:moveTo>
                    <a:cubicBezTo>
                      <a:pt x="911" y="125"/>
                      <a:pt x="907" y="129"/>
                      <a:pt x="910" y="129"/>
                    </a:cubicBezTo>
                    <a:moveTo>
                      <a:pt x="1166" y="129"/>
                    </a:moveTo>
                    <a:cubicBezTo>
                      <a:pt x="1166" y="129"/>
                      <a:pt x="1167" y="130"/>
                      <a:pt x="1166" y="129"/>
                    </a:cubicBezTo>
                    <a:close/>
                    <a:moveTo>
                      <a:pt x="1222" y="166"/>
                    </a:moveTo>
                    <a:cubicBezTo>
                      <a:pt x="1218" y="155"/>
                      <a:pt x="1206" y="150"/>
                      <a:pt x="1198" y="144"/>
                    </a:cubicBezTo>
                    <a:cubicBezTo>
                      <a:pt x="1189" y="138"/>
                      <a:pt x="1180" y="130"/>
                      <a:pt x="1168" y="130"/>
                    </a:cubicBezTo>
                    <a:cubicBezTo>
                      <a:pt x="1187" y="141"/>
                      <a:pt x="1204" y="154"/>
                      <a:pt x="1222" y="166"/>
                    </a:cubicBezTo>
                    <a:close/>
                    <a:moveTo>
                      <a:pt x="1165" y="132"/>
                    </a:moveTo>
                    <a:cubicBezTo>
                      <a:pt x="1166" y="133"/>
                      <a:pt x="1165" y="132"/>
                      <a:pt x="1165" y="132"/>
                    </a:cubicBezTo>
                    <a:close/>
                    <a:moveTo>
                      <a:pt x="1169" y="134"/>
                    </a:moveTo>
                    <a:cubicBezTo>
                      <a:pt x="1187" y="147"/>
                      <a:pt x="1204" y="167"/>
                      <a:pt x="1220" y="178"/>
                    </a:cubicBezTo>
                    <a:cubicBezTo>
                      <a:pt x="1220" y="175"/>
                      <a:pt x="1223" y="174"/>
                      <a:pt x="1222" y="170"/>
                    </a:cubicBezTo>
                    <a:cubicBezTo>
                      <a:pt x="1206" y="157"/>
                      <a:pt x="1188" y="145"/>
                      <a:pt x="1169" y="134"/>
                    </a:cubicBezTo>
                    <a:moveTo>
                      <a:pt x="1169" y="134"/>
                    </a:moveTo>
                    <a:cubicBezTo>
                      <a:pt x="1168" y="132"/>
                      <a:pt x="1168" y="134"/>
                      <a:pt x="1169" y="134"/>
                    </a:cubicBezTo>
                    <a:moveTo>
                      <a:pt x="434" y="136"/>
                    </a:moveTo>
                    <a:cubicBezTo>
                      <a:pt x="433" y="136"/>
                      <a:pt x="433" y="136"/>
                      <a:pt x="433" y="137"/>
                    </a:cubicBezTo>
                    <a:moveTo>
                      <a:pt x="433" y="137"/>
                    </a:moveTo>
                    <a:cubicBezTo>
                      <a:pt x="401" y="157"/>
                      <a:pt x="372" y="180"/>
                      <a:pt x="345" y="205"/>
                    </a:cubicBezTo>
                    <a:cubicBezTo>
                      <a:pt x="357" y="209"/>
                      <a:pt x="367" y="213"/>
                      <a:pt x="379" y="215"/>
                    </a:cubicBezTo>
                    <a:cubicBezTo>
                      <a:pt x="394" y="187"/>
                      <a:pt x="413" y="162"/>
                      <a:pt x="433" y="137"/>
                    </a:cubicBezTo>
                    <a:moveTo>
                      <a:pt x="433" y="137"/>
                    </a:moveTo>
                    <a:cubicBezTo>
                      <a:pt x="434" y="137"/>
                      <a:pt x="434" y="136"/>
                      <a:pt x="434" y="136"/>
                    </a:cubicBezTo>
                    <a:moveTo>
                      <a:pt x="434" y="136"/>
                    </a:moveTo>
                    <a:cubicBezTo>
                      <a:pt x="435" y="135"/>
                      <a:pt x="434" y="135"/>
                      <a:pt x="434" y="136"/>
                    </a:cubicBezTo>
                    <a:moveTo>
                      <a:pt x="327" y="142"/>
                    </a:moveTo>
                    <a:cubicBezTo>
                      <a:pt x="327" y="141"/>
                      <a:pt x="328" y="142"/>
                      <a:pt x="327" y="142"/>
                    </a:cubicBezTo>
                    <a:close/>
                    <a:moveTo>
                      <a:pt x="325" y="143"/>
                    </a:moveTo>
                    <a:cubicBezTo>
                      <a:pt x="319" y="146"/>
                      <a:pt x="312" y="150"/>
                      <a:pt x="308" y="156"/>
                    </a:cubicBezTo>
                    <a:moveTo>
                      <a:pt x="308" y="156"/>
                    </a:moveTo>
                    <a:cubicBezTo>
                      <a:pt x="307" y="156"/>
                      <a:pt x="307" y="156"/>
                      <a:pt x="307" y="157"/>
                    </a:cubicBezTo>
                    <a:moveTo>
                      <a:pt x="307" y="157"/>
                    </a:moveTo>
                    <a:cubicBezTo>
                      <a:pt x="306" y="157"/>
                      <a:pt x="306" y="157"/>
                      <a:pt x="306" y="158"/>
                    </a:cubicBezTo>
                    <a:moveTo>
                      <a:pt x="306" y="158"/>
                    </a:moveTo>
                    <a:cubicBezTo>
                      <a:pt x="305" y="158"/>
                      <a:pt x="306" y="159"/>
                      <a:pt x="306" y="158"/>
                    </a:cubicBezTo>
                    <a:moveTo>
                      <a:pt x="306" y="158"/>
                    </a:moveTo>
                    <a:cubicBezTo>
                      <a:pt x="307" y="158"/>
                      <a:pt x="307" y="158"/>
                      <a:pt x="307" y="157"/>
                    </a:cubicBezTo>
                    <a:moveTo>
                      <a:pt x="307" y="157"/>
                    </a:moveTo>
                    <a:cubicBezTo>
                      <a:pt x="308" y="157"/>
                      <a:pt x="308" y="157"/>
                      <a:pt x="308" y="156"/>
                    </a:cubicBezTo>
                    <a:moveTo>
                      <a:pt x="308" y="156"/>
                    </a:moveTo>
                    <a:cubicBezTo>
                      <a:pt x="314" y="152"/>
                      <a:pt x="320" y="147"/>
                      <a:pt x="325" y="143"/>
                    </a:cubicBezTo>
                    <a:moveTo>
                      <a:pt x="325" y="143"/>
                    </a:moveTo>
                    <a:cubicBezTo>
                      <a:pt x="327" y="142"/>
                      <a:pt x="325" y="141"/>
                      <a:pt x="325" y="143"/>
                    </a:cubicBezTo>
                    <a:moveTo>
                      <a:pt x="338" y="163"/>
                    </a:moveTo>
                    <a:cubicBezTo>
                      <a:pt x="337" y="163"/>
                      <a:pt x="337" y="163"/>
                      <a:pt x="337" y="164"/>
                    </a:cubicBezTo>
                    <a:moveTo>
                      <a:pt x="337" y="164"/>
                    </a:moveTo>
                    <a:cubicBezTo>
                      <a:pt x="327" y="170"/>
                      <a:pt x="317" y="176"/>
                      <a:pt x="310" y="185"/>
                    </a:cubicBezTo>
                    <a:cubicBezTo>
                      <a:pt x="312" y="185"/>
                      <a:pt x="312" y="188"/>
                      <a:pt x="315" y="188"/>
                    </a:cubicBezTo>
                    <a:cubicBezTo>
                      <a:pt x="322" y="180"/>
                      <a:pt x="330" y="172"/>
                      <a:pt x="337" y="164"/>
                    </a:cubicBezTo>
                    <a:moveTo>
                      <a:pt x="337" y="164"/>
                    </a:moveTo>
                    <a:cubicBezTo>
                      <a:pt x="338" y="164"/>
                      <a:pt x="338" y="163"/>
                      <a:pt x="338" y="163"/>
                    </a:cubicBezTo>
                    <a:moveTo>
                      <a:pt x="338" y="163"/>
                    </a:moveTo>
                    <a:cubicBezTo>
                      <a:pt x="339" y="162"/>
                      <a:pt x="338" y="162"/>
                      <a:pt x="338" y="163"/>
                    </a:cubicBezTo>
                    <a:moveTo>
                      <a:pt x="648" y="165"/>
                    </a:moveTo>
                    <a:cubicBezTo>
                      <a:pt x="647" y="164"/>
                      <a:pt x="648" y="165"/>
                      <a:pt x="648" y="165"/>
                    </a:cubicBezTo>
                    <a:close/>
                    <a:moveTo>
                      <a:pt x="1279" y="213"/>
                    </a:moveTo>
                    <a:cubicBezTo>
                      <a:pt x="1279" y="213"/>
                      <a:pt x="1280" y="214"/>
                      <a:pt x="1280" y="214"/>
                    </a:cubicBezTo>
                    <a:moveTo>
                      <a:pt x="1280" y="214"/>
                    </a:moveTo>
                    <a:cubicBezTo>
                      <a:pt x="1280" y="214"/>
                      <a:pt x="1281" y="214"/>
                      <a:pt x="1281" y="215"/>
                    </a:cubicBezTo>
                    <a:moveTo>
                      <a:pt x="1281" y="215"/>
                    </a:moveTo>
                    <a:cubicBezTo>
                      <a:pt x="1281" y="215"/>
                      <a:pt x="1282" y="215"/>
                      <a:pt x="1282" y="215"/>
                    </a:cubicBezTo>
                    <a:moveTo>
                      <a:pt x="1282" y="215"/>
                    </a:moveTo>
                    <a:cubicBezTo>
                      <a:pt x="1282" y="216"/>
                      <a:pt x="1283" y="216"/>
                      <a:pt x="1283" y="216"/>
                    </a:cubicBezTo>
                    <a:moveTo>
                      <a:pt x="1283" y="216"/>
                    </a:moveTo>
                    <a:cubicBezTo>
                      <a:pt x="1283" y="217"/>
                      <a:pt x="1284" y="217"/>
                      <a:pt x="1284" y="217"/>
                    </a:cubicBezTo>
                    <a:moveTo>
                      <a:pt x="1284" y="217"/>
                    </a:moveTo>
                    <a:cubicBezTo>
                      <a:pt x="1284" y="218"/>
                      <a:pt x="1285" y="218"/>
                      <a:pt x="1285" y="218"/>
                    </a:cubicBezTo>
                    <a:moveTo>
                      <a:pt x="1285" y="218"/>
                    </a:moveTo>
                    <a:cubicBezTo>
                      <a:pt x="1285" y="219"/>
                      <a:pt x="1286" y="219"/>
                      <a:pt x="1286" y="219"/>
                    </a:cubicBezTo>
                    <a:moveTo>
                      <a:pt x="1286" y="219"/>
                    </a:moveTo>
                    <a:cubicBezTo>
                      <a:pt x="1286" y="220"/>
                      <a:pt x="1287" y="220"/>
                      <a:pt x="1287" y="220"/>
                    </a:cubicBezTo>
                    <a:moveTo>
                      <a:pt x="1287" y="220"/>
                    </a:moveTo>
                    <a:cubicBezTo>
                      <a:pt x="1288" y="222"/>
                      <a:pt x="1288" y="220"/>
                      <a:pt x="1287" y="220"/>
                    </a:cubicBezTo>
                    <a:moveTo>
                      <a:pt x="1287" y="220"/>
                    </a:moveTo>
                    <a:cubicBezTo>
                      <a:pt x="1287" y="219"/>
                      <a:pt x="1287" y="219"/>
                      <a:pt x="1286" y="219"/>
                    </a:cubicBezTo>
                    <a:moveTo>
                      <a:pt x="1286" y="219"/>
                    </a:moveTo>
                    <a:cubicBezTo>
                      <a:pt x="1286" y="219"/>
                      <a:pt x="1286" y="218"/>
                      <a:pt x="1285" y="218"/>
                    </a:cubicBezTo>
                    <a:moveTo>
                      <a:pt x="1285" y="218"/>
                    </a:moveTo>
                    <a:cubicBezTo>
                      <a:pt x="1285" y="218"/>
                      <a:pt x="1285" y="217"/>
                      <a:pt x="1284" y="217"/>
                    </a:cubicBezTo>
                    <a:moveTo>
                      <a:pt x="1284" y="217"/>
                    </a:moveTo>
                    <a:cubicBezTo>
                      <a:pt x="1284" y="217"/>
                      <a:pt x="1284" y="216"/>
                      <a:pt x="1283" y="216"/>
                    </a:cubicBezTo>
                    <a:moveTo>
                      <a:pt x="1283" y="216"/>
                    </a:moveTo>
                    <a:cubicBezTo>
                      <a:pt x="1283" y="216"/>
                      <a:pt x="1283" y="216"/>
                      <a:pt x="1282" y="215"/>
                    </a:cubicBezTo>
                    <a:moveTo>
                      <a:pt x="1282" y="215"/>
                    </a:moveTo>
                    <a:cubicBezTo>
                      <a:pt x="1283" y="215"/>
                      <a:pt x="1282" y="215"/>
                      <a:pt x="1281" y="215"/>
                    </a:cubicBezTo>
                    <a:moveTo>
                      <a:pt x="1281" y="215"/>
                    </a:moveTo>
                    <a:cubicBezTo>
                      <a:pt x="1282" y="214"/>
                      <a:pt x="1281" y="214"/>
                      <a:pt x="1280" y="214"/>
                    </a:cubicBezTo>
                    <a:moveTo>
                      <a:pt x="1280" y="214"/>
                    </a:moveTo>
                    <a:cubicBezTo>
                      <a:pt x="1281" y="213"/>
                      <a:pt x="1280" y="213"/>
                      <a:pt x="1279" y="213"/>
                    </a:cubicBezTo>
                    <a:moveTo>
                      <a:pt x="1279" y="213"/>
                    </a:moveTo>
                    <a:cubicBezTo>
                      <a:pt x="1262" y="195"/>
                      <a:pt x="1245" y="179"/>
                      <a:pt x="1225" y="165"/>
                    </a:cubicBezTo>
                    <a:cubicBezTo>
                      <a:pt x="1226" y="171"/>
                      <a:pt x="1233" y="175"/>
                      <a:pt x="1237" y="178"/>
                    </a:cubicBezTo>
                    <a:cubicBezTo>
                      <a:pt x="1251" y="189"/>
                      <a:pt x="1265" y="201"/>
                      <a:pt x="1279" y="213"/>
                    </a:cubicBezTo>
                    <a:moveTo>
                      <a:pt x="188" y="288"/>
                    </a:moveTo>
                    <a:cubicBezTo>
                      <a:pt x="205" y="283"/>
                      <a:pt x="212" y="269"/>
                      <a:pt x="223" y="257"/>
                    </a:cubicBezTo>
                    <a:cubicBezTo>
                      <a:pt x="250" y="230"/>
                      <a:pt x="277" y="206"/>
                      <a:pt x="305" y="183"/>
                    </a:cubicBezTo>
                    <a:cubicBezTo>
                      <a:pt x="301" y="179"/>
                      <a:pt x="300" y="173"/>
                      <a:pt x="298" y="167"/>
                    </a:cubicBezTo>
                    <a:cubicBezTo>
                      <a:pt x="257" y="204"/>
                      <a:pt x="219" y="243"/>
                      <a:pt x="188" y="288"/>
                    </a:cubicBezTo>
                    <a:close/>
                    <a:moveTo>
                      <a:pt x="1351" y="296"/>
                    </a:moveTo>
                    <a:cubicBezTo>
                      <a:pt x="1351" y="297"/>
                      <a:pt x="1352" y="297"/>
                      <a:pt x="1352" y="297"/>
                    </a:cubicBezTo>
                    <a:moveTo>
                      <a:pt x="1352" y="297"/>
                    </a:moveTo>
                    <a:cubicBezTo>
                      <a:pt x="1353" y="298"/>
                      <a:pt x="1354" y="297"/>
                      <a:pt x="1352" y="297"/>
                    </a:cubicBezTo>
                    <a:moveTo>
                      <a:pt x="1352" y="297"/>
                    </a:moveTo>
                    <a:cubicBezTo>
                      <a:pt x="1353" y="296"/>
                      <a:pt x="1352" y="296"/>
                      <a:pt x="1351" y="296"/>
                    </a:cubicBezTo>
                    <a:moveTo>
                      <a:pt x="1351" y="296"/>
                    </a:moveTo>
                    <a:cubicBezTo>
                      <a:pt x="1351" y="295"/>
                      <a:pt x="1351" y="293"/>
                      <a:pt x="1350" y="293"/>
                    </a:cubicBezTo>
                    <a:cubicBezTo>
                      <a:pt x="1320" y="252"/>
                      <a:pt x="1281" y="217"/>
                      <a:pt x="1241" y="185"/>
                    </a:cubicBezTo>
                    <a:cubicBezTo>
                      <a:pt x="1236" y="181"/>
                      <a:pt x="1231" y="174"/>
                      <a:pt x="1224" y="173"/>
                    </a:cubicBezTo>
                    <a:cubicBezTo>
                      <a:pt x="1218" y="183"/>
                      <a:pt x="1228" y="188"/>
                      <a:pt x="1233" y="194"/>
                    </a:cubicBezTo>
                    <a:cubicBezTo>
                      <a:pt x="1239" y="201"/>
                      <a:pt x="1244" y="208"/>
                      <a:pt x="1250" y="214"/>
                    </a:cubicBezTo>
                    <a:cubicBezTo>
                      <a:pt x="1267" y="233"/>
                      <a:pt x="1280" y="256"/>
                      <a:pt x="1300" y="274"/>
                    </a:cubicBezTo>
                    <a:cubicBezTo>
                      <a:pt x="1319" y="279"/>
                      <a:pt x="1335" y="288"/>
                      <a:pt x="1351" y="296"/>
                    </a:cubicBezTo>
                    <a:moveTo>
                      <a:pt x="1218" y="184"/>
                    </a:moveTo>
                    <a:cubicBezTo>
                      <a:pt x="1217" y="187"/>
                      <a:pt x="1213" y="188"/>
                      <a:pt x="1211" y="191"/>
                    </a:cubicBezTo>
                    <a:cubicBezTo>
                      <a:pt x="1231" y="205"/>
                      <a:pt x="1249" y="226"/>
                      <a:pt x="1267" y="239"/>
                    </a:cubicBezTo>
                    <a:cubicBezTo>
                      <a:pt x="1250" y="220"/>
                      <a:pt x="1237" y="199"/>
                      <a:pt x="1218" y="184"/>
                    </a:cubicBezTo>
                    <a:close/>
                    <a:moveTo>
                      <a:pt x="207" y="280"/>
                    </a:moveTo>
                    <a:cubicBezTo>
                      <a:pt x="206" y="280"/>
                      <a:pt x="207" y="281"/>
                      <a:pt x="207" y="280"/>
                    </a:cubicBezTo>
                    <a:moveTo>
                      <a:pt x="207" y="280"/>
                    </a:moveTo>
                    <a:cubicBezTo>
                      <a:pt x="225" y="274"/>
                      <a:pt x="241" y="267"/>
                      <a:pt x="260" y="263"/>
                    </a:cubicBezTo>
                    <a:cubicBezTo>
                      <a:pt x="272" y="244"/>
                      <a:pt x="285" y="224"/>
                      <a:pt x="299" y="206"/>
                    </a:cubicBezTo>
                    <a:cubicBezTo>
                      <a:pt x="304" y="200"/>
                      <a:pt x="311" y="196"/>
                      <a:pt x="312" y="189"/>
                    </a:cubicBezTo>
                    <a:cubicBezTo>
                      <a:pt x="306" y="183"/>
                      <a:pt x="301" y="190"/>
                      <a:pt x="297" y="193"/>
                    </a:cubicBezTo>
                    <a:cubicBezTo>
                      <a:pt x="268" y="218"/>
                      <a:pt x="231" y="250"/>
                      <a:pt x="207" y="280"/>
                    </a:cubicBezTo>
                    <a:moveTo>
                      <a:pt x="267" y="192"/>
                    </a:moveTo>
                    <a:cubicBezTo>
                      <a:pt x="266" y="192"/>
                      <a:pt x="266" y="193"/>
                      <a:pt x="266" y="193"/>
                    </a:cubicBezTo>
                    <a:moveTo>
                      <a:pt x="266" y="193"/>
                    </a:moveTo>
                    <a:cubicBezTo>
                      <a:pt x="265" y="193"/>
                      <a:pt x="265" y="194"/>
                      <a:pt x="265" y="194"/>
                    </a:cubicBezTo>
                    <a:moveTo>
                      <a:pt x="265" y="194"/>
                    </a:moveTo>
                    <a:cubicBezTo>
                      <a:pt x="264" y="194"/>
                      <a:pt x="264" y="195"/>
                      <a:pt x="264" y="195"/>
                    </a:cubicBezTo>
                    <a:moveTo>
                      <a:pt x="264" y="195"/>
                    </a:moveTo>
                    <a:cubicBezTo>
                      <a:pt x="263" y="195"/>
                      <a:pt x="263" y="196"/>
                      <a:pt x="263" y="196"/>
                    </a:cubicBezTo>
                    <a:moveTo>
                      <a:pt x="263" y="196"/>
                    </a:moveTo>
                    <a:cubicBezTo>
                      <a:pt x="262" y="196"/>
                      <a:pt x="262" y="197"/>
                      <a:pt x="262" y="197"/>
                    </a:cubicBezTo>
                    <a:moveTo>
                      <a:pt x="262" y="197"/>
                    </a:moveTo>
                    <a:cubicBezTo>
                      <a:pt x="261" y="197"/>
                      <a:pt x="261" y="198"/>
                      <a:pt x="261" y="198"/>
                    </a:cubicBezTo>
                    <a:moveTo>
                      <a:pt x="261" y="198"/>
                    </a:moveTo>
                    <a:cubicBezTo>
                      <a:pt x="222" y="229"/>
                      <a:pt x="189" y="265"/>
                      <a:pt x="159" y="305"/>
                    </a:cubicBezTo>
                    <a:moveTo>
                      <a:pt x="159" y="305"/>
                    </a:moveTo>
                    <a:cubicBezTo>
                      <a:pt x="158" y="305"/>
                      <a:pt x="158" y="305"/>
                      <a:pt x="158" y="306"/>
                    </a:cubicBezTo>
                    <a:moveTo>
                      <a:pt x="158" y="306"/>
                    </a:moveTo>
                    <a:cubicBezTo>
                      <a:pt x="157" y="306"/>
                      <a:pt x="158" y="307"/>
                      <a:pt x="158" y="306"/>
                    </a:cubicBezTo>
                    <a:moveTo>
                      <a:pt x="158" y="306"/>
                    </a:moveTo>
                    <a:cubicBezTo>
                      <a:pt x="159" y="306"/>
                      <a:pt x="159" y="305"/>
                      <a:pt x="159" y="305"/>
                    </a:cubicBezTo>
                    <a:moveTo>
                      <a:pt x="159" y="305"/>
                    </a:moveTo>
                    <a:cubicBezTo>
                      <a:pt x="167" y="301"/>
                      <a:pt x="173" y="295"/>
                      <a:pt x="182" y="292"/>
                    </a:cubicBezTo>
                    <a:cubicBezTo>
                      <a:pt x="205" y="258"/>
                      <a:pt x="232" y="227"/>
                      <a:pt x="261" y="198"/>
                    </a:cubicBezTo>
                    <a:moveTo>
                      <a:pt x="261" y="198"/>
                    </a:moveTo>
                    <a:cubicBezTo>
                      <a:pt x="262" y="198"/>
                      <a:pt x="262" y="198"/>
                      <a:pt x="262" y="197"/>
                    </a:cubicBezTo>
                    <a:moveTo>
                      <a:pt x="262" y="197"/>
                    </a:moveTo>
                    <a:cubicBezTo>
                      <a:pt x="263" y="197"/>
                      <a:pt x="263" y="197"/>
                      <a:pt x="263" y="196"/>
                    </a:cubicBezTo>
                    <a:moveTo>
                      <a:pt x="263" y="196"/>
                    </a:moveTo>
                    <a:cubicBezTo>
                      <a:pt x="264" y="196"/>
                      <a:pt x="264" y="196"/>
                      <a:pt x="264" y="195"/>
                    </a:cubicBezTo>
                    <a:moveTo>
                      <a:pt x="264" y="195"/>
                    </a:moveTo>
                    <a:cubicBezTo>
                      <a:pt x="265" y="195"/>
                      <a:pt x="265" y="195"/>
                      <a:pt x="265" y="194"/>
                    </a:cubicBezTo>
                    <a:moveTo>
                      <a:pt x="265" y="194"/>
                    </a:moveTo>
                    <a:cubicBezTo>
                      <a:pt x="266" y="195"/>
                      <a:pt x="266" y="194"/>
                      <a:pt x="266" y="193"/>
                    </a:cubicBezTo>
                    <a:moveTo>
                      <a:pt x="266" y="193"/>
                    </a:moveTo>
                    <a:cubicBezTo>
                      <a:pt x="266" y="194"/>
                      <a:pt x="267" y="193"/>
                      <a:pt x="267" y="192"/>
                    </a:cubicBezTo>
                    <a:moveTo>
                      <a:pt x="267" y="192"/>
                    </a:moveTo>
                    <a:cubicBezTo>
                      <a:pt x="268" y="192"/>
                      <a:pt x="267" y="191"/>
                      <a:pt x="267" y="192"/>
                    </a:cubicBezTo>
                    <a:moveTo>
                      <a:pt x="265" y="261"/>
                    </a:moveTo>
                    <a:cubicBezTo>
                      <a:pt x="263" y="261"/>
                      <a:pt x="265" y="262"/>
                      <a:pt x="265" y="261"/>
                    </a:cubicBezTo>
                    <a:moveTo>
                      <a:pt x="265" y="261"/>
                    </a:moveTo>
                    <a:cubicBezTo>
                      <a:pt x="274" y="259"/>
                      <a:pt x="281" y="256"/>
                      <a:pt x="291" y="255"/>
                    </a:cubicBezTo>
                    <a:cubicBezTo>
                      <a:pt x="305" y="236"/>
                      <a:pt x="324" y="222"/>
                      <a:pt x="340" y="205"/>
                    </a:cubicBezTo>
                    <a:cubicBezTo>
                      <a:pt x="330" y="202"/>
                      <a:pt x="323" y="196"/>
                      <a:pt x="315" y="192"/>
                    </a:cubicBezTo>
                    <a:cubicBezTo>
                      <a:pt x="296" y="214"/>
                      <a:pt x="279" y="236"/>
                      <a:pt x="265" y="261"/>
                    </a:cubicBezTo>
                    <a:moveTo>
                      <a:pt x="1208" y="192"/>
                    </a:moveTo>
                    <a:cubicBezTo>
                      <a:pt x="1198" y="200"/>
                      <a:pt x="1184" y="204"/>
                      <a:pt x="1173" y="211"/>
                    </a:cubicBezTo>
                    <a:cubicBezTo>
                      <a:pt x="1184" y="223"/>
                      <a:pt x="1187" y="240"/>
                      <a:pt x="1203" y="247"/>
                    </a:cubicBezTo>
                    <a:cubicBezTo>
                      <a:pt x="1215" y="253"/>
                      <a:pt x="1231" y="253"/>
                      <a:pt x="1246" y="257"/>
                    </a:cubicBezTo>
                    <a:cubicBezTo>
                      <a:pt x="1260" y="261"/>
                      <a:pt x="1274" y="266"/>
                      <a:pt x="1287" y="269"/>
                    </a:cubicBezTo>
                    <a:cubicBezTo>
                      <a:pt x="1267" y="238"/>
                      <a:pt x="1237" y="216"/>
                      <a:pt x="1208" y="192"/>
                    </a:cubicBezTo>
                    <a:close/>
                    <a:moveTo>
                      <a:pt x="637" y="198"/>
                    </a:moveTo>
                    <a:cubicBezTo>
                      <a:pt x="636" y="202"/>
                      <a:pt x="630" y="210"/>
                      <a:pt x="633" y="212"/>
                    </a:cubicBezTo>
                    <a:cubicBezTo>
                      <a:pt x="638" y="210"/>
                      <a:pt x="636" y="203"/>
                      <a:pt x="637" y="198"/>
                    </a:cubicBezTo>
                    <a:moveTo>
                      <a:pt x="637" y="198"/>
                    </a:moveTo>
                    <a:cubicBezTo>
                      <a:pt x="640" y="198"/>
                      <a:pt x="636" y="194"/>
                      <a:pt x="637" y="198"/>
                    </a:cubicBezTo>
                    <a:moveTo>
                      <a:pt x="1072" y="226"/>
                    </a:moveTo>
                    <a:cubicBezTo>
                      <a:pt x="1076" y="226"/>
                      <a:pt x="1083" y="228"/>
                      <a:pt x="1085" y="227"/>
                    </a:cubicBezTo>
                    <a:cubicBezTo>
                      <a:pt x="1077" y="219"/>
                      <a:pt x="1070" y="209"/>
                      <a:pt x="1062" y="201"/>
                    </a:cubicBezTo>
                    <a:cubicBezTo>
                      <a:pt x="1065" y="210"/>
                      <a:pt x="1069" y="217"/>
                      <a:pt x="1072" y="226"/>
                    </a:cubicBezTo>
                    <a:close/>
                    <a:moveTo>
                      <a:pt x="342" y="207"/>
                    </a:moveTo>
                    <a:cubicBezTo>
                      <a:pt x="327" y="222"/>
                      <a:pt x="310" y="236"/>
                      <a:pt x="296" y="253"/>
                    </a:cubicBezTo>
                    <a:cubicBezTo>
                      <a:pt x="319" y="247"/>
                      <a:pt x="343" y="243"/>
                      <a:pt x="366" y="239"/>
                    </a:cubicBezTo>
                    <a:cubicBezTo>
                      <a:pt x="370" y="231"/>
                      <a:pt x="374" y="225"/>
                      <a:pt x="377" y="217"/>
                    </a:cubicBezTo>
                    <a:cubicBezTo>
                      <a:pt x="364" y="215"/>
                      <a:pt x="354" y="210"/>
                      <a:pt x="342" y="207"/>
                    </a:cubicBezTo>
                    <a:close/>
                    <a:moveTo>
                      <a:pt x="745" y="212"/>
                    </a:moveTo>
                    <a:cubicBezTo>
                      <a:pt x="745" y="226"/>
                      <a:pt x="744" y="240"/>
                      <a:pt x="743" y="254"/>
                    </a:cubicBezTo>
                    <a:cubicBezTo>
                      <a:pt x="757" y="253"/>
                      <a:pt x="774" y="255"/>
                      <a:pt x="786" y="253"/>
                    </a:cubicBezTo>
                    <a:cubicBezTo>
                      <a:pt x="784" y="241"/>
                      <a:pt x="786" y="224"/>
                      <a:pt x="784" y="212"/>
                    </a:cubicBezTo>
                    <a:cubicBezTo>
                      <a:pt x="773" y="210"/>
                      <a:pt x="756" y="210"/>
                      <a:pt x="745" y="212"/>
                    </a:cubicBezTo>
                    <a:close/>
                    <a:moveTo>
                      <a:pt x="1176" y="220"/>
                    </a:moveTo>
                    <a:cubicBezTo>
                      <a:pt x="1176" y="221"/>
                      <a:pt x="1176" y="221"/>
                      <a:pt x="1177" y="221"/>
                    </a:cubicBezTo>
                    <a:moveTo>
                      <a:pt x="1177" y="221"/>
                    </a:moveTo>
                    <a:cubicBezTo>
                      <a:pt x="1177" y="223"/>
                      <a:pt x="1178" y="221"/>
                      <a:pt x="1177" y="221"/>
                    </a:cubicBezTo>
                    <a:moveTo>
                      <a:pt x="1177" y="221"/>
                    </a:moveTo>
                    <a:cubicBezTo>
                      <a:pt x="1177" y="220"/>
                      <a:pt x="1176" y="220"/>
                      <a:pt x="1176" y="220"/>
                    </a:cubicBezTo>
                    <a:moveTo>
                      <a:pt x="1176" y="220"/>
                    </a:moveTo>
                    <a:cubicBezTo>
                      <a:pt x="1174" y="216"/>
                      <a:pt x="1171" y="207"/>
                      <a:pt x="1166" y="213"/>
                    </a:cubicBezTo>
                    <a:cubicBezTo>
                      <a:pt x="1170" y="214"/>
                      <a:pt x="1172" y="218"/>
                      <a:pt x="1176" y="220"/>
                    </a:cubicBezTo>
                    <a:moveTo>
                      <a:pt x="639" y="214"/>
                    </a:moveTo>
                    <a:cubicBezTo>
                      <a:pt x="637" y="225"/>
                      <a:pt x="635" y="238"/>
                      <a:pt x="633" y="251"/>
                    </a:cubicBezTo>
                    <a:cubicBezTo>
                      <a:pt x="669" y="252"/>
                      <a:pt x="704" y="254"/>
                      <a:pt x="741" y="254"/>
                    </a:cubicBezTo>
                    <a:cubicBezTo>
                      <a:pt x="741" y="239"/>
                      <a:pt x="742" y="225"/>
                      <a:pt x="743" y="212"/>
                    </a:cubicBezTo>
                    <a:cubicBezTo>
                      <a:pt x="707" y="211"/>
                      <a:pt x="673" y="213"/>
                      <a:pt x="639" y="214"/>
                    </a:cubicBezTo>
                    <a:close/>
                    <a:moveTo>
                      <a:pt x="787" y="212"/>
                    </a:moveTo>
                    <a:cubicBezTo>
                      <a:pt x="786" y="227"/>
                      <a:pt x="789" y="239"/>
                      <a:pt x="788" y="254"/>
                    </a:cubicBezTo>
                    <a:cubicBezTo>
                      <a:pt x="815" y="254"/>
                      <a:pt x="840" y="252"/>
                      <a:pt x="867" y="252"/>
                    </a:cubicBezTo>
                    <a:cubicBezTo>
                      <a:pt x="863" y="238"/>
                      <a:pt x="860" y="225"/>
                      <a:pt x="856" y="213"/>
                    </a:cubicBezTo>
                    <a:cubicBezTo>
                      <a:pt x="834" y="212"/>
                      <a:pt x="811" y="211"/>
                      <a:pt x="787" y="212"/>
                    </a:cubicBezTo>
                    <a:close/>
                    <a:moveTo>
                      <a:pt x="870" y="251"/>
                    </a:moveTo>
                    <a:cubicBezTo>
                      <a:pt x="891" y="251"/>
                      <a:pt x="917" y="249"/>
                      <a:pt x="938" y="247"/>
                    </a:cubicBezTo>
                    <a:cubicBezTo>
                      <a:pt x="937" y="236"/>
                      <a:pt x="934" y="227"/>
                      <a:pt x="932" y="216"/>
                    </a:cubicBezTo>
                    <a:cubicBezTo>
                      <a:pt x="909" y="214"/>
                      <a:pt x="884" y="214"/>
                      <a:pt x="861" y="213"/>
                    </a:cubicBezTo>
                    <a:cubicBezTo>
                      <a:pt x="864" y="226"/>
                      <a:pt x="868" y="237"/>
                      <a:pt x="870" y="251"/>
                    </a:cubicBezTo>
                    <a:close/>
                    <a:moveTo>
                      <a:pt x="1190" y="244"/>
                    </a:moveTo>
                    <a:cubicBezTo>
                      <a:pt x="1191" y="246"/>
                      <a:pt x="1191" y="244"/>
                      <a:pt x="1190" y="244"/>
                    </a:cubicBezTo>
                    <a:moveTo>
                      <a:pt x="1190" y="244"/>
                    </a:moveTo>
                    <a:cubicBezTo>
                      <a:pt x="1184" y="231"/>
                      <a:pt x="1173" y="222"/>
                      <a:pt x="1162" y="213"/>
                    </a:cubicBezTo>
                    <a:cubicBezTo>
                      <a:pt x="1143" y="221"/>
                      <a:pt x="1120" y="224"/>
                      <a:pt x="1099" y="230"/>
                    </a:cubicBezTo>
                    <a:cubicBezTo>
                      <a:pt x="1131" y="233"/>
                      <a:pt x="1160" y="239"/>
                      <a:pt x="1190" y="244"/>
                    </a:cubicBezTo>
                    <a:moveTo>
                      <a:pt x="632" y="214"/>
                    </a:moveTo>
                    <a:cubicBezTo>
                      <a:pt x="625" y="223"/>
                      <a:pt x="622" y="237"/>
                      <a:pt x="618" y="250"/>
                    </a:cubicBezTo>
                    <a:cubicBezTo>
                      <a:pt x="622" y="250"/>
                      <a:pt x="626" y="250"/>
                      <a:pt x="630" y="250"/>
                    </a:cubicBezTo>
                    <a:cubicBezTo>
                      <a:pt x="631" y="238"/>
                      <a:pt x="633" y="225"/>
                      <a:pt x="635" y="214"/>
                    </a:cubicBezTo>
                    <a:cubicBezTo>
                      <a:pt x="634" y="214"/>
                      <a:pt x="633" y="214"/>
                      <a:pt x="632" y="214"/>
                    </a:cubicBezTo>
                    <a:close/>
                    <a:moveTo>
                      <a:pt x="515" y="222"/>
                    </a:moveTo>
                    <a:cubicBezTo>
                      <a:pt x="512" y="228"/>
                      <a:pt x="507" y="233"/>
                      <a:pt x="505" y="239"/>
                    </a:cubicBezTo>
                    <a:cubicBezTo>
                      <a:pt x="541" y="243"/>
                      <a:pt x="576" y="248"/>
                      <a:pt x="615" y="249"/>
                    </a:cubicBezTo>
                    <a:cubicBezTo>
                      <a:pt x="619" y="237"/>
                      <a:pt x="623" y="226"/>
                      <a:pt x="628" y="215"/>
                    </a:cubicBezTo>
                    <a:cubicBezTo>
                      <a:pt x="589" y="216"/>
                      <a:pt x="552" y="218"/>
                      <a:pt x="515" y="222"/>
                    </a:cubicBezTo>
                    <a:close/>
                    <a:moveTo>
                      <a:pt x="941" y="247"/>
                    </a:moveTo>
                    <a:cubicBezTo>
                      <a:pt x="956" y="246"/>
                      <a:pt x="972" y="245"/>
                      <a:pt x="986" y="242"/>
                    </a:cubicBezTo>
                    <a:cubicBezTo>
                      <a:pt x="980" y="235"/>
                      <a:pt x="978" y="225"/>
                      <a:pt x="971" y="219"/>
                    </a:cubicBezTo>
                    <a:cubicBezTo>
                      <a:pt x="960" y="218"/>
                      <a:pt x="947" y="217"/>
                      <a:pt x="935" y="216"/>
                    </a:cubicBezTo>
                    <a:cubicBezTo>
                      <a:pt x="936" y="227"/>
                      <a:pt x="939" y="236"/>
                      <a:pt x="941" y="247"/>
                    </a:cubicBezTo>
                    <a:close/>
                    <a:moveTo>
                      <a:pt x="370" y="238"/>
                    </a:moveTo>
                    <a:cubicBezTo>
                      <a:pt x="369" y="238"/>
                      <a:pt x="370" y="239"/>
                      <a:pt x="370" y="238"/>
                    </a:cubicBezTo>
                    <a:moveTo>
                      <a:pt x="370" y="238"/>
                    </a:moveTo>
                    <a:cubicBezTo>
                      <a:pt x="384" y="235"/>
                      <a:pt x="401" y="237"/>
                      <a:pt x="406" y="225"/>
                    </a:cubicBezTo>
                    <a:cubicBezTo>
                      <a:pt x="396" y="224"/>
                      <a:pt x="389" y="220"/>
                      <a:pt x="379" y="219"/>
                    </a:cubicBezTo>
                    <a:cubicBezTo>
                      <a:pt x="377" y="226"/>
                      <a:pt x="372" y="230"/>
                      <a:pt x="370" y="238"/>
                    </a:cubicBezTo>
                    <a:moveTo>
                      <a:pt x="989" y="242"/>
                    </a:moveTo>
                    <a:cubicBezTo>
                      <a:pt x="1017" y="239"/>
                      <a:pt x="1047" y="238"/>
                      <a:pt x="1071" y="230"/>
                    </a:cubicBezTo>
                    <a:cubicBezTo>
                      <a:pt x="1042" y="224"/>
                      <a:pt x="1008" y="222"/>
                      <a:pt x="976" y="219"/>
                    </a:cubicBezTo>
                    <a:cubicBezTo>
                      <a:pt x="980" y="227"/>
                      <a:pt x="984" y="235"/>
                      <a:pt x="989" y="242"/>
                    </a:cubicBezTo>
                    <a:close/>
                    <a:moveTo>
                      <a:pt x="497" y="223"/>
                    </a:moveTo>
                    <a:cubicBezTo>
                      <a:pt x="494" y="227"/>
                      <a:pt x="494" y="233"/>
                      <a:pt x="491" y="238"/>
                    </a:cubicBezTo>
                    <a:cubicBezTo>
                      <a:pt x="495" y="237"/>
                      <a:pt x="497" y="239"/>
                      <a:pt x="502" y="239"/>
                    </a:cubicBezTo>
                    <a:cubicBezTo>
                      <a:pt x="504" y="232"/>
                      <a:pt x="509" y="228"/>
                      <a:pt x="511" y="222"/>
                    </a:cubicBezTo>
                    <a:cubicBezTo>
                      <a:pt x="507" y="223"/>
                      <a:pt x="503" y="224"/>
                      <a:pt x="497" y="223"/>
                    </a:cubicBezTo>
                    <a:close/>
                    <a:moveTo>
                      <a:pt x="1178" y="224"/>
                    </a:moveTo>
                    <a:cubicBezTo>
                      <a:pt x="1177" y="224"/>
                      <a:pt x="1178" y="225"/>
                      <a:pt x="1178" y="224"/>
                    </a:cubicBezTo>
                    <a:close/>
                    <a:moveTo>
                      <a:pt x="445" y="231"/>
                    </a:moveTo>
                    <a:cubicBezTo>
                      <a:pt x="460" y="233"/>
                      <a:pt x="475" y="235"/>
                      <a:pt x="489" y="238"/>
                    </a:cubicBezTo>
                    <a:cubicBezTo>
                      <a:pt x="490" y="232"/>
                      <a:pt x="492" y="229"/>
                      <a:pt x="493" y="224"/>
                    </a:cubicBezTo>
                    <a:cubicBezTo>
                      <a:pt x="477" y="226"/>
                      <a:pt x="459" y="226"/>
                      <a:pt x="445" y="231"/>
                    </a:cubicBezTo>
                    <a:close/>
                    <a:moveTo>
                      <a:pt x="421" y="230"/>
                    </a:moveTo>
                    <a:cubicBezTo>
                      <a:pt x="423" y="230"/>
                      <a:pt x="429" y="229"/>
                      <a:pt x="424" y="229"/>
                    </a:cubicBezTo>
                    <a:cubicBezTo>
                      <a:pt x="419" y="228"/>
                      <a:pt x="414" y="227"/>
                      <a:pt x="409" y="226"/>
                    </a:cubicBezTo>
                    <a:cubicBezTo>
                      <a:pt x="407" y="229"/>
                      <a:pt x="404" y="230"/>
                      <a:pt x="403" y="233"/>
                    </a:cubicBezTo>
                    <a:cubicBezTo>
                      <a:pt x="409" y="232"/>
                      <a:pt x="416" y="231"/>
                      <a:pt x="421" y="230"/>
                    </a:cubicBezTo>
                    <a:close/>
                    <a:moveTo>
                      <a:pt x="1079" y="230"/>
                    </a:moveTo>
                    <a:cubicBezTo>
                      <a:pt x="1078" y="229"/>
                      <a:pt x="1073" y="228"/>
                      <a:pt x="1073" y="230"/>
                    </a:cubicBezTo>
                    <a:cubicBezTo>
                      <a:pt x="1074" y="231"/>
                      <a:pt x="1078" y="232"/>
                      <a:pt x="1079" y="230"/>
                    </a:cubicBezTo>
                    <a:close/>
                    <a:moveTo>
                      <a:pt x="309" y="418"/>
                    </a:moveTo>
                    <a:cubicBezTo>
                      <a:pt x="307" y="419"/>
                      <a:pt x="309" y="419"/>
                      <a:pt x="309" y="418"/>
                    </a:cubicBezTo>
                    <a:moveTo>
                      <a:pt x="309" y="418"/>
                    </a:moveTo>
                    <a:cubicBezTo>
                      <a:pt x="345" y="412"/>
                      <a:pt x="381" y="406"/>
                      <a:pt x="418" y="401"/>
                    </a:cubicBezTo>
                    <a:cubicBezTo>
                      <a:pt x="436" y="359"/>
                      <a:pt x="455" y="318"/>
                      <a:pt x="477" y="281"/>
                    </a:cubicBezTo>
                    <a:cubicBezTo>
                      <a:pt x="479" y="266"/>
                      <a:pt x="484" y="253"/>
                      <a:pt x="488" y="239"/>
                    </a:cubicBezTo>
                    <a:cubicBezTo>
                      <a:pt x="458" y="236"/>
                      <a:pt x="431" y="227"/>
                      <a:pt x="401" y="236"/>
                    </a:cubicBezTo>
                    <a:cubicBezTo>
                      <a:pt x="376" y="263"/>
                      <a:pt x="355" y="294"/>
                      <a:pt x="333" y="324"/>
                    </a:cubicBezTo>
                    <a:cubicBezTo>
                      <a:pt x="324" y="355"/>
                      <a:pt x="314" y="384"/>
                      <a:pt x="309" y="418"/>
                    </a:cubicBezTo>
                    <a:moveTo>
                      <a:pt x="1092" y="232"/>
                    </a:moveTo>
                    <a:cubicBezTo>
                      <a:pt x="1137" y="288"/>
                      <a:pt x="1175" y="350"/>
                      <a:pt x="1208" y="417"/>
                    </a:cubicBezTo>
                    <a:cubicBezTo>
                      <a:pt x="1224" y="419"/>
                      <a:pt x="1240" y="426"/>
                      <a:pt x="1256" y="425"/>
                    </a:cubicBezTo>
                    <a:cubicBezTo>
                      <a:pt x="1244" y="360"/>
                      <a:pt x="1220" y="299"/>
                      <a:pt x="1192" y="247"/>
                    </a:cubicBezTo>
                    <a:cubicBezTo>
                      <a:pt x="1159" y="242"/>
                      <a:pt x="1128" y="235"/>
                      <a:pt x="1092" y="232"/>
                    </a:cubicBezTo>
                    <a:moveTo>
                      <a:pt x="1092" y="232"/>
                    </a:moveTo>
                    <a:cubicBezTo>
                      <a:pt x="1092" y="230"/>
                      <a:pt x="1091" y="232"/>
                      <a:pt x="1092" y="232"/>
                    </a:cubicBezTo>
                    <a:moveTo>
                      <a:pt x="1104" y="252"/>
                    </a:moveTo>
                    <a:cubicBezTo>
                      <a:pt x="1096" y="241"/>
                      <a:pt x="1089" y="225"/>
                      <a:pt x="1075" y="235"/>
                    </a:cubicBezTo>
                    <a:cubicBezTo>
                      <a:pt x="1096" y="285"/>
                      <a:pt x="1109" y="342"/>
                      <a:pt x="1119" y="403"/>
                    </a:cubicBezTo>
                    <a:cubicBezTo>
                      <a:pt x="1148" y="406"/>
                      <a:pt x="1178" y="413"/>
                      <a:pt x="1205" y="415"/>
                    </a:cubicBezTo>
                    <a:cubicBezTo>
                      <a:pt x="1178" y="360"/>
                      <a:pt x="1141" y="300"/>
                      <a:pt x="1104" y="252"/>
                    </a:cubicBezTo>
                    <a:close/>
                    <a:moveTo>
                      <a:pt x="990" y="245"/>
                    </a:moveTo>
                    <a:cubicBezTo>
                      <a:pt x="1015" y="293"/>
                      <a:pt x="1038" y="342"/>
                      <a:pt x="1057" y="395"/>
                    </a:cubicBezTo>
                    <a:cubicBezTo>
                      <a:pt x="1077" y="398"/>
                      <a:pt x="1097" y="399"/>
                      <a:pt x="1116" y="403"/>
                    </a:cubicBezTo>
                    <a:cubicBezTo>
                      <a:pt x="1108" y="349"/>
                      <a:pt x="1096" y="297"/>
                      <a:pt x="1080" y="252"/>
                    </a:cubicBezTo>
                    <a:cubicBezTo>
                      <a:pt x="1078" y="246"/>
                      <a:pt x="1076" y="238"/>
                      <a:pt x="1070" y="235"/>
                    </a:cubicBezTo>
                    <a:cubicBezTo>
                      <a:pt x="1044" y="239"/>
                      <a:pt x="1018" y="243"/>
                      <a:pt x="990" y="245"/>
                    </a:cubicBezTo>
                    <a:close/>
                    <a:moveTo>
                      <a:pt x="368" y="240"/>
                    </a:moveTo>
                    <a:cubicBezTo>
                      <a:pt x="357" y="263"/>
                      <a:pt x="345" y="288"/>
                      <a:pt x="339" y="312"/>
                    </a:cubicBezTo>
                    <a:cubicBezTo>
                      <a:pt x="353" y="289"/>
                      <a:pt x="373" y="265"/>
                      <a:pt x="390" y="245"/>
                    </a:cubicBezTo>
                    <a:cubicBezTo>
                      <a:pt x="392" y="243"/>
                      <a:pt x="395" y="239"/>
                      <a:pt x="394" y="237"/>
                    </a:cubicBezTo>
                    <a:cubicBezTo>
                      <a:pt x="386" y="238"/>
                      <a:pt x="378" y="240"/>
                      <a:pt x="368" y="240"/>
                    </a:cubicBezTo>
                    <a:close/>
                    <a:moveTo>
                      <a:pt x="483" y="268"/>
                    </a:moveTo>
                    <a:cubicBezTo>
                      <a:pt x="480" y="268"/>
                      <a:pt x="484" y="272"/>
                      <a:pt x="483" y="268"/>
                    </a:cubicBezTo>
                    <a:moveTo>
                      <a:pt x="483" y="268"/>
                    </a:moveTo>
                    <a:cubicBezTo>
                      <a:pt x="489" y="260"/>
                      <a:pt x="494" y="251"/>
                      <a:pt x="499" y="241"/>
                    </a:cubicBezTo>
                    <a:cubicBezTo>
                      <a:pt x="496" y="241"/>
                      <a:pt x="494" y="240"/>
                      <a:pt x="490" y="240"/>
                    </a:cubicBezTo>
                    <a:cubicBezTo>
                      <a:pt x="488" y="250"/>
                      <a:pt x="484" y="258"/>
                      <a:pt x="483" y="268"/>
                    </a:cubicBezTo>
                    <a:moveTo>
                      <a:pt x="327" y="249"/>
                    </a:moveTo>
                    <a:cubicBezTo>
                      <a:pt x="315" y="252"/>
                      <a:pt x="301" y="252"/>
                      <a:pt x="294" y="256"/>
                    </a:cubicBezTo>
                    <a:cubicBezTo>
                      <a:pt x="288" y="259"/>
                      <a:pt x="279" y="270"/>
                      <a:pt x="273" y="277"/>
                    </a:cubicBezTo>
                    <a:cubicBezTo>
                      <a:pt x="242" y="313"/>
                      <a:pt x="211" y="348"/>
                      <a:pt x="198" y="402"/>
                    </a:cubicBezTo>
                    <a:cubicBezTo>
                      <a:pt x="222" y="411"/>
                      <a:pt x="245" y="420"/>
                      <a:pt x="271" y="426"/>
                    </a:cubicBezTo>
                    <a:cubicBezTo>
                      <a:pt x="285" y="399"/>
                      <a:pt x="300" y="372"/>
                      <a:pt x="316" y="347"/>
                    </a:cubicBezTo>
                    <a:cubicBezTo>
                      <a:pt x="321" y="339"/>
                      <a:pt x="328" y="330"/>
                      <a:pt x="332" y="322"/>
                    </a:cubicBezTo>
                    <a:cubicBezTo>
                      <a:pt x="344" y="296"/>
                      <a:pt x="348" y="268"/>
                      <a:pt x="365" y="243"/>
                    </a:cubicBezTo>
                    <a:cubicBezTo>
                      <a:pt x="364" y="243"/>
                      <a:pt x="365" y="241"/>
                      <a:pt x="364" y="241"/>
                    </a:cubicBezTo>
                    <a:cubicBezTo>
                      <a:pt x="353" y="243"/>
                      <a:pt x="340" y="246"/>
                      <a:pt x="327" y="249"/>
                    </a:cubicBezTo>
                    <a:close/>
                    <a:moveTo>
                      <a:pt x="504" y="242"/>
                    </a:moveTo>
                    <a:cubicBezTo>
                      <a:pt x="472" y="274"/>
                      <a:pt x="465" y="338"/>
                      <a:pt x="457" y="396"/>
                    </a:cubicBezTo>
                    <a:cubicBezTo>
                      <a:pt x="495" y="392"/>
                      <a:pt x="535" y="389"/>
                      <a:pt x="575" y="385"/>
                    </a:cubicBezTo>
                    <a:cubicBezTo>
                      <a:pt x="587" y="340"/>
                      <a:pt x="599" y="294"/>
                      <a:pt x="614" y="252"/>
                    </a:cubicBezTo>
                    <a:cubicBezTo>
                      <a:pt x="576" y="250"/>
                      <a:pt x="540" y="246"/>
                      <a:pt x="504" y="242"/>
                    </a:cubicBezTo>
                    <a:close/>
                    <a:moveTo>
                      <a:pt x="1194" y="244"/>
                    </a:moveTo>
                    <a:cubicBezTo>
                      <a:pt x="1194" y="245"/>
                      <a:pt x="1194" y="245"/>
                      <a:pt x="1195" y="245"/>
                    </a:cubicBezTo>
                    <a:moveTo>
                      <a:pt x="1195" y="245"/>
                    </a:moveTo>
                    <a:cubicBezTo>
                      <a:pt x="1196" y="247"/>
                      <a:pt x="1196" y="245"/>
                      <a:pt x="1195" y="245"/>
                    </a:cubicBezTo>
                    <a:moveTo>
                      <a:pt x="1195" y="245"/>
                    </a:moveTo>
                    <a:cubicBezTo>
                      <a:pt x="1195" y="244"/>
                      <a:pt x="1195" y="244"/>
                      <a:pt x="1194" y="244"/>
                    </a:cubicBezTo>
                    <a:moveTo>
                      <a:pt x="1194" y="244"/>
                    </a:moveTo>
                    <a:cubicBezTo>
                      <a:pt x="1193" y="243"/>
                      <a:pt x="1193" y="244"/>
                      <a:pt x="1194" y="244"/>
                    </a:cubicBezTo>
                    <a:moveTo>
                      <a:pt x="942" y="250"/>
                    </a:moveTo>
                    <a:cubicBezTo>
                      <a:pt x="949" y="294"/>
                      <a:pt x="955" y="339"/>
                      <a:pt x="960" y="386"/>
                    </a:cubicBezTo>
                    <a:cubicBezTo>
                      <a:pt x="991" y="389"/>
                      <a:pt x="1024" y="391"/>
                      <a:pt x="1054" y="395"/>
                    </a:cubicBezTo>
                    <a:cubicBezTo>
                      <a:pt x="1035" y="342"/>
                      <a:pt x="1013" y="293"/>
                      <a:pt x="988" y="246"/>
                    </a:cubicBezTo>
                    <a:cubicBezTo>
                      <a:pt x="972" y="247"/>
                      <a:pt x="957" y="249"/>
                      <a:pt x="942" y="250"/>
                    </a:cubicBezTo>
                    <a:close/>
                    <a:moveTo>
                      <a:pt x="1259" y="424"/>
                    </a:moveTo>
                    <a:cubicBezTo>
                      <a:pt x="1279" y="419"/>
                      <a:pt x="1296" y="412"/>
                      <a:pt x="1314" y="407"/>
                    </a:cubicBezTo>
                    <a:cubicBezTo>
                      <a:pt x="1282" y="347"/>
                      <a:pt x="1242" y="296"/>
                      <a:pt x="1198" y="249"/>
                    </a:cubicBezTo>
                    <a:cubicBezTo>
                      <a:pt x="1197" y="249"/>
                      <a:pt x="1196" y="249"/>
                      <a:pt x="1196" y="250"/>
                    </a:cubicBezTo>
                    <a:cubicBezTo>
                      <a:pt x="1224" y="301"/>
                      <a:pt x="1245" y="359"/>
                      <a:pt x="1259" y="424"/>
                    </a:cubicBezTo>
                    <a:close/>
                    <a:moveTo>
                      <a:pt x="871" y="255"/>
                    </a:moveTo>
                    <a:cubicBezTo>
                      <a:pt x="883" y="296"/>
                      <a:pt x="891" y="339"/>
                      <a:pt x="899" y="383"/>
                    </a:cubicBezTo>
                    <a:cubicBezTo>
                      <a:pt x="918" y="384"/>
                      <a:pt x="938" y="384"/>
                      <a:pt x="957" y="386"/>
                    </a:cubicBezTo>
                    <a:cubicBezTo>
                      <a:pt x="953" y="345"/>
                      <a:pt x="948" y="301"/>
                      <a:pt x="942" y="264"/>
                    </a:cubicBezTo>
                    <a:cubicBezTo>
                      <a:pt x="941" y="260"/>
                      <a:pt x="941" y="252"/>
                      <a:pt x="936" y="250"/>
                    </a:cubicBezTo>
                    <a:cubicBezTo>
                      <a:pt x="915" y="253"/>
                      <a:pt x="892" y="252"/>
                      <a:pt x="871" y="255"/>
                    </a:cubicBezTo>
                    <a:close/>
                    <a:moveTo>
                      <a:pt x="1317" y="405"/>
                    </a:moveTo>
                    <a:cubicBezTo>
                      <a:pt x="1328" y="400"/>
                      <a:pt x="1340" y="395"/>
                      <a:pt x="1350" y="388"/>
                    </a:cubicBezTo>
                    <a:cubicBezTo>
                      <a:pt x="1332" y="347"/>
                      <a:pt x="1314" y="307"/>
                      <a:pt x="1289" y="273"/>
                    </a:cubicBezTo>
                    <a:cubicBezTo>
                      <a:pt x="1263" y="264"/>
                      <a:pt x="1231" y="255"/>
                      <a:pt x="1204" y="251"/>
                    </a:cubicBezTo>
                    <a:cubicBezTo>
                      <a:pt x="1247" y="297"/>
                      <a:pt x="1284" y="348"/>
                      <a:pt x="1317" y="405"/>
                    </a:cubicBezTo>
                    <a:close/>
                    <a:moveTo>
                      <a:pt x="616" y="253"/>
                    </a:moveTo>
                    <a:cubicBezTo>
                      <a:pt x="602" y="296"/>
                      <a:pt x="589" y="340"/>
                      <a:pt x="578" y="385"/>
                    </a:cubicBezTo>
                    <a:cubicBezTo>
                      <a:pt x="591" y="385"/>
                      <a:pt x="603" y="384"/>
                      <a:pt x="617" y="383"/>
                    </a:cubicBezTo>
                    <a:cubicBezTo>
                      <a:pt x="619" y="338"/>
                      <a:pt x="624" y="295"/>
                      <a:pt x="630" y="253"/>
                    </a:cubicBezTo>
                    <a:cubicBezTo>
                      <a:pt x="625" y="254"/>
                      <a:pt x="618" y="252"/>
                      <a:pt x="616" y="253"/>
                    </a:cubicBezTo>
                    <a:close/>
                    <a:moveTo>
                      <a:pt x="632" y="256"/>
                    </a:moveTo>
                    <a:cubicBezTo>
                      <a:pt x="628" y="298"/>
                      <a:pt x="623" y="339"/>
                      <a:pt x="621" y="383"/>
                    </a:cubicBezTo>
                    <a:cubicBezTo>
                      <a:pt x="658" y="381"/>
                      <a:pt x="697" y="381"/>
                      <a:pt x="735" y="380"/>
                    </a:cubicBezTo>
                    <a:cubicBezTo>
                      <a:pt x="737" y="339"/>
                      <a:pt x="739" y="298"/>
                      <a:pt x="740" y="257"/>
                    </a:cubicBezTo>
                    <a:cubicBezTo>
                      <a:pt x="704" y="257"/>
                      <a:pt x="670" y="255"/>
                      <a:pt x="634" y="254"/>
                    </a:cubicBezTo>
                    <a:cubicBezTo>
                      <a:pt x="634" y="252"/>
                      <a:pt x="632" y="254"/>
                      <a:pt x="632" y="256"/>
                    </a:cubicBezTo>
                    <a:close/>
                    <a:moveTo>
                      <a:pt x="788" y="257"/>
                    </a:moveTo>
                    <a:cubicBezTo>
                      <a:pt x="789" y="297"/>
                      <a:pt x="790" y="338"/>
                      <a:pt x="790" y="380"/>
                    </a:cubicBezTo>
                    <a:cubicBezTo>
                      <a:pt x="825" y="380"/>
                      <a:pt x="860" y="381"/>
                      <a:pt x="894" y="383"/>
                    </a:cubicBezTo>
                    <a:cubicBezTo>
                      <a:pt x="888" y="338"/>
                      <a:pt x="878" y="296"/>
                      <a:pt x="868" y="255"/>
                    </a:cubicBezTo>
                    <a:cubicBezTo>
                      <a:pt x="841" y="255"/>
                      <a:pt x="815" y="257"/>
                      <a:pt x="788" y="257"/>
                    </a:cubicBezTo>
                    <a:close/>
                    <a:moveTo>
                      <a:pt x="744" y="257"/>
                    </a:moveTo>
                    <a:cubicBezTo>
                      <a:pt x="740" y="296"/>
                      <a:pt x="740" y="339"/>
                      <a:pt x="738" y="380"/>
                    </a:cubicBezTo>
                    <a:cubicBezTo>
                      <a:pt x="755" y="380"/>
                      <a:pt x="771" y="380"/>
                      <a:pt x="788" y="380"/>
                    </a:cubicBezTo>
                    <a:cubicBezTo>
                      <a:pt x="788" y="338"/>
                      <a:pt x="786" y="298"/>
                      <a:pt x="786" y="257"/>
                    </a:cubicBezTo>
                    <a:cubicBezTo>
                      <a:pt x="772" y="257"/>
                      <a:pt x="758" y="257"/>
                      <a:pt x="744" y="257"/>
                    </a:cubicBezTo>
                    <a:close/>
                    <a:moveTo>
                      <a:pt x="286" y="259"/>
                    </a:moveTo>
                    <a:cubicBezTo>
                      <a:pt x="277" y="260"/>
                      <a:pt x="270" y="263"/>
                      <a:pt x="262" y="264"/>
                    </a:cubicBezTo>
                    <a:cubicBezTo>
                      <a:pt x="249" y="285"/>
                      <a:pt x="237" y="306"/>
                      <a:pt x="227" y="329"/>
                    </a:cubicBezTo>
                    <a:moveTo>
                      <a:pt x="227" y="329"/>
                    </a:moveTo>
                    <a:cubicBezTo>
                      <a:pt x="226" y="329"/>
                      <a:pt x="227" y="330"/>
                      <a:pt x="226" y="331"/>
                    </a:cubicBezTo>
                    <a:moveTo>
                      <a:pt x="226" y="331"/>
                    </a:moveTo>
                    <a:cubicBezTo>
                      <a:pt x="225" y="331"/>
                      <a:pt x="226" y="332"/>
                      <a:pt x="226" y="331"/>
                    </a:cubicBezTo>
                    <a:moveTo>
                      <a:pt x="226" y="331"/>
                    </a:moveTo>
                    <a:cubicBezTo>
                      <a:pt x="227" y="331"/>
                      <a:pt x="227" y="330"/>
                      <a:pt x="227" y="329"/>
                    </a:cubicBezTo>
                    <a:moveTo>
                      <a:pt x="286" y="259"/>
                    </a:moveTo>
                    <a:cubicBezTo>
                      <a:pt x="266" y="281"/>
                      <a:pt x="246" y="305"/>
                      <a:pt x="227" y="329"/>
                    </a:cubicBezTo>
                    <a:moveTo>
                      <a:pt x="286" y="259"/>
                    </a:moveTo>
                    <a:cubicBezTo>
                      <a:pt x="287" y="258"/>
                      <a:pt x="286" y="258"/>
                      <a:pt x="286" y="259"/>
                    </a:cubicBezTo>
                    <a:moveTo>
                      <a:pt x="257" y="266"/>
                    </a:moveTo>
                    <a:cubicBezTo>
                      <a:pt x="237" y="271"/>
                      <a:pt x="219" y="278"/>
                      <a:pt x="201" y="286"/>
                    </a:cubicBezTo>
                    <a:cubicBezTo>
                      <a:pt x="180" y="309"/>
                      <a:pt x="160" y="334"/>
                      <a:pt x="143" y="361"/>
                    </a:cubicBezTo>
                    <a:cubicBezTo>
                      <a:pt x="152" y="377"/>
                      <a:pt x="168" y="386"/>
                      <a:pt x="184" y="394"/>
                    </a:cubicBezTo>
                    <a:cubicBezTo>
                      <a:pt x="194" y="377"/>
                      <a:pt x="205" y="359"/>
                      <a:pt x="218" y="344"/>
                    </a:cubicBezTo>
                    <a:cubicBezTo>
                      <a:pt x="228" y="316"/>
                      <a:pt x="243" y="291"/>
                      <a:pt x="257" y="266"/>
                    </a:cubicBezTo>
                    <a:moveTo>
                      <a:pt x="257" y="266"/>
                    </a:moveTo>
                    <a:cubicBezTo>
                      <a:pt x="258" y="266"/>
                      <a:pt x="257" y="265"/>
                      <a:pt x="257" y="266"/>
                    </a:cubicBezTo>
                    <a:moveTo>
                      <a:pt x="1292" y="270"/>
                    </a:moveTo>
                    <a:cubicBezTo>
                      <a:pt x="1293" y="272"/>
                      <a:pt x="1293" y="270"/>
                      <a:pt x="1292" y="270"/>
                    </a:cubicBezTo>
                    <a:moveTo>
                      <a:pt x="1292" y="270"/>
                    </a:moveTo>
                    <a:cubicBezTo>
                      <a:pt x="1291" y="269"/>
                      <a:pt x="1291" y="270"/>
                      <a:pt x="1292" y="270"/>
                    </a:cubicBezTo>
                    <a:moveTo>
                      <a:pt x="1295" y="275"/>
                    </a:moveTo>
                    <a:cubicBezTo>
                      <a:pt x="1316" y="310"/>
                      <a:pt x="1336" y="347"/>
                      <a:pt x="1351" y="387"/>
                    </a:cubicBezTo>
                    <a:cubicBezTo>
                      <a:pt x="1360" y="383"/>
                      <a:pt x="1368" y="378"/>
                      <a:pt x="1373" y="371"/>
                    </a:cubicBezTo>
                    <a:cubicBezTo>
                      <a:pt x="1349" y="337"/>
                      <a:pt x="1324" y="306"/>
                      <a:pt x="1298" y="275"/>
                    </a:cubicBezTo>
                    <a:cubicBezTo>
                      <a:pt x="1297" y="275"/>
                      <a:pt x="1296" y="275"/>
                      <a:pt x="1295" y="275"/>
                    </a:cubicBezTo>
                    <a:moveTo>
                      <a:pt x="1295" y="275"/>
                    </a:moveTo>
                    <a:cubicBezTo>
                      <a:pt x="1294" y="274"/>
                      <a:pt x="1294" y="275"/>
                      <a:pt x="1295" y="275"/>
                    </a:cubicBezTo>
                    <a:moveTo>
                      <a:pt x="1375" y="370"/>
                    </a:moveTo>
                    <a:cubicBezTo>
                      <a:pt x="1380" y="364"/>
                      <a:pt x="1385" y="359"/>
                      <a:pt x="1387" y="350"/>
                    </a:cubicBezTo>
                    <a:cubicBezTo>
                      <a:pt x="1378" y="334"/>
                      <a:pt x="1367" y="319"/>
                      <a:pt x="1357" y="303"/>
                    </a:cubicBezTo>
                    <a:cubicBezTo>
                      <a:pt x="1341" y="294"/>
                      <a:pt x="1322" y="283"/>
                      <a:pt x="1303" y="279"/>
                    </a:cubicBezTo>
                    <a:cubicBezTo>
                      <a:pt x="1330" y="307"/>
                      <a:pt x="1352" y="339"/>
                      <a:pt x="1375" y="370"/>
                    </a:cubicBezTo>
                    <a:close/>
                    <a:moveTo>
                      <a:pt x="194" y="289"/>
                    </a:moveTo>
                    <a:cubicBezTo>
                      <a:pt x="177" y="295"/>
                      <a:pt x="173" y="313"/>
                      <a:pt x="164" y="326"/>
                    </a:cubicBezTo>
                    <a:moveTo>
                      <a:pt x="164" y="326"/>
                    </a:moveTo>
                    <a:cubicBezTo>
                      <a:pt x="163" y="326"/>
                      <a:pt x="163" y="326"/>
                      <a:pt x="163" y="327"/>
                    </a:cubicBezTo>
                    <a:moveTo>
                      <a:pt x="163" y="327"/>
                    </a:moveTo>
                    <a:cubicBezTo>
                      <a:pt x="162" y="327"/>
                      <a:pt x="162" y="328"/>
                      <a:pt x="162" y="329"/>
                    </a:cubicBezTo>
                    <a:moveTo>
                      <a:pt x="162" y="329"/>
                    </a:moveTo>
                    <a:cubicBezTo>
                      <a:pt x="161" y="329"/>
                      <a:pt x="162" y="330"/>
                      <a:pt x="162" y="329"/>
                    </a:cubicBezTo>
                    <a:moveTo>
                      <a:pt x="162" y="329"/>
                    </a:moveTo>
                    <a:cubicBezTo>
                      <a:pt x="163" y="329"/>
                      <a:pt x="163" y="328"/>
                      <a:pt x="163" y="327"/>
                    </a:cubicBezTo>
                    <a:moveTo>
                      <a:pt x="163" y="327"/>
                    </a:moveTo>
                    <a:cubicBezTo>
                      <a:pt x="164" y="327"/>
                      <a:pt x="164" y="326"/>
                      <a:pt x="164" y="326"/>
                    </a:cubicBezTo>
                    <a:moveTo>
                      <a:pt x="164" y="326"/>
                    </a:moveTo>
                    <a:cubicBezTo>
                      <a:pt x="174" y="314"/>
                      <a:pt x="184" y="302"/>
                      <a:pt x="194" y="289"/>
                    </a:cubicBezTo>
                    <a:moveTo>
                      <a:pt x="194" y="289"/>
                    </a:moveTo>
                    <a:cubicBezTo>
                      <a:pt x="195" y="289"/>
                      <a:pt x="194" y="288"/>
                      <a:pt x="194" y="289"/>
                    </a:cubicBezTo>
                    <a:moveTo>
                      <a:pt x="472" y="295"/>
                    </a:moveTo>
                    <a:cubicBezTo>
                      <a:pt x="472" y="295"/>
                      <a:pt x="471" y="295"/>
                      <a:pt x="471" y="295"/>
                    </a:cubicBezTo>
                    <a:cubicBezTo>
                      <a:pt x="454" y="329"/>
                      <a:pt x="436" y="362"/>
                      <a:pt x="422" y="400"/>
                    </a:cubicBezTo>
                    <a:moveTo>
                      <a:pt x="422" y="400"/>
                    </a:moveTo>
                    <a:cubicBezTo>
                      <a:pt x="421" y="400"/>
                      <a:pt x="422" y="401"/>
                      <a:pt x="422" y="400"/>
                    </a:cubicBezTo>
                    <a:moveTo>
                      <a:pt x="422" y="400"/>
                    </a:moveTo>
                    <a:cubicBezTo>
                      <a:pt x="434" y="400"/>
                      <a:pt x="442" y="397"/>
                      <a:pt x="454" y="397"/>
                    </a:cubicBezTo>
                    <a:cubicBezTo>
                      <a:pt x="458" y="361"/>
                      <a:pt x="466" y="329"/>
                      <a:pt x="472" y="295"/>
                    </a:cubicBezTo>
                    <a:moveTo>
                      <a:pt x="472" y="295"/>
                    </a:moveTo>
                    <a:cubicBezTo>
                      <a:pt x="475" y="295"/>
                      <a:pt x="471" y="291"/>
                      <a:pt x="472" y="295"/>
                    </a:cubicBezTo>
                    <a:moveTo>
                      <a:pt x="178" y="297"/>
                    </a:moveTo>
                    <a:cubicBezTo>
                      <a:pt x="158" y="308"/>
                      <a:pt x="126" y="328"/>
                      <a:pt x="141" y="359"/>
                    </a:cubicBezTo>
                    <a:cubicBezTo>
                      <a:pt x="153" y="338"/>
                      <a:pt x="165" y="317"/>
                      <a:pt x="178" y="297"/>
                    </a:cubicBezTo>
                    <a:moveTo>
                      <a:pt x="178" y="297"/>
                    </a:moveTo>
                    <a:cubicBezTo>
                      <a:pt x="180" y="296"/>
                      <a:pt x="178" y="296"/>
                      <a:pt x="178" y="297"/>
                    </a:cubicBezTo>
                    <a:moveTo>
                      <a:pt x="1364" y="309"/>
                    </a:moveTo>
                    <a:cubicBezTo>
                      <a:pt x="1364" y="309"/>
                      <a:pt x="1364" y="310"/>
                      <a:pt x="1365" y="310"/>
                    </a:cubicBezTo>
                    <a:moveTo>
                      <a:pt x="1365" y="310"/>
                    </a:moveTo>
                    <a:cubicBezTo>
                      <a:pt x="1365" y="310"/>
                      <a:pt x="1365" y="310"/>
                      <a:pt x="1366" y="311"/>
                    </a:cubicBezTo>
                    <a:moveTo>
                      <a:pt x="1366" y="311"/>
                    </a:moveTo>
                    <a:cubicBezTo>
                      <a:pt x="1366" y="312"/>
                      <a:pt x="1366" y="312"/>
                      <a:pt x="1367" y="312"/>
                    </a:cubicBezTo>
                    <a:moveTo>
                      <a:pt x="1367" y="312"/>
                    </a:moveTo>
                    <a:cubicBezTo>
                      <a:pt x="1367" y="313"/>
                      <a:pt x="1367" y="313"/>
                      <a:pt x="1368" y="313"/>
                    </a:cubicBezTo>
                    <a:moveTo>
                      <a:pt x="1368" y="313"/>
                    </a:moveTo>
                    <a:cubicBezTo>
                      <a:pt x="1374" y="324"/>
                      <a:pt x="1380" y="335"/>
                      <a:pt x="1388" y="345"/>
                    </a:cubicBezTo>
                    <a:cubicBezTo>
                      <a:pt x="1386" y="330"/>
                      <a:pt x="1375" y="324"/>
                      <a:pt x="1368" y="313"/>
                    </a:cubicBezTo>
                    <a:moveTo>
                      <a:pt x="1368" y="313"/>
                    </a:moveTo>
                    <a:cubicBezTo>
                      <a:pt x="1368" y="313"/>
                      <a:pt x="1367" y="312"/>
                      <a:pt x="1367" y="312"/>
                    </a:cubicBezTo>
                    <a:moveTo>
                      <a:pt x="1367" y="312"/>
                    </a:moveTo>
                    <a:cubicBezTo>
                      <a:pt x="1367" y="311"/>
                      <a:pt x="1367" y="311"/>
                      <a:pt x="1366" y="311"/>
                    </a:cubicBezTo>
                    <a:moveTo>
                      <a:pt x="1366" y="311"/>
                    </a:moveTo>
                    <a:cubicBezTo>
                      <a:pt x="1366" y="310"/>
                      <a:pt x="1365" y="310"/>
                      <a:pt x="1365" y="310"/>
                    </a:cubicBezTo>
                    <a:moveTo>
                      <a:pt x="1365" y="310"/>
                    </a:moveTo>
                    <a:cubicBezTo>
                      <a:pt x="1365" y="309"/>
                      <a:pt x="1365" y="309"/>
                      <a:pt x="1364" y="309"/>
                    </a:cubicBezTo>
                    <a:moveTo>
                      <a:pt x="1364" y="309"/>
                    </a:moveTo>
                    <a:cubicBezTo>
                      <a:pt x="1363" y="307"/>
                      <a:pt x="1363" y="309"/>
                      <a:pt x="1364" y="309"/>
                    </a:cubicBezTo>
                    <a:moveTo>
                      <a:pt x="1379" y="323"/>
                    </a:moveTo>
                    <a:cubicBezTo>
                      <a:pt x="1380" y="324"/>
                      <a:pt x="1380" y="323"/>
                      <a:pt x="1379" y="323"/>
                    </a:cubicBezTo>
                    <a:moveTo>
                      <a:pt x="1379" y="323"/>
                    </a:moveTo>
                    <a:cubicBezTo>
                      <a:pt x="1379" y="322"/>
                      <a:pt x="1378" y="323"/>
                      <a:pt x="1379" y="323"/>
                    </a:cubicBezTo>
                    <a:moveTo>
                      <a:pt x="160" y="332"/>
                    </a:moveTo>
                    <a:cubicBezTo>
                      <a:pt x="159" y="332"/>
                      <a:pt x="160" y="333"/>
                      <a:pt x="160" y="332"/>
                    </a:cubicBezTo>
                    <a:moveTo>
                      <a:pt x="160" y="332"/>
                    </a:moveTo>
                    <a:cubicBezTo>
                      <a:pt x="161" y="331"/>
                      <a:pt x="160" y="330"/>
                      <a:pt x="160" y="332"/>
                    </a:cubicBezTo>
                    <a:moveTo>
                      <a:pt x="224" y="334"/>
                    </a:moveTo>
                    <a:cubicBezTo>
                      <a:pt x="224" y="333"/>
                      <a:pt x="225" y="334"/>
                      <a:pt x="224" y="334"/>
                    </a:cubicBezTo>
                    <a:close/>
                    <a:moveTo>
                      <a:pt x="326" y="336"/>
                    </a:moveTo>
                    <a:cubicBezTo>
                      <a:pt x="307" y="364"/>
                      <a:pt x="290" y="395"/>
                      <a:pt x="274" y="426"/>
                    </a:cubicBezTo>
                    <a:cubicBezTo>
                      <a:pt x="285" y="423"/>
                      <a:pt x="296" y="421"/>
                      <a:pt x="306" y="419"/>
                    </a:cubicBezTo>
                    <a:cubicBezTo>
                      <a:pt x="311" y="390"/>
                      <a:pt x="319" y="364"/>
                      <a:pt x="326" y="336"/>
                    </a:cubicBezTo>
                    <a:moveTo>
                      <a:pt x="326" y="336"/>
                    </a:moveTo>
                    <a:cubicBezTo>
                      <a:pt x="329" y="336"/>
                      <a:pt x="325" y="332"/>
                      <a:pt x="326" y="336"/>
                    </a:cubicBezTo>
                    <a:moveTo>
                      <a:pt x="44" y="524"/>
                    </a:moveTo>
                    <a:cubicBezTo>
                      <a:pt x="49" y="523"/>
                      <a:pt x="54" y="514"/>
                      <a:pt x="59" y="510"/>
                    </a:cubicBezTo>
                    <a:cubicBezTo>
                      <a:pt x="80" y="455"/>
                      <a:pt x="109" y="407"/>
                      <a:pt x="139" y="360"/>
                    </a:cubicBezTo>
                    <a:cubicBezTo>
                      <a:pt x="134" y="356"/>
                      <a:pt x="135" y="347"/>
                      <a:pt x="133" y="339"/>
                    </a:cubicBezTo>
                    <a:cubicBezTo>
                      <a:pt x="97" y="394"/>
                      <a:pt x="66" y="454"/>
                      <a:pt x="44" y="524"/>
                    </a:cubicBezTo>
                    <a:close/>
                    <a:moveTo>
                      <a:pt x="1483" y="528"/>
                    </a:moveTo>
                    <a:cubicBezTo>
                      <a:pt x="1482" y="532"/>
                      <a:pt x="1486" y="529"/>
                      <a:pt x="1483" y="528"/>
                    </a:cubicBezTo>
                    <a:moveTo>
                      <a:pt x="1483" y="528"/>
                    </a:moveTo>
                    <a:cubicBezTo>
                      <a:pt x="1460" y="465"/>
                      <a:pt x="1432" y="396"/>
                      <a:pt x="1393" y="347"/>
                    </a:cubicBezTo>
                    <a:cubicBezTo>
                      <a:pt x="1393" y="347"/>
                      <a:pt x="1391" y="343"/>
                      <a:pt x="1390" y="345"/>
                    </a:cubicBezTo>
                    <a:cubicBezTo>
                      <a:pt x="1401" y="371"/>
                      <a:pt x="1415" y="395"/>
                      <a:pt x="1425" y="421"/>
                    </a:cubicBezTo>
                    <a:cubicBezTo>
                      <a:pt x="1436" y="447"/>
                      <a:pt x="1448" y="473"/>
                      <a:pt x="1455" y="503"/>
                    </a:cubicBezTo>
                    <a:cubicBezTo>
                      <a:pt x="1466" y="510"/>
                      <a:pt x="1474" y="519"/>
                      <a:pt x="1483" y="528"/>
                    </a:cubicBezTo>
                    <a:moveTo>
                      <a:pt x="1376" y="374"/>
                    </a:moveTo>
                    <a:cubicBezTo>
                      <a:pt x="1396" y="402"/>
                      <a:pt x="1417" y="437"/>
                      <a:pt x="1432" y="470"/>
                    </a:cubicBezTo>
                    <a:cubicBezTo>
                      <a:pt x="1437" y="481"/>
                      <a:pt x="1440" y="496"/>
                      <a:pt x="1452" y="499"/>
                    </a:cubicBezTo>
                    <a:cubicBezTo>
                      <a:pt x="1435" y="446"/>
                      <a:pt x="1415" y="397"/>
                      <a:pt x="1389" y="354"/>
                    </a:cubicBezTo>
                    <a:cubicBezTo>
                      <a:pt x="1386" y="362"/>
                      <a:pt x="1380" y="367"/>
                      <a:pt x="1376" y="374"/>
                    </a:cubicBezTo>
                    <a:close/>
                    <a:moveTo>
                      <a:pt x="212" y="356"/>
                    </a:moveTo>
                    <a:cubicBezTo>
                      <a:pt x="212" y="355"/>
                      <a:pt x="213" y="356"/>
                      <a:pt x="212" y="356"/>
                    </a:cubicBezTo>
                    <a:close/>
                    <a:moveTo>
                      <a:pt x="211" y="358"/>
                    </a:moveTo>
                    <a:cubicBezTo>
                      <a:pt x="202" y="370"/>
                      <a:pt x="193" y="382"/>
                      <a:pt x="186" y="396"/>
                    </a:cubicBezTo>
                    <a:cubicBezTo>
                      <a:pt x="190" y="396"/>
                      <a:pt x="192" y="399"/>
                      <a:pt x="196" y="400"/>
                    </a:cubicBezTo>
                    <a:cubicBezTo>
                      <a:pt x="201" y="386"/>
                      <a:pt x="206" y="372"/>
                      <a:pt x="211" y="358"/>
                    </a:cubicBezTo>
                    <a:moveTo>
                      <a:pt x="211" y="358"/>
                    </a:moveTo>
                    <a:cubicBezTo>
                      <a:pt x="212" y="357"/>
                      <a:pt x="211" y="356"/>
                      <a:pt x="211" y="358"/>
                    </a:cubicBezTo>
                    <a:moveTo>
                      <a:pt x="94" y="487"/>
                    </a:moveTo>
                    <a:cubicBezTo>
                      <a:pt x="109" y="477"/>
                      <a:pt x="127" y="470"/>
                      <a:pt x="146" y="463"/>
                    </a:cubicBezTo>
                    <a:cubicBezTo>
                      <a:pt x="156" y="439"/>
                      <a:pt x="170" y="418"/>
                      <a:pt x="182" y="396"/>
                    </a:cubicBezTo>
                    <a:cubicBezTo>
                      <a:pt x="166" y="389"/>
                      <a:pt x="152" y="378"/>
                      <a:pt x="141" y="365"/>
                    </a:cubicBezTo>
                    <a:cubicBezTo>
                      <a:pt x="123" y="403"/>
                      <a:pt x="103" y="444"/>
                      <a:pt x="94" y="487"/>
                    </a:cubicBezTo>
                    <a:close/>
                    <a:moveTo>
                      <a:pt x="132" y="376"/>
                    </a:moveTo>
                    <a:cubicBezTo>
                      <a:pt x="132" y="375"/>
                      <a:pt x="133" y="376"/>
                      <a:pt x="132" y="376"/>
                    </a:cubicBezTo>
                    <a:close/>
                    <a:moveTo>
                      <a:pt x="1374" y="375"/>
                    </a:moveTo>
                    <a:cubicBezTo>
                      <a:pt x="1368" y="382"/>
                      <a:pt x="1359" y="386"/>
                      <a:pt x="1352" y="391"/>
                    </a:cubicBezTo>
                    <a:cubicBezTo>
                      <a:pt x="1362" y="413"/>
                      <a:pt x="1369" y="437"/>
                      <a:pt x="1375" y="462"/>
                    </a:cubicBezTo>
                    <a:cubicBezTo>
                      <a:pt x="1398" y="469"/>
                      <a:pt x="1420" y="482"/>
                      <a:pt x="1439" y="490"/>
                    </a:cubicBezTo>
                    <a:cubicBezTo>
                      <a:pt x="1419" y="450"/>
                      <a:pt x="1399" y="409"/>
                      <a:pt x="1374" y="375"/>
                    </a:cubicBezTo>
                    <a:close/>
                    <a:moveTo>
                      <a:pt x="131" y="378"/>
                    </a:moveTo>
                    <a:cubicBezTo>
                      <a:pt x="131" y="378"/>
                      <a:pt x="131" y="378"/>
                      <a:pt x="130" y="378"/>
                    </a:cubicBezTo>
                    <a:cubicBezTo>
                      <a:pt x="106" y="418"/>
                      <a:pt x="82" y="459"/>
                      <a:pt x="64" y="505"/>
                    </a:cubicBezTo>
                    <a:moveTo>
                      <a:pt x="64" y="505"/>
                    </a:moveTo>
                    <a:cubicBezTo>
                      <a:pt x="63" y="506"/>
                      <a:pt x="64" y="507"/>
                      <a:pt x="64" y="505"/>
                    </a:cubicBezTo>
                    <a:moveTo>
                      <a:pt x="64" y="505"/>
                    </a:moveTo>
                    <a:cubicBezTo>
                      <a:pt x="73" y="500"/>
                      <a:pt x="80" y="494"/>
                      <a:pt x="90" y="489"/>
                    </a:cubicBezTo>
                    <a:cubicBezTo>
                      <a:pt x="100" y="448"/>
                      <a:pt x="116" y="413"/>
                      <a:pt x="131" y="378"/>
                    </a:cubicBezTo>
                    <a:moveTo>
                      <a:pt x="131" y="378"/>
                    </a:moveTo>
                    <a:cubicBezTo>
                      <a:pt x="133" y="377"/>
                      <a:pt x="131" y="377"/>
                      <a:pt x="131" y="378"/>
                    </a:cubicBezTo>
                    <a:moveTo>
                      <a:pt x="620" y="385"/>
                    </a:moveTo>
                    <a:cubicBezTo>
                      <a:pt x="619" y="415"/>
                      <a:pt x="617" y="444"/>
                      <a:pt x="616" y="473"/>
                    </a:cubicBezTo>
                    <a:cubicBezTo>
                      <a:pt x="654" y="475"/>
                      <a:pt x="693" y="476"/>
                      <a:pt x="732" y="477"/>
                    </a:cubicBezTo>
                    <a:cubicBezTo>
                      <a:pt x="733" y="445"/>
                      <a:pt x="734" y="414"/>
                      <a:pt x="735" y="383"/>
                    </a:cubicBezTo>
                    <a:cubicBezTo>
                      <a:pt x="695" y="382"/>
                      <a:pt x="658" y="384"/>
                      <a:pt x="620" y="385"/>
                    </a:cubicBezTo>
                    <a:close/>
                    <a:moveTo>
                      <a:pt x="739" y="383"/>
                    </a:moveTo>
                    <a:cubicBezTo>
                      <a:pt x="736" y="412"/>
                      <a:pt x="736" y="445"/>
                      <a:pt x="735" y="477"/>
                    </a:cubicBezTo>
                    <a:cubicBezTo>
                      <a:pt x="753" y="477"/>
                      <a:pt x="771" y="477"/>
                      <a:pt x="789" y="477"/>
                    </a:cubicBezTo>
                    <a:cubicBezTo>
                      <a:pt x="789" y="445"/>
                      <a:pt x="787" y="415"/>
                      <a:pt x="788" y="383"/>
                    </a:cubicBezTo>
                    <a:cubicBezTo>
                      <a:pt x="772" y="383"/>
                      <a:pt x="755" y="383"/>
                      <a:pt x="739" y="383"/>
                    </a:cubicBezTo>
                    <a:close/>
                    <a:moveTo>
                      <a:pt x="792" y="383"/>
                    </a:moveTo>
                    <a:cubicBezTo>
                      <a:pt x="790" y="412"/>
                      <a:pt x="791" y="446"/>
                      <a:pt x="791" y="477"/>
                    </a:cubicBezTo>
                    <a:cubicBezTo>
                      <a:pt x="831" y="476"/>
                      <a:pt x="871" y="475"/>
                      <a:pt x="910" y="473"/>
                    </a:cubicBezTo>
                    <a:cubicBezTo>
                      <a:pt x="905" y="443"/>
                      <a:pt x="901" y="414"/>
                      <a:pt x="895" y="385"/>
                    </a:cubicBezTo>
                    <a:cubicBezTo>
                      <a:pt x="862" y="384"/>
                      <a:pt x="827" y="382"/>
                      <a:pt x="792" y="383"/>
                    </a:cubicBezTo>
                    <a:close/>
                    <a:moveTo>
                      <a:pt x="616" y="385"/>
                    </a:moveTo>
                    <a:cubicBezTo>
                      <a:pt x="616" y="385"/>
                      <a:pt x="615" y="385"/>
                      <a:pt x="615" y="385"/>
                    </a:cubicBezTo>
                    <a:cubicBezTo>
                      <a:pt x="603" y="387"/>
                      <a:pt x="589" y="387"/>
                      <a:pt x="577" y="388"/>
                    </a:cubicBezTo>
                    <a:cubicBezTo>
                      <a:pt x="571" y="416"/>
                      <a:pt x="564" y="441"/>
                      <a:pt x="559" y="470"/>
                    </a:cubicBezTo>
                    <a:cubicBezTo>
                      <a:pt x="578" y="470"/>
                      <a:pt x="595" y="472"/>
                      <a:pt x="613" y="473"/>
                    </a:cubicBezTo>
                    <a:cubicBezTo>
                      <a:pt x="612" y="443"/>
                      <a:pt x="617" y="409"/>
                      <a:pt x="616" y="385"/>
                    </a:cubicBezTo>
                    <a:close/>
                    <a:moveTo>
                      <a:pt x="914" y="473"/>
                    </a:moveTo>
                    <a:cubicBezTo>
                      <a:pt x="930" y="472"/>
                      <a:pt x="946" y="470"/>
                      <a:pt x="963" y="470"/>
                    </a:cubicBezTo>
                    <a:cubicBezTo>
                      <a:pt x="960" y="443"/>
                      <a:pt x="960" y="414"/>
                      <a:pt x="957" y="388"/>
                    </a:cubicBezTo>
                    <a:cubicBezTo>
                      <a:pt x="937" y="388"/>
                      <a:pt x="919" y="386"/>
                      <a:pt x="900" y="385"/>
                    </a:cubicBezTo>
                    <a:cubicBezTo>
                      <a:pt x="904" y="415"/>
                      <a:pt x="910" y="442"/>
                      <a:pt x="914" y="473"/>
                    </a:cubicBezTo>
                    <a:close/>
                    <a:moveTo>
                      <a:pt x="456" y="399"/>
                    </a:moveTo>
                    <a:cubicBezTo>
                      <a:pt x="454" y="419"/>
                      <a:pt x="451" y="438"/>
                      <a:pt x="450" y="459"/>
                    </a:cubicBezTo>
                    <a:cubicBezTo>
                      <a:pt x="486" y="462"/>
                      <a:pt x="520" y="467"/>
                      <a:pt x="557" y="469"/>
                    </a:cubicBezTo>
                    <a:cubicBezTo>
                      <a:pt x="561" y="441"/>
                      <a:pt x="569" y="416"/>
                      <a:pt x="574" y="388"/>
                    </a:cubicBezTo>
                    <a:cubicBezTo>
                      <a:pt x="534" y="391"/>
                      <a:pt x="494" y="394"/>
                      <a:pt x="456" y="399"/>
                    </a:cubicBezTo>
                    <a:close/>
                    <a:moveTo>
                      <a:pt x="960" y="389"/>
                    </a:moveTo>
                    <a:cubicBezTo>
                      <a:pt x="962" y="415"/>
                      <a:pt x="964" y="441"/>
                      <a:pt x="965" y="469"/>
                    </a:cubicBezTo>
                    <a:cubicBezTo>
                      <a:pt x="1003" y="467"/>
                      <a:pt x="1042" y="464"/>
                      <a:pt x="1076" y="457"/>
                    </a:cubicBezTo>
                    <a:cubicBezTo>
                      <a:pt x="1068" y="438"/>
                      <a:pt x="1062" y="417"/>
                      <a:pt x="1055" y="397"/>
                    </a:cubicBezTo>
                    <a:cubicBezTo>
                      <a:pt x="1023" y="395"/>
                      <a:pt x="993" y="391"/>
                      <a:pt x="960" y="389"/>
                    </a:cubicBezTo>
                    <a:close/>
                    <a:moveTo>
                      <a:pt x="1349" y="392"/>
                    </a:moveTo>
                    <a:cubicBezTo>
                      <a:pt x="1340" y="398"/>
                      <a:pt x="1329" y="402"/>
                      <a:pt x="1319" y="407"/>
                    </a:cubicBezTo>
                    <a:cubicBezTo>
                      <a:pt x="1327" y="421"/>
                      <a:pt x="1335" y="436"/>
                      <a:pt x="1343" y="451"/>
                    </a:cubicBezTo>
                    <a:cubicBezTo>
                      <a:pt x="1354" y="453"/>
                      <a:pt x="1362" y="458"/>
                      <a:pt x="1373" y="460"/>
                    </a:cubicBezTo>
                    <a:cubicBezTo>
                      <a:pt x="1366" y="439"/>
                      <a:pt x="1359" y="407"/>
                      <a:pt x="1349" y="392"/>
                    </a:cubicBezTo>
                    <a:close/>
                    <a:moveTo>
                      <a:pt x="184" y="398"/>
                    </a:moveTo>
                    <a:cubicBezTo>
                      <a:pt x="173" y="419"/>
                      <a:pt x="160" y="439"/>
                      <a:pt x="150" y="461"/>
                    </a:cubicBezTo>
                    <a:cubicBezTo>
                      <a:pt x="160" y="458"/>
                      <a:pt x="170" y="454"/>
                      <a:pt x="181" y="451"/>
                    </a:cubicBezTo>
                    <a:cubicBezTo>
                      <a:pt x="185" y="434"/>
                      <a:pt x="190" y="419"/>
                      <a:pt x="195" y="403"/>
                    </a:cubicBezTo>
                    <a:cubicBezTo>
                      <a:pt x="191" y="401"/>
                      <a:pt x="188" y="399"/>
                      <a:pt x="184" y="398"/>
                    </a:cubicBezTo>
                    <a:close/>
                    <a:moveTo>
                      <a:pt x="1079" y="458"/>
                    </a:moveTo>
                    <a:cubicBezTo>
                      <a:pt x="1094" y="457"/>
                      <a:pt x="1108" y="454"/>
                      <a:pt x="1123" y="453"/>
                    </a:cubicBezTo>
                    <a:cubicBezTo>
                      <a:pt x="1122" y="436"/>
                      <a:pt x="1119" y="421"/>
                      <a:pt x="1117" y="405"/>
                    </a:cubicBezTo>
                    <a:cubicBezTo>
                      <a:pt x="1097" y="404"/>
                      <a:pt x="1077" y="398"/>
                      <a:pt x="1058" y="399"/>
                    </a:cubicBezTo>
                    <a:cubicBezTo>
                      <a:pt x="1066" y="417"/>
                      <a:pt x="1071" y="439"/>
                      <a:pt x="1079" y="458"/>
                    </a:cubicBezTo>
                    <a:close/>
                    <a:moveTo>
                      <a:pt x="420" y="403"/>
                    </a:moveTo>
                    <a:cubicBezTo>
                      <a:pt x="414" y="419"/>
                      <a:pt x="407" y="435"/>
                      <a:pt x="401" y="453"/>
                    </a:cubicBezTo>
                    <a:cubicBezTo>
                      <a:pt x="417" y="454"/>
                      <a:pt x="431" y="457"/>
                      <a:pt x="447" y="458"/>
                    </a:cubicBezTo>
                    <a:cubicBezTo>
                      <a:pt x="449" y="438"/>
                      <a:pt x="451" y="418"/>
                      <a:pt x="454" y="399"/>
                    </a:cubicBezTo>
                    <a:cubicBezTo>
                      <a:pt x="453" y="399"/>
                      <a:pt x="453" y="399"/>
                      <a:pt x="452" y="399"/>
                    </a:cubicBezTo>
                    <a:cubicBezTo>
                      <a:pt x="442" y="401"/>
                      <a:pt x="431" y="402"/>
                      <a:pt x="420" y="403"/>
                    </a:cubicBezTo>
                    <a:close/>
                    <a:moveTo>
                      <a:pt x="185" y="450"/>
                    </a:moveTo>
                    <a:cubicBezTo>
                      <a:pt x="210" y="440"/>
                      <a:pt x="240" y="435"/>
                      <a:pt x="266" y="427"/>
                    </a:cubicBezTo>
                    <a:cubicBezTo>
                      <a:pt x="241" y="421"/>
                      <a:pt x="219" y="413"/>
                      <a:pt x="198" y="404"/>
                    </a:cubicBezTo>
                    <a:cubicBezTo>
                      <a:pt x="193" y="418"/>
                      <a:pt x="187" y="436"/>
                      <a:pt x="185" y="450"/>
                    </a:cubicBezTo>
                    <a:close/>
                    <a:moveTo>
                      <a:pt x="308" y="421"/>
                    </a:moveTo>
                    <a:cubicBezTo>
                      <a:pt x="307" y="425"/>
                      <a:pt x="307" y="430"/>
                      <a:pt x="305" y="434"/>
                    </a:cubicBezTo>
                    <a:cubicBezTo>
                      <a:pt x="335" y="441"/>
                      <a:pt x="366" y="447"/>
                      <a:pt x="398" y="452"/>
                    </a:cubicBezTo>
                    <a:cubicBezTo>
                      <a:pt x="401" y="444"/>
                      <a:pt x="405" y="436"/>
                      <a:pt x="408" y="428"/>
                    </a:cubicBezTo>
                    <a:cubicBezTo>
                      <a:pt x="411" y="419"/>
                      <a:pt x="416" y="410"/>
                      <a:pt x="414" y="404"/>
                    </a:cubicBezTo>
                    <a:cubicBezTo>
                      <a:pt x="378" y="409"/>
                      <a:pt x="343" y="415"/>
                      <a:pt x="308" y="421"/>
                    </a:cubicBezTo>
                    <a:close/>
                    <a:moveTo>
                      <a:pt x="1126" y="452"/>
                    </a:moveTo>
                    <a:cubicBezTo>
                      <a:pt x="1156" y="447"/>
                      <a:pt x="1185" y="442"/>
                      <a:pt x="1213" y="435"/>
                    </a:cubicBezTo>
                    <a:cubicBezTo>
                      <a:pt x="1212" y="429"/>
                      <a:pt x="1208" y="425"/>
                      <a:pt x="1206" y="419"/>
                    </a:cubicBezTo>
                    <a:cubicBezTo>
                      <a:pt x="1178" y="415"/>
                      <a:pt x="1148" y="407"/>
                      <a:pt x="1119" y="407"/>
                    </a:cubicBezTo>
                    <a:cubicBezTo>
                      <a:pt x="1123" y="420"/>
                      <a:pt x="1123" y="437"/>
                      <a:pt x="1126" y="452"/>
                    </a:cubicBezTo>
                    <a:close/>
                    <a:moveTo>
                      <a:pt x="1317" y="408"/>
                    </a:moveTo>
                    <a:cubicBezTo>
                      <a:pt x="1298" y="416"/>
                      <a:pt x="1277" y="420"/>
                      <a:pt x="1260" y="429"/>
                    </a:cubicBezTo>
                    <a:cubicBezTo>
                      <a:pt x="1288" y="434"/>
                      <a:pt x="1313" y="441"/>
                      <a:pt x="1338" y="449"/>
                    </a:cubicBezTo>
                    <a:cubicBezTo>
                      <a:pt x="1332" y="434"/>
                      <a:pt x="1323" y="423"/>
                      <a:pt x="1317" y="408"/>
                    </a:cubicBezTo>
                    <a:close/>
                    <a:moveTo>
                      <a:pt x="1216" y="434"/>
                    </a:moveTo>
                    <a:cubicBezTo>
                      <a:pt x="1226" y="433"/>
                      <a:pt x="1237" y="431"/>
                      <a:pt x="1245" y="427"/>
                    </a:cubicBezTo>
                    <a:cubicBezTo>
                      <a:pt x="1232" y="426"/>
                      <a:pt x="1220" y="420"/>
                      <a:pt x="1209" y="421"/>
                    </a:cubicBezTo>
                    <a:cubicBezTo>
                      <a:pt x="1213" y="424"/>
                      <a:pt x="1214" y="430"/>
                      <a:pt x="1216" y="434"/>
                    </a:cubicBezTo>
                    <a:close/>
                    <a:moveTo>
                      <a:pt x="279" y="427"/>
                    </a:moveTo>
                    <a:cubicBezTo>
                      <a:pt x="285" y="431"/>
                      <a:pt x="295" y="431"/>
                      <a:pt x="303" y="433"/>
                    </a:cubicBezTo>
                    <a:cubicBezTo>
                      <a:pt x="303" y="429"/>
                      <a:pt x="305" y="426"/>
                      <a:pt x="305" y="422"/>
                    </a:cubicBezTo>
                    <a:cubicBezTo>
                      <a:pt x="296" y="423"/>
                      <a:pt x="289" y="426"/>
                      <a:pt x="279" y="427"/>
                    </a:cubicBezTo>
                    <a:close/>
                    <a:moveTo>
                      <a:pt x="1218" y="437"/>
                    </a:moveTo>
                    <a:cubicBezTo>
                      <a:pt x="1240" y="486"/>
                      <a:pt x="1259" y="538"/>
                      <a:pt x="1277" y="593"/>
                    </a:cubicBezTo>
                    <a:cubicBezTo>
                      <a:pt x="1275" y="533"/>
                      <a:pt x="1270" y="478"/>
                      <a:pt x="1257" y="430"/>
                    </a:cubicBezTo>
                    <a:cubicBezTo>
                      <a:pt x="1244" y="429"/>
                      <a:pt x="1232" y="435"/>
                      <a:pt x="1218" y="437"/>
                    </a:cubicBezTo>
                    <a:close/>
                    <a:moveTo>
                      <a:pt x="183" y="453"/>
                    </a:moveTo>
                    <a:cubicBezTo>
                      <a:pt x="169" y="514"/>
                      <a:pt x="159" y="583"/>
                      <a:pt x="163" y="659"/>
                    </a:cubicBezTo>
                    <a:cubicBezTo>
                      <a:pt x="171" y="655"/>
                      <a:pt x="179" y="652"/>
                      <a:pt x="188" y="650"/>
                    </a:cubicBezTo>
                    <a:cubicBezTo>
                      <a:pt x="208" y="570"/>
                      <a:pt x="235" y="496"/>
                      <a:pt x="270" y="430"/>
                    </a:cubicBezTo>
                    <a:cubicBezTo>
                      <a:pt x="269" y="430"/>
                      <a:pt x="268" y="430"/>
                      <a:pt x="268" y="430"/>
                    </a:cubicBezTo>
                    <a:cubicBezTo>
                      <a:pt x="239" y="437"/>
                      <a:pt x="210" y="444"/>
                      <a:pt x="183" y="453"/>
                    </a:cubicBezTo>
                    <a:close/>
                    <a:moveTo>
                      <a:pt x="192" y="648"/>
                    </a:moveTo>
                    <a:cubicBezTo>
                      <a:pt x="190" y="649"/>
                      <a:pt x="192" y="650"/>
                      <a:pt x="192" y="648"/>
                    </a:cubicBezTo>
                    <a:moveTo>
                      <a:pt x="192" y="648"/>
                    </a:moveTo>
                    <a:cubicBezTo>
                      <a:pt x="223" y="640"/>
                      <a:pt x="254" y="630"/>
                      <a:pt x="289" y="623"/>
                    </a:cubicBezTo>
                    <a:cubicBezTo>
                      <a:pt x="287" y="555"/>
                      <a:pt x="293" y="494"/>
                      <a:pt x="302" y="436"/>
                    </a:cubicBezTo>
                    <a:cubicBezTo>
                      <a:pt x="292" y="434"/>
                      <a:pt x="283" y="431"/>
                      <a:pt x="272" y="430"/>
                    </a:cubicBezTo>
                    <a:cubicBezTo>
                      <a:pt x="239" y="496"/>
                      <a:pt x="211" y="568"/>
                      <a:pt x="192" y="648"/>
                    </a:cubicBezTo>
                    <a:moveTo>
                      <a:pt x="1275" y="515"/>
                    </a:moveTo>
                    <a:cubicBezTo>
                      <a:pt x="1279" y="557"/>
                      <a:pt x="1276" y="605"/>
                      <a:pt x="1288" y="636"/>
                    </a:cubicBezTo>
                    <a:cubicBezTo>
                      <a:pt x="1316" y="643"/>
                      <a:pt x="1341" y="652"/>
                      <a:pt x="1367" y="660"/>
                    </a:cubicBezTo>
                    <a:cubicBezTo>
                      <a:pt x="1377" y="657"/>
                      <a:pt x="1386" y="652"/>
                      <a:pt x="1397" y="648"/>
                    </a:cubicBezTo>
                    <a:cubicBezTo>
                      <a:pt x="1395" y="622"/>
                      <a:pt x="1398" y="600"/>
                      <a:pt x="1394" y="577"/>
                    </a:cubicBezTo>
                    <a:cubicBezTo>
                      <a:pt x="1392" y="567"/>
                      <a:pt x="1386" y="555"/>
                      <a:pt x="1382" y="545"/>
                    </a:cubicBezTo>
                    <a:cubicBezTo>
                      <a:pt x="1370" y="512"/>
                      <a:pt x="1354" y="481"/>
                      <a:pt x="1340" y="452"/>
                    </a:cubicBezTo>
                    <a:cubicBezTo>
                      <a:pt x="1314" y="444"/>
                      <a:pt x="1288" y="437"/>
                      <a:pt x="1261" y="431"/>
                    </a:cubicBezTo>
                    <a:cubicBezTo>
                      <a:pt x="1266" y="456"/>
                      <a:pt x="1272" y="485"/>
                      <a:pt x="1275" y="515"/>
                    </a:cubicBezTo>
                    <a:close/>
                    <a:moveTo>
                      <a:pt x="305" y="437"/>
                    </a:moveTo>
                    <a:cubicBezTo>
                      <a:pt x="295" y="493"/>
                      <a:pt x="288" y="559"/>
                      <a:pt x="293" y="623"/>
                    </a:cubicBezTo>
                    <a:cubicBezTo>
                      <a:pt x="311" y="617"/>
                      <a:pt x="332" y="615"/>
                      <a:pt x="351" y="610"/>
                    </a:cubicBezTo>
                    <a:cubicBezTo>
                      <a:pt x="364" y="556"/>
                      <a:pt x="379" y="504"/>
                      <a:pt x="397" y="455"/>
                    </a:cubicBezTo>
                    <a:cubicBezTo>
                      <a:pt x="366" y="449"/>
                      <a:pt x="335" y="444"/>
                      <a:pt x="305" y="437"/>
                    </a:cubicBezTo>
                    <a:close/>
                    <a:moveTo>
                      <a:pt x="1126" y="455"/>
                    </a:moveTo>
                    <a:cubicBezTo>
                      <a:pt x="1131" y="501"/>
                      <a:pt x="1133" y="551"/>
                      <a:pt x="1133" y="603"/>
                    </a:cubicBezTo>
                    <a:cubicBezTo>
                      <a:pt x="1182" y="612"/>
                      <a:pt x="1231" y="620"/>
                      <a:pt x="1277" y="633"/>
                    </a:cubicBezTo>
                    <a:cubicBezTo>
                      <a:pt x="1279" y="602"/>
                      <a:pt x="1270" y="583"/>
                      <a:pt x="1263" y="561"/>
                    </a:cubicBezTo>
                    <a:cubicBezTo>
                      <a:pt x="1248" y="517"/>
                      <a:pt x="1234" y="477"/>
                      <a:pt x="1215" y="438"/>
                    </a:cubicBezTo>
                    <a:cubicBezTo>
                      <a:pt x="1214" y="438"/>
                      <a:pt x="1214" y="438"/>
                      <a:pt x="1213" y="438"/>
                    </a:cubicBezTo>
                    <a:cubicBezTo>
                      <a:pt x="1185" y="445"/>
                      <a:pt x="1156" y="450"/>
                      <a:pt x="1126" y="455"/>
                    </a:cubicBezTo>
                    <a:close/>
                    <a:moveTo>
                      <a:pt x="179" y="454"/>
                    </a:moveTo>
                    <a:cubicBezTo>
                      <a:pt x="168" y="457"/>
                      <a:pt x="158" y="461"/>
                      <a:pt x="147" y="465"/>
                    </a:cubicBezTo>
                    <a:cubicBezTo>
                      <a:pt x="123" y="516"/>
                      <a:pt x="101" y="568"/>
                      <a:pt x="85" y="627"/>
                    </a:cubicBezTo>
                    <a:cubicBezTo>
                      <a:pt x="108" y="640"/>
                      <a:pt x="131" y="652"/>
                      <a:pt x="159" y="660"/>
                    </a:cubicBezTo>
                    <a:cubicBezTo>
                      <a:pt x="157" y="583"/>
                      <a:pt x="168" y="513"/>
                      <a:pt x="179" y="454"/>
                    </a:cubicBezTo>
                    <a:close/>
                    <a:moveTo>
                      <a:pt x="1392" y="564"/>
                    </a:moveTo>
                    <a:cubicBezTo>
                      <a:pt x="1388" y="528"/>
                      <a:pt x="1381" y="495"/>
                      <a:pt x="1374" y="463"/>
                    </a:cubicBezTo>
                    <a:cubicBezTo>
                      <a:pt x="1363" y="461"/>
                      <a:pt x="1354" y="457"/>
                      <a:pt x="1345" y="454"/>
                    </a:cubicBezTo>
                    <a:cubicBezTo>
                      <a:pt x="1362" y="489"/>
                      <a:pt x="1378" y="525"/>
                      <a:pt x="1392" y="564"/>
                    </a:cubicBezTo>
                    <a:close/>
                    <a:moveTo>
                      <a:pt x="401" y="455"/>
                    </a:moveTo>
                    <a:cubicBezTo>
                      <a:pt x="382" y="503"/>
                      <a:pt x="367" y="556"/>
                      <a:pt x="354" y="610"/>
                    </a:cubicBezTo>
                    <a:cubicBezTo>
                      <a:pt x="383" y="605"/>
                      <a:pt x="412" y="600"/>
                      <a:pt x="442" y="597"/>
                    </a:cubicBezTo>
                    <a:cubicBezTo>
                      <a:pt x="442" y="550"/>
                      <a:pt x="443" y="504"/>
                      <a:pt x="447" y="461"/>
                    </a:cubicBezTo>
                    <a:cubicBezTo>
                      <a:pt x="432" y="459"/>
                      <a:pt x="415" y="458"/>
                      <a:pt x="401" y="455"/>
                    </a:cubicBezTo>
                    <a:close/>
                    <a:moveTo>
                      <a:pt x="1080" y="461"/>
                    </a:moveTo>
                    <a:cubicBezTo>
                      <a:pt x="1093" y="507"/>
                      <a:pt x="1106" y="553"/>
                      <a:pt x="1116" y="601"/>
                    </a:cubicBezTo>
                    <a:cubicBezTo>
                      <a:pt x="1121" y="602"/>
                      <a:pt x="1125" y="602"/>
                      <a:pt x="1130" y="603"/>
                    </a:cubicBezTo>
                    <a:cubicBezTo>
                      <a:pt x="1130" y="551"/>
                      <a:pt x="1129" y="501"/>
                      <a:pt x="1123" y="455"/>
                    </a:cubicBezTo>
                    <a:cubicBezTo>
                      <a:pt x="1108" y="457"/>
                      <a:pt x="1094" y="459"/>
                      <a:pt x="1080" y="461"/>
                    </a:cubicBezTo>
                    <a:close/>
                    <a:moveTo>
                      <a:pt x="445" y="596"/>
                    </a:moveTo>
                    <a:cubicBezTo>
                      <a:pt x="475" y="592"/>
                      <a:pt x="505" y="589"/>
                      <a:pt x="535" y="586"/>
                    </a:cubicBezTo>
                    <a:cubicBezTo>
                      <a:pt x="542" y="548"/>
                      <a:pt x="548" y="509"/>
                      <a:pt x="556" y="472"/>
                    </a:cubicBezTo>
                    <a:cubicBezTo>
                      <a:pt x="519" y="469"/>
                      <a:pt x="483" y="466"/>
                      <a:pt x="449" y="461"/>
                    </a:cubicBezTo>
                    <a:cubicBezTo>
                      <a:pt x="446" y="504"/>
                      <a:pt x="444" y="549"/>
                      <a:pt x="445" y="596"/>
                    </a:cubicBezTo>
                    <a:close/>
                    <a:moveTo>
                      <a:pt x="965" y="472"/>
                    </a:moveTo>
                    <a:cubicBezTo>
                      <a:pt x="967" y="507"/>
                      <a:pt x="966" y="546"/>
                      <a:pt x="966" y="584"/>
                    </a:cubicBezTo>
                    <a:cubicBezTo>
                      <a:pt x="1016" y="589"/>
                      <a:pt x="1065" y="594"/>
                      <a:pt x="1113" y="600"/>
                    </a:cubicBezTo>
                    <a:cubicBezTo>
                      <a:pt x="1102" y="553"/>
                      <a:pt x="1092" y="503"/>
                      <a:pt x="1075" y="461"/>
                    </a:cubicBezTo>
                    <a:cubicBezTo>
                      <a:pt x="1039" y="466"/>
                      <a:pt x="1003" y="470"/>
                      <a:pt x="965" y="472"/>
                    </a:cubicBezTo>
                    <a:close/>
                    <a:moveTo>
                      <a:pt x="1388" y="521"/>
                    </a:moveTo>
                    <a:cubicBezTo>
                      <a:pt x="1391" y="540"/>
                      <a:pt x="1392" y="559"/>
                      <a:pt x="1396" y="577"/>
                    </a:cubicBezTo>
                    <a:cubicBezTo>
                      <a:pt x="1400" y="600"/>
                      <a:pt x="1412" y="620"/>
                      <a:pt x="1416" y="640"/>
                    </a:cubicBezTo>
                    <a:cubicBezTo>
                      <a:pt x="1437" y="628"/>
                      <a:pt x="1459" y="617"/>
                      <a:pt x="1473" y="599"/>
                    </a:cubicBezTo>
                    <a:cubicBezTo>
                      <a:pt x="1470" y="557"/>
                      <a:pt x="1454" y="529"/>
                      <a:pt x="1442" y="496"/>
                    </a:cubicBezTo>
                    <a:cubicBezTo>
                      <a:pt x="1421" y="484"/>
                      <a:pt x="1400" y="473"/>
                      <a:pt x="1376" y="465"/>
                    </a:cubicBezTo>
                    <a:cubicBezTo>
                      <a:pt x="1381" y="483"/>
                      <a:pt x="1385" y="502"/>
                      <a:pt x="1388" y="521"/>
                    </a:cubicBezTo>
                    <a:close/>
                    <a:moveTo>
                      <a:pt x="91" y="491"/>
                    </a:moveTo>
                    <a:cubicBezTo>
                      <a:pt x="82" y="531"/>
                      <a:pt x="72" y="570"/>
                      <a:pt x="69" y="616"/>
                    </a:cubicBezTo>
                    <a:cubicBezTo>
                      <a:pt x="73" y="619"/>
                      <a:pt x="78" y="623"/>
                      <a:pt x="83" y="625"/>
                    </a:cubicBezTo>
                    <a:cubicBezTo>
                      <a:pt x="98" y="568"/>
                      <a:pt x="121" y="515"/>
                      <a:pt x="142" y="467"/>
                    </a:cubicBezTo>
                    <a:cubicBezTo>
                      <a:pt x="124" y="474"/>
                      <a:pt x="107" y="482"/>
                      <a:pt x="91" y="491"/>
                    </a:cubicBezTo>
                    <a:close/>
                    <a:moveTo>
                      <a:pt x="558" y="472"/>
                    </a:moveTo>
                    <a:cubicBezTo>
                      <a:pt x="551" y="509"/>
                      <a:pt x="545" y="548"/>
                      <a:pt x="538" y="586"/>
                    </a:cubicBezTo>
                    <a:cubicBezTo>
                      <a:pt x="562" y="584"/>
                      <a:pt x="586" y="582"/>
                      <a:pt x="611" y="581"/>
                    </a:cubicBezTo>
                    <a:cubicBezTo>
                      <a:pt x="611" y="545"/>
                      <a:pt x="613" y="511"/>
                      <a:pt x="612" y="476"/>
                    </a:cubicBezTo>
                    <a:cubicBezTo>
                      <a:pt x="594" y="474"/>
                      <a:pt x="576" y="474"/>
                      <a:pt x="558" y="472"/>
                    </a:cubicBezTo>
                    <a:close/>
                    <a:moveTo>
                      <a:pt x="915" y="476"/>
                    </a:moveTo>
                    <a:cubicBezTo>
                      <a:pt x="919" y="511"/>
                      <a:pt x="925" y="546"/>
                      <a:pt x="928" y="582"/>
                    </a:cubicBezTo>
                    <a:cubicBezTo>
                      <a:pt x="941" y="582"/>
                      <a:pt x="952" y="584"/>
                      <a:pt x="965" y="584"/>
                    </a:cubicBezTo>
                    <a:cubicBezTo>
                      <a:pt x="965" y="546"/>
                      <a:pt x="963" y="510"/>
                      <a:pt x="963" y="473"/>
                    </a:cubicBezTo>
                    <a:cubicBezTo>
                      <a:pt x="946" y="473"/>
                      <a:pt x="930" y="474"/>
                      <a:pt x="915" y="476"/>
                    </a:cubicBezTo>
                    <a:close/>
                    <a:moveTo>
                      <a:pt x="617" y="476"/>
                    </a:moveTo>
                    <a:cubicBezTo>
                      <a:pt x="614" y="508"/>
                      <a:pt x="615" y="545"/>
                      <a:pt x="615" y="580"/>
                    </a:cubicBezTo>
                    <a:cubicBezTo>
                      <a:pt x="653" y="579"/>
                      <a:pt x="691" y="577"/>
                      <a:pt x="729" y="576"/>
                    </a:cubicBezTo>
                    <a:cubicBezTo>
                      <a:pt x="731" y="545"/>
                      <a:pt x="731" y="511"/>
                      <a:pt x="732" y="479"/>
                    </a:cubicBezTo>
                    <a:cubicBezTo>
                      <a:pt x="693" y="479"/>
                      <a:pt x="654" y="478"/>
                      <a:pt x="617" y="476"/>
                    </a:cubicBezTo>
                    <a:close/>
                    <a:moveTo>
                      <a:pt x="791" y="479"/>
                    </a:moveTo>
                    <a:cubicBezTo>
                      <a:pt x="791" y="513"/>
                      <a:pt x="791" y="544"/>
                      <a:pt x="791" y="576"/>
                    </a:cubicBezTo>
                    <a:cubicBezTo>
                      <a:pt x="836" y="577"/>
                      <a:pt x="881" y="579"/>
                      <a:pt x="924" y="581"/>
                    </a:cubicBezTo>
                    <a:cubicBezTo>
                      <a:pt x="920" y="546"/>
                      <a:pt x="915" y="511"/>
                      <a:pt x="911" y="476"/>
                    </a:cubicBezTo>
                    <a:cubicBezTo>
                      <a:pt x="872" y="478"/>
                      <a:pt x="831" y="479"/>
                      <a:pt x="791" y="479"/>
                    </a:cubicBezTo>
                    <a:close/>
                    <a:moveTo>
                      <a:pt x="736" y="479"/>
                    </a:moveTo>
                    <a:cubicBezTo>
                      <a:pt x="732" y="509"/>
                      <a:pt x="734" y="545"/>
                      <a:pt x="732" y="576"/>
                    </a:cubicBezTo>
                    <a:cubicBezTo>
                      <a:pt x="751" y="576"/>
                      <a:pt x="770" y="576"/>
                      <a:pt x="789" y="576"/>
                    </a:cubicBezTo>
                    <a:cubicBezTo>
                      <a:pt x="789" y="544"/>
                      <a:pt x="789" y="512"/>
                      <a:pt x="789" y="479"/>
                    </a:cubicBezTo>
                    <a:cubicBezTo>
                      <a:pt x="771" y="479"/>
                      <a:pt x="754" y="479"/>
                      <a:pt x="736" y="479"/>
                    </a:cubicBezTo>
                    <a:close/>
                    <a:moveTo>
                      <a:pt x="60" y="512"/>
                    </a:moveTo>
                    <a:cubicBezTo>
                      <a:pt x="53" y="535"/>
                      <a:pt x="44" y="556"/>
                      <a:pt x="37" y="580"/>
                    </a:cubicBezTo>
                    <a:cubicBezTo>
                      <a:pt x="45" y="593"/>
                      <a:pt x="53" y="606"/>
                      <a:pt x="67" y="613"/>
                    </a:cubicBezTo>
                    <a:cubicBezTo>
                      <a:pt x="69" y="569"/>
                      <a:pt x="81" y="529"/>
                      <a:pt x="87" y="493"/>
                    </a:cubicBezTo>
                    <a:cubicBezTo>
                      <a:pt x="78" y="499"/>
                      <a:pt x="69" y="505"/>
                      <a:pt x="60" y="512"/>
                    </a:cubicBezTo>
                    <a:close/>
                    <a:moveTo>
                      <a:pt x="1462" y="539"/>
                    </a:moveTo>
                    <a:cubicBezTo>
                      <a:pt x="1461" y="543"/>
                      <a:pt x="1465" y="539"/>
                      <a:pt x="1462" y="539"/>
                    </a:cubicBezTo>
                    <a:moveTo>
                      <a:pt x="1462" y="539"/>
                    </a:moveTo>
                    <a:cubicBezTo>
                      <a:pt x="1458" y="526"/>
                      <a:pt x="1458" y="502"/>
                      <a:pt x="1446" y="501"/>
                    </a:cubicBezTo>
                    <a:cubicBezTo>
                      <a:pt x="1452" y="512"/>
                      <a:pt x="1456" y="526"/>
                      <a:pt x="1462" y="539"/>
                    </a:cubicBezTo>
                    <a:moveTo>
                      <a:pt x="1480" y="592"/>
                    </a:moveTo>
                    <a:cubicBezTo>
                      <a:pt x="1504" y="563"/>
                      <a:pt x="1482" y="521"/>
                      <a:pt x="1457" y="507"/>
                    </a:cubicBezTo>
                    <a:cubicBezTo>
                      <a:pt x="1465" y="535"/>
                      <a:pt x="1469" y="567"/>
                      <a:pt x="1480" y="592"/>
                    </a:cubicBezTo>
                    <a:close/>
                    <a:moveTo>
                      <a:pt x="36" y="575"/>
                    </a:moveTo>
                    <a:cubicBezTo>
                      <a:pt x="40" y="555"/>
                      <a:pt x="51" y="536"/>
                      <a:pt x="54" y="517"/>
                    </a:cubicBezTo>
                    <a:cubicBezTo>
                      <a:pt x="42" y="529"/>
                      <a:pt x="28" y="553"/>
                      <a:pt x="36" y="575"/>
                    </a:cubicBezTo>
                    <a:close/>
                    <a:moveTo>
                      <a:pt x="1463" y="544"/>
                    </a:moveTo>
                    <a:cubicBezTo>
                      <a:pt x="1462" y="543"/>
                      <a:pt x="1463" y="544"/>
                      <a:pt x="1463" y="544"/>
                    </a:cubicBezTo>
                    <a:close/>
                    <a:moveTo>
                      <a:pt x="1480" y="597"/>
                    </a:moveTo>
                    <a:cubicBezTo>
                      <a:pt x="1494" y="642"/>
                      <a:pt x="1503" y="692"/>
                      <a:pt x="1508" y="747"/>
                    </a:cubicBezTo>
                    <a:cubicBezTo>
                      <a:pt x="1512" y="753"/>
                      <a:pt x="1516" y="760"/>
                      <a:pt x="1519" y="767"/>
                    </a:cubicBezTo>
                    <a:cubicBezTo>
                      <a:pt x="1521" y="690"/>
                      <a:pt x="1511" y="622"/>
                      <a:pt x="1494" y="563"/>
                    </a:cubicBezTo>
                    <a:cubicBezTo>
                      <a:pt x="1493" y="578"/>
                      <a:pt x="1486" y="587"/>
                      <a:pt x="1480" y="597"/>
                    </a:cubicBezTo>
                    <a:close/>
                    <a:moveTo>
                      <a:pt x="17" y="654"/>
                    </a:moveTo>
                    <a:cubicBezTo>
                      <a:pt x="21" y="628"/>
                      <a:pt x="28" y="604"/>
                      <a:pt x="34" y="580"/>
                    </a:cubicBezTo>
                    <a:cubicBezTo>
                      <a:pt x="33" y="577"/>
                      <a:pt x="32" y="573"/>
                      <a:pt x="30" y="570"/>
                    </a:cubicBezTo>
                    <a:cubicBezTo>
                      <a:pt x="26" y="597"/>
                      <a:pt x="18" y="626"/>
                      <a:pt x="17" y="654"/>
                    </a:cubicBezTo>
                    <a:close/>
                    <a:moveTo>
                      <a:pt x="615" y="583"/>
                    </a:moveTo>
                    <a:cubicBezTo>
                      <a:pt x="616" y="635"/>
                      <a:pt x="617" y="686"/>
                      <a:pt x="620" y="736"/>
                    </a:cubicBezTo>
                    <a:cubicBezTo>
                      <a:pt x="655" y="737"/>
                      <a:pt x="690" y="739"/>
                      <a:pt x="726" y="739"/>
                    </a:cubicBezTo>
                    <a:cubicBezTo>
                      <a:pt x="728" y="686"/>
                      <a:pt x="729" y="633"/>
                      <a:pt x="729" y="579"/>
                    </a:cubicBezTo>
                    <a:cubicBezTo>
                      <a:pt x="690" y="580"/>
                      <a:pt x="652" y="581"/>
                      <a:pt x="615" y="583"/>
                    </a:cubicBezTo>
                    <a:close/>
                    <a:moveTo>
                      <a:pt x="729" y="739"/>
                    </a:moveTo>
                    <a:cubicBezTo>
                      <a:pt x="750" y="738"/>
                      <a:pt x="769" y="740"/>
                      <a:pt x="788" y="739"/>
                    </a:cubicBezTo>
                    <a:cubicBezTo>
                      <a:pt x="788" y="685"/>
                      <a:pt x="790" y="633"/>
                      <a:pt x="789" y="579"/>
                    </a:cubicBezTo>
                    <a:cubicBezTo>
                      <a:pt x="770" y="579"/>
                      <a:pt x="752" y="579"/>
                      <a:pt x="733" y="579"/>
                    </a:cubicBezTo>
                    <a:cubicBezTo>
                      <a:pt x="730" y="630"/>
                      <a:pt x="731" y="686"/>
                      <a:pt x="729" y="739"/>
                    </a:cubicBezTo>
                    <a:close/>
                    <a:moveTo>
                      <a:pt x="791" y="582"/>
                    </a:moveTo>
                    <a:cubicBezTo>
                      <a:pt x="791" y="634"/>
                      <a:pt x="791" y="687"/>
                      <a:pt x="791" y="739"/>
                    </a:cubicBezTo>
                    <a:cubicBezTo>
                      <a:pt x="842" y="739"/>
                      <a:pt x="890" y="736"/>
                      <a:pt x="938" y="734"/>
                    </a:cubicBezTo>
                    <a:cubicBezTo>
                      <a:pt x="934" y="683"/>
                      <a:pt x="930" y="633"/>
                      <a:pt x="924" y="584"/>
                    </a:cubicBezTo>
                    <a:cubicBezTo>
                      <a:pt x="881" y="581"/>
                      <a:pt x="837" y="580"/>
                      <a:pt x="792" y="579"/>
                    </a:cubicBezTo>
                    <a:cubicBezTo>
                      <a:pt x="791" y="579"/>
                      <a:pt x="791" y="581"/>
                      <a:pt x="791" y="582"/>
                    </a:cubicBezTo>
                    <a:close/>
                    <a:moveTo>
                      <a:pt x="538" y="588"/>
                    </a:moveTo>
                    <a:cubicBezTo>
                      <a:pt x="531" y="634"/>
                      <a:pt x="526" y="681"/>
                      <a:pt x="521" y="729"/>
                    </a:cubicBezTo>
                    <a:cubicBezTo>
                      <a:pt x="552" y="732"/>
                      <a:pt x="584" y="734"/>
                      <a:pt x="616" y="736"/>
                    </a:cubicBezTo>
                    <a:cubicBezTo>
                      <a:pt x="612" y="686"/>
                      <a:pt x="615" y="630"/>
                      <a:pt x="609" y="583"/>
                    </a:cubicBezTo>
                    <a:cubicBezTo>
                      <a:pt x="586" y="585"/>
                      <a:pt x="562" y="587"/>
                      <a:pt x="538" y="588"/>
                    </a:cubicBezTo>
                    <a:close/>
                    <a:moveTo>
                      <a:pt x="929" y="584"/>
                    </a:moveTo>
                    <a:cubicBezTo>
                      <a:pt x="933" y="634"/>
                      <a:pt x="939" y="682"/>
                      <a:pt x="942" y="734"/>
                    </a:cubicBezTo>
                    <a:cubicBezTo>
                      <a:pt x="946" y="733"/>
                      <a:pt x="953" y="733"/>
                      <a:pt x="959" y="733"/>
                    </a:cubicBezTo>
                    <a:cubicBezTo>
                      <a:pt x="962" y="685"/>
                      <a:pt x="963" y="636"/>
                      <a:pt x="965" y="587"/>
                    </a:cubicBezTo>
                    <a:cubicBezTo>
                      <a:pt x="953" y="585"/>
                      <a:pt x="941" y="585"/>
                      <a:pt x="929" y="584"/>
                    </a:cubicBezTo>
                    <a:close/>
                    <a:moveTo>
                      <a:pt x="13" y="752"/>
                    </a:moveTo>
                    <a:cubicBezTo>
                      <a:pt x="25" y="732"/>
                      <a:pt x="46" y="719"/>
                      <a:pt x="63" y="704"/>
                    </a:cubicBezTo>
                    <a:cubicBezTo>
                      <a:pt x="63" y="674"/>
                      <a:pt x="63" y="645"/>
                      <a:pt x="66" y="618"/>
                    </a:cubicBezTo>
                    <a:cubicBezTo>
                      <a:pt x="54" y="609"/>
                      <a:pt x="45" y="597"/>
                      <a:pt x="35" y="585"/>
                    </a:cubicBezTo>
                    <a:cubicBezTo>
                      <a:pt x="23" y="635"/>
                      <a:pt x="7" y="690"/>
                      <a:pt x="13" y="752"/>
                    </a:cubicBezTo>
                    <a:close/>
                    <a:moveTo>
                      <a:pt x="967" y="587"/>
                    </a:moveTo>
                    <a:cubicBezTo>
                      <a:pt x="965" y="635"/>
                      <a:pt x="965" y="686"/>
                      <a:pt x="961" y="732"/>
                    </a:cubicBezTo>
                    <a:cubicBezTo>
                      <a:pt x="1017" y="729"/>
                      <a:pt x="1071" y="723"/>
                      <a:pt x="1123" y="716"/>
                    </a:cubicBezTo>
                    <a:cubicBezTo>
                      <a:pt x="1132" y="675"/>
                      <a:pt x="1121" y="639"/>
                      <a:pt x="1114" y="603"/>
                    </a:cubicBezTo>
                    <a:cubicBezTo>
                      <a:pt x="1067" y="597"/>
                      <a:pt x="1018" y="591"/>
                      <a:pt x="967" y="587"/>
                    </a:cubicBezTo>
                    <a:close/>
                    <a:moveTo>
                      <a:pt x="1476" y="597"/>
                    </a:moveTo>
                    <a:cubicBezTo>
                      <a:pt x="1478" y="594"/>
                      <a:pt x="1476" y="589"/>
                      <a:pt x="1474" y="587"/>
                    </a:cubicBezTo>
                    <a:cubicBezTo>
                      <a:pt x="1475" y="590"/>
                      <a:pt x="1475" y="594"/>
                      <a:pt x="1476" y="597"/>
                    </a:cubicBezTo>
                    <a:close/>
                    <a:moveTo>
                      <a:pt x="445" y="599"/>
                    </a:moveTo>
                    <a:cubicBezTo>
                      <a:pt x="446" y="641"/>
                      <a:pt x="448" y="683"/>
                      <a:pt x="452" y="722"/>
                    </a:cubicBezTo>
                    <a:cubicBezTo>
                      <a:pt x="474" y="725"/>
                      <a:pt x="496" y="727"/>
                      <a:pt x="518" y="729"/>
                    </a:cubicBezTo>
                    <a:cubicBezTo>
                      <a:pt x="523" y="682"/>
                      <a:pt x="528" y="634"/>
                      <a:pt x="535" y="589"/>
                    </a:cubicBezTo>
                    <a:cubicBezTo>
                      <a:pt x="504" y="591"/>
                      <a:pt x="475" y="595"/>
                      <a:pt x="445" y="599"/>
                    </a:cubicBezTo>
                    <a:close/>
                    <a:moveTo>
                      <a:pt x="1398" y="592"/>
                    </a:moveTo>
                    <a:cubicBezTo>
                      <a:pt x="1398" y="610"/>
                      <a:pt x="1399" y="628"/>
                      <a:pt x="1399" y="647"/>
                    </a:cubicBezTo>
                    <a:cubicBezTo>
                      <a:pt x="1404" y="644"/>
                      <a:pt x="1410" y="644"/>
                      <a:pt x="1412" y="640"/>
                    </a:cubicBezTo>
                    <a:cubicBezTo>
                      <a:pt x="1407" y="624"/>
                      <a:pt x="1403" y="607"/>
                      <a:pt x="1398" y="592"/>
                    </a:cubicBezTo>
                    <a:moveTo>
                      <a:pt x="1398" y="592"/>
                    </a:moveTo>
                    <a:cubicBezTo>
                      <a:pt x="1399" y="587"/>
                      <a:pt x="1395" y="591"/>
                      <a:pt x="1398" y="592"/>
                    </a:cubicBezTo>
                    <a:moveTo>
                      <a:pt x="354" y="612"/>
                    </a:moveTo>
                    <a:cubicBezTo>
                      <a:pt x="346" y="641"/>
                      <a:pt x="341" y="673"/>
                      <a:pt x="335" y="705"/>
                    </a:cubicBezTo>
                    <a:cubicBezTo>
                      <a:pt x="372" y="712"/>
                      <a:pt x="409" y="718"/>
                      <a:pt x="449" y="721"/>
                    </a:cubicBezTo>
                    <a:cubicBezTo>
                      <a:pt x="445" y="682"/>
                      <a:pt x="445" y="639"/>
                      <a:pt x="441" y="599"/>
                    </a:cubicBezTo>
                    <a:cubicBezTo>
                      <a:pt x="412" y="603"/>
                      <a:pt x="383" y="607"/>
                      <a:pt x="354" y="612"/>
                    </a:cubicBezTo>
                    <a:close/>
                    <a:moveTo>
                      <a:pt x="1483" y="721"/>
                    </a:moveTo>
                    <a:cubicBezTo>
                      <a:pt x="1487" y="724"/>
                      <a:pt x="1490" y="729"/>
                      <a:pt x="1494" y="733"/>
                    </a:cubicBezTo>
                    <a:cubicBezTo>
                      <a:pt x="1498" y="736"/>
                      <a:pt x="1504" y="743"/>
                      <a:pt x="1505" y="742"/>
                    </a:cubicBezTo>
                    <a:cubicBezTo>
                      <a:pt x="1499" y="690"/>
                      <a:pt x="1492" y="641"/>
                      <a:pt x="1477" y="599"/>
                    </a:cubicBezTo>
                    <a:cubicBezTo>
                      <a:pt x="1480" y="635"/>
                      <a:pt x="1484" y="678"/>
                      <a:pt x="1483" y="721"/>
                    </a:cubicBezTo>
                    <a:close/>
                    <a:moveTo>
                      <a:pt x="1416" y="642"/>
                    </a:moveTo>
                    <a:cubicBezTo>
                      <a:pt x="1419" y="657"/>
                      <a:pt x="1423" y="671"/>
                      <a:pt x="1425" y="686"/>
                    </a:cubicBezTo>
                    <a:cubicBezTo>
                      <a:pt x="1441" y="692"/>
                      <a:pt x="1456" y="703"/>
                      <a:pt x="1468" y="711"/>
                    </a:cubicBezTo>
                    <a:cubicBezTo>
                      <a:pt x="1472" y="714"/>
                      <a:pt x="1478" y="718"/>
                      <a:pt x="1480" y="718"/>
                    </a:cubicBezTo>
                    <a:cubicBezTo>
                      <a:pt x="1480" y="677"/>
                      <a:pt x="1480" y="637"/>
                      <a:pt x="1473" y="603"/>
                    </a:cubicBezTo>
                    <a:cubicBezTo>
                      <a:pt x="1457" y="619"/>
                      <a:pt x="1438" y="632"/>
                      <a:pt x="1416" y="642"/>
                    </a:cubicBezTo>
                    <a:close/>
                    <a:moveTo>
                      <a:pt x="1128" y="658"/>
                    </a:moveTo>
                    <a:cubicBezTo>
                      <a:pt x="1128" y="640"/>
                      <a:pt x="1129" y="623"/>
                      <a:pt x="1130" y="605"/>
                    </a:cubicBezTo>
                    <a:cubicBezTo>
                      <a:pt x="1124" y="606"/>
                      <a:pt x="1122" y="604"/>
                      <a:pt x="1117" y="604"/>
                    </a:cubicBezTo>
                    <a:cubicBezTo>
                      <a:pt x="1120" y="623"/>
                      <a:pt x="1124" y="640"/>
                      <a:pt x="1128" y="658"/>
                    </a:cubicBezTo>
                    <a:close/>
                    <a:moveTo>
                      <a:pt x="1134" y="606"/>
                    </a:moveTo>
                    <a:cubicBezTo>
                      <a:pt x="1132" y="607"/>
                      <a:pt x="1132" y="607"/>
                      <a:pt x="1132" y="609"/>
                    </a:cubicBezTo>
                    <a:cubicBezTo>
                      <a:pt x="1131" y="648"/>
                      <a:pt x="1128" y="682"/>
                      <a:pt x="1136" y="714"/>
                    </a:cubicBezTo>
                    <a:cubicBezTo>
                      <a:pt x="1184" y="707"/>
                      <a:pt x="1230" y="698"/>
                      <a:pt x="1274" y="688"/>
                    </a:cubicBezTo>
                    <a:cubicBezTo>
                      <a:pt x="1276" y="671"/>
                      <a:pt x="1276" y="653"/>
                      <a:pt x="1277" y="635"/>
                    </a:cubicBezTo>
                    <a:cubicBezTo>
                      <a:pt x="1230" y="624"/>
                      <a:pt x="1183" y="614"/>
                      <a:pt x="1134" y="606"/>
                    </a:cubicBezTo>
                    <a:close/>
                    <a:moveTo>
                      <a:pt x="349" y="613"/>
                    </a:moveTo>
                    <a:cubicBezTo>
                      <a:pt x="330" y="617"/>
                      <a:pt x="311" y="621"/>
                      <a:pt x="292" y="624"/>
                    </a:cubicBezTo>
                    <a:cubicBezTo>
                      <a:pt x="292" y="650"/>
                      <a:pt x="293" y="674"/>
                      <a:pt x="295" y="697"/>
                    </a:cubicBezTo>
                    <a:cubicBezTo>
                      <a:pt x="307" y="700"/>
                      <a:pt x="319" y="703"/>
                      <a:pt x="332" y="704"/>
                    </a:cubicBezTo>
                    <a:cubicBezTo>
                      <a:pt x="337" y="674"/>
                      <a:pt x="345" y="641"/>
                      <a:pt x="349" y="613"/>
                    </a:cubicBezTo>
                    <a:close/>
                    <a:moveTo>
                      <a:pt x="1279" y="634"/>
                    </a:moveTo>
                    <a:cubicBezTo>
                      <a:pt x="1282" y="634"/>
                      <a:pt x="1283" y="634"/>
                      <a:pt x="1284" y="635"/>
                    </a:cubicBezTo>
                    <a:cubicBezTo>
                      <a:pt x="1283" y="628"/>
                      <a:pt x="1282" y="622"/>
                      <a:pt x="1279" y="617"/>
                    </a:cubicBezTo>
                    <a:cubicBezTo>
                      <a:pt x="1279" y="623"/>
                      <a:pt x="1279" y="628"/>
                      <a:pt x="1279" y="634"/>
                    </a:cubicBezTo>
                    <a:close/>
                    <a:moveTo>
                      <a:pt x="67" y="699"/>
                    </a:moveTo>
                    <a:cubicBezTo>
                      <a:pt x="70" y="674"/>
                      <a:pt x="76" y="651"/>
                      <a:pt x="82" y="628"/>
                    </a:cubicBezTo>
                    <a:cubicBezTo>
                      <a:pt x="77" y="626"/>
                      <a:pt x="74" y="621"/>
                      <a:pt x="68" y="620"/>
                    </a:cubicBezTo>
                    <a:cubicBezTo>
                      <a:pt x="67" y="645"/>
                      <a:pt x="64" y="674"/>
                      <a:pt x="67" y="699"/>
                    </a:cubicBezTo>
                    <a:close/>
                    <a:moveTo>
                      <a:pt x="288" y="625"/>
                    </a:moveTo>
                    <a:cubicBezTo>
                      <a:pt x="255" y="634"/>
                      <a:pt x="221" y="642"/>
                      <a:pt x="190" y="652"/>
                    </a:cubicBezTo>
                    <a:cubicBezTo>
                      <a:pt x="189" y="659"/>
                      <a:pt x="188" y="664"/>
                      <a:pt x="186" y="670"/>
                    </a:cubicBezTo>
                    <a:cubicBezTo>
                      <a:pt x="220" y="680"/>
                      <a:pt x="255" y="690"/>
                      <a:pt x="293" y="696"/>
                    </a:cubicBezTo>
                    <a:cubicBezTo>
                      <a:pt x="290" y="673"/>
                      <a:pt x="291" y="648"/>
                      <a:pt x="288" y="625"/>
                    </a:cubicBezTo>
                    <a:close/>
                    <a:moveTo>
                      <a:pt x="69" y="701"/>
                    </a:moveTo>
                    <a:cubicBezTo>
                      <a:pt x="95" y="687"/>
                      <a:pt x="122" y="673"/>
                      <a:pt x="152" y="663"/>
                    </a:cubicBezTo>
                    <a:cubicBezTo>
                      <a:pt x="130" y="651"/>
                      <a:pt x="104" y="643"/>
                      <a:pt x="84" y="629"/>
                    </a:cubicBezTo>
                    <a:cubicBezTo>
                      <a:pt x="79" y="653"/>
                      <a:pt x="73" y="676"/>
                      <a:pt x="69" y="701"/>
                    </a:cubicBezTo>
                    <a:close/>
                    <a:moveTo>
                      <a:pt x="1277" y="687"/>
                    </a:moveTo>
                    <a:cubicBezTo>
                      <a:pt x="1283" y="685"/>
                      <a:pt x="1289" y="684"/>
                      <a:pt x="1296" y="682"/>
                    </a:cubicBezTo>
                    <a:cubicBezTo>
                      <a:pt x="1292" y="667"/>
                      <a:pt x="1290" y="652"/>
                      <a:pt x="1285" y="638"/>
                    </a:cubicBezTo>
                    <a:cubicBezTo>
                      <a:pt x="1284" y="637"/>
                      <a:pt x="1281" y="637"/>
                      <a:pt x="1279" y="636"/>
                    </a:cubicBezTo>
                    <a:cubicBezTo>
                      <a:pt x="1278" y="652"/>
                      <a:pt x="1278" y="670"/>
                      <a:pt x="1277" y="687"/>
                    </a:cubicBezTo>
                    <a:close/>
                    <a:moveTo>
                      <a:pt x="1298" y="681"/>
                    </a:moveTo>
                    <a:cubicBezTo>
                      <a:pt x="1320" y="675"/>
                      <a:pt x="1342" y="670"/>
                      <a:pt x="1362" y="661"/>
                    </a:cubicBezTo>
                    <a:cubicBezTo>
                      <a:pt x="1338" y="654"/>
                      <a:pt x="1315" y="645"/>
                      <a:pt x="1289" y="639"/>
                    </a:cubicBezTo>
                    <a:cubicBezTo>
                      <a:pt x="1291" y="653"/>
                      <a:pt x="1296" y="666"/>
                      <a:pt x="1298" y="681"/>
                    </a:cubicBezTo>
                    <a:close/>
                    <a:moveTo>
                      <a:pt x="1399" y="649"/>
                    </a:moveTo>
                    <a:cubicBezTo>
                      <a:pt x="1399" y="657"/>
                      <a:pt x="1399" y="665"/>
                      <a:pt x="1399" y="673"/>
                    </a:cubicBezTo>
                    <a:cubicBezTo>
                      <a:pt x="1407" y="677"/>
                      <a:pt x="1415" y="680"/>
                      <a:pt x="1422" y="684"/>
                    </a:cubicBezTo>
                    <a:cubicBezTo>
                      <a:pt x="1419" y="671"/>
                      <a:pt x="1418" y="655"/>
                      <a:pt x="1412" y="644"/>
                    </a:cubicBezTo>
                    <a:cubicBezTo>
                      <a:pt x="1409" y="646"/>
                      <a:pt x="1404" y="648"/>
                      <a:pt x="1399" y="649"/>
                    </a:cubicBezTo>
                    <a:close/>
                    <a:moveTo>
                      <a:pt x="1371" y="662"/>
                    </a:moveTo>
                    <a:cubicBezTo>
                      <a:pt x="1379" y="665"/>
                      <a:pt x="1388" y="668"/>
                      <a:pt x="1397" y="672"/>
                    </a:cubicBezTo>
                    <a:cubicBezTo>
                      <a:pt x="1396" y="666"/>
                      <a:pt x="1398" y="656"/>
                      <a:pt x="1396" y="651"/>
                    </a:cubicBezTo>
                    <a:cubicBezTo>
                      <a:pt x="1388" y="655"/>
                      <a:pt x="1379" y="658"/>
                      <a:pt x="1371" y="662"/>
                    </a:cubicBezTo>
                    <a:close/>
                    <a:moveTo>
                      <a:pt x="162" y="662"/>
                    </a:moveTo>
                    <a:cubicBezTo>
                      <a:pt x="169" y="664"/>
                      <a:pt x="175" y="668"/>
                      <a:pt x="184" y="669"/>
                    </a:cubicBezTo>
                    <a:cubicBezTo>
                      <a:pt x="184" y="663"/>
                      <a:pt x="187" y="659"/>
                      <a:pt x="187" y="653"/>
                    </a:cubicBezTo>
                    <a:cubicBezTo>
                      <a:pt x="178" y="656"/>
                      <a:pt x="170" y="658"/>
                      <a:pt x="162" y="662"/>
                    </a:cubicBezTo>
                    <a:close/>
                    <a:moveTo>
                      <a:pt x="109" y="683"/>
                    </a:moveTo>
                    <a:cubicBezTo>
                      <a:pt x="98" y="688"/>
                      <a:pt x="72" y="698"/>
                      <a:pt x="68" y="707"/>
                    </a:cubicBezTo>
                    <a:cubicBezTo>
                      <a:pt x="63" y="717"/>
                      <a:pt x="68" y="742"/>
                      <a:pt x="70" y="755"/>
                    </a:cubicBezTo>
                    <a:cubicBezTo>
                      <a:pt x="76" y="807"/>
                      <a:pt x="83" y="853"/>
                      <a:pt x="96" y="893"/>
                    </a:cubicBezTo>
                    <a:cubicBezTo>
                      <a:pt x="107" y="898"/>
                      <a:pt x="117" y="903"/>
                      <a:pt x="127" y="908"/>
                    </a:cubicBezTo>
                    <a:cubicBezTo>
                      <a:pt x="138" y="901"/>
                      <a:pt x="150" y="898"/>
                      <a:pt x="158" y="889"/>
                    </a:cubicBezTo>
                    <a:cubicBezTo>
                      <a:pt x="157" y="859"/>
                      <a:pt x="160" y="834"/>
                      <a:pt x="162" y="808"/>
                    </a:cubicBezTo>
                    <a:cubicBezTo>
                      <a:pt x="163" y="790"/>
                      <a:pt x="168" y="772"/>
                      <a:pt x="168" y="756"/>
                    </a:cubicBezTo>
                    <a:cubicBezTo>
                      <a:pt x="168" y="741"/>
                      <a:pt x="163" y="727"/>
                      <a:pt x="162" y="712"/>
                    </a:cubicBezTo>
                    <a:cubicBezTo>
                      <a:pt x="161" y="696"/>
                      <a:pt x="161" y="681"/>
                      <a:pt x="159" y="665"/>
                    </a:cubicBezTo>
                    <a:cubicBezTo>
                      <a:pt x="159" y="664"/>
                      <a:pt x="159" y="664"/>
                      <a:pt x="158" y="664"/>
                    </a:cubicBezTo>
                    <a:cubicBezTo>
                      <a:pt x="145" y="667"/>
                      <a:pt x="128" y="674"/>
                      <a:pt x="109" y="683"/>
                    </a:cubicBezTo>
                    <a:close/>
                    <a:moveTo>
                      <a:pt x="1367" y="664"/>
                    </a:moveTo>
                    <a:cubicBezTo>
                      <a:pt x="1347" y="670"/>
                      <a:pt x="1321" y="678"/>
                      <a:pt x="1299" y="685"/>
                    </a:cubicBezTo>
                    <a:cubicBezTo>
                      <a:pt x="1311" y="742"/>
                      <a:pt x="1319" y="805"/>
                      <a:pt x="1322" y="872"/>
                    </a:cubicBezTo>
                    <a:cubicBezTo>
                      <a:pt x="1336" y="877"/>
                      <a:pt x="1347" y="884"/>
                      <a:pt x="1362" y="888"/>
                    </a:cubicBezTo>
                    <a:cubicBezTo>
                      <a:pt x="1380" y="824"/>
                      <a:pt x="1394" y="754"/>
                      <a:pt x="1397" y="674"/>
                    </a:cubicBezTo>
                    <a:cubicBezTo>
                      <a:pt x="1386" y="672"/>
                      <a:pt x="1378" y="666"/>
                      <a:pt x="1367" y="664"/>
                    </a:cubicBezTo>
                    <a:close/>
                    <a:moveTo>
                      <a:pt x="170" y="745"/>
                    </a:moveTo>
                    <a:cubicBezTo>
                      <a:pt x="172" y="719"/>
                      <a:pt x="178" y="695"/>
                      <a:pt x="183" y="671"/>
                    </a:cubicBezTo>
                    <a:cubicBezTo>
                      <a:pt x="175" y="670"/>
                      <a:pt x="169" y="667"/>
                      <a:pt x="162" y="665"/>
                    </a:cubicBezTo>
                    <a:cubicBezTo>
                      <a:pt x="164" y="692"/>
                      <a:pt x="164" y="722"/>
                      <a:pt x="170" y="745"/>
                    </a:cubicBezTo>
                    <a:close/>
                    <a:moveTo>
                      <a:pt x="185" y="672"/>
                    </a:moveTo>
                    <a:cubicBezTo>
                      <a:pt x="185" y="673"/>
                      <a:pt x="185" y="674"/>
                      <a:pt x="185" y="675"/>
                    </a:cubicBezTo>
                    <a:cubicBezTo>
                      <a:pt x="182" y="704"/>
                      <a:pt x="169" y="731"/>
                      <a:pt x="171" y="761"/>
                    </a:cubicBezTo>
                    <a:cubicBezTo>
                      <a:pt x="172" y="801"/>
                      <a:pt x="188" y="839"/>
                      <a:pt x="195" y="875"/>
                    </a:cubicBezTo>
                    <a:cubicBezTo>
                      <a:pt x="232" y="860"/>
                      <a:pt x="272" y="848"/>
                      <a:pt x="314" y="837"/>
                    </a:cubicBezTo>
                    <a:cubicBezTo>
                      <a:pt x="306" y="792"/>
                      <a:pt x="297" y="749"/>
                      <a:pt x="294" y="700"/>
                    </a:cubicBezTo>
                    <a:cubicBezTo>
                      <a:pt x="256" y="692"/>
                      <a:pt x="219" y="683"/>
                      <a:pt x="185" y="672"/>
                    </a:cubicBezTo>
                    <a:close/>
                    <a:moveTo>
                      <a:pt x="1364" y="890"/>
                    </a:moveTo>
                    <a:cubicBezTo>
                      <a:pt x="1375" y="896"/>
                      <a:pt x="1385" y="902"/>
                      <a:pt x="1397" y="908"/>
                    </a:cubicBezTo>
                    <a:cubicBezTo>
                      <a:pt x="1411" y="900"/>
                      <a:pt x="1428" y="894"/>
                      <a:pt x="1441" y="885"/>
                    </a:cubicBezTo>
                    <a:cubicBezTo>
                      <a:pt x="1442" y="811"/>
                      <a:pt x="1435" y="747"/>
                      <a:pt x="1423" y="687"/>
                    </a:cubicBezTo>
                    <a:cubicBezTo>
                      <a:pt x="1415" y="684"/>
                      <a:pt x="1408" y="679"/>
                      <a:pt x="1398" y="676"/>
                    </a:cubicBezTo>
                    <a:cubicBezTo>
                      <a:pt x="1397" y="757"/>
                      <a:pt x="1382" y="826"/>
                      <a:pt x="1364" y="890"/>
                    </a:cubicBezTo>
                    <a:close/>
                    <a:moveTo>
                      <a:pt x="1127" y="716"/>
                    </a:moveTo>
                    <a:cubicBezTo>
                      <a:pt x="1127" y="713"/>
                      <a:pt x="1132" y="715"/>
                      <a:pt x="1134" y="715"/>
                    </a:cubicBezTo>
                    <a:cubicBezTo>
                      <a:pt x="1132" y="705"/>
                      <a:pt x="1131" y="694"/>
                      <a:pt x="1129" y="685"/>
                    </a:cubicBezTo>
                    <a:cubicBezTo>
                      <a:pt x="1128" y="694"/>
                      <a:pt x="1125" y="707"/>
                      <a:pt x="1127" y="716"/>
                    </a:cubicBezTo>
                    <a:close/>
                    <a:moveTo>
                      <a:pt x="1277" y="690"/>
                    </a:moveTo>
                    <a:cubicBezTo>
                      <a:pt x="1272" y="746"/>
                      <a:pt x="1263" y="798"/>
                      <a:pt x="1252" y="848"/>
                    </a:cubicBezTo>
                    <a:cubicBezTo>
                      <a:pt x="1275" y="855"/>
                      <a:pt x="1298" y="862"/>
                      <a:pt x="1319" y="871"/>
                    </a:cubicBezTo>
                    <a:cubicBezTo>
                      <a:pt x="1316" y="804"/>
                      <a:pt x="1310" y="740"/>
                      <a:pt x="1295" y="685"/>
                    </a:cubicBezTo>
                    <a:cubicBezTo>
                      <a:pt x="1289" y="687"/>
                      <a:pt x="1283" y="688"/>
                      <a:pt x="1277" y="690"/>
                    </a:cubicBezTo>
                    <a:close/>
                    <a:moveTo>
                      <a:pt x="1443" y="884"/>
                    </a:moveTo>
                    <a:cubicBezTo>
                      <a:pt x="1447" y="884"/>
                      <a:pt x="1454" y="877"/>
                      <a:pt x="1459" y="875"/>
                    </a:cubicBezTo>
                    <a:cubicBezTo>
                      <a:pt x="1470" y="828"/>
                      <a:pt x="1478" y="779"/>
                      <a:pt x="1480" y="723"/>
                    </a:cubicBezTo>
                    <a:cubicBezTo>
                      <a:pt x="1465" y="709"/>
                      <a:pt x="1446" y="699"/>
                      <a:pt x="1426" y="689"/>
                    </a:cubicBezTo>
                    <a:cubicBezTo>
                      <a:pt x="1437" y="748"/>
                      <a:pt x="1446" y="814"/>
                      <a:pt x="1443" y="884"/>
                    </a:cubicBezTo>
                    <a:close/>
                    <a:moveTo>
                      <a:pt x="1136" y="718"/>
                    </a:moveTo>
                    <a:cubicBezTo>
                      <a:pt x="1142" y="751"/>
                      <a:pt x="1146" y="785"/>
                      <a:pt x="1148" y="822"/>
                    </a:cubicBezTo>
                    <a:cubicBezTo>
                      <a:pt x="1182" y="830"/>
                      <a:pt x="1216" y="838"/>
                      <a:pt x="1249" y="847"/>
                    </a:cubicBezTo>
                    <a:cubicBezTo>
                      <a:pt x="1260" y="798"/>
                      <a:pt x="1269" y="747"/>
                      <a:pt x="1274" y="691"/>
                    </a:cubicBezTo>
                    <a:cubicBezTo>
                      <a:pt x="1273" y="691"/>
                      <a:pt x="1272" y="691"/>
                      <a:pt x="1272" y="691"/>
                    </a:cubicBezTo>
                    <a:cubicBezTo>
                      <a:pt x="1229" y="702"/>
                      <a:pt x="1181" y="708"/>
                      <a:pt x="1136" y="718"/>
                    </a:cubicBezTo>
                    <a:close/>
                    <a:moveTo>
                      <a:pt x="317" y="834"/>
                    </a:moveTo>
                    <a:cubicBezTo>
                      <a:pt x="320" y="790"/>
                      <a:pt x="325" y="747"/>
                      <a:pt x="332" y="707"/>
                    </a:cubicBezTo>
                    <a:cubicBezTo>
                      <a:pt x="319" y="706"/>
                      <a:pt x="307" y="703"/>
                      <a:pt x="295" y="700"/>
                    </a:cubicBezTo>
                    <a:cubicBezTo>
                      <a:pt x="301" y="747"/>
                      <a:pt x="306" y="792"/>
                      <a:pt x="317" y="834"/>
                    </a:cubicBezTo>
                    <a:close/>
                    <a:moveTo>
                      <a:pt x="334" y="708"/>
                    </a:moveTo>
                    <a:cubicBezTo>
                      <a:pt x="329" y="749"/>
                      <a:pt x="320" y="792"/>
                      <a:pt x="320" y="836"/>
                    </a:cubicBezTo>
                    <a:cubicBezTo>
                      <a:pt x="364" y="824"/>
                      <a:pt x="411" y="815"/>
                      <a:pt x="460" y="809"/>
                    </a:cubicBezTo>
                    <a:cubicBezTo>
                      <a:pt x="456" y="781"/>
                      <a:pt x="452" y="754"/>
                      <a:pt x="450" y="724"/>
                    </a:cubicBezTo>
                    <a:cubicBezTo>
                      <a:pt x="410" y="721"/>
                      <a:pt x="372" y="714"/>
                      <a:pt x="334" y="708"/>
                    </a:cubicBezTo>
                    <a:close/>
                    <a:moveTo>
                      <a:pt x="12" y="759"/>
                    </a:moveTo>
                    <a:cubicBezTo>
                      <a:pt x="10" y="769"/>
                      <a:pt x="13" y="784"/>
                      <a:pt x="14" y="796"/>
                    </a:cubicBezTo>
                    <a:cubicBezTo>
                      <a:pt x="15" y="809"/>
                      <a:pt x="15" y="823"/>
                      <a:pt x="18" y="833"/>
                    </a:cubicBezTo>
                    <a:cubicBezTo>
                      <a:pt x="21" y="843"/>
                      <a:pt x="38" y="854"/>
                      <a:pt x="45" y="860"/>
                    </a:cubicBezTo>
                    <a:cubicBezTo>
                      <a:pt x="48" y="862"/>
                      <a:pt x="50" y="867"/>
                      <a:pt x="54" y="865"/>
                    </a:cubicBezTo>
                    <a:cubicBezTo>
                      <a:pt x="52" y="809"/>
                      <a:pt x="59" y="757"/>
                      <a:pt x="63" y="710"/>
                    </a:cubicBezTo>
                    <a:cubicBezTo>
                      <a:pt x="63" y="709"/>
                      <a:pt x="63" y="709"/>
                      <a:pt x="62" y="709"/>
                    </a:cubicBezTo>
                    <a:cubicBezTo>
                      <a:pt x="50" y="719"/>
                      <a:pt x="16" y="741"/>
                      <a:pt x="12" y="759"/>
                    </a:cubicBezTo>
                    <a:close/>
                    <a:moveTo>
                      <a:pt x="1134" y="718"/>
                    </a:moveTo>
                    <a:cubicBezTo>
                      <a:pt x="1133" y="716"/>
                      <a:pt x="1129" y="719"/>
                      <a:pt x="1126" y="718"/>
                    </a:cubicBezTo>
                    <a:cubicBezTo>
                      <a:pt x="1122" y="751"/>
                      <a:pt x="1118" y="785"/>
                      <a:pt x="1112" y="816"/>
                    </a:cubicBezTo>
                    <a:cubicBezTo>
                      <a:pt x="1124" y="818"/>
                      <a:pt x="1134" y="821"/>
                      <a:pt x="1146" y="822"/>
                    </a:cubicBezTo>
                    <a:cubicBezTo>
                      <a:pt x="1143" y="787"/>
                      <a:pt x="1139" y="752"/>
                      <a:pt x="1134" y="718"/>
                    </a:cubicBezTo>
                    <a:close/>
                    <a:moveTo>
                      <a:pt x="961" y="735"/>
                    </a:moveTo>
                    <a:cubicBezTo>
                      <a:pt x="960" y="755"/>
                      <a:pt x="958" y="775"/>
                      <a:pt x="956" y="795"/>
                    </a:cubicBezTo>
                    <a:cubicBezTo>
                      <a:pt x="1009" y="801"/>
                      <a:pt x="1060" y="807"/>
                      <a:pt x="1110" y="815"/>
                    </a:cubicBezTo>
                    <a:cubicBezTo>
                      <a:pt x="1113" y="784"/>
                      <a:pt x="1123" y="748"/>
                      <a:pt x="1121" y="719"/>
                    </a:cubicBezTo>
                    <a:cubicBezTo>
                      <a:pt x="1070" y="726"/>
                      <a:pt x="1016" y="732"/>
                      <a:pt x="961" y="735"/>
                    </a:cubicBezTo>
                    <a:close/>
                    <a:moveTo>
                      <a:pt x="1462" y="872"/>
                    </a:moveTo>
                    <a:cubicBezTo>
                      <a:pt x="1480" y="862"/>
                      <a:pt x="1495" y="848"/>
                      <a:pt x="1507" y="832"/>
                    </a:cubicBezTo>
                    <a:cubicBezTo>
                      <a:pt x="1507" y="814"/>
                      <a:pt x="1508" y="802"/>
                      <a:pt x="1507" y="786"/>
                    </a:cubicBezTo>
                    <a:cubicBezTo>
                      <a:pt x="1506" y="773"/>
                      <a:pt x="1508" y="759"/>
                      <a:pt x="1506" y="750"/>
                    </a:cubicBezTo>
                    <a:cubicBezTo>
                      <a:pt x="1503" y="738"/>
                      <a:pt x="1488" y="733"/>
                      <a:pt x="1482" y="724"/>
                    </a:cubicBezTo>
                    <a:cubicBezTo>
                      <a:pt x="1481" y="779"/>
                      <a:pt x="1472" y="827"/>
                      <a:pt x="1462" y="872"/>
                    </a:cubicBezTo>
                    <a:close/>
                    <a:moveTo>
                      <a:pt x="462" y="808"/>
                    </a:moveTo>
                    <a:cubicBezTo>
                      <a:pt x="479" y="806"/>
                      <a:pt x="496" y="804"/>
                      <a:pt x="512" y="801"/>
                    </a:cubicBezTo>
                    <a:cubicBezTo>
                      <a:pt x="515" y="778"/>
                      <a:pt x="516" y="755"/>
                      <a:pt x="518" y="732"/>
                    </a:cubicBezTo>
                    <a:cubicBezTo>
                      <a:pt x="496" y="729"/>
                      <a:pt x="474" y="727"/>
                      <a:pt x="452" y="725"/>
                    </a:cubicBezTo>
                    <a:cubicBezTo>
                      <a:pt x="455" y="753"/>
                      <a:pt x="458" y="780"/>
                      <a:pt x="462" y="808"/>
                    </a:cubicBezTo>
                    <a:close/>
                    <a:moveTo>
                      <a:pt x="56" y="868"/>
                    </a:moveTo>
                    <a:cubicBezTo>
                      <a:pt x="66" y="877"/>
                      <a:pt x="79" y="884"/>
                      <a:pt x="92" y="890"/>
                    </a:cubicBezTo>
                    <a:cubicBezTo>
                      <a:pt x="79" y="840"/>
                      <a:pt x="69" y="787"/>
                      <a:pt x="64" y="728"/>
                    </a:cubicBezTo>
                    <a:cubicBezTo>
                      <a:pt x="58" y="772"/>
                      <a:pt x="55" y="818"/>
                      <a:pt x="56" y="868"/>
                    </a:cubicBezTo>
                    <a:close/>
                    <a:moveTo>
                      <a:pt x="522" y="732"/>
                    </a:moveTo>
                    <a:cubicBezTo>
                      <a:pt x="518" y="753"/>
                      <a:pt x="518" y="778"/>
                      <a:pt x="515" y="801"/>
                    </a:cubicBezTo>
                    <a:cubicBezTo>
                      <a:pt x="549" y="797"/>
                      <a:pt x="584" y="794"/>
                      <a:pt x="619" y="791"/>
                    </a:cubicBezTo>
                    <a:cubicBezTo>
                      <a:pt x="619" y="773"/>
                      <a:pt x="617" y="756"/>
                      <a:pt x="616" y="739"/>
                    </a:cubicBezTo>
                    <a:cubicBezTo>
                      <a:pt x="585" y="736"/>
                      <a:pt x="553" y="735"/>
                      <a:pt x="522" y="732"/>
                    </a:cubicBezTo>
                    <a:close/>
                    <a:moveTo>
                      <a:pt x="8" y="761"/>
                    </a:moveTo>
                    <a:cubicBezTo>
                      <a:pt x="10" y="754"/>
                      <a:pt x="10" y="740"/>
                      <a:pt x="8" y="733"/>
                    </a:cubicBezTo>
                    <a:cubicBezTo>
                      <a:pt x="10" y="743"/>
                      <a:pt x="6" y="753"/>
                      <a:pt x="8" y="761"/>
                    </a:cubicBezTo>
                    <a:close/>
                    <a:moveTo>
                      <a:pt x="942" y="737"/>
                    </a:moveTo>
                    <a:cubicBezTo>
                      <a:pt x="943" y="757"/>
                      <a:pt x="945" y="775"/>
                      <a:pt x="945" y="795"/>
                    </a:cubicBezTo>
                    <a:cubicBezTo>
                      <a:pt x="948" y="795"/>
                      <a:pt x="950" y="795"/>
                      <a:pt x="953" y="795"/>
                    </a:cubicBezTo>
                    <a:cubicBezTo>
                      <a:pt x="956" y="776"/>
                      <a:pt x="957" y="756"/>
                      <a:pt x="958" y="736"/>
                    </a:cubicBezTo>
                    <a:cubicBezTo>
                      <a:pt x="953" y="736"/>
                      <a:pt x="946" y="735"/>
                      <a:pt x="942" y="737"/>
                    </a:cubicBezTo>
                    <a:close/>
                    <a:moveTo>
                      <a:pt x="790" y="742"/>
                    </a:moveTo>
                    <a:cubicBezTo>
                      <a:pt x="790" y="757"/>
                      <a:pt x="790" y="772"/>
                      <a:pt x="790" y="788"/>
                    </a:cubicBezTo>
                    <a:cubicBezTo>
                      <a:pt x="843" y="788"/>
                      <a:pt x="892" y="791"/>
                      <a:pt x="942" y="794"/>
                    </a:cubicBezTo>
                    <a:cubicBezTo>
                      <a:pt x="940" y="776"/>
                      <a:pt x="940" y="755"/>
                      <a:pt x="938" y="737"/>
                    </a:cubicBezTo>
                    <a:cubicBezTo>
                      <a:pt x="889" y="739"/>
                      <a:pt x="841" y="742"/>
                      <a:pt x="790" y="742"/>
                    </a:cubicBezTo>
                    <a:close/>
                    <a:moveTo>
                      <a:pt x="621" y="739"/>
                    </a:moveTo>
                    <a:cubicBezTo>
                      <a:pt x="619" y="755"/>
                      <a:pt x="623" y="774"/>
                      <a:pt x="623" y="791"/>
                    </a:cubicBezTo>
                    <a:cubicBezTo>
                      <a:pt x="657" y="790"/>
                      <a:pt x="691" y="788"/>
                      <a:pt x="726" y="788"/>
                    </a:cubicBezTo>
                    <a:cubicBezTo>
                      <a:pt x="726" y="772"/>
                      <a:pt x="726" y="757"/>
                      <a:pt x="726" y="742"/>
                    </a:cubicBezTo>
                    <a:cubicBezTo>
                      <a:pt x="690" y="742"/>
                      <a:pt x="656" y="740"/>
                      <a:pt x="621" y="739"/>
                    </a:cubicBezTo>
                    <a:close/>
                    <a:moveTo>
                      <a:pt x="729" y="742"/>
                    </a:moveTo>
                    <a:cubicBezTo>
                      <a:pt x="729" y="757"/>
                      <a:pt x="729" y="772"/>
                      <a:pt x="729" y="788"/>
                    </a:cubicBezTo>
                    <a:cubicBezTo>
                      <a:pt x="749" y="788"/>
                      <a:pt x="768" y="788"/>
                      <a:pt x="787" y="788"/>
                    </a:cubicBezTo>
                    <a:cubicBezTo>
                      <a:pt x="788" y="773"/>
                      <a:pt x="788" y="757"/>
                      <a:pt x="788" y="742"/>
                    </a:cubicBezTo>
                    <a:cubicBezTo>
                      <a:pt x="768" y="742"/>
                      <a:pt x="749" y="742"/>
                      <a:pt x="729" y="742"/>
                    </a:cubicBezTo>
                    <a:close/>
                    <a:moveTo>
                      <a:pt x="1508" y="753"/>
                    </a:moveTo>
                    <a:cubicBezTo>
                      <a:pt x="1508" y="753"/>
                      <a:pt x="1509" y="754"/>
                      <a:pt x="1508" y="753"/>
                    </a:cubicBezTo>
                    <a:close/>
                    <a:moveTo>
                      <a:pt x="1511" y="827"/>
                    </a:moveTo>
                    <a:cubicBezTo>
                      <a:pt x="1520" y="808"/>
                      <a:pt x="1524" y="768"/>
                      <a:pt x="1509" y="754"/>
                    </a:cubicBezTo>
                    <a:cubicBezTo>
                      <a:pt x="1510" y="778"/>
                      <a:pt x="1509" y="804"/>
                      <a:pt x="1511" y="827"/>
                    </a:cubicBezTo>
                    <a:close/>
                    <a:moveTo>
                      <a:pt x="15" y="828"/>
                    </a:moveTo>
                    <a:cubicBezTo>
                      <a:pt x="12" y="808"/>
                      <a:pt x="12" y="784"/>
                      <a:pt x="8" y="765"/>
                    </a:cubicBezTo>
                    <a:cubicBezTo>
                      <a:pt x="6" y="784"/>
                      <a:pt x="4" y="816"/>
                      <a:pt x="15" y="828"/>
                    </a:cubicBezTo>
                    <a:close/>
                    <a:moveTo>
                      <a:pt x="162" y="890"/>
                    </a:moveTo>
                    <a:cubicBezTo>
                      <a:pt x="171" y="884"/>
                      <a:pt x="184" y="881"/>
                      <a:pt x="193" y="875"/>
                    </a:cubicBezTo>
                    <a:cubicBezTo>
                      <a:pt x="182" y="842"/>
                      <a:pt x="176" y="805"/>
                      <a:pt x="169" y="768"/>
                    </a:cubicBezTo>
                    <a:cubicBezTo>
                      <a:pt x="165" y="806"/>
                      <a:pt x="159" y="852"/>
                      <a:pt x="162" y="890"/>
                    </a:cubicBezTo>
                    <a:close/>
                    <a:moveTo>
                      <a:pt x="5" y="797"/>
                    </a:moveTo>
                    <a:cubicBezTo>
                      <a:pt x="5" y="793"/>
                      <a:pt x="5" y="784"/>
                      <a:pt x="4" y="780"/>
                    </a:cubicBezTo>
                    <a:cubicBezTo>
                      <a:pt x="2" y="787"/>
                      <a:pt x="4" y="811"/>
                      <a:pt x="5" y="797"/>
                    </a:cubicBezTo>
                    <a:close/>
                    <a:moveTo>
                      <a:pt x="624" y="794"/>
                    </a:moveTo>
                    <a:cubicBezTo>
                      <a:pt x="627" y="863"/>
                      <a:pt x="635" y="934"/>
                      <a:pt x="643" y="1001"/>
                    </a:cubicBezTo>
                    <a:cubicBezTo>
                      <a:pt x="670" y="999"/>
                      <a:pt x="698" y="998"/>
                      <a:pt x="726" y="997"/>
                    </a:cubicBezTo>
                    <a:cubicBezTo>
                      <a:pt x="726" y="928"/>
                      <a:pt x="725" y="858"/>
                      <a:pt x="726" y="791"/>
                    </a:cubicBezTo>
                    <a:cubicBezTo>
                      <a:pt x="694" y="790"/>
                      <a:pt x="656" y="792"/>
                      <a:pt x="624" y="794"/>
                    </a:cubicBezTo>
                    <a:close/>
                    <a:moveTo>
                      <a:pt x="729" y="792"/>
                    </a:moveTo>
                    <a:cubicBezTo>
                      <a:pt x="727" y="859"/>
                      <a:pt x="729" y="929"/>
                      <a:pt x="728" y="997"/>
                    </a:cubicBezTo>
                    <a:cubicBezTo>
                      <a:pt x="747" y="997"/>
                      <a:pt x="765" y="997"/>
                      <a:pt x="783" y="997"/>
                    </a:cubicBezTo>
                    <a:cubicBezTo>
                      <a:pt x="785" y="929"/>
                      <a:pt x="787" y="860"/>
                      <a:pt x="787" y="790"/>
                    </a:cubicBezTo>
                    <a:cubicBezTo>
                      <a:pt x="768" y="790"/>
                      <a:pt x="749" y="790"/>
                      <a:pt x="730" y="790"/>
                    </a:cubicBezTo>
                    <a:cubicBezTo>
                      <a:pt x="729" y="790"/>
                      <a:pt x="729" y="791"/>
                      <a:pt x="729" y="792"/>
                    </a:cubicBezTo>
                    <a:close/>
                    <a:moveTo>
                      <a:pt x="790" y="792"/>
                    </a:moveTo>
                    <a:cubicBezTo>
                      <a:pt x="789" y="861"/>
                      <a:pt x="788" y="929"/>
                      <a:pt x="786" y="997"/>
                    </a:cubicBezTo>
                    <a:cubicBezTo>
                      <a:pt x="834" y="997"/>
                      <a:pt x="881" y="1003"/>
                      <a:pt x="927" y="998"/>
                    </a:cubicBezTo>
                    <a:cubicBezTo>
                      <a:pt x="937" y="935"/>
                      <a:pt x="950" y="870"/>
                      <a:pt x="942" y="797"/>
                    </a:cubicBezTo>
                    <a:cubicBezTo>
                      <a:pt x="894" y="792"/>
                      <a:pt x="842" y="791"/>
                      <a:pt x="791" y="790"/>
                    </a:cubicBezTo>
                    <a:cubicBezTo>
                      <a:pt x="790" y="790"/>
                      <a:pt x="790" y="791"/>
                      <a:pt x="790" y="792"/>
                    </a:cubicBezTo>
                    <a:close/>
                    <a:moveTo>
                      <a:pt x="1521" y="796"/>
                    </a:moveTo>
                    <a:cubicBezTo>
                      <a:pt x="1521" y="795"/>
                      <a:pt x="1522" y="788"/>
                      <a:pt x="1520" y="791"/>
                    </a:cubicBezTo>
                    <a:cubicBezTo>
                      <a:pt x="1520" y="793"/>
                      <a:pt x="1520" y="799"/>
                      <a:pt x="1521" y="796"/>
                    </a:cubicBezTo>
                    <a:close/>
                    <a:moveTo>
                      <a:pt x="515" y="804"/>
                    </a:moveTo>
                    <a:cubicBezTo>
                      <a:pt x="511" y="864"/>
                      <a:pt x="510" y="926"/>
                      <a:pt x="510" y="991"/>
                    </a:cubicBezTo>
                    <a:cubicBezTo>
                      <a:pt x="552" y="995"/>
                      <a:pt x="598" y="999"/>
                      <a:pt x="640" y="1000"/>
                    </a:cubicBezTo>
                    <a:cubicBezTo>
                      <a:pt x="631" y="934"/>
                      <a:pt x="624" y="865"/>
                      <a:pt x="620" y="794"/>
                    </a:cubicBezTo>
                    <a:cubicBezTo>
                      <a:pt x="584" y="797"/>
                      <a:pt x="549" y="799"/>
                      <a:pt x="515" y="804"/>
                    </a:cubicBezTo>
                    <a:close/>
                    <a:moveTo>
                      <a:pt x="948" y="845"/>
                    </a:moveTo>
                    <a:cubicBezTo>
                      <a:pt x="950" y="830"/>
                      <a:pt x="952" y="814"/>
                      <a:pt x="953" y="798"/>
                    </a:cubicBezTo>
                    <a:cubicBezTo>
                      <a:pt x="950" y="798"/>
                      <a:pt x="949" y="797"/>
                      <a:pt x="945" y="797"/>
                    </a:cubicBezTo>
                    <a:cubicBezTo>
                      <a:pt x="947" y="812"/>
                      <a:pt x="946" y="830"/>
                      <a:pt x="948" y="845"/>
                    </a:cubicBezTo>
                    <a:close/>
                    <a:moveTo>
                      <a:pt x="950" y="997"/>
                    </a:moveTo>
                    <a:cubicBezTo>
                      <a:pt x="991" y="993"/>
                      <a:pt x="1030" y="989"/>
                      <a:pt x="1070" y="985"/>
                    </a:cubicBezTo>
                    <a:cubicBezTo>
                      <a:pt x="1087" y="933"/>
                      <a:pt x="1099" y="877"/>
                      <a:pt x="1110" y="818"/>
                    </a:cubicBezTo>
                    <a:cubicBezTo>
                      <a:pt x="1061" y="809"/>
                      <a:pt x="1009" y="803"/>
                      <a:pt x="957" y="798"/>
                    </a:cubicBezTo>
                    <a:cubicBezTo>
                      <a:pt x="944" y="857"/>
                      <a:pt x="952" y="927"/>
                      <a:pt x="950" y="997"/>
                    </a:cubicBezTo>
                    <a:close/>
                    <a:moveTo>
                      <a:pt x="462" y="811"/>
                    </a:moveTo>
                    <a:cubicBezTo>
                      <a:pt x="470" y="866"/>
                      <a:pt x="483" y="925"/>
                      <a:pt x="495" y="975"/>
                    </a:cubicBezTo>
                    <a:cubicBezTo>
                      <a:pt x="497" y="982"/>
                      <a:pt x="496" y="993"/>
                      <a:pt x="508" y="991"/>
                    </a:cubicBezTo>
                    <a:cubicBezTo>
                      <a:pt x="507" y="935"/>
                      <a:pt x="508" y="873"/>
                      <a:pt x="511" y="820"/>
                    </a:cubicBezTo>
                    <a:cubicBezTo>
                      <a:pt x="512" y="816"/>
                      <a:pt x="515" y="807"/>
                      <a:pt x="510" y="804"/>
                    </a:cubicBezTo>
                    <a:cubicBezTo>
                      <a:pt x="494" y="807"/>
                      <a:pt x="477" y="808"/>
                      <a:pt x="462" y="811"/>
                    </a:cubicBezTo>
                    <a:close/>
                    <a:moveTo>
                      <a:pt x="318" y="839"/>
                    </a:moveTo>
                    <a:cubicBezTo>
                      <a:pt x="326" y="887"/>
                      <a:pt x="341" y="928"/>
                      <a:pt x="354" y="970"/>
                    </a:cubicBezTo>
                    <a:cubicBezTo>
                      <a:pt x="400" y="977"/>
                      <a:pt x="448" y="987"/>
                      <a:pt x="496" y="988"/>
                    </a:cubicBezTo>
                    <a:cubicBezTo>
                      <a:pt x="480" y="933"/>
                      <a:pt x="470" y="871"/>
                      <a:pt x="459" y="811"/>
                    </a:cubicBezTo>
                    <a:cubicBezTo>
                      <a:pt x="411" y="819"/>
                      <a:pt x="363" y="827"/>
                      <a:pt x="318" y="839"/>
                    </a:cubicBezTo>
                    <a:close/>
                    <a:moveTo>
                      <a:pt x="1113" y="819"/>
                    </a:moveTo>
                    <a:cubicBezTo>
                      <a:pt x="1113" y="819"/>
                      <a:pt x="1113" y="818"/>
                      <a:pt x="1112" y="818"/>
                    </a:cubicBezTo>
                    <a:cubicBezTo>
                      <a:pt x="1102" y="876"/>
                      <a:pt x="1089" y="932"/>
                      <a:pt x="1074" y="984"/>
                    </a:cubicBezTo>
                    <a:cubicBezTo>
                      <a:pt x="1100" y="981"/>
                      <a:pt x="1126" y="978"/>
                      <a:pt x="1151" y="973"/>
                    </a:cubicBezTo>
                    <a:cubicBezTo>
                      <a:pt x="1151" y="922"/>
                      <a:pt x="1149" y="873"/>
                      <a:pt x="1146" y="825"/>
                    </a:cubicBezTo>
                    <a:cubicBezTo>
                      <a:pt x="1135" y="823"/>
                      <a:pt x="1125" y="820"/>
                      <a:pt x="1113" y="819"/>
                    </a:cubicBezTo>
                    <a:close/>
                    <a:moveTo>
                      <a:pt x="46" y="1018"/>
                    </a:moveTo>
                    <a:cubicBezTo>
                      <a:pt x="45" y="1002"/>
                      <a:pt x="48" y="990"/>
                      <a:pt x="54" y="980"/>
                    </a:cubicBezTo>
                    <a:cubicBezTo>
                      <a:pt x="37" y="936"/>
                      <a:pt x="24" y="889"/>
                      <a:pt x="17" y="837"/>
                    </a:cubicBezTo>
                    <a:cubicBezTo>
                      <a:pt x="13" y="832"/>
                      <a:pt x="11" y="826"/>
                      <a:pt x="7" y="821"/>
                    </a:cubicBezTo>
                    <a:cubicBezTo>
                      <a:pt x="12" y="895"/>
                      <a:pt x="24" y="961"/>
                      <a:pt x="46" y="1018"/>
                    </a:cubicBezTo>
                    <a:close/>
                    <a:moveTo>
                      <a:pt x="1507" y="887"/>
                    </a:moveTo>
                    <a:cubicBezTo>
                      <a:pt x="1509" y="865"/>
                      <a:pt x="1516" y="844"/>
                      <a:pt x="1515" y="823"/>
                    </a:cubicBezTo>
                    <a:cubicBezTo>
                      <a:pt x="1506" y="838"/>
                      <a:pt x="1508" y="868"/>
                      <a:pt x="1507" y="887"/>
                    </a:cubicBezTo>
                    <a:close/>
                    <a:moveTo>
                      <a:pt x="1149" y="826"/>
                    </a:moveTo>
                    <a:cubicBezTo>
                      <a:pt x="1152" y="873"/>
                      <a:pt x="1154" y="922"/>
                      <a:pt x="1154" y="973"/>
                    </a:cubicBezTo>
                    <a:cubicBezTo>
                      <a:pt x="1174" y="969"/>
                      <a:pt x="1195" y="965"/>
                      <a:pt x="1215" y="961"/>
                    </a:cubicBezTo>
                    <a:cubicBezTo>
                      <a:pt x="1227" y="925"/>
                      <a:pt x="1240" y="889"/>
                      <a:pt x="1248" y="849"/>
                    </a:cubicBezTo>
                    <a:cubicBezTo>
                      <a:pt x="1215" y="841"/>
                      <a:pt x="1184" y="832"/>
                      <a:pt x="1149" y="826"/>
                    </a:cubicBezTo>
                    <a:close/>
                    <a:moveTo>
                      <a:pt x="1461" y="878"/>
                    </a:moveTo>
                    <a:cubicBezTo>
                      <a:pt x="1455" y="899"/>
                      <a:pt x="1449" y="921"/>
                      <a:pt x="1442" y="941"/>
                    </a:cubicBezTo>
                    <a:cubicBezTo>
                      <a:pt x="1456" y="956"/>
                      <a:pt x="1469" y="972"/>
                      <a:pt x="1476" y="993"/>
                    </a:cubicBezTo>
                    <a:cubicBezTo>
                      <a:pt x="1493" y="949"/>
                      <a:pt x="1507" y="896"/>
                      <a:pt x="1506" y="837"/>
                    </a:cubicBezTo>
                    <a:cubicBezTo>
                      <a:pt x="1495" y="854"/>
                      <a:pt x="1476" y="865"/>
                      <a:pt x="1461" y="878"/>
                    </a:cubicBezTo>
                    <a:close/>
                    <a:moveTo>
                      <a:pt x="196" y="877"/>
                    </a:moveTo>
                    <a:cubicBezTo>
                      <a:pt x="201" y="898"/>
                      <a:pt x="208" y="918"/>
                      <a:pt x="215" y="938"/>
                    </a:cubicBezTo>
                    <a:cubicBezTo>
                      <a:pt x="247" y="946"/>
                      <a:pt x="278" y="956"/>
                      <a:pt x="313" y="961"/>
                    </a:cubicBezTo>
                    <a:cubicBezTo>
                      <a:pt x="311" y="919"/>
                      <a:pt x="316" y="878"/>
                      <a:pt x="315" y="839"/>
                    </a:cubicBezTo>
                    <a:cubicBezTo>
                      <a:pt x="314" y="839"/>
                      <a:pt x="313" y="839"/>
                      <a:pt x="313" y="839"/>
                    </a:cubicBezTo>
                    <a:cubicBezTo>
                      <a:pt x="272" y="850"/>
                      <a:pt x="233" y="863"/>
                      <a:pt x="196" y="877"/>
                    </a:cubicBezTo>
                    <a:close/>
                    <a:moveTo>
                      <a:pt x="55" y="977"/>
                    </a:moveTo>
                    <a:cubicBezTo>
                      <a:pt x="56" y="970"/>
                      <a:pt x="61" y="968"/>
                      <a:pt x="63" y="962"/>
                    </a:cubicBezTo>
                    <a:cubicBezTo>
                      <a:pt x="57" y="935"/>
                      <a:pt x="56" y="902"/>
                      <a:pt x="54" y="871"/>
                    </a:cubicBezTo>
                    <a:cubicBezTo>
                      <a:pt x="42" y="861"/>
                      <a:pt x="30" y="852"/>
                      <a:pt x="20" y="840"/>
                    </a:cubicBezTo>
                    <a:cubicBezTo>
                      <a:pt x="27" y="890"/>
                      <a:pt x="39" y="936"/>
                      <a:pt x="55" y="977"/>
                    </a:cubicBezTo>
                    <a:close/>
                    <a:moveTo>
                      <a:pt x="1251" y="851"/>
                    </a:moveTo>
                    <a:cubicBezTo>
                      <a:pt x="1241" y="889"/>
                      <a:pt x="1230" y="925"/>
                      <a:pt x="1218" y="960"/>
                    </a:cubicBezTo>
                    <a:cubicBezTo>
                      <a:pt x="1253" y="953"/>
                      <a:pt x="1288" y="945"/>
                      <a:pt x="1320" y="935"/>
                    </a:cubicBezTo>
                    <a:cubicBezTo>
                      <a:pt x="1320" y="914"/>
                      <a:pt x="1320" y="893"/>
                      <a:pt x="1319" y="873"/>
                    </a:cubicBezTo>
                    <a:cubicBezTo>
                      <a:pt x="1296" y="866"/>
                      <a:pt x="1275" y="857"/>
                      <a:pt x="1251" y="851"/>
                    </a:cubicBezTo>
                    <a:close/>
                    <a:moveTo>
                      <a:pt x="316" y="962"/>
                    </a:moveTo>
                    <a:cubicBezTo>
                      <a:pt x="327" y="965"/>
                      <a:pt x="339" y="967"/>
                      <a:pt x="351" y="969"/>
                    </a:cubicBezTo>
                    <a:cubicBezTo>
                      <a:pt x="338" y="932"/>
                      <a:pt x="328" y="893"/>
                      <a:pt x="318" y="853"/>
                    </a:cubicBezTo>
                    <a:cubicBezTo>
                      <a:pt x="316" y="889"/>
                      <a:pt x="315" y="925"/>
                      <a:pt x="316" y="962"/>
                    </a:cubicBezTo>
                    <a:close/>
                    <a:moveTo>
                      <a:pt x="65" y="959"/>
                    </a:moveTo>
                    <a:cubicBezTo>
                      <a:pt x="75" y="948"/>
                      <a:pt x="90" y="935"/>
                      <a:pt x="102" y="923"/>
                    </a:cubicBezTo>
                    <a:cubicBezTo>
                      <a:pt x="99" y="914"/>
                      <a:pt x="96" y="904"/>
                      <a:pt x="94" y="894"/>
                    </a:cubicBezTo>
                    <a:cubicBezTo>
                      <a:pt x="80" y="889"/>
                      <a:pt x="69" y="880"/>
                      <a:pt x="56" y="873"/>
                    </a:cubicBezTo>
                    <a:cubicBezTo>
                      <a:pt x="59" y="902"/>
                      <a:pt x="60" y="932"/>
                      <a:pt x="65" y="959"/>
                    </a:cubicBezTo>
                    <a:close/>
                    <a:moveTo>
                      <a:pt x="1322" y="934"/>
                    </a:moveTo>
                    <a:cubicBezTo>
                      <a:pt x="1332" y="932"/>
                      <a:pt x="1340" y="928"/>
                      <a:pt x="1350" y="925"/>
                    </a:cubicBezTo>
                    <a:cubicBezTo>
                      <a:pt x="1354" y="914"/>
                      <a:pt x="1357" y="903"/>
                      <a:pt x="1360" y="891"/>
                    </a:cubicBezTo>
                    <a:cubicBezTo>
                      <a:pt x="1347" y="886"/>
                      <a:pt x="1335" y="880"/>
                      <a:pt x="1322" y="875"/>
                    </a:cubicBezTo>
                    <a:cubicBezTo>
                      <a:pt x="1323" y="895"/>
                      <a:pt x="1323" y="913"/>
                      <a:pt x="1322" y="934"/>
                    </a:cubicBezTo>
                    <a:close/>
                    <a:moveTo>
                      <a:pt x="194" y="879"/>
                    </a:moveTo>
                    <a:cubicBezTo>
                      <a:pt x="181" y="882"/>
                      <a:pt x="173" y="889"/>
                      <a:pt x="161" y="892"/>
                    </a:cubicBezTo>
                    <a:cubicBezTo>
                      <a:pt x="161" y="902"/>
                      <a:pt x="161" y="911"/>
                      <a:pt x="161" y="921"/>
                    </a:cubicBezTo>
                    <a:cubicBezTo>
                      <a:pt x="179" y="925"/>
                      <a:pt x="195" y="935"/>
                      <a:pt x="212" y="935"/>
                    </a:cubicBezTo>
                    <a:cubicBezTo>
                      <a:pt x="205" y="917"/>
                      <a:pt x="199" y="899"/>
                      <a:pt x="194" y="879"/>
                    </a:cubicBezTo>
                    <a:close/>
                    <a:moveTo>
                      <a:pt x="1457" y="881"/>
                    </a:moveTo>
                    <a:cubicBezTo>
                      <a:pt x="1457" y="880"/>
                      <a:pt x="1456" y="880"/>
                      <a:pt x="1455" y="880"/>
                    </a:cubicBezTo>
                    <a:cubicBezTo>
                      <a:pt x="1452" y="883"/>
                      <a:pt x="1447" y="885"/>
                      <a:pt x="1443" y="887"/>
                    </a:cubicBezTo>
                    <a:cubicBezTo>
                      <a:pt x="1443" y="905"/>
                      <a:pt x="1440" y="923"/>
                      <a:pt x="1441" y="937"/>
                    </a:cubicBezTo>
                    <a:cubicBezTo>
                      <a:pt x="1443" y="919"/>
                      <a:pt x="1456" y="899"/>
                      <a:pt x="1457" y="881"/>
                    </a:cubicBezTo>
                    <a:close/>
                    <a:moveTo>
                      <a:pt x="1505" y="889"/>
                    </a:moveTo>
                    <a:cubicBezTo>
                      <a:pt x="1506" y="893"/>
                      <a:pt x="1506" y="886"/>
                      <a:pt x="1505" y="889"/>
                    </a:cubicBezTo>
                    <a:close/>
                    <a:moveTo>
                      <a:pt x="1399" y="909"/>
                    </a:moveTo>
                    <a:cubicBezTo>
                      <a:pt x="1411" y="918"/>
                      <a:pt x="1425" y="927"/>
                      <a:pt x="1437" y="936"/>
                    </a:cubicBezTo>
                    <a:cubicBezTo>
                      <a:pt x="1438" y="922"/>
                      <a:pt x="1441" y="904"/>
                      <a:pt x="1439" y="889"/>
                    </a:cubicBezTo>
                    <a:cubicBezTo>
                      <a:pt x="1427" y="897"/>
                      <a:pt x="1413" y="903"/>
                      <a:pt x="1399" y="909"/>
                    </a:cubicBezTo>
                    <a:close/>
                    <a:moveTo>
                      <a:pt x="1354" y="924"/>
                    </a:moveTo>
                    <a:cubicBezTo>
                      <a:pt x="1366" y="919"/>
                      <a:pt x="1379" y="914"/>
                      <a:pt x="1392" y="910"/>
                    </a:cubicBezTo>
                    <a:cubicBezTo>
                      <a:pt x="1384" y="902"/>
                      <a:pt x="1373" y="898"/>
                      <a:pt x="1363" y="893"/>
                    </a:cubicBezTo>
                    <a:cubicBezTo>
                      <a:pt x="1360" y="903"/>
                      <a:pt x="1354" y="915"/>
                      <a:pt x="1354" y="924"/>
                    </a:cubicBezTo>
                    <a:close/>
                    <a:moveTo>
                      <a:pt x="131" y="910"/>
                    </a:moveTo>
                    <a:cubicBezTo>
                      <a:pt x="141" y="912"/>
                      <a:pt x="148" y="917"/>
                      <a:pt x="158" y="919"/>
                    </a:cubicBezTo>
                    <a:cubicBezTo>
                      <a:pt x="158" y="911"/>
                      <a:pt x="159" y="901"/>
                      <a:pt x="157" y="894"/>
                    </a:cubicBezTo>
                    <a:cubicBezTo>
                      <a:pt x="149" y="900"/>
                      <a:pt x="139" y="903"/>
                      <a:pt x="131" y="910"/>
                    </a:cubicBezTo>
                    <a:close/>
                    <a:moveTo>
                      <a:pt x="929" y="998"/>
                    </a:moveTo>
                    <a:cubicBezTo>
                      <a:pt x="936" y="999"/>
                      <a:pt x="939" y="996"/>
                      <a:pt x="945" y="997"/>
                    </a:cubicBezTo>
                    <a:cubicBezTo>
                      <a:pt x="947" y="964"/>
                      <a:pt x="945" y="928"/>
                      <a:pt x="944" y="895"/>
                    </a:cubicBezTo>
                    <a:cubicBezTo>
                      <a:pt x="941" y="931"/>
                      <a:pt x="935" y="964"/>
                      <a:pt x="929" y="998"/>
                    </a:cubicBezTo>
                    <a:close/>
                    <a:moveTo>
                      <a:pt x="98" y="897"/>
                    </a:moveTo>
                    <a:cubicBezTo>
                      <a:pt x="99" y="906"/>
                      <a:pt x="103" y="913"/>
                      <a:pt x="104" y="922"/>
                    </a:cubicBezTo>
                    <a:cubicBezTo>
                      <a:pt x="112" y="918"/>
                      <a:pt x="119" y="915"/>
                      <a:pt x="125" y="909"/>
                    </a:cubicBezTo>
                    <a:cubicBezTo>
                      <a:pt x="115" y="906"/>
                      <a:pt x="107" y="900"/>
                      <a:pt x="98" y="897"/>
                    </a:cubicBezTo>
                    <a:moveTo>
                      <a:pt x="98" y="897"/>
                    </a:moveTo>
                    <a:cubicBezTo>
                      <a:pt x="97" y="896"/>
                      <a:pt x="97" y="897"/>
                      <a:pt x="98" y="897"/>
                    </a:cubicBezTo>
                    <a:moveTo>
                      <a:pt x="128" y="911"/>
                    </a:moveTo>
                    <a:cubicBezTo>
                      <a:pt x="121" y="916"/>
                      <a:pt x="111" y="919"/>
                      <a:pt x="106" y="927"/>
                    </a:cubicBezTo>
                    <a:cubicBezTo>
                      <a:pt x="126" y="981"/>
                      <a:pt x="148" y="1032"/>
                      <a:pt x="176" y="1078"/>
                    </a:cubicBezTo>
                    <a:cubicBezTo>
                      <a:pt x="166" y="1030"/>
                      <a:pt x="160" y="978"/>
                      <a:pt x="158" y="922"/>
                    </a:cubicBezTo>
                    <a:cubicBezTo>
                      <a:pt x="148" y="919"/>
                      <a:pt x="138" y="915"/>
                      <a:pt x="128" y="911"/>
                    </a:cubicBezTo>
                    <a:close/>
                    <a:moveTo>
                      <a:pt x="1396" y="911"/>
                    </a:moveTo>
                    <a:cubicBezTo>
                      <a:pt x="1381" y="916"/>
                      <a:pt x="1367" y="923"/>
                      <a:pt x="1351" y="927"/>
                    </a:cubicBezTo>
                    <a:cubicBezTo>
                      <a:pt x="1341" y="957"/>
                      <a:pt x="1330" y="985"/>
                      <a:pt x="1317" y="1011"/>
                    </a:cubicBezTo>
                    <a:cubicBezTo>
                      <a:pt x="1313" y="1047"/>
                      <a:pt x="1308" y="1080"/>
                      <a:pt x="1301" y="1111"/>
                    </a:cubicBezTo>
                    <a:cubicBezTo>
                      <a:pt x="1314" y="1119"/>
                      <a:pt x="1324" y="1130"/>
                      <a:pt x="1336" y="1139"/>
                    </a:cubicBezTo>
                    <a:cubicBezTo>
                      <a:pt x="1376" y="1079"/>
                      <a:pt x="1414" y="1018"/>
                      <a:pt x="1437" y="941"/>
                    </a:cubicBezTo>
                    <a:cubicBezTo>
                      <a:pt x="1425" y="929"/>
                      <a:pt x="1410" y="920"/>
                      <a:pt x="1396" y="911"/>
                    </a:cubicBezTo>
                    <a:close/>
                    <a:moveTo>
                      <a:pt x="161" y="927"/>
                    </a:moveTo>
                    <a:cubicBezTo>
                      <a:pt x="163" y="985"/>
                      <a:pt x="170" y="1038"/>
                      <a:pt x="181" y="1087"/>
                    </a:cubicBezTo>
                    <a:cubicBezTo>
                      <a:pt x="190" y="1099"/>
                      <a:pt x="197" y="1113"/>
                      <a:pt x="206" y="1125"/>
                    </a:cubicBezTo>
                    <a:cubicBezTo>
                      <a:pt x="227" y="1107"/>
                      <a:pt x="251" y="1093"/>
                      <a:pt x="277" y="1081"/>
                    </a:cubicBezTo>
                    <a:cubicBezTo>
                      <a:pt x="255" y="1036"/>
                      <a:pt x="231" y="992"/>
                      <a:pt x="214" y="940"/>
                    </a:cubicBezTo>
                    <a:cubicBezTo>
                      <a:pt x="195" y="936"/>
                      <a:pt x="179" y="929"/>
                      <a:pt x="161" y="924"/>
                    </a:cubicBezTo>
                    <a:cubicBezTo>
                      <a:pt x="161" y="925"/>
                      <a:pt x="161" y="926"/>
                      <a:pt x="161" y="927"/>
                    </a:cubicBezTo>
                    <a:close/>
                    <a:moveTo>
                      <a:pt x="66" y="965"/>
                    </a:moveTo>
                    <a:cubicBezTo>
                      <a:pt x="64" y="977"/>
                      <a:pt x="71" y="992"/>
                      <a:pt x="74" y="1005"/>
                    </a:cubicBezTo>
                    <a:cubicBezTo>
                      <a:pt x="77" y="1019"/>
                      <a:pt x="78" y="1032"/>
                      <a:pt x="82" y="1043"/>
                    </a:cubicBezTo>
                    <a:cubicBezTo>
                      <a:pt x="93" y="1070"/>
                      <a:pt x="112" y="1092"/>
                      <a:pt x="122" y="1112"/>
                    </a:cubicBezTo>
                    <a:cubicBezTo>
                      <a:pt x="142" y="1123"/>
                      <a:pt x="164" y="1137"/>
                      <a:pt x="186" y="1144"/>
                    </a:cubicBezTo>
                    <a:cubicBezTo>
                      <a:pt x="195" y="1137"/>
                      <a:pt x="189" y="1127"/>
                      <a:pt x="186" y="1118"/>
                    </a:cubicBezTo>
                    <a:cubicBezTo>
                      <a:pt x="183" y="1108"/>
                      <a:pt x="181" y="1097"/>
                      <a:pt x="179" y="1087"/>
                    </a:cubicBezTo>
                    <a:cubicBezTo>
                      <a:pt x="149" y="1039"/>
                      <a:pt x="124" y="986"/>
                      <a:pt x="104" y="928"/>
                    </a:cubicBezTo>
                    <a:cubicBezTo>
                      <a:pt x="104" y="927"/>
                      <a:pt x="104" y="927"/>
                      <a:pt x="103" y="927"/>
                    </a:cubicBezTo>
                    <a:cubicBezTo>
                      <a:pt x="95" y="937"/>
                      <a:pt x="68" y="952"/>
                      <a:pt x="66" y="965"/>
                    </a:cubicBezTo>
                    <a:close/>
                    <a:moveTo>
                      <a:pt x="1322" y="936"/>
                    </a:moveTo>
                    <a:cubicBezTo>
                      <a:pt x="1322" y="959"/>
                      <a:pt x="1319" y="983"/>
                      <a:pt x="1319" y="1003"/>
                    </a:cubicBezTo>
                    <a:cubicBezTo>
                      <a:pt x="1329" y="979"/>
                      <a:pt x="1339" y="954"/>
                      <a:pt x="1349" y="929"/>
                    </a:cubicBezTo>
                    <a:cubicBezTo>
                      <a:pt x="1339" y="930"/>
                      <a:pt x="1332" y="935"/>
                      <a:pt x="1322" y="936"/>
                    </a:cubicBezTo>
                    <a:close/>
                    <a:moveTo>
                      <a:pt x="1216" y="963"/>
                    </a:moveTo>
                    <a:cubicBezTo>
                      <a:pt x="1206" y="996"/>
                      <a:pt x="1192" y="1025"/>
                      <a:pt x="1179" y="1055"/>
                    </a:cubicBezTo>
                    <a:cubicBezTo>
                      <a:pt x="1212" y="1065"/>
                      <a:pt x="1242" y="1078"/>
                      <a:pt x="1271" y="1093"/>
                    </a:cubicBezTo>
                    <a:cubicBezTo>
                      <a:pt x="1278" y="1080"/>
                      <a:pt x="1286" y="1067"/>
                      <a:pt x="1294" y="1053"/>
                    </a:cubicBezTo>
                    <a:cubicBezTo>
                      <a:pt x="1300" y="1041"/>
                      <a:pt x="1312" y="1023"/>
                      <a:pt x="1315" y="1010"/>
                    </a:cubicBezTo>
                    <a:cubicBezTo>
                      <a:pt x="1320" y="988"/>
                      <a:pt x="1316" y="966"/>
                      <a:pt x="1319" y="938"/>
                    </a:cubicBezTo>
                    <a:cubicBezTo>
                      <a:pt x="1318" y="938"/>
                      <a:pt x="1318" y="938"/>
                      <a:pt x="1317" y="938"/>
                    </a:cubicBezTo>
                    <a:cubicBezTo>
                      <a:pt x="1285" y="948"/>
                      <a:pt x="1252" y="957"/>
                      <a:pt x="1216" y="963"/>
                    </a:cubicBezTo>
                    <a:close/>
                    <a:moveTo>
                      <a:pt x="280" y="1079"/>
                    </a:moveTo>
                    <a:cubicBezTo>
                      <a:pt x="293" y="1075"/>
                      <a:pt x="305" y="1068"/>
                      <a:pt x="319" y="1064"/>
                    </a:cubicBezTo>
                    <a:cubicBezTo>
                      <a:pt x="315" y="1033"/>
                      <a:pt x="314" y="998"/>
                      <a:pt x="313" y="964"/>
                    </a:cubicBezTo>
                    <a:cubicBezTo>
                      <a:pt x="279" y="958"/>
                      <a:pt x="248" y="950"/>
                      <a:pt x="217" y="941"/>
                    </a:cubicBezTo>
                    <a:cubicBezTo>
                      <a:pt x="234" y="991"/>
                      <a:pt x="256" y="1036"/>
                      <a:pt x="280" y="1079"/>
                    </a:cubicBezTo>
                    <a:close/>
                    <a:moveTo>
                      <a:pt x="1403" y="1111"/>
                    </a:moveTo>
                    <a:cubicBezTo>
                      <a:pt x="1431" y="1098"/>
                      <a:pt x="1442" y="1073"/>
                      <a:pt x="1454" y="1045"/>
                    </a:cubicBezTo>
                    <a:cubicBezTo>
                      <a:pt x="1461" y="1029"/>
                      <a:pt x="1470" y="1013"/>
                      <a:pt x="1474" y="997"/>
                    </a:cubicBezTo>
                    <a:cubicBezTo>
                      <a:pt x="1468" y="975"/>
                      <a:pt x="1455" y="958"/>
                      <a:pt x="1440" y="944"/>
                    </a:cubicBezTo>
                    <a:cubicBezTo>
                      <a:pt x="1433" y="1004"/>
                      <a:pt x="1418" y="1062"/>
                      <a:pt x="1403" y="1111"/>
                    </a:cubicBezTo>
                    <a:close/>
                    <a:moveTo>
                      <a:pt x="1491" y="959"/>
                    </a:moveTo>
                    <a:cubicBezTo>
                      <a:pt x="1492" y="962"/>
                      <a:pt x="1492" y="955"/>
                      <a:pt x="1491" y="959"/>
                    </a:cubicBezTo>
                    <a:close/>
                    <a:moveTo>
                      <a:pt x="1434" y="961"/>
                    </a:moveTo>
                    <a:cubicBezTo>
                      <a:pt x="1434" y="961"/>
                      <a:pt x="1435" y="962"/>
                      <a:pt x="1434" y="961"/>
                    </a:cubicBezTo>
                    <a:close/>
                    <a:moveTo>
                      <a:pt x="1490" y="963"/>
                    </a:moveTo>
                    <a:cubicBezTo>
                      <a:pt x="1489" y="963"/>
                      <a:pt x="1489" y="963"/>
                      <a:pt x="1489" y="963"/>
                    </a:cubicBezTo>
                    <a:cubicBezTo>
                      <a:pt x="1487" y="979"/>
                      <a:pt x="1474" y="992"/>
                      <a:pt x="1479" y="1008"/>
                    </a:cubicBezTo>
                    <a:cubicBezTo>
                      <a:pt x="1482" y="992"/>
                      <a:pt x="1488" y="980"/>
                      <a:pt x="1490" y="963"/>
                    </a:cubicBezTo>
                    <a:moveTo>
                      <a:pt x="1490" y="963"/>
                    </a:moveTo>
                    <a:cubicBezTo>
                      <a:pt x="1493" y="962"/>
                      <a:pt x="1489" y="958"/>
                      <a:pt x="1490" y="963"/>
                    </a:cubicBezTo>
                    <a:moveTo>
                      <a:pt x="1350" y="1123"/>
                    </a:moveTo>
                    <a:cubicBezTo>
                      <a:pt x="1346" y="1129"/>
                      <a:pt x="1339" y="1135"/>
                      <a:pt x="1338" y="1144"/>
                    </a:cubicBezTo>
                    <a:cubicBezTo>
                      <a:pt x="1361" y="1136"/>
                      <a:pt x="1379" y="1125"/>
                      <a:pt x="1398" y="1114"/>
                    </a:cubicBezTo>
                    <a:cubicBezTo>
                      <a:pt x="1414" y="1068"/>
                      <a:pt x="1429" y="1017"/>
                      <a:pt x="1433" y="963"/>
                    </a:cubicBezTo>
                    <a:cubicBezTo>
                      <a:pt x="1411" y="1021"/>
                      <a:pt x="1383" y="1076"/>
                      <a:pt x="1350" y="1123"/>
                    </a:cubicBezTo>
                    <a:close/>
                    <a:moveTo>
                      <a:pt x="1213" y="965"/>
                    </a:moveTo>
                    <a:cubicBezTo>
                      <a:pt x="1195" y="967"/>
                      <a:pt x="1173" y="973"/>
                      <a:pt x="1153" y="976"/>
                    </a:cubicBezTo>
                    <a:cubicBezTo>
                      <a:pt x="1153" y="1000"/>
                      <a:pt x="1152" y="1023"/>
                      <a:pt x="1150" y="1046"/>
                    </a:cubicBezTo>
                    <a:cubicBezTo>
                      <a:pt x="1160" y="1048"/>
                      <a:pt x="1167" y="1052"/>
                      <a:pt x="1177" y="1054"/>
                    </a:cubicBezTo>
                    <a:cubicBezTo>
                      <a:pt x="1190" y="1025"/>
                      <a:pt x="1202" y="996"/>
                      <a:pt x="1213" y="965"/>
                    </a:cubicBezTo>
                    <a:close/>
                    <a:moveTo>
                      <a:pt x="321" y="1062"/>
                    </a:moveTo>
                    <a:cubicBezTo>
                      <a:pt x="341" y="1057"/>
                      <a:pt x="360" y="1049"/>
                      <a:pt x="380" y="1044"/>
                    </a:cubicBezTo>
                    <a:cubicBezTo>
                      <a:pt x="370" y="1020"/>
                      <a:pt x="361" y="996"/>
                      <a:pt x="352" y="972"/>
                    </a:cubicBezTo>
                    <a:cubicBezTo>
                      <a:pt x="339" y="970"/>
                      <a:pt x="328" y="967"/>
                      <a:pt x="316" y="965"/>
                    </a:cubicBezTo>
                    <a:cubicBezTo>
                      <a:pt x="316" y="999"/>
                      <a:pt x="319" y="1030"/>
                      <a:pt x="321" y="1062"/>
                    </a:cubicBezTo>
                    <a:close/>
                    <a:moveTo>
                      <a:pt x="75" y="1024"/>
                    </a:moveTo>
                    <a:cubicBezTo>
                      <a:pt x="70" y="1006"/>
                      <a:pt x="68" y="985"/>
                      <a:pt x="62" y="968"/>
                    </a:cubicBezTo>
                    <a:cubicBezTo>
                      <a:pt x="50" y="986"/>
                      <a:pt x="69" y="1007"/>
                      <a:pt x="75" y="1024"/>
                    </a:cubicBezTo>
                    <a:close/>
                    <a:moveTo>
                      <a:pt x="382" y="1043"/>
                    </a:moveTo>
                    <a:cubicBezTo>
                      <a:pt x="421" y="1032"/>
                      <a:pt x="463" y="1025"/>
                      <a:pt x="504" y="1016"/>
                    </a:cubicBezTo>
                    <a:cubicBezTo>
                      <a:pt x="501" y="1009"/>
                      <a:pt x="499" y="1001"/>
                      <a:pt x="497" y="992"/>
                    </a:cubicBezTo>
                    <a:cubicBezTo>
                      <a:pt x="448" y="988"/>
                      <a:pt x="402" y="981"/>
                      <a:pt x="356" y="973"/>
                    </a:cubicBezTo>
                    <a:cubicBezTo>
                      <a:pt x="363" y="998"/>
                      <a:pt x="374" y="1019"/>
                      <a:pt x="382" y="1043"/>
                    </a:cubicBezTo>
                    <a:close/>
                    <a:moveTo>
                      <a:pt x="1150" y="976"/>
                    </a:moveTo>
                    <a:cubicBezTo>
                      <a:pt x="1125" y="981"/>
                      <a:pt x="1099" y="984"/>
                      <a:pt x="1073" y="987"/>
                    </a:cubicBezTo>
                    <a:cubicBezTo>
                      <a:pt x="1069" y="1000"/>
                      <a:pt x="1065" y="1012"/>
                      <a:pt x="1062" y="1025"/>
                    </a:cubicBezTo>
                    <a:cubicBezTo>
                      <a:pt x="1092" y="1029"/>
                      <a:pt x="1121" y="1039"/>
                      <a:pt x="1148" y="1044"/>
                    </a:cubicBezTo>
                    <a:cubicBezTo>
                      <a:pt x="1148" y="1021"/>
                      <a:pt x="1151" y="996"/>
                      <a:pt x="1150" y="976"/>
                    </a:cubicBezTo>
                    <a:close/>
                    <a:moveTo>
                      <a:pt x="95" y="1092"/>
                    </a:moveTo>
                    <a:cubicBezTo>
                      <a:pt x="95" y="1093"/>
                      <a:pt x="96" y="1092"/>
                      <a:pt x="95" y="1092"/>
                    </a:cubicBezTo>
                    <a:moveTo>
                      <a:pt x="95" y="1092"/>
                    </a:moveTo>
                    <a:cubicBezTo>
                      <a:pt x="84" y="1053"/>
                      <a:pt x="70" y="1017"/>
                      <a:pt x="54" y="984"/>
                    </a:cubicBezTo>
                    <a:cubicBezTo>
                      <a:pt x="36" y="1032"/>
                      <a:pt x="67" y="1071"/>
                      <a:pt x="95" y="1092"/>
                    </a:cubicBezTo>
                    <a:moveTo>
                      <a:pt x="950" y="1000"/>
                    </a:moveTo>
                    <a:cubicBezTo>
                      <a:pt x="950" y="1002"/>
                      <a:pt x="950" y="1004"/>
                      <a:pt x="950" y="1007"/>
                    </a:cubicBezTo>
                    <a:cubicBezTo>
                      <a:pt x="986" y="1013"/>
                      <a:pt x="1024" y="1017"/>
                      <a:pt x="1059" y="1024"/>
                    </a:cubicBezTo>
                    <a:cubicBezTo>
                      <a:pt x="1063" y="1013"/>
                      <a:pt x="1066" y="1000"/>
                      <a:pt x="1070" y="988"/>
                    </a:cubicBezTo>
                    <a:cubicBezTo>
                      <a:pt x="1030" y="992"/>
                      <a:pt x="990" y="996"/>
                      <a:pt x="950" y="1000"/>
                    </a:cubicBezTo>
                    <a:close/>
                    <a:moveTo>
                      <a:pt x="508" y="1016"/>
                    </a:moveTo>
                    <a:cubicBezTo>
                      <a:pt x="508" y="1009"/>
                      <a:pt x="508" y="1001"/>
                      <a:pt x="508" y="994"/>
                    </a:cubicBezTo>
                    <a:cubicBezTo>
                      <a:pt x="506" y="993"/>
                      <a:pt x="503" y="993"/>
                      <a:pt x="500" y="993"/>
                    </a:cubicBezTo>
                    <a:cubicBezTo>
                      <a:pt x="502" y="1001"/>
                      <a:pt x="502" y="1011"/>
                      <a:pt x="508" y="1016"/>
                    </a:cubicBezTo>
                    <a:close/>
                    <a:moveTo>
                      <a:pt x="510" y="994"/>
                    </a:moveTo>
                    <a:cubicBezTo>
                      <a:pt x="511" y="1001"/>
                      <a:pt x="509" y="1011"/>
                      <a:pt x="511" y="1016"/>
                    </a:cubicBezTo>
                    <a:cubicBezTo>
                      <a:pt x="545" y="1009"/>
                      <a:pt x="584" y="1008"/>
                      <a:pt x="619" y="1002"/>
                    </a:cubicBezTo>
                    <a:cubicBezTo>
                      <a:pt x="581" y="1001"/>
                      <a:pt x="546" y="997"/>
                      <a:pt x="510" y="994"/>
                    </a:cubicBezTo>
                    <a:close/>
                    <a:moveTo>
                      <a:pt x="684" y="1002"/>
                    </a:moveTo>
                    <a:cubicBezTo>
                      <a:pt x="696" y="1003"/>
                      <a:pt x="716" y="1005"/>
                      <a:pt x="726" y="1001"/>
                    </a:cubicBezTo>
                    <a:cubicBezTo>
                      <a:pt x="714" y="999"/>
                      <a:pt x="697" y="1001"/>
                      <a:pt x="684" y="1002"/>
                    </a:cubicBezTo>
                    <a:close/>
                    <a:moveTo>
                      <a:pt x="728" y="1002"/>
                    </a:moveTo>
                    <a:cubicBezTo>
                      <a:pt x="729" y="1002"/>
                      <a:pt x="729" y="1003"/>
                      <a:pt x="730" y="1003"/>
                    </a:cubicBezTo>
                    <a:cubicBezTo>
                      <a:pt x="740" y="1004"/>
                      <a:pt x="752" y="1004"/>
                      <a:pt x="763" y="1004"/>
                    </a:cubicBezTo>
                    <a:cubicBezTo>
                      <a:pt x="770" y="1004"/>
                      <a:pt x="780" y="1006"/>
                      <a:pt x="783" y="1001"/>
                    </a:cubicBezTo>
                    <a:cubicBezTo>
                      <a:pt x="767" y="1000"/>
                      <a:pt x="743" y="998"/>
                      <a:pt x="728" y="1002"/>
                    </a:cubicBezTo>
                    <a:close/>
                    <a:moveTo>
                      <a:pt x="786" y="1002"/>
                    </a:moveTo>
                    <a:cubicBezTo>
                      <a:pt x="802" y="1003"/>
                      <a:pt x="826" y="1004"/>
                      <a:pt x="840" y="1001"/>
                    </a:cubicBezTo>
                    <a:cubicBezTo>
                      <a:pt x="822" y="1003"/>
                      <a:pt x="801" y="997"/>
                      <a:pt x="786" y="1002"/>
                    </a:cubicBezTo>
                    <a:close/>
                    <a:moveTo>
                      <a:pt x="928" y="1005"/>
                    </a:moveTo>
                    <a:cubicBezTo>
                      <a:pt x="933" y="1006"/>
                      <a:pt x="939" y="1006"/>
                      <a:pt x="945" y="1007"/>
                    </a:cubicBezTo>
                    <a:cubicBezTo>
                      <a:pt x="945" y="1004"/>
                      <a:pt x="945" y="1002"/>
                      <a:pt x="945" y="1000"/>
                    </a:cubicBezTo>
                    <a:cubicBezTo>
                      <a:pt x="939" y="1001"/>
                      <a:pt x="929" y="998"/>
                      <a:pt x="928" y="1005"/>
                    </a:cubicBezTo>
                    <a:close/>
                    <a:moveTo>
                      <a:pt x="905" y="1003"/>
                    </a:moveTo>
                    <a:cubicBezTo>
                      <a:pt x="911" y="1002"/>
                      <a:pt x="924" y="1008"/>
                      <a:pt x="926" y="1002"/>
                    </a:cubicBezTo>
                    <a:cubicBezTo>
                      <a:pt x="921" y="1001"/>
                      <a:pt x="911" y="1002"/>
                      <a:pt x="905" y="1003"/>
                    </a:cubicBezTo>
                    <a:close/>
                    <a:moveTo>
                      <a:pt x="510" y="1018"/>
                    </a:moveTo>
                    <a:cubicBezTo>
                      <a:pt x="512" y="1043"/>
                      <a:pt x="518" y="1061"/>
                      <a:pt x="525" y="1080"/>
                    </a:cubicBezTo>
                    <a:cubicBezTo>
                      <a:pt x="539" y="1124"/>
                      <a:pt x="556" y="1165"/>
                      <a:pt x="573" y="1204"/>
                    </a:cubicBezTo>
                    <a:cubicBezTo>
                      <a:pt x="605" y="1200"/>
                      <a:pt x="636" y="1195"/>
                      <a:pt x="671" y="1193"/>
                    </a:cubicBezTo>
                    <a:cubicBezTo>
                      <a:pt x="658" y="1137"/>
                      <a:pt x="651" y="1072"/>
                      <a:pt x="641" y="1014"/>
                    </a:cubicBezTo>
                    <a:cubicBezTo>
                      <a:pt x="641" y="1011"/>
                      <a:pt x="643" y="1004"/>
                      <a:pt x="637" y="1004"/>
                    </a:cubicBezTo>
                    <a:cubicBezTo>
                      <a:pt x="594" y="1007"/>
                      <a:pt x="552" y="1012"/>
                      <a:pt x="510" y="1018"/>
                    </a:cubicBezTo>
                    <a:close/>
                    <a:moveTo>
                      <a:pt x="675" y="1192"/>
                    </a:moveTo>
                    <a:cubicBezTo>
                      <a:pt x="693" y="1192"/>
                      <a:pt x="708" y="1189"/>
                      <a:pt x="726" y="1190"/>
                    </a:cubicBezTo>
                    <a:cubicBezTo>
                      <a:pt x="727" y="1128"/>
                      <a:pt x="725" y="1068"/>
                      <a:pt x="726" y="1006"/>
                    </a:cubicBezTo>
                    <a:cubicBezTo>
                      <a:pt x="697" y="1006"/>
                      <a:pt x="672" y="1004"/>
                      <a:pt x="645" y="1004"/>
                    </a:cubicBezTo>
                    <a:cubicBezTo>
                      <a:pt x="650" y="1067"/>
                      <a:pt x="663" y="1131"/>
                      <a:pt x="675" y="1192"/>
                    </a:cubicBezTo>
                    <a:close/>
                    <a:moveTo>
                      <a:pt x="786" y="1006"/>
                    </a:moveTo>
                    <a:cubicBezTo>
                      <a:pt x="784" y="1067"/>
                      <a:pt x="782" y="1128"/>
                      <a:pt x="780" y="1189"/>
                    </a:cubicBezTo>
                    <a:cubicBezTo>
                      <a:pt x="815" y="1190"/>
                      <a:pt x="851" y="1191"/>
                      <a:pt x="883" y="1196"/>
                    </a:cubicBezTo>
                    <a:cubicBezTo>
                      <a:pt x="899" y="1135"/>
                      <a:pt x="913" y="1072"/>
                      <a:pt x="925" y="1007"/>
                    </a:cubicBezTo>
                    <a:cubicBezTo>
                      <a:pt x="882" y="1000"/>
                      <a:pt x="834" y="1007"/>
                      <a:pt x="786" y="1006"/>
                    </a:cubicBezTo>
                    <a:close/>
                    <a:moveTo>
                      <a:pt x="1439" y="1083"/>
                    </a:moveTo>
                    <a:cubicBezTo>
                      <a:pt x="1437" y="1084"/>
                      <a:pt x="1439" y="1084"/>
                      <a:pt x="1439" y="1083"/>
                    </a:cubicBezTo>
                    <a:moveTo>
                      <a:pt x="1439" y="1083"/>
                    </a:moveTo>
                    <a:cubicBezTo>
                      <a:pt x="1439" y="1083"/>
                      <a:pt x="1440" y="1083"/>
                      <a:pt x="1440" y="1083"/>
                    </a:cubicBezTo>
                    <a:cubicBezTo>
                      <a:pt x="1458" y="1065"/>
                      <a:pt x="1478" y="1037"/>
                      <a:pt x="1474" y="1004"/>
                    </a:cubicBezTo>
                    <a:cubicBezTo>
                      <a:pt x="1465" y="1033"/>
                      <a:pt x="1451" y="1057"/>
                      <a:pt x="1439" y="1083"/>
                    </a:cubicBezTo>
                    <a:moveTo>
                      <a:pt x="729" y="1190"/>
                    </a:moveTo>
                    <a:cubicBezTo>
                      <a:pt x="744" y="1188"/>
                      <a:pt x="762" y="1189"/>
                      <a:pt x="777" y="1189"/>
                    </a:cubicBezTo>
                    <a:cubicBezTo>
                      <a:pt x="780" y="1129"/>
                      <a:pt x="782" y="1067"/>
                      <a:pt x="783" y="1006"/>
                    </a:cubicBezTo>
                    <a:cubicBezTo>
                      <a:pt x="765" y="1006"/>
                      <a:pt x="747" y="1006"/>
                      <a:pt x="729" y="1006"/>
                    </a:cubicBezTo>
                    <a:cubicBezTo>
                      <a:pt x="727" y="1066"/>
                      <a:pt x="729" y="1129"/>
                      <a:pt x="729" y="1190"/>
                    </a:cubicBezTo>
                    <a:close/>
                    <a:moveTo>
                      <a:pt x="928" y="1007"/>
                    </a:moveTo>
                    <a:cubicBezTo>
                      <a:pt x="915" y="1072"/>
                      <a:pt x="903" y="1136"/>
                      <a:pt x="885" y="1196"/>
                    </a:cubicBezTo>
                    <a:cubicBezTo>
                      <a:pt x="903" y="1197"/>
                      <a:pt x="920" y="1200"/>
                      <a:pt x="937" y="1202"/>
                    </a:cubicBezTo>
                    <a:cubicBezTo>
                      <a:pt x="941" y="1140"/>
                      <a:pt x="945" y="1077"/>
                      <a:pt x="945" y="1009"/>
                    </a:cubicBezTo>
                    <a:cubicBezTo>
                      <a:pt x="940" y="1009"/>
                      <a:pt x="934" y="1008"/>
                      <a:pt x="928" y="1007"/>
                    </a:cubicBezTo>
                    <a:close/>
                    <a:moveTo>
                      <a:pt x="951" y="1010"/>
                    </a:moveTo>
                    <a:cubicBezTo>
                      <a:pt x="947" y="1074"/>
                      <a:pt x="947" y="1142"/>
                      <a:pt x="941" y="1203"/>
                    </a:cubicBezTo>
                    <a:cubicBezTo>
                      <a:pt x="955" y="1205"/>
                      <a:pt x="968" y="1208"/>
                      <a:pt x="981" y="1211"/>
                    </a:cubicBezTo>
                    <a:cubicBezTo>
                      <a:pt x="1010" y="1153"/>
                      <a:pt x="1037" y="1093"/>
                      <a:pt x="1058" y="1026"/>
                    </a:cubicBezTo>
                    <a:cubicBezTo>
                      <a:pt x="1022" y="1020"/>
                      <a:pt x="989" y="1013"/>
                      <a:pt x="951" y="1010"/>
                    </a:cubicBezTo>
                    <a:close/>
                    <a:moveTo>
                      <a:pt x="507" y="1020"/>
                    </a:moveTo>
                    <a:cubicBezTo>
                      <a:pt x="508" y="1024"/>
                      <a:pt x="508" y="1016"/>
                      <a:pt x="507" y="1020"/>
                    </a:cubicBezTo>
                    <a:close/>
                    <a:moveTo>
                      <a:pt x="384" y="1045"/>
                    </a:moveTo>
                    <a:cubicBezTo>
                      <a:pt x="411" y="1107"/>
                      <a:pt x="441" y="1167"/>
                      <a:pt x="479" y="1218"/>
                    </a:cubicBezTo>
                    <a:cubicBezTo>
                      <a:pt x="493" y="1223"/>
                      <a:pt x="508" y="1219"/>
                      <a:pt x="522" y="1216"/>
                    </a:cubicBezTo>
                    <a:cubicBezTo>
                      <a:pt x="517" y="1173"/>
                      <a:pt x="513" y="1126"/>
                      <a:pt x="510" y="1081"/>
                    </a:cubicBezTo>
                    <a:cubicBezTo>
                      <a:pt x="509" y="1066"/>
                      <a:pt x="511" y="1049"/>
                      <a:pt x="509" y="1034"/>
                    </a:cubicBezTo>
                    <a:cubicBezTo>
                      <a:pt x="508" y="1030"/>
                      <a:pt x="506" y="1023"/>
                      <a:pt x="502" y="1020"/>
                    </a:cubicBezTo>
                    <a:cubicBezTo>
                      <a:pt x="460" y="1026"/>
                      <a:pt x="422" y="1036"/>
                      <a:pt x="384" y="1045"/>
                    </a:cubicBezTo>
                    <a:close/>
                    <a:moveTo>
                      <a:pt x="1274" y="1095"/>
                    </a:moveTo>
                    <a:cubicBezTo>
                      <a:pt x="1283" y="1099"/>
                      <a:pt x="1290" y="1105"/>
                      <a:pt x="1299" y="1109"/>
                    </a:cubicBezTo>
                    <a:cubicBezTo>
                      <a:pt x="1304" y="1081"/>
                      <a:pt x="1312" y="1050"/>
                      <a:pt x="1312" y="1021"/>
                    </a:cubicBezTo>
                    <a:cubicBezTo>
                      <a:pt x="1301" y="1047"/>
                      <a:pt x="1286" y="1070"/>
                      <a:pt x="1274" y="1095"/>
                    </a:cubicBezTo>
                    <a:close/>
                    <a:moveTo>
                      <a:pt x="508" y="1025"/>
                    </a:moveTo>
                    <a:cubicBezTo>
                      <a:pt x="507" y="1024"/>
                      <a:pt x="508" y="1025"/>
                      <a:pt x="508" y="1025"/>
                    </a:cubicBezTo>
                    <a:close/>
                    <a:moveTo>
                      <a:pt x="75" y="1026"/>
                    </a:moveTo>
                    <a:cubicBezTo>
                      <a:pt x="75" y="1026"/>
                      <a:pt x="74" y="1025"/>
                      <a:pt x="75" y="1026"/>
                    </a:cubicBezTo>
                    <a:close/>
                    <a:moveTo>
                      <a:pt x="1062" y="1027"/>
                    </a:moveTo>
                    <a:cubicBezTo>
                      <a:pt x="1038" y="1091"/>
                      <a:pt x="1014" y="1154"/>
                      <a:pt x="984" y="1211"/>
                    </a:cubicBezTo>
                    <a:cubicBezTo>
                      <a:pt x="1013" y="1223"/>
                      <a:pt x="1049" y="1219"/>
                      <a:pt x="1083" y="1213"/>
                    </a:cubicBezTo>
                    <a:cubicBezTo>
                      <a:pt x="1092" y="1199"/>
                      <a:pt x="1103" y="1185"/>
                      <a:pt x="1112" y="1170"/>
                    </a:cubicBezTo>
                    <a:cubicBezTo>
                      <a:pt x="1121" y="1156"/>
                      <a:pt x="1134" y="1140"/>
                      <a:pt x="1139" y="1124"/>
                    </a:cubicBezTo>
                    <a:cubicBezTo>
                      <a:pt x="1146" y="1101"/>
                      <a:pt x="1143" y="1075"/>
                      <a:pt x="1147" y="1047"/>
                    </a:cubicBezTo>
                    <a:cubicBezTo>
                      <a:pt x="1119" y="1040"/>
                      <a:pt x="1091" y="1033"/>
                      <a:pt x="1062" y="1027"/>
                    </a:cubicBezTo>
                    <a:close/>
                    <a:moveTo>
                      <a:pt x="526" y="1215"/>
                    </a:moveTo>
                    <a:cubicBezTo>
                      <a:pt x="539" y="1211"/>
                      <a:pt x="555" y="1208"/>
                      <a:pt x="570" y="1205"/>
                    </a:cubicBezTo>
                    <a:cubicBezTo>
                      <a:pt x="548" y="1154"/>
                      <a:pt x="529" y="1101"/>
                      <a:pt x="511" y="1046"/>
                    </a:cubicBezTo>
                    <a:cubicBezTo>
                      <a:pt x="514" y="1104"/>
                      <a:pt x="518" y="1162"/>
                      <a:pt x="526" y="1215"/>
                    </a:cubicBezTo>
                    <a:close/>
                    <a:moveTo>
                      <a:pt x="322" y="1065"/>
                    </a:moveTo>
                    <a:cubicBezTo>
                      <a:pt x="325" y="1103"/>
                      <a:pt x="332" y="1137"/>
                      <a:pt x="339" y="1171"/>
                    </a:cubicBezTo>
                    <a:cubicBezTo>
                      <a:pt x="345" y="1180"/>
                      <a:pt x="353" y="1188"/>
                      <a:pt x="359" y="1198"/>
                    </a:cubicBezTo>
                    <a:cubicBezTo>
                      <a:pt x="396" y="1205"/>
                      <a:pt x="436" y="1213"/>
                      <a:pt x="474" y="1217"/>
                    </a:cubicBezTo>
                    <a:cubicBezTo>
                      <a:pt x="441" y="1168"/>
                      <a:pt x="410" y="1113"/>
                      <a:pt x="386" y="1057"/>
                    </a:cubicBezTo>
                    <a:cubicBezTo>
                      <a:pt x="384" y="1054"/>
                      <a:pt x="384" y="1048"/>
                      <a:pt x="379" y="1047"/>
                    </a:cubicBezTo>
                    <a:cubicBezTo>
                      <a:pt x="359" y="1052"/>
                      <a:pt x="341" y="1059"/>
                      <a:pt x="322" y="1065"/>
                    </a:cubicBezTo>
                    <a:close/>
                    <a:moveTo>
                      <a:pt x="1144" y="1118"/>
                    </a:moveTo>
                    <a:cubicBezTo>
                      <a:pt x="1154" y="1097"/>
                      <a:pt x="1166" y="1078"/>
                      <a:pt x="1175" y="1055"/>
                    </a:cubicBezTo>
                    <a:cubicBezTo>
                      <a:pt x="1166" y="1054"/>
                      <a:pt x="1159" y="1050"/>
                      <a:pt x="1150" y="1049"/>
                    </a:cubicBezTo>
                    <a:cubicBezTo>
                      <a:pt x="1149" y="1072"/>
                      <a:pt x="1144" y="1097"/>
                      <a:pt x="1144" y="1118"/>
                    </a:cubicBezTo>
                    <a:close/>
                    <a:moveTo>
                      <a:pt x="87" y="1057"/>
                    </a:moveTo>
                    <a:cubicBezTo>
                      <a:pt x="94" y="1077"/>
                      <a:pt x="96" y="1100"/>
                      <a:pt x="115" y="1107"/>
                    </a:cubicBezTo>
                    <a:cubicBezTo>
                      <a:pt x="106" y="1091"/>
                      <a:pt x="96" y="1074"/>
                      <a:pt x="87" y="1057"/>
                    </a:cubicBezTo>
                    <a:moveTo>
                      <a:pt x="87" y="1057"/>
                    </a:moveTo>
                    <a:cubicBezTo>
                      <a:pt x="88" y="1053"/>
                      <a:pt x="84" y="1057"/>
                      <a:pt x="87" y="1057"/>
                    </a:cubicBezTo>
                    <a:moveTo>
                      <a:pt x="1177" y="1057"/>
                    </a:moveTo>
                    <a:cubicBezTo>
                      <a:pt x="1172" y="1069"/>
                      <a:pt x="1167" y="1081"/>
                      <a:pt x="1160" y="1093"/>
                    </a:cubicBezTo>
                    <a:cubicBezTo>
                      <a:pt x="1155" y="1103"/>
                      <a:pt x="1146" y="1113"/>
                      <a:pt x="1142" y="1125"/>
                    </a:cubicBezTo>
                    <a:cubicBezTo>
                      <a:pt x="1138" y="1137"/>
                      <a:pt x="1139" y="1152"/>
                      <a:pt x="1136" y="1165"/>
                    </a:cubicBezTo>
                    <a:cubicBezTo>
                      <a:pt x="1134" y="1178"/>
                      <a:pt x="1131" y="1190"/>
                      <a:pt x="1129" y="1204"/>
                    </a:cubicBezTo>
                    <a:cubicBezTo>
                      <a:pt x="1155" y="1201"/>
                      <a:pt x="1179" y="1194"/>
                      <a:pt x="1204" y="1189"/>
                    </a:cubicBezTo>
                    <a:cubicBezTo>
                      <a:pt x="1227" y="1159"/>
                      <a:pt x="1250" y="1129"/>
                      <a:pt x="1269" y="1095"/>
                    </a:cubicBezTo>
                    <a:cubicBezTo>
                      <a:pt x="1240" y="1080"/>
                      <a:pt x="1211" y="1066"/>
                      <a:pt x="1177" y="1057"/>
                    </a:cubicBezTo>
                    <a:close/>
                    <a:moveTo>
                      <a:pt x="64" y="1065"/>
                    </a:moveTo>
                    <a:cubicBezTo>
                      <a:pt x="88" y="1121"/>
                      <a:pt x="118" y="1171"/>
                      <a:pt x="154" y="1215"/>
                    </a:cubicBezTo>
                    <a:moveTo>
                      <a:pt x="154" y="1215"/>
                    </a:moveTo>
                    <a:cubicBezTo>
                      <a:pt x="154" y="1216"/>
                      <a:pt x="155" y="1216"/>
                      <a:pt x="155" y="1216"/>
                    </a:cubicBezTo>
                    <a:moveTo>
                      <a:pt x="155" y="1216"/>
                    </a:moveTo>
                    <a:cubicBezTo>
                      <a:pt x="155" y="1217"/>
                      <a:pt x="155" y="1218"/>
                      <a:pt x="156" y="1218"/>
                    </a:cubicBezTo>
                    <a:moveTo>
                      <a:pt x="156" y="1218"/>
                    </a:moveTo>
                    <a:cubicBezTo>
                      <a:pt x="156" y="1219"/>
                      <a:pt x="157" y="1219"/>
                      <a:pt x="157" y="1219"/>
                    </a:cubicBezTo>
                    <a:moveTo>
                      <a:pt x="157" y="1219"/>
                    </a:moveTo>
                    <a:cubicBezTo>
                      <a:pt x="158" y="1220"/>
                      <a:pt x="158" y="1219"/>
                      <a:pt x="157" y="1219"/>
                    </a:cubicBezTo>
                    <a:moveTo>
                      <a:pt x="157" y="1219"/>
                    </a:moveTo>
                    <a:cubicBezTo>
                      <a:pt x="157" y="1218"/>
                      <a:pt x="157" y="1218"/>
                      <a:pt x="156" y="1218"/>
                    </a:cubicBezTo>
                    <a:moveTo>
                      <a:pt x="156" y="1218"/>
                    </a:moveTo>
                    <a:cubicBezTo>
                      <a:pt x="156" y="1217"/>
                      <a:pt x="156" y="1216"/>
                      <a:pt x="155" y="1216"/>
                    </a:cubicBezTo>
                    <a:moveTo>
                      <a:pt x="155" y="1216"/>
                    </a:moveTo>
                    <a:cubicBezTo>
                      <a:pt x="155" y="1215"/>
                      <a:pt x="155" y="1215"/>
                      <a:pt x="154" y="1215"/>
                    </a:cubicBezTo>
                    <a:moveTo>
                      <a:pt x="154" y="1215"/>
                    </a:moveTo>
                    <a:cubicBezTo>
                      <a:pt x="134" y="1178"/>
                      <a:pt x="113" y="1142"/>
                      <a:pt x="99" y="1099"/>
                    </a:cubicBezTo>
                    <a:cubicBezTo>
                      <a:pt x="85" y="1089"/>
                      <a:pt x="75" y="1077"/>
                      <a:pt x="64" y="1065"/>
                    </a:cubicBezTo>
                    <a:moveTo>
                      <a:pt x="64" y="1065"/>
                    </a:moveTo>
                    <a:cubicBezTo>
                      <a:pt x="63" y="1064"/>
                      <a:pt x="63" y="1065"/>
                      <a:pt x="64" y="1065"/>
                    </a:cubicBezTo>
                    <a:moveTo>
                      <a:pt x="282" y="1081"/>
                    </a:moveTo>
                    <a:cubicBezTo>
                      <a:pt x="297" y="1111"/>
                      <a:pt x="315" y="1138"/>
                      <a:pt x="335" y="1164"/>
                    </a:cubicBezTo>
                    <a:cubicBezTo>
                      <a:pt x="327" y="1133"/>
                      <a:pt x="324" y="1098"/>
                      <a:pt x="318" y="1066"/>
                    </a:cubicBezTo>
                    <a:cubicBezTo>
                      <a:pt x="307" y="1072"/>
                      <a:pt x="294" y="1076"/>
                      <a:pt x="282" y="1081"/>
                    </a:cubicBezTo>
                    <a:close/>
                    <a:moveTo>
                      <a:pt x="1457" y="1068"/>
                    </a:moveTo>
                    <a:cubicBezTo>
                      <a:pt x="1458" y="1069"/>
                      <a:pt x="1457" y="1068"/>
                      <a:pt x="1457" y="1068"/>
                    </a:cubicBezTo>
                    <a:close/>
                    <a:moveTo>
                      <a:pt x="1361" y="1232"/>
                    </a:moveTo>
                    <a:cubicBezTo>
                      <a:pt x="1360" y="1233"/>
                      <a:pt x="1361" y="1233"/>
                      <a:pt x="1361" y="1232"/>
                    </a:cubicBezTo>
                    <a:moveTo>
                      <a:pt x="1361" y="1232"/>
                    </a:moveTo>
                    <a:cubicBezTo>
                      <a:pt x="1399" y="1185"/>
                      <a:pt x="1434" y="1129"/>
                      <a:pt x="1456" y="1069"/>
                    </a:cubicBezTo>
                    <a:cubicBezTo>
                      <a:pt x="1450" y="1078"/>
                      <a:pt x="1442" y="1085"/>
                      <a:pt x="1433" y="1092"/>
                    </a:cubicBezTo>
                    <a:cubicBezTo>
                      <a:pt x="1414" y="1130"/>
                      <a:pt x="1388" y="1162"/>
                      <a:pt x="1365" y="1196"/>
                    </a:cubicBezTo>
                    <a:cubicBezTo>
                      <a:pt x="1367" y="1209"/>
                      <a:pt x="1364" y="1221"/>
                      <a:pt x="1361" y="1232"/>
                    </a:cubicBezTo>
                    <a:moveTo>
                      <a:pt x="341" y="1193"/>
                    </a:moveTo>
                    <a:cubicBezTo>
                      <a:pt x="341" y="1194"/>
                      <a:pt x="342" y="1193"/>
                      <a:pt x="341" y="1193"/>
                    </a:cubicBezTo>
                    <a:moveTo>
                      <a:pt x="341" y="1193"/>
                    </a:moveTo>
                    <a:cubicBezTo>
                      <a:pt x="340" y="1185"/>
                      <a:pt x="337" y="1179"/>
                      <a:pt x="337" y="1172"/>
                    </a:cubicBezTo>
                    <a:cubicBezTo>
                      <a:pt x="315" y="1144"/>
                      <a:pt x="298" y="1113"/>
                      <a:pt x="278" y="1083"/>
                    </a:cubicBezTo>
                    <a:cubicBezTo>
                      <a:pt x="261" y="1092"/>
                      <a:pt x="240" y="1102"/>
                      <a:pt x="222" y="1114"/>
                    </a:cubicBezTo>
                    <a:cubicBezTo>
                      <a:pt x="220" y="1116"/>
                      <a:pt x="207" y="1125"/>
                      <a:pt x="207" y="1127"/>
                    </a:cubicBezTo>
                    <a:cubicBezTo>
                      <a:pt x="207" y="1129"/>
                      <a:pt x="219" y="1144"/>
                      <a:pt x="221" y="1146"/>
                    </a:cubicBezTo>
                    <a:cubicBezTo>
                      <a:pt x="226" y="1153"/>
                      <a:pt x="230" y="1157"/>
                      <a:pt x="234" y="1164"/>
                    </a:cubicBezTo>
                    <a:cubicBezTo>
                      <a:pt x="269" y="1174"/>
                      <a:pt x="303" y="1186"/>
                      <a:pt x="341" y="1193"/>
                    </a:cubicBezTo>
                    <a:moveTo>
                      <a:pt x="183" y="1096"/>
                    </a:moveTo>
                    <a:cubicBezTo>
                      <a:pt x="183" y="1095"/>
                      <a:pt x="184" y="1096"/>
                      <a:pt x="183" y="1096"/>
                    </a:cubicBezTo>
                    <a:close/>
                    <a:moveTo>
                      <a:pt x="195" y="1134"/>
                    </a:moveTo>
                    <a:cubicBezTo>
                      <a:pt x="197" y="1130"/>
                      <a:pt x="202" y="1130"/>
                      <a:pt x="203" y="1125"/>
                    </a:cubicBezTo>
                    <a:cubicBezTo>
                      <a:pt x="196" y="1116"/>
                      <a:pt x="191" y="1106"/>
                      <a:pt x="184" y="1097"/>
                    </a:cubicBezTo>
                    <a:cubicBezTo>
                      <a:pt x="187" y="1110"/>
                      <a:pt x="190" y="1123"/>
                      <a:pt x="195" y="1134"/>
                    </a:cubicBezTo>
                    <a:close/>
                    <a:moveTo>
                      <a:pt x="1271" y="1097"/>
                    </a:moveTo>
                    <a:cubicBezTo>
                      <a:pt x="1271" y="1098"/>
                      <a:pt x="1270" y="1099"/>
                      <a:pt x="1270" y="1100"/>
                    </a:cubicBezTo>
                    <a:cubicBezTo>
                      <a:pt x="1254" y="1126"/>
                      <a:pt x="1234" y="1154"/>
                      <a:pt x="1216" y="1177"/>
                    </a:cubicBezTo>
                    <a:cubicBezTo>
                      <a:pt x="1214" y="1180"/>
                      <a:pt x="1210" y="1183"/>
                      <a:pt x="1210" y="1187"/>
                    </a:cubicBezTo>
                    <a:cubicBezTo>
                      <a:pt x="1235" y="1180"/>
                      <a:pt x="1261" y="1174"/>
                      <a:pt x="1284" y="1165"/>
                    </a:cubicBezTo>
                    <a:cubicBezTo>
                      <a:pt x="1289" y="1147"/>
                      <a:pt x="1294" y="1131"/>
                      <a:pt x="1298" y="1112"/>
                    </a:cubicBezTo>
                    <a:cubicBezTo>
                      <a:pt x="1289" y="1107"/>
                      <a:pt x="1281" y="1100"/>
                      <a:pt x="1271" y="1097"/>
                    </a:cubicBezTo>
                    <a:close/>
                    <a:moveTo>
                      <a:pt x="1426" y="1099"/>
                    </a:moveTo>
                    <a:cubicBezTo>
                      <a:pt x="1417" y="1104"/>
                      <a:pt x="1408" y="1111"/>
                      <a:pt x="1399" y="1117"/>
                    </a:cubicBezTo>
                    <a:cubicBezTo>
                      <a:pt x="1394" y="1137"/>
                      <a:pt x="1385" y="1154"/>
                      <a:pt x="1377" y="1173"/>
                    </a:cubicBezTo>
                    <a:moveTo>
                      <a:pt x="1377" y="1173"/>
                    </a:moveTo>
                    <a:cubicBezTo>
                      <a:pt x="1376" y="1173"/>
                      <a:pt x="1377" y="1174"/>
                      <a:pt x="1376" y="1175"/>
                    </a:cubicBezTo>
                    <a:moveTo>
                      <a:pt x="1376" y="1175"/>
                    </a:moveTo>
                    <a:cubicBezTo>
                      <a:pt x="1375" y="1175"/>
                      <a:pt x="1377" y="1176"/>
                      <a:pt x="1376" y="1175"/>
                    </a:cubicBezTo>
                    <a:moveTo>
                      <a:pt x="1376" y="1175"/>
                    </a:moveTo>
                    <a:cubicBezTo>
                      <a:pt x="1377" y="1174"/>
                      <a:pt x="1377" y="1173"/>
                      <a:pt x="1377" y="1173"/>
                    </a:cubicBezTo>
                    <a:moveTo>
                      <a:pt x="1377" y="1173"/>
                    </a:moveTo>
                    <a:cubicBezTo>
                      <a:pt x="1396" y="1150"/>
                      <a:pt x="1412" y="1125"/>
                      <a:pt x="1426" y="1099"/>
                    </a:cubicBezTo>
                    <a:moveTo>
                      <a:pt x="1426" y="1099"/>
                    </a:moveTo>
                    <a:cubicBezTo>
                      <a:pt x="1428" y="1098"/>
                      <a:pt x="1426" y="1098"/>
                      <a:pt x="1426" y="1099"/>
                    </a:cubicBezTo>
                    <a:moveTo>
                      <a:pt x="159" y="1216"/>
                    </a:moveTo>
                    <a:cubicBezTo>
                      <a:pt x="156" y="1201"/>
                      <a:pt x="160" y="1188"/>
                      <a:pt x="164" y="1176"/>
                    </a:cubicBezTo>
                    <a:cubicBezTo>
                      <a:pt x="148" y="1157"/>
                      <a:pt x="133" y="1136"/>
                      <a:pt x="120" y="1113"/>
                    </a:cubicBezTo>
                    <a:cubicBezTo>
                      <a:pt x="113" y="1111"/>
                      <a:pt x="109" y="1105"/>
                      <a:pt x="102" y="1103"/>
                    </a:cubicBezTo>
                    <a:cubicBezTo>
                      <a:pt x="118" y="1144"/>
                      <a:pt x="137" y="1181"/>
                      <a:pt x="159" y="1216"/>
                    </a:cubicBezTo>
                    <a:close/>
                    <a:moveTo>
                      <a:pt x="1287" y="1164"/>
                    </a:moveTo>
                    <a:cubicBezTo>
                      <a:pt x="1303" y="1157"/>
                      <a:pt x="1323" y="1155"/>
                      <a:pt x="1333" y="1143"/>
                    </a:cubicBezTo>
                    <a:cubicBezTo>
                      <a:pt x="1325" y="1131"/>
                      <a:pt x="1312" y="1123"/>
                      <a:pt x="1301" y="1114"/>
                    </a:cubicBezTo>
                    <a:cubicBezTo>
                      <a:pt x="1296" y="1131"/>
                      <a:pt x="1292" y="1148"/>
                      <a:pt x="1287" y="1164"/>
                    </a:cubicBezTo>
                    <a:close/>
                    <a:moveTo>
                      <a:pt x="126" y="1118"/>
                    </a:moveTo>
                    <a:cubicBezTo>
                      <a:pt x="138" y="1138"/>
                      <a:pt x="150" y="1157"/>
                      <a:pt x="166" y="1174"/>
                    </a:cubicBezTo>
                    <a:cubicBezTo>
                      <a:pt x="169" y="1162"/>
                      <a:pt x="177" y="1155"/>
                      <a:pt x="182" y="1146"/>
                    </a:cubicBezTo>
                    <a:cubicBezTo>
                      <a:pt x="161" y="1138"/>
                      <a:pt x="144" y="1127"/>
                      <a:pt x="126" y="1118"/>
                    </a:cubicBezTo>
                    <a:moveTo>
                      <a:pt x="126" y="1118"/>
                    </a:moveTo>
                    <a:cubicBezTo>
                      <a:pt x="125" y="1116"/>
                      <a:pt x="124" y="1118"/>
                      <a:pt x="126" y="1118"/>
                    </a:cubicBezTo>
                    <a:moveTo>
                      <a:pt x="1342" y="1146"/>
                    </a:moveTo>
                    <a:cubicBezTo>
                      <a:pt x="1351" y="1159"/>
                      <a:pt x="1360" y="1173"/>
                      <a:pt x="1365" y="1190"/>
                    </a:cubicBezTo>
                    <a:cubicBezTo>
                      <a:pt x="1377" y="1168"/>
                      <a:pt x="1387" y="1145"/>
                      <a:pt x="1396" y="1120"/>
                    </a:cubicBezTo>
                    <a:cubicBezTo>
                      <a:pt x="1397" y="1120"/>
                      <a:pt x="1396" y="1119"/>
                      <a:pt x="1395" y="1119"/>
                    </a:cubicBezTo>
                    <a:cubicBezTo>
                      <a:pt x="1379" y="1129"/>
                      <a:pt x="1361" y="1138"/>
                      <a:pt x="1342" y="1146"/>
                    </a:cubicBezTo>
                    <a:close/>
                    <a:moveTo>
                      <a:pt x="204" y="1128"/>
                    </a:moveTo>
                    <a:cubicBezTo>
                      <a:pt x="202" y="1133"/>
                      <a:pt x="196" y="1134"/>
                      <a:pt x="195" y="1139"/>
                    </a:cubicBezTo>
                    <a:cubicBezTo>
                      <a:pt x="197" y="1142"/>
                      <a:pt x="198" y="1146"/>
                      <a:pt x="198" y="1151"/>
                    </a:cubicBezTo>
                    <a:cubicBezTo>
                      <a:pt x="209" y="1153"/>
                      <a:pt x="219" y="1160"/>
                      <a:pt x="229" y="1160"/>
                    </a:cubicBezTo>
                    <a:cubicBezTo>
                      <a:pt x="220" y="1151"/>
                      <a:pt x="214" y="1138"/>
                      <a:pt x="204" y="1128"/>
                    </a:cubicBezTo>
                    <a:close/>
                    <a:moveTo>
                      <a:pt x="1100" y="1194"/>
                    </a:moveTo>
                    <a:cubicBezTo>
                      <a:pt x="1095" y="1200"/>
                      <a:pt x="1088" y="1206"/>
                      <a:pt x="1088" y="1212"/>
                    </a:cubicBezTo>
                    <a:cubicBezTo>
                      <a:pt x="1101" y="1209"/>
                      <a:pt x="1114" y="1208"/>
                      <a:pt x="1126" y="1205"/>
                    </a:cubicBezTo>
                    <a:cubicBezTo>
                      <a:pt x="1129" y="1181"/>
                      <a:pt x="1137" y="1156"/>
                      <a:pt x="1137" y="1132"/>
                    </a:cubicBezTo>
                    <a:cubicBezTo>
                      <a:pt x="1126" y="1153"/>
                      <a:pt x="1113" y="1175"/>
                      <a:pt x="1100" y="1194"/>
                    </a:cubicBezTo>
                    <a:close/>
                    <a:moveTo>
                      <a:pt x="187" y="1146"/>
                    </a:moveTo>
                    <a:cubicBezTo>
                      <a:pt x="190" y="1145"/>
                      <a:pt x="194" y="1150"/>
                      <a:pt x="196" y="1148"/>
                    </a:cubicBezTo>
                    <a:cubicBezTo>
                      <a:pt x="193" y="1146"/>
                      <a:pt x="194" y="1141"/>
                      <a:pt x="192" y="1140"/>
                    </a:cubicBezTo>
                    <a:cubicBezTo>
                      <a:pt x="191" y="1142"/>
                      <a:pt x="188" y="1143"/>
                      <a:pt x="187" y="1146"/>
                    </a:cubicBezTo>
                    <a:close/>
                    <a:moveTo>
                      <a:pt x="1333" y="1147"/>
                    </a:moveTo>
                    <a:cubicBezTo>
                      <a:pt x="1335" y="1147"/>
                      <a:pt x="1336" y="1146"/>
                      <a:pt x="1337" y="1145"/>
                    </a:cubicBezTo>
                    <a:cubicBezTo>
                      <a:pt x="1335" y="1143"/>
                      <a:pt x="1334" y="1145"/>
                      <a:pt x="1333" y="1147"/>
                    </a:cubicBezTo>
                    <a:close/>
                    <a:moveTo>
                      <a:pt x="241" y="1257"/>
                    </a:moveTo>
                    <a:cubicBezTo>
                      <a:pt x="241" y="1258"/>
                      <a:pt x="242" y="1257"/>
                      <a:pt x="241" y="1257"/>
                    </a:cubicBezTo>
                    <a:moveTo>
                      <a:pt x="241" y="1257"/>
                    </a:moveTo>
                    <a:cubicBezTo>
                      <a:pt x="224" y="1224"/>
                      <a:pt x="209" y="1190"/>
                      <a:pt x="197" y="1152"/>
                    </a:cubicBezTo>
                    <a:cubicBezTo>
                      <a:pt x="194" y="1150"/>
                      <a:pt x="189" y="1150"/>
                      <a:pt x="187" y="1148"/>
                    </a:cubicBezTo>
                    <a:cubicBezTo>
                      <a:pt x="177" y="1154"/>
                      <a:pt x="173" y="1166"/>
                      <a:pt x="167" y="1175"/>
                    </a:cubicBezTo>
                    <a:cubicBezTo>
                      <a:pt x="189" y="1205"/>
                      <a:pt x="214" y="1232"/>
                      <a:pt x="241" y="1257"/>
                    </a:cubicBezTo>
                    <a:moveTo>
                      <a:pt x="1207" y="1335"/>
                    </a:moveTo>
                    <a:cubicBezTo>
                      <a:pt x="1206" y="1335"/>
                      <a:pt x="1208" y="1336"/>
                      <a:pt x="1207" y="1335"/>
                    </a:cubicBezTo>
                    <a:moveTo>
                      <a:pt x="1207" y="1335"/>
                    </a:moveTo>
                    <a:cubicBezTo>
                      <a:pt x="1267" y="1295"/>
                      <a:pt x="1319" y="1248"/>
                      <a:pt x="1362" y="1192"/>
                    </a:cubicBezTo>
                    <a:cubicBezTo>
                      <a:pt x="1357" y="1174"/>
                      <a:pt x="1350" y="1158"/>
                      <a:pt x="1337" y="1148"/>
                    </a:cubicBezTo>
                    <a:cubicBezTo>
                      <a:pt x="1322" y="1158"/>
                      <a:pt x="1312" y="1174"/>
                      <a:pt x="1300" y="1189"/>
                    </a:cubicBezTo>
                    <a:cubicBezTo>
                      <a:pt x="1294" y="1196"/>
                      <a:pt x="1288" y="1203"/>
                      <a:pt x="1281" y="1210"/>
                    </a:cubicBezTo>
                    <a:cubicBezTo>
                      <a:pt x="1275" y="1217"/>
                      <a:pt x="1267" y="1223"/>
                      <a:pt x="1263" y="1230"/>
                    </a:cubicBezTo>
                    <a:cubicBezTo>
                      <a:pt x="1258" y="1239"/>
                      <a:pt x="1255" y="1249"/>
                      <a:pt x="1251" y="1258"/>
                    </a:cubicBezTo>
                    <a:cubicBezTo>
                      <a:pt x="1237" y="1285"/>
                      <a:pt x="1225" y="1311"/>
                      <a:pt x="1207" y="1335"/>
                    </a:cubicBezTo>
                    <a:moveTo>
                      <a:pt x="1324" y="1154"/>
                    </a:moveTo>
                    <a:cubicBezTo>
                      <a:pt x="1310" y="1158"/>
                      <a:pt x="1300" y="1164"/>
                      <a:pt x="1286" y="1167"/>
                    </a:cubicBezTo>
                    <a:cubicBezTo>
                      <a:pt x="1282" y="1186"/>
                      <a:pt x="1272" y="1204"/>
                      <a:pt x="1269" y="1221"/>
                    </a:cubicBezTo>
                    <a:cubicBezTo>
                      <a:pt x="1287" y="1199"/>
                      <a:pt x="1307" y="1178"/>
                      <a:pt x="1324" y="1154"/>
                    </a:cubicBezTo>
                    <a:moveTo>
                      <a:pt x="1324" y="1154"/>
                    </a:moveTo>
                    <a:cubicBezTo>
                      <a:pt x="1325" y="1154"/>
                      <a:pt x="1324" y="1153"/>
                      <a:pt x="1324" y="1154"/>
                    </a:cubicBezTo>
                    <a:moveTo>
                      <a:pt x="222" y="1212"/>
                    </a:moveTo>
                    <a:cubicBezTo>
                      <a:pt x="231" y="1230"/>
                      <a:pt x="237" y="1251"/>
                      <a:pt x="247" y="1264"/>
                    </a:cubicBezTo>
                    <a:cubicBezTo>
                      <a:pt x="252" y="1270"/>
                      <a:pt x="260" y="1275"/>
                      <a:pt x="267" y="1280"/>
                    </a:cubicBezTo>
                    <a:cubicBezTo>
                      <a:pt x="287" y="1297"/>
                      <a:pt x="306" y="1314"/>
                      <a:pt x="328" y="1328"/>
                    </a:cubicBezTo>
                    <a:cubicBezTo>
                      <a:pt x="334" y="1313"/>
                      <a:pt x="344" y="1302"/>
                      <a:pt x="354" y="1291"/>
                    </a:cubicBezTo>
                    <a:cubicBezTo>
                      <a:pt x="308" y="1254"/>
                      <a:pt x="269" y="1211"/>
                      <a:pt x="232" y="1165"/>
                    </a:cubicBezTo>
                    <a:cubicBezTo>
                      <a:pt x="220" y="1162"/>
                      <a:pt x="212" y="1157"/>
                      <a:pt x="200" y="1154"/>
                    </a:cubicBezTo>
                    <a:cubicBezTo>
                      <a:pt x="206" y="1174"/>
                      <a:pt x="214" y="1193"/>
                      <a:pt x="222" y="1212"/>
                    </a:cubicBezTo>
                    <a:close/>
                    <a:moveTo>
                      <a:pt x="356" y="1290"/>
                    </a:moveTo>
                    <a:cubicBezTo>
                      <a:pt x="359" y="1285"/>
                      <a:pt x="365" y="1284"/>
                      <a:pt x="367" y="1278"/>
                    </a:cubicBezTo>
                    <a:cubicBezTo>
                      <a:pt x="358" y="1252"/>
                      <a:pt x="349" y="1226"/>
                      <a:pt x="342" y="1197"/>
                    </a:cubicBezTo>
                    <a:cubicBezTo>
                      <a:pt x="306" y="1189"/>
                      <a:pt x="270" y="1177"/>
                      <a:pt x="238" y="1169"/>
                    </a:cubicBezTo>
                    <a:cubicBezTo>
                      <a:pt x="274" y="1212"/>
                      <a:pt x="312" y="1254"/>
                      <a:pt x="356" y="1290"/>
                    </a:cubicBezTo>
                    <a:close/>
                    <a:moveTo>
                      <a:pt x="1223" y="1265"/>
                    </a:moveTo>
                    <a:cubicBezTo>
                      <a:pt x="1235" y="1254"/>
                      <a:pt x="1255" y="1239"/>
                      <a:pt x="1263" y="1225"/>
                    </a:cubicBezTo>
                    <a:cubicBezTo>
                      <a:pt x="1273" y="1209"/>
                      <a:pt x="1274" y="1190"/>
                      <a:pt x="1282" y="1170"/>
                    </a:cubicBezTo>
                    <a:cubicBezTo>
                      <a:pt x="1282" y="1169"/>
                      <a:pt x="1282" y="1169"/>
                      <a:pt x="1281" y="1169"/>
                    </a:cubicBezTo>
                    <a:cubicBezTo>
                      <a:pt x="1257" y="1177"/>
                      <a:pt x="1232" y="1184"/>
                      <a:pt x="1206" y="1191"/>
                    </a:cubicBezTo>
                    <a:cubicBezTo>
                      <a:pt x="1184" y="1218"/>
                      <a:pt x="1160" y="1242"/>
                      <a:pt x="1137" y="1268"/>
                    </a:cubicBezTo>
                    <a:cubicBezTo>
                      <a:pt x="1155" y="1276"/>
                      <a:pt x="1167" y="1289"/>
                      <a:pt x="1181" y="1301"/>
                    </a:cubicBezTo>
                    <a:cubicBezTo>
                      <a:pt x="1195" y="1290"/>
                      <a:pt x="1208" y="1278"/>
                      <a:pt x="1223" y="1265"/>
                    </a:cubicBezTo>
                    <a:close/>
                    <a:moveTo>
                      <a:pt x="344" y="1195"/>
                    </a:moveTo>
                    <a:cubicBezTo>
                      <a:pt x="349" y="1194"/>
                      <a:pt x="353" y="1198"/>
                      <a:pt x="355" y="1196"/>
                    </a:cubicBezTo>
                    <a:cubicBezTo>
                      <a:pt x="350" y="1190"/>
                      <a:pt x="346" y="1183"/>
                      <a:pt x="341" y="1178"/>
                    </a:cubicBezTo>
                    <a:cubicBezTo>
                      <a:pt x="342" y="1184"/>
                      <a:pt x="343" y="1189"/>
                      <a:pt x="344" y="1195"/>
                    </a:cubicBezTo>
                    <a:close/>
                    <a:moveTo>
                      <a:pt x="289" y="1331"/>
                    </a:moveTo>
                    <a:cubicBezTo>
                      <a:pt x="289" y="1332"/>
                      <a:pt x="290" y="1331"/>
                      <a:pt x="289" y="1331"/>
                    </a:cubicBezTo>
                    <a:moveTo>
                      <a:pt x="289" y="1331"/>
                    </a:moveTo>
                    <a:cubicBezTo>
                      <a:pt x="274" y="1310"/>
                      <a:pt x="258" y="1290"/>
                      <a:pt x="246" y="1266"/>
                    </a:cubicBezTo>
                    <a:cubicBezTo>
                      <a:pt x="216" y="1240"/>
                      <a:pt x="192" y="1209"/>
                      <a:pt x="165" y="1180"/>
                    </a:cubicBezTo>
                    <a:cubicBezTo>
                      <a:pt x="163" y="1194"/>
                      <a:pt x="158" y="1209"/>
                      <a:pt x="163" y="1223"/>
                    </a:cubicBezTo>
                    <a:cubicBezTo>
                      <a:pt x="169" y="1238"/>
                      <a:pt x="189" y="1257"/>
                      <a:pt x="203" y="1271"/>
                    </a:cubicBezTo>
                    <a:cubicBezTo>
                      <a:pt x="217" y="1284"/>
                      <a:pt x="236" y="1304"/>
                      <a:pt x="249" y="1313"/>
                    </a:cubicBezTo>
                    <a:cubicBezTo>
                      <a:pt x="261" y="1321"/>
                      <a:pt x="278" y="1326"/>
                      <a:pt x="289" y="1331"/>
                    </a:cubicBezTo>
                    <a:moveTo>
                      <a:pt x="676" y="1195"/>
                    </a:moveTo>
                    <a:cubicBezTo>
                      <a:pt x="677" y="1209"/>
                      <a:pt x="682" y="1221"/>
                      <a:pt x="683" y="1235"/>
                    </a:cubicBezTo>
                    <a:cubicBezTo>
                      <a:pt x="697" y="1236"/>
                      <a:pt x="712" y="1236"/>
                      <a:pt x="727" y="1236"/>
                    </a:cubicBezTo>
                    <a:cubicBezTo>
                      <a:pt x="726" y="1222"/>
                      <a:pt x="730" y="1202"/>
                      <a:pt x="725" y="1192"/>
                    </a:cubicBezTo>
                    <a:cubicBezTo>
                      <a:pt x="709" y="1193"/>
                      <a:pt x="691" y="1193"/>
                      <a:pt x="676" y="1195"/>
                    </a:cubicBezTo>
                    <a:close/>
                    <a:moveTo>
                      <a:pt x="729" y="1192"/>
                    </a:moveTo>
                    <a:cubicBezTo>
                      <a:pt x="729" y="1207"/>
                      <a:pt x="731" y="1220"/>
                      <a:pt x="730" y="1236"/>
                    </a:cubicBezTo>
                    <a:cubicBezTo>
                      <a:pt x="744" y="1238"/>
                      <a:pt x="761" y="1236"/>
                      <a:pt x="775" y="1237"/>
                    </a:cubicBezTo>
                    <a:cubicBezTo>
                      <a:pt x="777" y="1222"/>
                      <a:pt x="777" y="1207"/>
                      <a:pt x="777" y="1192"/>
                    </a:cubicBezTo>
                    <a:cubicBezTo>
                      <a:pt x="761" y="1192"/>
                      <a:pt x="745" y="1192"/>
                      <a:pt x="729" y="1192"/>
                    </a:cubicBezTo>
                    <a:close/>
                    <a:moveTo>
                      <a:pt x="780" y="1192"/>
                    </a:moveTo>
                    <a:cubicBezTo>
                      <a:pt x="779" y="1206"/>
                      <a:pt x="779" y="1222"/>
                      <a:pt x="778" y="1237"/>
                    </a:cubicBezTo>
                    <a:cubicBezTo>
                      <a:pt x="809" y="1235"/>
                      <a:pt x="841" y="1236"/>
                      <a:pt x="871" y="1234"/>
                    </a:cubicBezTo>
                    <a:cubicBezTo>
                      <a:pt x="875" y="1222"/>
                      <a:pt x="879" y="1210"/>
                      <a:pt x="882" y="1198"/>
                    </a:cubicBezTo>
                    <a:cubicBezTo>
                      <a:pt x="849" y="1195"/>
                      <a:pt x="816" y="1192"/>
                      <a:pt x="780" y="1192"/>
                    </a:cubicBezTo>
                    <a:close/>
                    <a:moveTo>
                      <a:pt x="1200" y="1193"/>
                    </a:moveTo>
                    <a:cubicBezTo>
                      <a:pt x="1176" y="1197"/>
                      <a:pt x="1153" y="1204"/>
                      <a:pt x="1128" y="1207"/>
                    </a:cubicBezTo>
                    <a:cubicBezTo>
                      <a:pt x="1124" y="1224"/>
                      <a:pt x="1120" y="1239"/>
                      <a:pt x="1116" y="1255"/>
                    </a:cubicBezTo>
                    <a:cubicBezTo>
                      <a:pt x="1122" y="1258"/>
                      <a:pt x="1128" y="1262"/>
                      <a:pt x="1134" y="1265"/>
                    </a:cubicBezTo>
                    <a:cubicBezTo>
                      <a:pt x="1158" y="1242"/>
                      <a:pt x="1180" y="1219"/>
                      <a:pt x="1200" y="1193"/>
                    </a:cubicBezTo>
                    <a:moveTo>
                      <a:pt x="1200" y="1193"/>
                    </a:moveTo>
                    <a:cubicBezTo>
                      <a:pt x="1201" y="1192"/>
                      <a:pt x="1200" y="1192"/>
                      <a:pt x="1200" y="1193"/>
                    </a:cubicBezTo>
                    <a:moveTo>
                      <a:pt x="671" y="1195"/>
                    </a:moveTo>
                    <a:cubicBezTo>
                      <a:pt x="638" y="1198"/>
                      <a:pt x="605" y="1201"/>
                      <a:pt x="575" y="1207"/>
                    </a:cubicBezTo>
                    <a:cubicBezTo>
                      <a:pt x="578" y="1215"/>
                      <a:pt x="580" y="1224"/>
                      <a:pt x="586" y="1229"/>
                    </a:cubicBezTo>
                    <a:cubicBezTo>
                      <a:pt x="616" y="1232"/>
                      <a:pt x="650" y="1235"/>
                      <a:pt x="680" y="1234"/>
                    </a:cubicBezTo>
                    <a:cubicBezTo>
                      <a:pt x="676" y="1222"/>
                      <a:pt x="675" y="1207"/>
                      <a:pt x="671" y="1195"/>
                    </a:cubicBezTo>
                    <a:close/>
                    <a:moveTo>
                      <a:pt x="369" y="1277"/>
                    </a:moveTo>
                    <a:cubicBezTo>
                      <a:pt x="382" y="1271"/>
                      <a:pt x="394" y="1263"/>
                      <a:pt x="406" y="1255"/>
                    </a:cubicBezTo>
                    <a:cubicBezTo>
                      <a:pt x="389" y="1237"/>
                      <a:pt x="373" y="1219"/>
                      <a:pt x="358" y="1199"/>
                    </a:cubicBezTo>
                    <a:cubicBezTo>
                      <a:pt x="353" y="1200"/>
                      <a:pt x="350" y="1197"/>
                      <a:pt x="345" y="1198"/>
                    </a:cubicBezTo>
                    <a:cubicBezTo>
                      <a:pt x="352" y="1226"/>
                      <a:pt x="361" y="1251"/>
                      <a:pt x="369" y="1277"/>
                    </a:cubicBezTo>
                    <a:close/>
                    <a:moveTo>
                      <a:pt x="884" y="1199"/>
                    </a:moveTo>
                    <a:cubicBezTo>
                      <a:pt x="882" y="1211"/>
                      <a:pt x="877" y="1221"/>
                      <a:pt x="874" y="1234"/>
                    </a:cubicBezTo>
                    <a:cubicBezTo>
                      <a:pt x="894" y="1233"/>
                      <a:pt x="914" y="1231"/>
                      <a:pt x="934" y="1230"/>
                    </a:cubicBezTo>
                    <a:cubicBezTo>
                      <a:pt x="934" y="1221"/>
                      <a:pt x="936" y="1215"/>
                      <a:pt x="936" y="1205"/>
                    </a:cubicBezTo>
                    <a:cubicBezTo>
                      <a:pt x="919" y="1202"/>
                      <a:pt x="903" y="1199"/>
                      <a:pt x="884" y="1199"/>
                    </a:cubicBezTo>
                    <a:close/>
                    <a:moveTo>
                      <a:pt x="1360" y="1199"/>
                    </a:moveTo>
                    <a:cubicBezTo>
                      <a:pt x="1360" y="1199"/>
                      <a:pt x="1361" y="1200"/>
                      <a:pt x="1360" y="1199"/>
                    </a:cubicBezTo>
                    <a:close/>
                    <a:moveTo>
                      <a:pt x="363" y="1201"/>
                    </a:moveTo>
                    <a:cubicBezTo>
                      <a:pt x="378" y="1220"/>
                      <a:pt x="392" y="1239"/>
                      <a:pt x="410" y="1254"/>
                    </a:cubicBezTo>
                    <a:cubicBezTo>
                      <a:pt x="432" y="1244"/>
                      <a:pt x="454" y="1234"/>
                      <a:pt x="480" y="1227"/>
                    </a:cubicBezTo>
                    <a:cubicBezTo>
                      <a:pt x="477" y="1217"/>
                      <a:pt x="463" y="1219"/>
                      <a:pt x="454" y="1218"/>
                    </a:cubicBezTo>
                    <a:cubicBezTo>
                      <a:pt x="424" y="1213"/>
                      <a:pt x="391" y="1206"/>
                      <a:pt x="363" y="1201"/>
                    </a:cubicBezTo>
                    <a:moveTo>
                      <a:pt x="363" y="1201"/>
                    </a:moveTo>
                    <a:cubicBezTo>
                      <a:pt x="362" y="1200"/>
                      <a:pt x="361" y="1201"/>
                      <a:pt x="363" y="1201"/>
                    </a:cubicBezTo>
                    <a:moveTo>
                      <a:pt x="1359" y="1201"/>
                    </a:moveTo>
                    <a:cubicBezTo>
                      <a:pt x="1318" y="1253"/>
                      <a:pt x="1263" y="1298"/>
                      <a:pt x="1208" y="1338"/>
                    </a:cubicBezTo>
                    <a:cubicBezTo>
                      <a:pt x="1206" y="1339"/>
                      <a:pt x="1201" y="1341"/>
                      <a:pt x="1202" y="1345"/>
                    </a:cubicBezTo>
                    <a:cubicBezTo>
                      <a:pt x="1217" y="1339"/>
                      <a:pt x="1232" y="1333"/>
                      <a:pt x="1247" y="1326"/>
                    </a:cubicBezTo>
                    <a:cubicBezTo>
                      <a:pt x="1261" y="1320"/>
                      <a:pt x="1277" y="1313"/>
                      <a:pt x="1289" y="1304"/>
                    </a:cubicBezTo>
                    <a:cubicBezTo>
                      <a:pt x="1303" y="1293"/>
                      <a:pt x="1316" y="1270"/>
                      <a:pt x="1326" y="1255"/>
                    </a:cubicBezTo>
                    <a:cubicBezTo>
                      <a:pt x="1338" y="1238"/>
                      <a:pt x="1350" y="1220"/>
                      <a:pt x="1359" y="1201"/>
                    </a:cubicBezTo>
                    <a:moveTo>
                      <a:pt x="1359" y="1201"/>
                    </a:moveTo>
                    <a:cubicBezTo>
                      <a:pt x="1361" y="1201"/>
                      <a:pt x="1359" y="1200"/>
                      <a:pt x="1359" y="1201"/>
                    </a:cubicBezTo>
                    <a:moveTo>
                      <a:pt x="1301" y="1295"/>
                    </a:moveTo>
                    <a:cubicBezTo>
                      <a:pt x="1299" y="1296"/>
                      <a:pt x="1301" y="1297"/>
                      <a:pt x="1301" y="1295"/>
                    </a:cubicBezTo>
                    <a:moveTo>
                      <a:pt x="1301" y="1295"/>
                    </a:moveTo>
                    <a:cubicBezTo>
                      <a:pt x="1315" y="1282"/>
                      <a:pt x="1343" y="1260"/>
                      <a:pt x="1354" y="1241"/>
                    </a:cubicBezTo>
                    <a:cubicBezTo>
                      <a:pt x="1360" y="1231"/>
                      <a:pt x="1364" y="1215"/>
                      <a:pt x="1362" y="1201"/>
                    </a:cubicBezTo>
                    <a:cubicBezTo>
                      <a:pt x="1345" y="1236"/>
                      <a:pt x="1323" y="1266"/>
                      <a:pt x="1301" y="1295"/>
                    </a:cubicBezTo>
                    <a:moveTo>
                      <a:pt x="938" y="1229"/>
                    </a:moveTo>
                    <a:cubicBezTo>
                      <a:pt x="950" y="1230"/>
                      <a:pt x="958" y="1227"/>
                      <a:pt x="970" y="1227"/>
                    </a:cubicBezTo>
                    <a:cubicBezTo>
                      <a:pt x="975" y="1224"/>
                      <a:pt x="977" y="1218"/>
                      <a:pt x="979" y="1213"/>
                    </a:cubicBezTo>
                    <a:cubicBezTo>
                      <a:pt x="967" y="1210"/>
                      <a:pt x="953" y="1208"/>
                      <a:pt x="941" y="1205"/>
                    </a:cubicBezTo>
                    <a:cubicBezTo>
                      <a:pt x="939" y="1212"/>
                      <a:pt x="940" y="1222"/>
                      <a:pt x="938" y="1229"/>
                    </a:cubicBezTo>
                    <a:close/>
                    <a:moveTo>
                      <a:pt x="526" y="1219"/>
                    </a:moveTo>
                    <a:cubicBezTo>
                      <a:pt x="526" y="1221"/>
                      <a:pt x="526" y="1222"/>
                      <a:pt x="527" y="1223"/>
                    </a:cubicBezTo>
                    <a:cubicBezTo>
                      <a:pt x="544" y="1226"/>
                      <a:pt x="565" y="1229"/>
                      <a:pt x="582" y="1228"/>
                    </a:cubicBezTo>
                    <a:cubicBezTo>
                      <a:pt x="577" y="1222"/>
                      <a:pt x="575" y="1213"/>
                      <a:pt x="571" y="1207"/>
                    </a:cubicBezTo>
                    <a:cubicBezTo>
                      <a:pt x="557" y="1212"/>
                      <a:pt x="538" y="1212"/>
                      <a:pt x="526" y="1219"/>
                    </a:cubicBezTo>
                    <a:close/>
                    <a:moveTo>
                      <a:pt x="1084" y="1215"/>
                    </a:moveTo>
                    <a:cubicBezTo>
                      <a:pt x="1080" y="1223"/>
                      <a:pt x="1071" y="1229"/>
                      <a:pt x="1070" y="1236"/>
                    </a:cubicBezTo>
                    <a:cubicBezTo>
                      <a:pt x="1086" y="1240"/>
                      <a:pt x="1099" y="1248"/>
                      <a:pt x="1113" y="1253"/>
                    </a:cubicBezTo>
                    <a:cubicBezTo>
                      <a:pt x="1118" y="1240"/>
                      <a:pt x="1120" y="1224"/>
                      <a:pt x="1125" y="1210"/>
                    </a:cubicBezTo>
                    <a:cubicBezTo>
                      <a:pt x="1125" y="1209"/>
                      <a:pt x="1125" y="1208"/>
                      <a:pt x="1123" y="1208"/>
                    </a:cubicBezTo>
                    <a:cubicBezTo>
                      <a:pt x="1111" y="1211"/>
                      <a:pt x="1097" y="1213"/>
                      <a:pt x="1084" y="1215"/>
                    </a:cubicBezTo>
                    <a:close/>
                    <a:moveTo>
                      <a:pt x="982" y="1214"/>
                    </a:moveTo>
                    <a:cubicBezTo>
                      <a:pt x="980" y="1218"/>
                      <a:pt x="977" y="1222"/>
                      <a:pt x="975" y="1226"/>
                    </a:cubicBezTo>
                    <a:cubicBezTo>
                      <a:pt x="988" y="1225"/>
                      <a:pt x="1003" y="1224"/>
                      <a:pt x="1015" y="1222"/>
                    </a:cubicBezTo>
                    <a:cubicBezTo>
                      <a:pt x="1005" y="1219"/>
                      <a:pt x="994" y="1216"/>
                      <a:pt x="982" y="1214"/>
                    </a:cubicBezTo>
                    <a:close/>
                    <a:moveTo>
                      <a:pt x="1031" y="1223"/>
                    </a:moveTo>
                    <a:cubicBezTo>
                      <a:pt x="1044" y="1226"/>
                      <a:pt x="1054" y="1231"/>
                      <a:pt x="1066" y="1234"/>
                    </a:cubicBezTo>
                    <a:cubicBezTo>
                      <a:pt x="1070" y="1229"/>
                      <a:pt x="1080" y="1220"/>
                      <a:pt x="1078" y="1216"/>
                    </a:cubicBezTo>
                    <a:cubicBezTo>
                      <a:pt x="1063" y="1219"/>
                      <a:pt x="1045" y="1220"/>
                      <a:pt x="1031" y="1223"/>
                    </a:cubicBezTo>
                    <a:close/>
                    <a:moveTo>
                      <a:pt x="509" y="1223"/>
                    </a:moveTo>
                    <a:cubicBezTo>
                      <a:pt x="515" y="1222"/>
                      <a:pt x="518" y="1224"/>
                      <a:pt x="524" y="1223"/>
                    </a:cubicBezTo>
                    <a:cubicBezTo>
                      <a:pt x="523" y="1222"/>
                      <a:pt x="524" y="1217"/>
                      <a:pt x="521" y="1218"/>
                    </a:cubicBezTo>
                    <a:cubicBezTo>
                      <a:pt x="518" y="1220"/>
                      <a:pt x="511" y="1219"/>
                      <a:pt x="509" y="1223"/>
                    </a:cubicBezTo>
                    <a:close/>
                    <a:moveTo>
                      <a:pt x="482" y="1225"/>
                    </a:moveTo>
                    <a:cubicBezTo>
                      <a:pt x="487" y="1226"/>
                      <a:pt x="490" y="1224"/>
                      <a:pt x="493" y="1223"/>
                    </a:cubicBezTo>
                    <a:cubicBezTo>
                      <a:pt x="488" y="1223"/>
                      <a:pt x="483" y="1220"/>
                      <a:pt x="480" y="1223"/>
                    </a:cubicBezTo>
                    <a:cubicBezTo>
                      <a:pt x="481" y="1223"/>
                      <a:pt x="482" y="1224"/>
                      <a:pt x="482" y="1225"/>
                    </a:cubicBezTo>
                    <a:close/>
                    <a:moveTo>
                      <a:pt x="535" y="1295"/>
                    </a:moveTo>
                    <a:cubicBezTo>
                      <a:pt x="536" y="1296"/>
                      <a:pt x="537" y="1294"/>
                      <a:pt x="535" y="1295"/>
                    </a:cubicBezTo>
                    <a:moveTo>
                      <a:pt x="535" y="1295"/>
                    </a:moveTo>
                    <a:cubicBezTo>
                      <a:pt x="532" y="1272"/>
                      <a:pt x="527" y="1251"/>
                      <a:pt x="525" y="1227"/>
                    </a:cubicBezTo>
                    <a:cubicBezTo>
                      <a:pt x="512" y="1224"/>
                      <a:pt x="497" y="1223"/>
                      <a:pt x="486" y="1227"/>
                    </a:cubicBezTo>
                    <a:cubicBezTo>
                      <a:pt x="498" y="1250"/>
                      <a:pt x="518" y="1273"/>
                      <a:pt x="535" y="1295"/>
                    </a:cubicBezTo>
                    <a:moveTo>
                      <a:pt x="1022" y="1223"/>
                    </a:moveTo>
                    <a:cubicBezTo>
                      <a:pt x="1007" y="1223"/>
                      <a:pt x="991" y="1230"/>
                      <a:pt x="973" y="1229"/>
                    </a:cubicBezTo>
                    <a:cubicBezTo>
                      <a:pt x="960" y="1255"/>
                      <a:pt x="945" y="1280"/>
                      <a:pt x="928" y="1303"/>
                    </a:cubicBezTo>
                    <a:cubicBezTo>
                      <a:pt x="927" y="1316"/>
                      <a:pt x="925" y="1329"/>
                      <a:pt x="922" y="1342"/>
                    </a:cubicBezTo>
                    <a:cubicBezTo>
                      <a:pt x="920" y="1353"/>
                      <a:pt x="915" y="1367"/>
                      <a:pt x="917" y="1376"/>
                    </a:cubicBezTo>
                    <a:cubicBezTo>
                      <a:pt x="925" y="1381"/>
                      <a:pt x="933" y="1372"/>
                      <a:pt x="939" y="1367"/>
                    </a:cubicBezTo>
                    <a:cubicBezTo>
                      <a:pt x="986" y="1330"/>
                      <a:pt x="1029" y="1283"/>
                      <a:pt x="1064" y="1236"/>
                    </a:cubicBezTo>
                    <a:cubicBezTo>
                      <a:pt x="1050" y="1234"/>
                      <a:pt x="1038" y="1224"/>
                      <a:pt x="1022" y="1223"/>
                    </a:cubicBezTo>
                    <a:close/>
                    <a:moveTo>
                      <a:pt x="539" y="1299"/>
                    </a:moveTo>
                    <a:cubicBezTo>
                      <a:pt x="563" y="1325"/>
                      <a:pt x="587" y="1352"/>
                      <a:pt x="615" y="1374"/>
                    </a:cubicBezTo>
                    <a:cubicBezTo>
                      <a:pt x="628" y="1368"/>
                      <a:pt x="645" y="1367"/>
                      <a:pt x="658" y="1362"/>
                    </a:cubicBezTo>
                    <a:cubicBezTo>
                      <a:pt x="630" y="1322"/>
                      <a:pt x="605" y="1279"/>
                      <a:pt x="583" y="1232"/>
                    </a:cubicBezTo>
                    <a:cubicBezTo>
                      <a:pt x="564" y="1230"/>
                      <a:pt x="545" y="1229"/>
                      <a:pt x="527" y="1226"/>
                    </a:cubicBezTo>
                    <a:cubicBezTo>
                      <a:pt x="530" y="1251"/>
                      <a:pt x="535" y="1275"/>
                      <a:pt x="539" y="1299"/>
                    </a:cubicBezTo>
                    <a:close/>
                    <a:moveTo>
                      <a:pt x="537" y="1300"/>
                    </a:moveTo>
                    <a:cubicBezTo>
                      <a:pt x="517" y="1278"/>
                      <a:pt x="500" y="1252"/>
                      <a:pt x="481" y="1229"/>
                    </a:cubicBezTo>
                    <a:cubicBezTo>
                      <a:pt x="456" y="1237"/>
                      <a:pt x="433" y="1246"/>
                      <a:pt x="412" y="1256"/>
                    </a:cubicBezTo>
                    <a:cubicBezTo>
                      <a:pt x="452" y="1302"/>
                      <a:pt x="504" y="1344"/>
                      <a:pt x="558" y="1379"/>
                    </a:cubicBezTo>
                    <a:cubicBezTo>
                      <a:pt x="550" y="1354"/>
                      <a:pt x="543" y="1328"/>
                      <a:pt x="537" y="1300"/>
                    </a:cubicBezTo>
                    <a:close/>
                    <a:moveTo>
                      <a:pt x="938" y="1232"/>
                    </a:moveTo>
                    <a:cubicBezTo>
                      <a:pt x="936" y="1253"/>
                      <a:pt x="931" y="1276"/>
                      <a:pt x="931" y="1295"/>
                    </a:cubicBezTo>
                    <a:cubicBezTo>
                      <a:pt x="945" y="1275"/>
                      <a:pt x="957" y="1253"/>
                      <a:pt x="970" y="1231"/>
                    </a:cubicBezTo>
                    <a:cubicBezTo>
                      <a:pt x="970" y="1230"/>
                      <a:pt x="970" y="1229"/>
                      <a:pt x="968" y="1229"/>
                    </a:cubicBezTo>
                    <a:cubicBezTo>
                      <a:pt x="959" y="1231"/>
                      <a:pt x="948" y="1232"/>
                      <a:pt x="938" y="1232"/>
                    </a:cubicBezTo>
                    <a:close/>
                    <a:moveTo>
                      <a:pt x="663" y="1362"/>
                    </a:moveTo>
                    <a:cubicBezTo>
                      <a:pt x="679" y="1359"/>
                      <a:pt x="696" y="1357"/>
                      <a:pt x="712" y="1355"/>
                    </a:cubicBezTo>
                    <a:cubicBezTo>
                      <a:pt x="700" y="1317"/>
                      <a:pt x="690" y="1278"/>
                      <a:pt x="680" y="1238"/>
                    </a:cubicBezTo>
                    <a:cubicBezTo>
                      <a:pt x="649" y="1236"/>
                      <a:pt x="616" y="1235"/>
                      <a:pt x="586" y="1232"/>
                    </a:cubicBezTo>
                    <a:cubicBezTo>
                      <a:pt x="608" y="1279"/>
                      <a:pt x="632" y="1324"/>
                      <a:pt x="663" y="1362"/>
                    </a:cubicBezTo>
                    <a:close/>
                    <a:moveTo>
                      <a:pt x="872" y="1237"/>
                    </a:moveTo>
                    <a:cubicBezTo>
                      <a:pt x="861" y="1280"/>
                      <a:pt x="845" y="1318"/>
                      <a:pt x="829" y="1357"/>
                    </a:cubicBezTo>
                    <a:cubicBezTo>
                      <a:pt x="845" y="1360"/>
                      <a:pt x="862" y="1361"/>
                      <a:pt x="876" y="1366"/>
                    </a:cubicBezTo>
                    <a:cubicBezTo>
                      <a:pt x="895" y="1349"/>
                      <a:pt x="908" y="1326"/>
                      <a:pt x="924" y="1306"/>
                    </a:cubicBezTo>
                    <a:cubicBezTo>
                      <a:pt x="927" y="1282"/>
                      <a:pt x="932" y="1259"/>
                      <a:pt x="933" y="1233"/>
                    </a:cubicBezTo>
                    <a:cubicBezTo>
                      <a:pt x="912" y="1234"/>
                      <a:pt x="892" y="1235"/>
                      <a:pt x="872" y="1237"/>
                    </a:cubicBezTo>
                    <a:close/>
                    <a:moveTo>
                      <a:pt x="1182" y="1304"/>
                    </a:moveTo>
                    <a:cubicBezTo>
                      <a:pt x="1190" y="1314"/>
                      <a:pt x="1196" y="1326"/>
                      <a:pt x="1200" y="1341"/>
                    </a:cubicBezTo>
                    <a:cubicBezTo>
                      <a:pt x="1222" y="1309"/>
                      <a:pt x="1244" y="1273"/>
                      <a:pt x="1257" y="1235"/>
                    </a:cubicBezTo>
                    <a:cubicBezTo>
                      <a:pt x="1234" y="1260"/>
                      <a:pt x="1208" y="1282"/>
                      <a:pt x="1182" y="1304"/>
                    </a:cubicBezTo>
                    <a:close/>
                    <a:moveTo>
                      <a:pt x="778" y="1239"/>
                    </a:moveTo>
                    <a:cubicBezTo>
                      <a:pt x="776" y="1277"/>
                      <a:pt x="774" y="1315"/>
                      <a:pt x="773" y="1353"/>
                    </a:cubicBezTo>
                    <a:cubicBezTo>
                      <a:pt x="791" y="1354"/>
                      <a:pt x="810" y="1355"/>
                      <a:pt x="826" y="1357"/>
                    </a:cubicBezTo>
                    <a:cubicBezTo>
                      <a:pt x="843" y="1319"/>
                      <a:pt x="857" y="1279"/>
                      <a:pt x="870" y="1237"/>
                    </a:cubicBezTo>
                    <a:cubicBezTo>
                      <a:pt x="840" y="1238"/>
                      <a:pt x="810" y="1239"/>
                      <a:pt x="778" y="1239"/>
                    </a:cubicBezTo>
                    <a:close/>
                    <a:moveTo>
                      <a:pt x="170" y="1239"/>
                    </a:moveTo>
                    <a:cubicBezTo>
                      <a:pt x="177" y="1254"/>
                      <a:pt x="187" y="1266"/>
                      <a:pt x="198" y="1276"/>
                    </a:cubicBezTo>
                    <a:moveTo>
                      <a:pt x="198" y="1276"/>
                    </a:moveTo>
                    <a:cubicBezTo>
                      <a:pt x="199" y="1278"/>
                      <a:pt x="200" y="1276"/>
                      <a:pt x="198" y="1276"/>
                    </a:cubicBezTo>
                    <a:moveTo>
                      <a:pt x="198" y="1276"/>
                    </a:moveTo>
                    <a:cubicBezTo>
                      <a:pt x="189" y="1264"/>
                      <a:pt x="180" y="1250"/>
                      <a:pt x="170" y="1239"/>
                    </a:cubicBezTo>
                    <a:moveTo>
                      <a:pt x="170" y="1239"/>
                    </a:moveTo>
                    <a:cubicBezTo>
                      <a:pt x="169" y="1237"/>
                      <a:pt x="169" y="1239"/>
                      <a:pt x="170" y="1239"/>
                    </a:cubicBezTo>
                    <a:moveTo>
                      <a:pt x="716" y="1355"/>
                    </a:moveTo>
                    <a:cubicBezTo>
                      <a:pt x="722" y="1356"/>
                      <a:pt x="725" y="1353"/>
                      <a:pt x="731" y="1354"/>
                    </a:cubicBezTo>
                    <a:cubicBezTo>
                      <a:pt x="729" y="1317"/>
                      <a:pt x="729" y="1277"/>
                      <a:pt x="727" y="1239"/>
                    </a:cubicBezTo>
                    <a:cubicBezTo>
                      <a:pt x="713" y="1240"/>
                      <a:pt x="696" y="1237"/>
                      <a:pt x="684" y="1239"/>
                    </a:cubicBezTo>
                    <a:cubicBezTo>
                      <a:pt x="694" y="1278"/>
                      <a:pt x="704" y="1318"/>
                      <a:pt x="716" y="1355"/>
                    </a:cubicBezTo>
                    <a:close/>
                    <a:moveTo>
                      <a:pt x="1067" y="1238"/>
                    </a:moveTo>
                    <a:cubicBezTo>
                      <a:pt x="1026" y="1291"/>
                      <a:pt x="978" y="1338"/>
                      <a:pt x="927" y="1381"/>
                    </a:cubicBezTo>
                    <a:cubicBezTo>
                      <a:pt x="939" y="1385"/>
                      <a:pt x="948" y="1391"/>
                      <a:pt x="959" y="1396"/>
                    </a:cubicBezTo>
                    <a:cubicBezTo>
                      <a:pt x="1011" y="1367"/>
                      <a:pt x="1058" y="1334"/>
                      <a:pt x="1101" y="1296"/>
                    </a:cubicBezTo>
                    <a:cubicBezTo>
                      <a:pt x="1104" y="1282"/>
                      <a:pt x="1110" y="1271"/>
                      <a:pt x="1112" y="1256"/>
                    </a:cubicBezTo>
                    <a:cubicBezTo>
                      <a:pt x="1098" y="1249"/>
                      <a:pt x="1084" y="1242"/>
                      <a:pt x="1067" y="1238"/>
                    </a:cubicBezTo>
                    <a:close/>
                    <a:moveTo>
                      <a:pt x="731" y="1239"/>
                    </a:moveTo>
                    <a:cubicBezTo>
                      <a:pt x="730" y="1276"/>
                      <a:pt x="733" y="1316"/>
                      <a:pt x="733" y="1354"/>
                    </a:cubicBezTo>
                    <a:cubicBezTo>
                      <a:pt x="745" y="1354"/>
                      <a:pt x="757" y="1353"/>
                      <a:pt x="770" y="1353"/>
                    </a:cubicBezTo>
                    <a:cubicBezTo>
                      <a:pt x="772" y="1316"/>
                      <a:pt x="774" y="1278"/>
                      <a:pt x="775" y="1240"/>
                    </a:cubicBezTo>
                    <a:cubicBezTo>
                      <a:pt x="761" y="1239"/>
                      <a:pt x="747" y="1238"/>
                      <a:pt x="731" y="1239"/>
                    </a:cubicBezTo>
                    <a:close/>
                    <a:moveTo>
                      <a:pt x="559" y="1383"/>
                    </a:moveTo>
                    <a:cubicBezTo>
                      <a:pt x="502" y="1348"/>
                      <a:pt x="454" y="1304"/>
                      <a:pt x="408" y="1258"/>
                    </a:cubicBezTo>
                    <a:cubicBezTo>
                      <a:pt x="395" y="1265"/>
                      <a:pt x="383" y="1272"/>
                      <a:pt x="371" y="1280"/>
                    </a:cubicBezTo>
                    <a:cubicBezTo>
                      <a:pt x="377" y="1308"/>
                      <a:pt x="393" y="1320"/>
                      <a:pt x="414" y="1334"/>
                    </a:cubicBezTo>
                    <a:cubicBezTo>
                      <a:pt x="445" y="1356"/>
                      <a:pt x="480" y="1376"/>
                      <a:pt x="511" y="1392"/>
                    </a:cubicBezTo>
                    <a:cubicBezTo>
                      <a:pt x="529" y="1393"/>
                      <a:pt x="548" y="1399"/>
                      <a:pt x="564" y="1398"/>
                    </a:cubicBezTo>
                    <a:cubicBezTo>
                      <a:pt x="563" y="1393"/>
                      <a:pt x="560" y="1389"/>
                      <a:pt x="559" y="1383"/>
                    </a:cubicBezTo>
                    <a:close/>
                    <a:moveTo>
                      <a:pt x="1106" y="1293"/>
                    </a:moveTo>
                    <a:cubicBezTo>
                      <a:pt x="1114" y="1284"/>
                      <a:pt x="1124" y="1276"/>
                      <a:pt x="1133" y="1267"/>
                    </a:cubicBezTo>
                    <a:cubicBezTo>
                      <a:pt x="1126" y="1264"/>
                      <a:pt x="1122" y="1260"/>
                      <a:pt x="1115" y="1258"/>
                    </a:cubicBezTo>
                    <a:cubicBezTo>
                      <a:pt x="1112" y="1269"/>
                      <a:pt x="1106" y="1282"/>
                      <a:pt x="1106" y="1293"/>
                    </a:cubicBezTo>
                    <a:close/>
                    <a:moveTo>
                      <a:pt x="193" y="1264"/>
                    </a:moveTo>
                    <a:cubicBezTo>
                      <a:pt x="193" y="1265"/>
                      <a:pt x="193" y="1265"/>
                      <a:pt x="194" y="1265"/>
                    </a:cubicBezTo>
                    <a:moveTo>
                      <a:pt x="194" y="1265"/>
                    </a:moveTo>
                    <a:cubicBezTo>
                      <a:pt x="194" y="1266"/>
                      <a:pt x="194" y="1266"/>
                      <a:pt x="195" y="1266"/>
                    </a:cubicBezTo>
                    <a:moveTo>
                      <a:pt x="195" y="1266"/>
                    </a:moveTo>
                    <a:cubicBezTo>
                      <a:pt x="205" y="1280"/>
                      <a:pt x="216" y="1293"/>
                      <a:pt x="232" y="1301"/>
                    </a:cubicBezTo>
                    <a:moveTo>
                      <a:pt x="232" y="1301"/>
                    </a:moveTo>
                    <a:cubicBezTo>
                      <a:pt x="232" y="1302"/>
                      <a:pt x="232" y="1302"/>
                      <a:pt x="233" y="1302"/>
                    </a:cubicBezTo>
                    <a:moveTo>
                      <a:pt x="233" y="1302"/>
                    </a:moveTo>
                    <a:cubicBezTo>
                      <a:pt x="234" y="1304"/>
                      <a:pt x="234" y="1302"/>
                      <a:pt x="233" y="1302"/>
                    </a:cubicBezTo>
                    <a:moveTo>
                      <a:pt x="233" y="1302"/>
                    </a:moveTo>
                    <a:cubicBezTo>
                      <a:pt x="233" y="1301"/>
                      <a:pt x="233" y="1301"/>
                      <a:pt x="232" y="1301"/>
                    </a:cubicBezTo>
                    <a:moveTo>
                      <a:pt x="195" y="1266"/>
                    </a:moveTo>
                    <a:cubicBezTo>
                      <a:pt x="207" y="1278"/>
                      <a:pt x="219" y="1290"/>
                      <a:pt x="232" y="1301"/>
                    </a:cubicBezTo>
                    <a:moveTo>
                      <a:pt x="195" y="1266"/>
                    </a:moveTo>
                    <a:cubicBezTo>
                      <a:pt x="195" y="1265"/>
                      <a:pt x="194" y="1265"/>
                      <a:pt x="194" y="1265"/>
                    </a:cubicBezTo>
                    <a:moveTo>
                      <a:pt x="194" y="1265"/>
                    </a:moveTo>
                    <a:cubicBezTo>
                      <a:pt x="194" y="1264"/>
                      <a:pt x="193" y="1264"/>
                      <a:pt x="193" y="1264"/>
                    </a:cubicBezTo>
                    <a:moveTo>
                      <a:pt x="193" y="1264"/>
                    </a:moveTo>
                    <a:cubicBezTo>
                      <a:pt x="192" y="1262"/>
                      <a:pt x="192" y="1264"/>
                      <a:pt x="193" y="1264"/>
                    </a:cubicBezTo>
                    <a:moveTo>
                      <a:pt x="1071" y="1373"/>
                    </a:moveTo>
                    <a:cubicBezTo>
                      <a:pt x="1070" y="1374"/>
                      <a:pt x="1071" y="1374"/>
                      <a:pt x="1071" y="1373"/>
                    </a:cubicBezTo>
                    <a:moveTo>
                      <a:pt x="1071" y="1373"/>
                    </a:moveTo>
                    <a:cubicBezTo>
                      <a:pt x="1096" y="1361"/>
                      <a:pt x="1127" y="1341"/>
                      <a:pt x="1154" y="1321"/>
                    </a:cubicBezTo>
                    <a:cubicBezTo>
                      <a:pt x="1159" y="1318"/>
                      <a:pt x="1178" y="1306"/>
                      <a:pt x="1178" y="1302"/>
                    </a:cubicBezTo>
                    <a:cubicBezTo>
                      <a:pt x="1178" y="1299"/>
                      <a:pt x="1160" y="1286"/>
                      <a:pt x="1158" y="1284"/>
                    </a:cubicBezTo>
                    <a:cubicBezTo>
                      <a:pt x="1149" y="1277"/>
                      <a:pt x="1143" y="1273"/>
                      <a:pt x="1134" y="1269"/>
                    </a:cubicBezTo>
                    <a:cubicBezTo>
                      <a:pt x="1124" y="1279"/>
                      <a:pt x="1114" y="1289"/>
                      <a:pt x="1102" y="1298"/>
                    </a:cubicBezTo>
                    <a:cubicBezTo>
                      <a:pt x="1094" y="1326"/>
                      <a:pt x="1082" y="1349"/>
                      <a:pt x="1071" y="1373"/>
                    </a:cubicBezTo>
                    <a:moveTo>
                      <a:pt x="253" y="1272"/>
                    </a:moveTo>
                    <a:cubicBezTo>
                      <a:pt x="253" y="1273"/>
                      <a:pt x="254" y="1273"/>
                      <a:pt x="254" y="1273"/>
                    </a:cubicBezTo>
                    <a:moveTo>
                      <a:pt x="254" y="1273"/>
                    </a:moveTo>
                    <a:cubicBezTo>
                      <a:pt x="266" y="1296"/>
                      <a:pt x="280" y="1316"/>
                      <a:pt x="295" y="1335"/>
                    </a:cubicBezTo>
                    <a:cubicBezTo>
                      <a:pt x="305" y="1338"/>
                      <a:pt x="314" y="1343"/>
                      <a:pt x="324" y="1345"/>
                    </a:cubicBezTo>
                    <a:cubicBezTo>
                      <a:pt x="324" y="1340"/>
                      <a:pt x="326" y="1335"/>
                      <a:pt x="327" y="1331"/>
                    </a:cubicBezTo>
                    <a:cubicBezTo>
                      <a:pt x="302" y="1313"/>
                      <a:pt x="277" y="1294"/>
                      <a:pt x="254" y="1273"/>
                    </a:cubicBezTo>
                    <a:moveTo>
                      <a:pt x="254" y="1273"/>
                    </a:moveTo>
                    <a:cubicBezTo>
                      <a:pt x="254" y="1273"/>
                      <a:pt x="254" y="1272"/>
                      <a:pt x="253" y="1272"/>
                    </a:cubicBezTo>
                    <a:moveTo>
                      <a:pt x="253" y="1272"/>
                    </a:moveTo>
                    <a:cubicBezTo>
                      <a:pt x="253" y="1271"/>
                      <a:pt x="252" y="1273"/>
                      <a:pt x="253" y="1272"/>
                    </a:cubicBezTo>
                    <a:moveTo>
                      <a:pt x="379" y="1308"/>
                    </a:moveTo>
                    <a:cubicBezTo>
                      <a:pt x="380" y="1309"/>
                      <a:pt x="380" y="1308"/>
                      <a:pt x="379" y="1308"/>
                    </a:cubicBezTo>
                    <a:moveTo>
                      <a:pt x="379" y="1308"/>
                    </a:moveTo>
                    <a:cubicBezTo>
                      <a:pt x="376" y="1299"/>
                      <a:pt x="372" y="1290"/>
                      <a:pt x="368" y="1282"/>
                    </a:cubicBezTo>
                    <a:cubicBezTo>
                      <a:pt x="365" y="1285"/>
                      <a:pt x="361" y="1288"/>
                      <a:pt x="358" y="1292"/>
                    </a:cubicBezTo>
                    <a:cubicBezTo>
                      <a:pt x="365" y="1297"/>
                      <a:pt x="371" y="1303"/>
                      <a:pt x="379" y="1308"/>
                    </a:cubicBezTo>
                    <a:moveTo>
                      <a:pt x="383" y="1315"/>
                    </a:moveTo>
                    <a:cubicBezTo>
                      <a:pt x="373" y="1308"/>
                      <a:pt x="366" y="1299"/>
                      <a:pt x="355" y="1294"/>
                    </a:cubicBezTo>
                    <a:cubicBezTo>
                      <a:pt x="345" y="1304"/>
                      <a:pt x="335" y="1315"/>
                      <a:pt x="330" y="1330"/>
                    </a:cubicBezTo>
                    <a:cubicBezTo>
                      <a:pt x="356" y="1345"/>
                      <a:pt x="378" y="1368"/>
                      <a:pt x="413" y="1371"/>
                    </a:cubicBezTo>
                    <a:cubicBezTo>
                      <a:pt x="401" y="1354"/>
                      <a:pt x="391" y="1335"/>
                      <a:pt x="383" y="1315"/>
                    </a:cubicBezTo>
                    <a:close/>
                    <a:moveTo>
                      <a:pt x="929" y="1297"/>
                    </a:moveTo>
                    <a:cubicBezTo>
                      <a:pt x="929" y="1297"/>
                      <a:pt x="930" y="1298"/>
                      <a:pt x="929" y="1297"/>
                    </a:cubicBezTo>
                    <a:close/>
                    <a:moveTo>
                      <a:pt x="224" y="1300"/>
                    </a:moveTo>
                    <a:cubicBezTo>
                      <a:pt x="224" y="1301"/>
                      <a:pt x="225" y="1301"/>
                      <a:pt x="225" y="1301"/>
                    </a:cubicBezTo>
                    <a:moveTo>
                      <a:pt x="225" y="1301"/>
                    </a:moveTo>
                    <a:cubicBezTo>
                      <a:pt x="259" y="1340"/>
                      <a:pt x="299" y="1371"/>
                      <a:pt x="343" y="1399"/>
                    </a:cubicBezTo>
                    <a:cubicBezTo>
                      <a:pt x="340" y="1392"/>
                      <a:pt x="333" y="1387"/>
                      <a:pt x="331" y="1378"/>
                    </a:cubicBezTo>
                    <a:cubicBezTo>
                      <a:pt x="326" y="1374"/>
                      <a:pt x="321" y="1369"/>
                      <a:pt x="317" y="1364"/>
                    </a:cubicBezTo>
                    <a:cubicBezTo>
                      <a:pt x="283" y="1346"/>
                      <a:pt x="259" y="1319"/>
                      <a:pt x="225" y="1301"/>
                    </a:cubicBezTo>
                    <a:moveTo>
                      <a:pt x="225" y="1301"/>
                    </a:moveTo>
                    <a:cubicBezTo>
                      <a:pt x="226" y="1300"/>
                      <a:pt x="225" y="1300"/>
                      <a:pt x="224" y="1300"/>
                    </a:cubicBezTo>
                    <a:moveTo>
                      <a:pt x="224" y="1300"/>
                    </a:moveTo>
                    <a:cubicBezTo>
                      <a:pt x="224" y="1299"/>
                      <a:pt x="223" y="1300"/>
                      <a:pt x="224" y="1300"/>
                    </a:cubicBezTo>
                    <a:moveTo>
                      <a:pt x="961" y="1398"/>
                    </a:moveTo>
                    <a:cubicBezTo>
                      <a:pt x="996" y="1395"/>
                      <a:pt x="1039" y="1392"/>
                      <a:pt x="1066" y="1377"/>
                    </a:cubicBezTo>
                    <a:cubicBezTo>
                      <a:pt x="1077" y="1353"/>
                      <a:pt x="1091" y="1328"/>
                      <a:pt x="1097" y="1302"/>
                    </a:cubicBezTo>
                    <a:cubicBezTo>
                      <a:pt x="1057" y="1339"/>
                      <a:pt x="1010" y="1370"/>
                      <a:pt x="961" y="1398"/>
                    </a:cubicBezTo>
                    <a:close/>
                    <a:moveTo>
                      <a:pt x="1294" y="1304"/>
                    </a:moveTo>
                    <a:cubicBezTo>
                      <a:pt x="1293" y="1304"/>
                      <a:pt x="1294" y="1305"/>
                      <a:pt x="1294" y="1304"/>
                    </a:cubicBezTo>
                    <a:close/>
                    <a:moveTo>
                      <a:pt x="1292" y="1305"/>
                    </a:moveTo>
                    <a:cubicBezTo>
                      <a:pt x="1292" y="1305"/>
                      <a:pt x="1293" y="1306"/>
                      <a:pt x="1292" y="1305"/>
                    </a:cubicBezTo>
                    <a:close/>
                    <a:moveTo>
                      <a:pt x="561" y="1382"/>
                    </a:moveTo>
                    <a:cubicBezTo>
                      <a:pt x="567" y="1384"/>
                      <a:pt x="571" y="1388"/>
                      <a:pt x="577" y="1391"/>
                    </a:cubicBezTo>
                    <a:cubicBezTo>
                      <a:pt x="587" y="1385"/>
                      <a:pt x="597" y="1379"/>
                      <a:pt x="610" y="1376"/>
                    </a:cubicBezTo>
                    <a:cubicBezTo>
                      <a:pt x="587" y="1352"/>
                      <a:pt x="562" y="1331"/>
                      <a:pt x="541" y="1305"/>
                    </a:cubicBezTo>
                    <a:cubicBezTo>
                      <a:pt x="546" y="1332"/>
                      <a:pt x="554" y="1357"/>
                      <a:pt x="561" y="1382"/>
                    </a:cubicBezTo>
                    <a:close/>
                    <a:moveTo>
                      <a:pt x="1179" y="1305"/>
                    </a:moveTo>
                    <a:cubicBezTo>
                      <a:pt x="1162" y="1320"/>
                      <a:pt x="1142" y="1333"/>
                      <a:pt x="1122" y="1345"/>
                    </a:cubicBezTo>
                    <a:cubicBezTo>
                      <a:pt x="1103" y="1357"/>
                      <a:pt x="1083" y="1369"/>
                      <a:pt x="1066" y="1382"/>
                    </a:cubicBezTo>
                    <a:cubicBezTo>
                      <a:pt x="1112" y="1371"/>
                      <a:pt x="1168" y="1364"/>
                      <a:pt x="1197" y="1341"/>
                    </a:cubicBezTo>
                    <a:cubicBezTo>
                      <a:pt x="1194" y="1326"/>
                      <a:pt x="1188" y="1314"/>
                      <a:pt x="1179" y="1305"/>
                    </a:cubicBezTo>
                    <a:close/>
                    <a:moveTo>
                      <a:pt x="1283" y="1311"/>
                    </a:moveTo>
                    <a:cubicBezTo>
                      <a:pt x="1257" y="1325"/>
                      <a:pt x="1230" y="1338"/>
                      <a:pt x="1200" y="1348"/>
                    </a:cubicBezTo>
                    <a:cubicBezTo>
                      <a:pt x="1201" y="1361"/>
                      <a:pt x="1197" y="1369"/>
                      <a:pt x="1194" y="1378"/>
                    </a:cubicBezTo>
                    <a:moveTo>
                      <a:pt x="1194" y="1378"/>
                    </a:moveTo>
                    <a:cubicBezTo>
                      <a:pt x="1193" y="1379"/>
                      <a:pt x="1194" y="1379"/>
                      <a:pt x="1194" y="1378"/>
                    </a:cubicBezTo>
                    <a:moveTo>
                      <a:pt x="1194" y="1378"/>
                    </a:moveTo>
                    <a:cubicBezTo>
                      <a:pt x="1227" y="1358"/>
                      <a:pt x="1258" y="1338"/>
                      <a:pt x="1283" y="1311"/>
                    </a:cubicBezTo>
                    <a:moveTo>
                      <a:pt x="1283" y="1311"/>
                    </a:moveTo>
                    <a:cubicBezTo>
                      <a:pt x="1285" y="1310"/>
                      <a:pt x="1283" y="1310"/>
                      <a:pt x="1283" y="1311"/>
                    </a:cubicBezTo>
                    <a:moveTo>
                      <a:pt x="881" y="1367"/>
                    </a:moveTo>
                    <a:cubicBezTo>
                      <a:pt x="892" y="1368"/>
                      <a:pt x="901" y="1372"/>
                      <a:pt x="911" y="1374"/>
                    </a:cubicBezTo>
                    <a:cubicBezTo>
                      <a:pt x="916" y="1355"/>
                      <a:pt x="921" y="1331"/>
                      <a:pt x="922" y="1312"/>
                    </a:cubicBezTo>
                    <a:cubicBezTo>
                      <a:pt x="910" y="1331"/>
                      <a:pt x="895" y="1349"/>
                      <a:pt x="881" y="1367"/>
                    </a:cubicBezTo>
                    <a:close/>
                    <a:moveTo>
                      <a:pt x="388" y="1319"/>
                    </a:moveTo>
                    <a:cubicBezTo>
                      <a:pt x="395" y="1338"/>
                      <a:pt x="406" y="1356"/>
                      <a:pt x="416" y="1373"/>
                    </a:cubicBezTo>
                    <a:cubicBezTo>
                      <a:pt x="444" y="1379"/>
                      <a:pt x="470" y="1386"/>
                      <a:pt x="500" y="1390"/>
                    </a:cubicBezTo>
                    <a:moveTo>
                      <a:pt x="500" y="1390"/>
                    </a:moveTo>
                    <a:cubicBezTo>
                      <a:pt x="500" y="1392"/>
                      <a:pt x="504" y="1389"/>
                      <a:pt x="500" y="1390"/>
                    </a:cubicBezTo>
                    <a:moveTo>
                      <a:pt x="388" y="1319"/>
                    </a:moveTo>
                    <a:cubicBezTo>
                      <a:pt x="423" y="1344"/>
                      <a:pt x="460" y="1368"/>
                      <a:pt x="500" y="1390"/>
                    </a:cubicBezTo>
                    <a:moveTo>
                      <a:pt x="388" y="1319"/>
                    </a:moveTo>
                    <a:cubicBezTo>
                      <a:pt x="387" y="1317"/>
                      <a:pt x="386" y="1319"/>
                      <a:pt x="388" y="1319"/>
                    </a:cubicBezTo>
                    <a:moveTo>
                      <a:pt x="261" y="1322"/>
                    </a:moveTo>
                    <a:cubicBezTo>
                      <a:pt x="260" y="1322"/>
                      <a:pt x="262" y="1323"/>
                      <a:pt x="261" y="1322"/>
                    </a:cubicBezTo>
                    <a:close/>
                    <a:moveTo>
                      <a:pt x="264" y="1323"/>
                    </a:moveTo>
                    <a:cubicBezTo>
                      <a:pt x="264" y="1324"/>
                      <a:pt x="264" y="1324"/>
                      <a:pt x="264" y="1324"/>
                    </a:cubicBezTo>
                    <a:cubicBezTo>
                      <a:pt x="279" y="1334"/>
                      <a:pt x="292" y="1346"/>
                      <a:pt x="308" y="1355"/>
                    </a:cubicBezTo>
                    <a:moveTo>
                      <a:pt x="308" y="1355"/>
                    </a:moveTo>
                    <a:cubicBezTo>
                      <a:pt x="308" y="1356"/>
                      <a:pt x="308" y="1356"/>
                      <a:pt x="309" y="1356"/>
                    </a:cubicBezTo>
                    <a:moveTo>
                      <a:pt x="309" y="1356"/>
                    </a:moveTo>
                    <a:cubicBezTo>
                      <a:pt x="309" y="1357"/>
                      <a:pt x="310" y="1356"/>
                      <a:pt x="309" y="1356"/>
                    </a:cubicBezTo>
                    <a:moveTo>
                      <a:pt x="309" y="1356"/>
                    </a:moveTo>
                    <a:cubicBezTo>
                      <a:pt x="309" y="1355"/>
                      <a:pt x="309" y="1355"/>
                      <a:pt x="308" y="1355"/>
                    </a:cubicBezTo>
                    <a:moveTo>
                      <a:pt x="308" y="1355"/>
                    </a:moveTo>
                    <a:cubicBezTo>
                      <a:pt x="299" y="1338"/>
                      <a:pt x="282" y="1330"/>
                      <a:pt x="264" y="1323"/>
                    </a:cubicBezTo>
                    <a:moveTo>
                      <a:pt x="264" y="1323"/>
                    </a:moveTo>
                    <a:cubicBezTo>
                      <a:pt x="263" y="1322"/>
                      <a:pt x="263" y="1323"/>
                      <a:pt x="264" y="1323"/>
                    </a:cubicBezTo>
                    <a:moveTo>
                      <a:pt x="327" y="1347"/>
                    </a:moveTo>
                    <a:cubicBezTo>
                      <a:pt x="343" y="1351"/>
                      <a:pt x="359" y="1360"/>
                      <a:pt x="374" y="1361"/>
                    </a:cubicBezTo>
                    <a:cubicBezTo>
                      <a:pt x="358" y="1353"/>
                      <a:pt x="345" y="1342"/>
                      <a:pt x="329" y="1333"/>
                    </a:cubicBezTo>
                    <a:cubicBezTo>
                      <a:pt x="328" y="1337"/>
                      <a:pt x="327" y="1341"/>
                      <a:pt x="327" y="1347"/>
                    </a:cubicBezTo>
                    <a:close/>
                    <a:moveTo>
                      <a:pt x="299" y="1340"/>
                    </a:moveTo>
                    <a:cubicBezTo>
                      <a:pt x="308" y="1349"/>
                      <a:pt x="314" y="1361"/>
                      <a:pt x="326" y="1367"/>
                    </a:cubicBezTo>
                    <a:cubicBezTo>
                      <a:pt x="325" y="1362"/>
                      <a:pt x="324" y="1356"/>
                      <a:pt x="324" y="1348"/>
                    </a:cubicBezTo>
                    <a:cubicBezTo>
                      <a:pt x="315" y="1346"/>
                      <a:pt x="309" y="1342"/>
                      <a:pt x="299" y="1340"/>
                    </a:cubicBezTo>
                    <a:moveTo>
                      <a:pt x="299" y="1340"/>
                    </a:moveTo>
                    <a:cubicBezTo>
                      <a:pt x="299" y="1338"/>
                      <a:pt x="298" y="1340"/>
                      <a:pt x="299" y="1340"/>
                    </a:cubicBezTo>
                    <a:moveTo>
                      <a:pt x="1254" y="1341"/>
                    </a:moveTo>
                    <a:cubicBezTo>
                      <a:pt x="1254" y="1340"/>
                      <a:pt x="1254" y="1341"/>
                      <a:pt x="1254" y="1342"/>
                    </a:cubicBezTo>
                    <a:moveTo>
                      <a:pt x="1254" y="1342"/>
                    </a:moveTo>
                    <a:cubicBezTo>
                      <a:pt x="1253" y="1341"/>
                      <a:pt x="1253" y="1342"/>
                      <a:pt x="1253" y="1343"/>
                    </a:cubicBezTo>
                    <a:moveTo>
                      <a:pt x="1253" y="1343"/>
                    </a:moveTo>
                    <a:cubicBezTo>
                      <a:pt x="1252" y="1342"/>
                      <a:pt x="1252" y="1343"/>
                      <a:pt x="1252" y="1343"/>
                    </a:cubicBezTo>
                    <a:moveTo>
                      <a:pt x="1252" y="1343"/>
                    </a:moveTo>
                    <a:cubicBezTo>
                      <a:pt x="1231" y="1356"/>
                      <a:pt x="1213" y="1372"/>
                      <a:pt x="1191" y="1383"/>
                    </a:cubicBezTo>
                    <a:cubicBezTo>
                      <a:pt x="1188" y="1390"/>
                      <a:pt x="1182" y="1395"/>
                      <a:pt x="1178" y="1402"/>
                    </a:cubicBezTo>
                    <a:moveTo>
                      <a:pt x="1178" y="1402"/>
                    </a:moveTo>
                    <a:cubicBezTo>
                      <a:pt x="1177" y="1402"/>
                      <a:pt x="1177" y="1402"/>
                      <a:pt x="1177" y="1403"/>
                    </a:cubicBezTo>
                    <a:moveTo>
                      <a:pt x="1177" y="1403"/>
                    </a:moveTo>
                    <a:cubicBezTo>
                      <a:pt x="1175" y="1404"/>
                      <a:pt x="1177" y="1404"/>
                      <a:pt x="1177" y="1403"/>
                    </a:cubicBezTo>
                    <a:moveTo>
                      <a:pt x="1177" y="1403"/>
                    </a:moveTo>
                    <a:cubicBezTo>
                      <a:pt x="1178" y="1403"/>
                      <a:pt x="1178" y="1403"/>
                      <a:pt x="1178" y="1402"/>
                    </a:cubicBezTo>
                    <a:moveTo>
                      <a:pt x="1178" y="1402"/>
                    </a:moveTo>
                    <a:cubicBezTo>
                      <a:pt x="1205" y="1385"/>
                      <a:pt x="1229" y="1365"/>
                      <a:pt x="1252" y="1343"/>
                    </a:cubicBezTo>
                    <a:moveTo>
                      <a:pt x="1252" y="1343"/>
                    </a:moveTo>
                    <a:cubicBezTo>
                      <a:pt x="1252" y="1344"/>
                      <a:pt x="1253" y="1343"/>
                      <a:pt x="1253" y="1343"/>
                    </a:cubicBezTo>
                    <a:moveTo>
                      <a:pt x="1253" y="1343"/>
                    </a:moveTo>
                    <a:cubicBezTo>
                      <a:pt x="1253" y="1343"/>
                      <a:pt x="1253" y="1342"/>
                      <a:pt x="1254" y="1342"/>
                    </a:cubicBezTo>
                    <a:moveTo>
                      <a:pt x="1254" y="1342"/>
                    </a:moveTo>
                    <a:cubicBezTo>
                      <a:pt x="1254" y="1342"/>
                      <a:pt x="1254" y="1341"/>
                      <a:pt x="1254" y="1341"/>
                    </a:cubicBezTo>
                    <a:moveTo>
                      <a:pt x="1254" y="1341"/>
                    </a:moveTo>
                    <a:cubicBezTo>
                      <a:pt x="1256" y="1340"/>
                      <a:pt x="1254" y="1339"/>
                      <a:pt x="1254" y="1341"/>
                    </a:cubicBezTo>
                    <a:moveTo>
                      <a:pt x="1193" y="1348"/>
                    </a:moveTo>
                    <a:cubicBezTo>
                      <a:pt x="1193" y="1348"/>
                      <a:pt x="1194" y="1349"/>
                      <a:pt x="1193" y="1348"/>
                    </a:cubicBezTo>
                    <a:close/>
                    <a:moveTo>
                      <a:pt x="330" y="1369"/>
                    </a:moveTo>
                    <a:cubicBezTo>
                      <a:pt x="368" y="1393"/>
                      <a:pt x="409" y="1413"/>
                      <a:pt x="454" y="1429"/>
                    </a:cubicBezTo>
                    <a:cubicBezTo>
                      <a:pt x="444" y="1415"/>
                      <a:pt x="432" y="1403"/>
                      <a:pt x="423" y="1388"/>
                    </a:cubicBezTo>
                    <a:cubicBezTo>
                      <a:pt x="395" y="1370"/>
                      <a:pt x="360" y="1360"/>
                      <a:pt x="326" y="1349"/>
                    </a:cubicBezTo>
                    <a:cubicBezTo>
                      <a:pt x="327" y="1357"/>
                      <a:pt x="327" y="1364"/>
                      <a:pt x="330" y="1369"/>
                    </a:cubicBezTo>
                    <a:close/>
                    <a:moveTo>
                      <a:pt x="1151" y="1402"/>
                    </a:moveTo>
                    <a:cubicBezTo>
                      <a:pt x="1149" y="1403"/>
                      <a:pt x="1151" y="1403"/>
                      <a:pt x="1151" y="1402"/>
                    </a:cubicBezTo>
                    <a:moveTo>
                      <a:pt x="1151" y="1402"/>
                    </a:moveTo>
                    <a:cubicBezTo>
                      <a:pt x="1165" y="1397"/>
                      <a:pt x="1176" y="1388"/>
                      <a:pt x="1189" y="1382"/>
                    </a:cubicBezTo>
                    <a:cubicBezTo>
                      <a:pt x="1193" y="1373"/>
                      <a:pt x="1197" y="1363"/>
                      <a:pt x="1198" y="1350"/>
                    </a:cubicBezTo>
                    <a:cubicBezTo>
                      <a:pt x="1183" y="1365"/>
                      <a:pt x="1168" y="1386"/>
                      <a:pt x="1151" y="1402"/>
                    </a:cubicBezTo>
                    <a:moveTo>
                      <a:pt x="1191" y="1352"/>
                    </a:moveTo>
                    <a:cubicBezTo>
                      <a:pt x="1142" y="1377"/>
                      <a:pt x="1096" y="1406"/>
                      <a:pt x="1039" y="1424"/>
                    </a:cubicBezTo>
                    <a:cubicBezTo>
                      <a:pt x="1033" y="1434"/>
                      <a:pt x="1025" y="1443"/>
                      <a:pt x="1017" y="1452"/>
                    </a:cubicBezTo>
                    <a:moveTo>
                      <a:pt x="1017" y="1452"/>
                    </a:moveTo>
                    <a:cubicBezTo>
                      <a:pt x="1016" y="1453"/>
                      <a:pt x="1017" y="1453"/>
                      <a:pt x="1017" y="1452"/>
                    </a:cubicBezTo>
                    <a:moveTo>
                      <a:pt x="1017" y="1452"/>
                    </a:moveTo>
                    <a:cubicBezTo>
                      <a:pt x="1063" y="1442"/>
                      <a:pt x="1102" y="1425"/>
                      <a:pt x="1141" y="1408"/>
                    </a:cubicBezTo>
                    <a:cubicBezTo>
                      <a:pt x="1159" y="1390"/>
                      <a:pt x="1176" y="1372"/>
                      <a:pt x="1191" y="1352"/>
                    </a:cubicBezTo>
                    <a:moveTo>
                      <a:pt x="1191" y="1352"/>
                    </a:moveTo>
                    <a:cubicBezTo>
                      <a:pt x="1193" y="1352"/>
                      <a:pt x="1191" y="1351"/>
                      <a:pt x="1191" y="1352"/>
                    </a:cubicBezTo>
                    <a:moveTo>
                      <a:pt x="735" y="1356"/>
                    </a:moveTo>
                    <a:cubicBezTo>
                      <a:pt x="733" y="1373"/>
                      <a:pt x="736" y="1393"/>
                      <a:pt x="736" y="1411"/>
                    </a:cubicBezTo>
                    <a:cubicBezTo>
                      <a:pt x="746" y="1411"/>
                      <a:pt x="756" y="1411"/>
                      <a:pt x="766" y="1411"/>
                    </a:cubicBezTo>
                    <a:cubicBezTo>
                      <a:pt x="768" y="1393"/>
                      <a:pt x="768" y="1374"/>
                      <a:pt x="770" y="1356"/>
                    </a:cubicBezTo>
                    <a:cubicBezTo>
                      <a:pt x="758" y="1356"/>
                      <a:pt x="747" y="1356"/>
                      <a:pt x="735" y="1356"/>
                    </a:cubicBezTo>
                    <a:close/>
                    <a:moveTo>
                      <a:pt x="773" y="1356"/>
                    </a:moveTo>
                    <a:cubicBezTo>
                      <a:pt x="771" y="1374"/>
                      <a:pt x="770" y="1392"/>
                      <a:pt x="769" y="1411"/>
                    </a:cubicBezTo>
                    <a:cubicBezTo>
                      <a:pt x="779" y="1411"/>
                      <a:pt x="789" y="1411"/>
                      <a:pt x="799" y="1411"/>
                    </a:cubicBezTo>
                    <a:cubicBezTo>
                      <a:pt x="809" y="1394"/>
                      <a:pt x="817" y="1376"/>
                      <a:pt x="825" y="1359"/>
                    </a:cubicBezTo>
                    <a:cubicBezTo>
                      <a:pt x="807" y="1358"/>
                      <a:pt x="791" y="1356"/>
                      <a:pt x="773" y="1356"/>
                    </a:cubicBezTo>
                    <a:close/>
                    <a:moveTo>
                      <a:pt x="718" y="1358"/>
                    </a:moveTo>
                    <a:cubicBezTo>
                      <a:pt x="721" y="1371"/>
                      <a:pt x="728" y="1389"/>
                      <a:pt x="733" y="1403"/>
                    </a:cubicBezTo>
                    <a:cubicBezTo>
                      <a:pt x="732" y="1388"/>
                      <a:pt x="731" y="1373"/>
                      <a:pt x="731" y="1357"/>
                    </a:cubicBezTo>
                    <a:cubicBezTo>
                      <a:pt x="727" y="1357"/>
                      <a:pt x="721" y="1356"/>
                      <a:pt x="718" y="1358"/>
                    </a:cubicBezTo>
                    <a:close/>
                    <a:moveTo>
                      <a:pt x="664" y="1365"/>
                    </a:moveTo>
                    <a:cubicBezTo>
                      <a:pt x="673" y="1379"/>
                      <a:pt x="687" y="1397"/>
                      <a:pt x="701" y="1410"/>
                    </a:cubicBezTo>
                    <a:cubicBezTo>
                      <a:pt x="712" y="1408"/>
                      <a:pt x="723" y="1413"/>
                      <a:pt x="732" y="1410"/>
                    </a:cubicBezTo>
                    <a:cubicBezTo>
                      <a:pt x="724" y="1394"/>
                      <a:pt x="719" y="1376"/>
                      <a:pt x="713" y="1358"/>
                    </a:cubicBezTo>
                    <a:cubicBezTo>
                      <a:pt x="696" y="1359"/>
                      <a:pt x="679" y="1361"/>
                      <a:pt x="664" y="1365"/>
                    </a:cubicBezTo>
                    <a:close/>
                    <a:moveTo>
                      <a:pt x="1171" y="1359"/>
                    </a:moveTo>
                    <a:cubicBezTo>
                      <a:pt x="1137" y="1369"/>
                      <a:pt x="1101" y="1378"/>
                      <a:pt x="1064" y="1386"/>
                    </a:cubicBezTo>
                    <a:cubicBezTo>
                      <a:pt x="1058" y="1397"/>
                      <a:pt x="1050" y="1409"/>
                      <a:pt x="1043" y="1420"/>
                    </a:cubicBezTo>
                    <a:cubicBezTo>
                      <a:pt x="1090" y="1404"/>
                      <a:pt x="1132" y="1383"/>
                      <a:pt x="1171" y="1359"/>
                    </a:cubicBezTo>
                    <a:moveTo>
                      <a:pt x="1171" y="1359"/>
                    </a:moveTo>
                    <a:cubicBezTo>
                      <a:pt x="1172" y="1358"/>
                      <a:pt x="1171" y="1358"/>
                      <a:pt x="1171" y="1359"/>
                    </a:cubicBezTo>
                    <a:moveTo>
                      <a:pt x="827" y="1360"/>
                    </a:moveTo>
                    <a:cubicBezTo>
                      <a:pt x="820" y="1378"/>
                      <a:pt x="811" y="1394"/>
                      <a:pt x="802" y="1411"/>
                    </a:cubicBezTo>
                    <a:cubicBezTo>
                      <a:pt x="813" y="1409"/>
                      <a:pt x="828" y="1411"/>
                      <a:pt x="838" y="1409"/>
                    </a:cubicBezTo>
                    <a:cubicBezTo>
                      <a:pt x="847" y="1399"/>
                      <a:pt x="859" y="1388"/>
                      <a:pt x="868" y="1378"/>
                    </a:cubicBezTo>
                    <a:cubicBezTo>
                      <a:pt x="871" y="1375"/>
                      <a:pt x="876" y="1371"/>
                      <a:pt x="874" y="1367"/>
                    </a:cubicBezTo>
                    <a:cubicBezTo>
                      <a:pt x="860" y="1364"/>
                      <a:pt x="844" y="1361"/>
                      <a:pt x="827" y="1360"/>
                    </a:cubicBezTo>
                    <a:close/>
                    <a:moveTo>
                      <a:pt x="375" y="1363"/>
                    </a:moveTo>
                    <a:cubicBezTo>
                      <a:pt x="375" y="1362"/>
                      <a:pt x="376" y="1363"/>
                      <a:pt x="375" y="1363"/>
                    </a:cubicBezTo>
                    <a:close/>
                    <a:moveTo>
                      <a:pt x="618" y="1375"/>
                    </a:moveTo>
                    <a:cubicBezTo>
                      <a:pt x="621" y="1381"/>
                      <a:pt x="628" y="1387"/>
                      <a:pt x="635" y="1392"/>
                    </a:cubicBezTo>
                    <a:cubicBezTo>
                      <a:pt x="641" y="1397"/>
                      <a:pt x="650" y="1406"/>
                      <a:pt x="657" y="1408"/>
                    </a:cubicBezTo>
                    <a:cubicBezTo>
                      <a:pt x="669" y="1411"/>
                      <a:pt x="681" y="1407"/>
                      <a:pt x="695" y="1410"/>
                    </a:cubicBezTo>
                    <a:cubicBezTo>
                      <a:pt x="685" y="1397"/>
                      <a:pt x="672" y="1379"/>
                      <a:pt x="659" y="1366"/>
                    </a:cubicBezTo>
                    <a:cubicBezTo>
                      <a:pt x="644" y="1368"/>
                      <a:pt x="632" y="1372"/>
                      <a:pt x="618" y="1375"/>
                    </a:cubicBezTo>
                    <a:close/>
                    <a:moveTo>
                      <a:pt x="879" y="1368"/>
                    </a:moveTo>
                    <a:cubicBezTo>
                      <a:pt x="870" y="1379"/>
                      <a:pt x="860" y="1391"/>
                      <a:pt x="850" y="1400"/>
                    </a:cubicBezTo>
                    <a:cubicBezTo>
                      <a:pt x="848" y="1403"/>
                      <a:pt x="842" y="1405"/>
                      <a:pt x="844" y="1409"/>
                    </a:cubicBezTo>
                    <a:cubicBezTo>
                      <a:pt x="857" y="1409"/>
                      <a:pt x="870" y="1407"/>
                      <a:pt x="884" y="1407"/>
                    </a:cubicBezTo>
                    <a:cubicBezTo>
                      <a:pt x="892" y="1402"/>
                      <a:pt x="900" y="1396"/>
                      <a:pt x="908" y="1391"/>
                    </a:cubicBezTo>
                    <a:cubicBezTo>
                      <a:pt x="908" y="1385"/>
                      <a:pt x="910" y="1381"/>
                      <a:pt x="911" y="1377"/>
                    </a:cubicBezTo>
                    <a:cubicBezTo>
                      <a:pt x="900" y="1374"/>
                      <a:pt x="890" y="1371"/>
                      <a:pt x="879" y="1368"/>
                    </a:cubicBezTo>
                    <a:close/>
                    <a:moveTo>
                      <a:pt x="419" y="1382"/>
                    </a:moveTo>
                    <a:cubicBezTo>
                      <a:pt x="416" y="1375"/>
                      <a:pt x="405" y="1372"/>
                      <a:pt x="398" y="1372"/>
                    </a:cubicBezTo>
                    <a:cubicBezTo>
                      <a:pt x="405" y="1375"/>
                      <a:pt x="413" y="1382"/>
                      <a:pt x="419" y="1382"/>
                    </a:cubicBezTo>
                    <a:close/>
                    <a:moveTo>
                      <a:pt x="332" y="1374"/>
                    </a:moveTo>
                    <a:cubicBezTo>
                      <a:pt x="368" y="1419"/>
                      <a:pt x="423" y="1445"/>
                      <a:pt x="487" y="1461"/>
                    </a:cubicBezTo>
                    <a:moveTo>
                      <a:pt x="487" y="1461"/>
                    </a:moveTo>
                    <a:cubicBezTo>
                      <a:pt x="488" y="1462"/>
                      <a:pt x="489" y="1461"/>
                      <a:pt x="487" y="1461"/>
                    </a:cubicBezTo>
                    <a:moveTo>
                      <a:pt x="487" y="1461"/>
                    </a:moveTo>
                    <a:cubicBezTo>
                      <a:pt x="476" y="1454"/>
                      <a:pt x="470" y="1441"/>
                      <a:pt x="458" y="1434"/>
                    </a:cubicBezTo>
                    <a:cubicBezTo>
                      <a:pt x="438" y="1423"/>
                      <a:pt x="414" y="1417"/>
                      <a:pt x="392" y="1407"/>
                    </a:cubicBezTo>
                    <a:cubicBezTo>
                      <a:pt x="371" y="1397"/>
                      <a:pt x="351" y="1384"/>
                      <a:pt x="332" y="1374"/>
                    </a:cubicBezTo>
                    <a:moveTo>
                      <a:pt x="332" y="1374"/>
                    </a:moveTo>
                    <a:cubicBezTo>
                      <a:pt x="331" y="1373"/>
                      <a:pt x="331" y="1374"/>
                      <a:pt x="332" y="1374"/>
                    </a:cubicBezTo>
                    <a:moveTo>
                      <a:pt x="419" y="1377"/>
                    </a:moveTo>
                    <a:cubicBezTo>
                      <a:pt x="420" y="1381"/>
                      <a:pt x="424" y="1383"/>
                      <a:pt x="425" y="1387"/>
                    </a:cubicBezTo>
                    <a:cubicBezTo>
                      <a:pt x="461" y="1403"/>
                      <a:pt x="496" y="1420"/>
                      <a:pt x="536" y="1431"/>
                    </a:cubicBezTo>
                    <a:cubicBezTo>
                      <a:pt x="537" y="1422"/>
                      <a:pt x="546" y="1417"/>
                      <a:pt x="546" y="1411"/>
                    </a:cubicBezTo>
                    <a:cubicBezTo>
                      <a:pt x="533" y="1406"/>
                      <a:pt x="522" y="1401"/>
                      <a:pt x="511" y="1394"/>
                    </a:cubicBezTo>
                    <a:cubicBezTo>
                      <a:pt x="479" y="1390"/>
                      <a:pt x="450" y="1383"/>
                      <a:pt x="419" y="1377"/>
                    </a:cubicBezTo>
                    <a:moveTo>
                      <a:pt x="419" y="1377"/>
                    </a:moveTo>
                    <a:cubicBezTo>
                      <a:pt x="419" y="1376"/>
                      <a:pt x="418" y="1377"/>
                      <a:pt x="419" y="1377"/>
                    </a:cubicBezTo>
                    <a:moveTo>
                      <a:pt x="612" y="1377"/>
                    </a:moveTo>
                    <a:cubicBezTo>
                      <a:pt x="601" y="1382"/>
                      <a:pt x="588" y="1386"/>
                      <a:pt x="579" y="1392"/>
                    </a:cubicBezTo>
                    <a:cubicBezTo>
                      <a:pt x="593" y="1405"/>
                      <a:pt x="625" y="1407"/>
                      <a:pt x="650" y="1406"/>
                    </a:cubicBezTo>
                    <a:cubicBezTo>
                      <a:pt x="636" y="1397"/>
                      <a:pt x="626" y="1386"/>
                      <a:pt x="612" y="1377"/>
                    </a:cubicBezTo>
                    <a:close/>
                    <a:moveTo>
                      <a:pt x="914" y="1387"/>
                    </a:moveTo>
                    <a:cubicBezTo>
                      <a:pt x="915" y="1384"/>
                      <a:pt x="920" y="1384"/>
                      <a:pt x="920" y="1380"/>
                    </a:cubicBezTo>
                    <a:cubicBezTo>
                      <a:pt x="917" y="1380"/>
                      <a:pt x="917" y="1378"/>
                      <a:pt x="914" y="1379"/>
                    </a:cubicBezTo>
                    <a:cubicBezTo>
                      <a:pt x="915" y="1382"/>
                      <a:pt x="911" y="1385"/>
                      <a:pt x="914" y="1387"/>
                    </a:cubicBezTo>
                    <a:close/>
                    <a:moveTo>
                      <a:pt x="1062" y="1382"/>
                    </a:moveTo>
                    <a:cubicBezTo>
                      <a:pt x="1061" y="1382"/>
                      <a:pt x="1059" y="1383"/>
                      <a:pt x="1059" y="1384"/>
                    </a:cubicBezTo>
                    <a:cubicBezTo>
                      <a:pt x="1061" y="1384"/>
                      <a:pt x="1062" y="1384"/>
                      <a:pt x="1062" y="1382"/>
                    </a:cubicBezTo>
                    <a:moveTo>
                      <a:pt x="1062" y="1382"/>
                    </a:moveTo>
                    <a:cubicBezTo>
                      <a:pt x="1064" y="1381"/>
                      <a:pt x="1062" y="1381"/>
                      <a:pt x="1062" y="1382"/>
                    </a:cubicBezTo>
                    <a:moveTo>
                      <a:pt x="911" y="1391"/>
                    </a:moveTo>
                    <a:cubicBezTo>
                      <a:pt x="911" y="1397"/>
                      <a:pt x="908" y="1400"/>
                      <a:pt x="908" y="1405"/>
                    </a:cubicBezTo>
                    <a:cubicBezTo>
                      <a:pt x="923" y="1401"/>
                      <a:pt x="944" y="1404"/>
                      <a:pt x="956" y="1397"/>
                    </a:cubicBezTo>
                    <a:cubicBezTo>
                      <a:pt x="941" y="1391"/>
                      <a:pt x="923" y="1374"/>
                      <a:pt x="911" y="1391"/>
                    </a:cubicBezTo>
                    <a:close/>
                    <a:moveTo>
                      <a:pt x="339" y="1387"/>
                    </a:moveTo>
                    <a:cubicBezTo>
                      <a:pt x="338" y="1387"/>
                      <a:pt x="339" y="1388"/>
                      <a:pt x="340" y="1388"/>
                    </a:cubicBezTo>
                    <a:moveTo>
                      <a:pt x="340" y="1388"/>
                    </a:moveTo>
                    <a:cubicBezTo>
                      <a:pt x="346" y="1400"/>
                      <a:pt x="356" y="1408"/>
                      <a:pt x="369" y="1414"/>
                    </a:cubicBezTo>
                    <a:moveTo>
                      <a:pt x="369" y="1414"/>
                    </a:moveTo>
                    <a:cubicBezTo>
                      <a:pt x="369" y="1414"/>
                      <a:pt x="371" y="1414"/>
                      <a:pt x="371" y="1415"/>
                    </a:cubicBezTo>
                    <a:moveTo>
                      <a:pt x="371" y="1415"/>
                    </a:moveTo>
                    <a:cubicBezTo>
                      <a:pt x="372" y="1416"/>
                      <a:pt x="372" y="1414"/>
                      <a:pt x="371" y="1415"/>
                    </a:cubicBezTo>
                    <a:moveTo>
                      <a:pt x="371" y="1415"/>
                    </a:moveTo>
                    <a:cubicBezTo>
                      <a:pt x="371" y="1414"/>
                      <a:pt x="370" y="1414"/>
                      <a:pt x="369" y="1414"/>
                    </a:cubicBezTo>
                    <a:moveTo>
                      <a:pt x="369" y="1414"/>
                    </a:moveTo>
                    <a:cubicBezTo>
                      <a:pt x="360" y="1405"/>
                      <a:pt x="349" y="1396"/>
                      <a:pt x="340" y="1388"/>
                    </a:cubicBezTo>
                    <a:moveTo>
                      <a:pt x="340" y="1388"/>
                    </a:moveTo>
                    <a:cubicBezTo>
                      <a:pt x="340" y="1387"/>
                      <a:pt x="339" y="1387"/>
                      <a:pt x="339" y="1387"/>
                    </a:cubicBezTo>
                    <a:moveTo>
                      <a:pt x="339" y="1387"/>
                    </a:moveTo>
                    <a:cubicBezTo>
                      <a:pt x="338" y="1385"/>
                      <a:pt x="337" y="1387"/>
                      <a:pt x="339" y="1387"/>
                    </a:cubicBezTo>
                    <a:moveTo>
                      <a:pt x="567" y="1396"/>
                    </a:moveTo>
                    <a:cubicBezTo>
                      <a:pt x="568" y="1393"/>
                      <a:pt x="572" y="1394"/>
                      <a:pt x="573" y="1391"/>
                    </a:cubicBezTo>
                    <a:cubicBezTo>
                      <a:pt x="570" y="1390"/>
                      <a:pt x="566" y="1388"/>
                      <a:pt x="563" y="1386"/>
                    </a:cubicBezTo>
                    <a:cubicBezTo>
                      <a:pt x="564" y="1390"/>
                      <a:pt x="565" y="1394"/>
                      <a:pt x="567" y="1396"/>
                    </a:cubicBezTo>
                    <a:close/>
                    <a:moveTo>
                      <a:pt x="982" y="1419"/>
                    </a:moveTo>
                    <a:cubicBezTo>
                      <a:pt x="986" y="1424"/>
                      <a:pt x="989" y="1430"/>
                      <a:pt x="989" y="1439"/>
                    </a:cubicBezTo>
                    <a:cubicBezTo>
                      <a:pt x="1006" y="1434"/>
                      <a:pt x="1021" y="1428"/>
                      <a:pt x="1038" y="1423"/>
                    </a:cubicBezTo>
                    <a:cubicBezTo>
                      <a:pt x="1040" y="1417"/>
                      <a:pt x="1046" y="1411"/>
                      <a:pt x="1050" y="1405"/>
                    </a:cubicBezTo>
                    <a:cubicBezTo>
                      <a:pt x="1054" y="1399"/>
                      <a:pt x="1059" y="1390"/>
                      <a:pt x="1059" y="1387"/>
                    </a:cubicBezTo>
                    <a:cubicBezTo>
                      <a:pt x="1030" y="1395"/>
                      <a:pt x="1008" y="1409"/>
                      <a:pt x="982" y="1419"/>
                    </a:cubicBezTo>
                    <a:close/>
                    <a:moveTo>
                      <a:pt x="1184" y="1388"/>
                    </a:moveTo>
                    <a:cubicBezTo>
                      <a:pt x="1153" y="1402"/>
                      <a:pt x="1127" y="1421"/>
                      <a:pt x="1103" y="1442"/>
                    </a:cubicBezTo>
                    <a:moveTo>
                      <a:pt x="1103" y="1442"/>
                    </a:moveTo>
                    <a:cubicBezTo>
                      <a:pt x="1102" y="1442"/>
                      <a:pt x="1101" y="1443"/>
                      <a:pt x="1101" y="1443"/>
                    </a:cubicBezTo>
                    <a:moveTo>
                      <a:pt x="1101" y="1443"/>
                    </a:moveTo>
                    <a:cubicBezTo>
                      <a:pt x="1099" y="1444"/>
                      <a:pt x="1101" y="1444"/>
                      <a:pt x="1101" y="1443"/>
                    </a:cubicBezTo>
                    <a:moveTo>
                      <a:pt x="1101" y="1443"/>
                    </a:moveTo>
                    <a:cubicBezTo>
                      <a:pt x="1102" y="1443"/>
                      <a:pt x="1103" y="1443"/>
                      <a:pt x="1103" y="1442"/>
                    </a:cubicBezTo>
                    <a:moveTo>
                      <a:pt x="1103" y="1442"/>
                    </a:moveTo>
                    <a:cubicBezTo>
                      <a:pt x="1134" y="1428"/>
                      <a:pt x="1167" y="1416"/>
                      <a:pt x="1184" y="1388"/>
                    </a:cubicBezTo>
                    <a:moveTo>
                      <a:pt x="1184" y="1388"/>
                    </a:moveTo>
                    <a:cubicBezTo>
                      <a:pt x="1186" y="1387"/>
                      <a:pt x="1184" y="1386"/>
                      <a:pt x="1184" y="1388"/>
                    </a:cubicBezTo>
                    <a:moveTo>
                      <a:pt x="429" y="1391"/>
                    </a:moveTo>
                    <a:cubicBezTo>
                      <a:pt x="438" y="1406"/>
                      <a:pt x="450" y="1419"/>
                      <a:pt x="461" y="1432"/>
                    </a:cubicBezTo>
                    <a:cubicBezTo>
                      <a:pt x="485" y="1439"/>
                      <a:pt x="511" y="1450"/>
                      <a:pt x="537" y="1452"/>
                    </a:cubicBezTo>
                    <a:cubicBezTo>
                      <a:pt x="534" y="1448"/>
                      <a:pt x="536" y="1440"/>
                      <a:pt x="535" y="1434"/>
                    </a:cubicBezTo>
                    <a:cubicBezTo>
                      <a:pt x="497" y="1422"/>
                      <a:pt x="463" y="1407"/>
                      <a:pt x="429" y="1391"/>
                    </a:cubicBezTo>
                    <a:moveTo>
                      <a:pt x="429" y="1391"/>
                    </a:moveTo>
                    <a:cubicBezTo>
                      <a:pt x="428" y="1390"/>
                      <a:pt x="428" y="1392"/>
                      <a:pt x="429" y="1391"/>
                    </a:cubicBezTo>
                    <a:moveTo>
                      <a:pt x="966" y="1402"/>
                    </a:moveTo>
                    <a:cubicBezTo>
                      <a:pt x="971" y="1406"/>
                      <a:pt x="976" y="1410"/>
                      <a:pt x="980" y="1416"/>
                    </a:cubicBezTo>
                    <a:cubicBezTo>
                      <a:pt x="1001" y="1409"/>
                      <a:pt x="1020" y="1400"/>
                      <a:pt x="1038" y="1391"/>
                    </a:cubicBezTo>
                    <a:cubicBezTo>
                      <a:pt x="1015" y="1395"/>
                      <a:pt x="989" y="1397"/>
                      <a:pt x="966" y="1402"/>
                    </a:cubicBezTo>
                    <a:close/>
                    <a:moveTo>
                      <a:pt x="567" y="1399"/>
                    </a:moveTo>
                    <a:cubicBezTo>
                      <a:pt x="573" y="1400"/>
                      <a:pt x="584" y="1403"/>
                      <a:pt x="589" y="1401"/>
                    </a:cubicBezTo>
                    <a:cubicBezTo>
                      <a:pt x="581" y="1397"/>
                      <a:pt x="574" y="1390"/>
                      <a:pt x="567" y="1399"/>
                    </a:cubicBezTo>
                    <a:close/>
                    <a:moveTo>
                      <a:pt x="891" y="1406"/>
                    </a:moveTo>
                    <a:cubicBezTo>
                      <a:pt x="896" y="1407"/>
                      <a:pt x="899" y="1404"/>
                      <a:pt x="904" y="1405"/>
                    </a:cubicBezTo>
                    <a:cubicBezTo>
                      <a:pt x="903" y="1401"/>
                      <a:pt x="907" y="1397"/>
                      <a:pt x="905" y="1395"/>
                    </a:cubicBezTo>
                    <a:cubicBezTo>
                      <a:pt x="901" y="1399"/>
                      <a:pt x="895" y="1402"/>
                      <a:pt x="891" y="1406"/>
                    </a:cubicBezTo>
                    <a:close/>
                    <a:moveTo>
                      <a:pt x="548" y="1410"/>
                    </a:moveTo>
                    <a:cubicBezTo>
                      <a:pt x="552" y="1408"/>
                      <a:pt x="555" y="1404"/>
                      <a:pt x="558" y="1401"/>
                    </a:cubicBezTo>
                    <a:cubicBezTo>
                      <a:pt x="546" y="1401"/>
                      <a:pt x="532" y="1396"/>
                      <a:pt x="521" y="1397"/>
                    </a:cubicBezTo>
                    <a:cubicBezTo>
                      <a:pt x="530" y="1401"/>
                      <a:pt x="539" y="1405"/>
                      <a:pt x="548" y="1410"/>
                    </a:cubicBezTo>
                    <a:close/>
                    <a:moveTo>
                      <a:pt x="552" y="1412"/>
                    </a:moveTo>
                    <a:cubicBezTo>
                      <a:pt x="559" y="1414"/>
                      <a:pt x="565" y="1417"/>
                      <a:pt x="572" y="1419"/>
                    </a:cubicBezTo>
                    <a:cubicBezTo>
                      <a:pt x="571" y="1413"/>
                      <a:pt x="567" y="1409"/>
                      <a:pt x="566" y="1402"/>
                    </a:cubicBezTo>
                    <a:cubicBezTo>
                      <a:pt x="558" y="1402"/>
                      <a:pt x="556" y="1408"/>
                      <a:pt x="552" y="1412"/>
                    </a:cubicBezTo>
                    <a:close/>
                    <a:moveTo>
                      <a:pt x="950" y="1403"/>
                    </a:moveTo>
                    <a:cubicBezTo>
                      <a:pt x="936" y="1407"/>
                      <a:pt x="915" y="1424"/>
                      <a:pt x="901" y="1427"/>
                    </a:cubicBezTo>
                    <a:cubicBezTo>
                      <a:pt x="899" y="1433"/>
                      <a:pt x="898" y="1439"/>
                      <a:pt x="895" y="1444"/>
                    </a:cubicBezTo>
                    <a:cubicBezTo>
                      <a:pt x="925" y="1438"/>
                      <a:pt x="950" y="1427"/>
                      <a:pt x="977" y="1418"/>
                    </a:cubicBezTo>
                    <a:cubicBezTo>
                      <a:pt x="971" y="1409"/>
                      <a:pt x="964" y="1399"/>
                      <a:pt x="950" y="1403"/>
                    </a:cubicBezTo>
                    <a:close/>
                    <a:moveTo>
                      <a:pt x="576" y="1421"/>
                    </a:moveTo>
                    <a:cubicBezTo>
                      <a:pt x="625" y="1439"/>
                      <a:pt x="678" y="1457"/>
                      <a:pt x="736" y="1463"/>
                    </a:cubicBezTo>
                    <a:cubicBezTo>
                      <a:pt x="684" y="1449"/>
                      <a:pt x="638" y="1429"/>
                      <a:pt x="596" y="1405"/>
                    </a:cubicBezTo>
                    <a:cubicBezTo>
                      <a:pt x="586" y="1405"/>
                      <a:pt x="579" y="1403"/>
                      <a:pt x="569" y="1403"/>
                    </a:cubicBezTo>
                    <a:cubicBezTo>
                      <a:pt x="571" y="1409"/>
                      <a:pt x="574" y="1415"/>
                      <a:pt x="576" y="1421"/>
                    </a:cubicBezTo>
                    <a:close/>
                    <a:moveTo>
                      <a:pt x="908" y="1407"/>
                    </a:moveTo>
                    <a:cubicBezTo>
                      <a:pt x="905" y="1412"/>
                      <a:pt x="905" y="1418"/>
                      <a:pt x="902" y="1423"/>
                    </a:cubicBezTo>
                    <a:cubicBezTo>
                      <a:pt x="917" y="1418"/>
                      <a:pt x="930" y="1411"/>
                      <a:pt x="942" y="1404"/>
                    </a:cubicBezTo>
                    <a:cubicBezTo>
                      <a:pt x="931" y="1405"/>
                      <a:pt x="920" y="1407"/>
                      <a:pt x="908" y="1407"/>
                    </a:cubicBezTo>
                    <a:close/>
                    <a:moveTo>
                      <a:pt x="606" y="1407"/>
                    </a:moveTo>
                    <a:cubicBezTo>
                      <a:pt x="645" y="1429"/>
                      <a:pt x="691" y="1449"/>
                      <a:pt x="737" y="1461"/>
                    </a:cubicBezTo>
                    <a:cubicBezTo>
                      <a:pt x="716" y="1449"/>
                      <a:pt x="695" y="1437"/>
                      <a:pt x="674" y="1423"/>
                    </a:cubicBezTo>
                    <a:cubicBezTo>
                      <a:pt x="667" y="1419"/>
                      <a:pt x="660" y="1411"/>
                      <a:pt x="654" y="1410"/>
                    </a:cubicBezTo>
                    <a:cubicBezTo>
                      <a:pt x="638" y="1406"/>
                      <a:pt x="624" y="1410"/>
                      <a:pt x="606" y="1407"/>
                    </a:cubicBezTo>
                    <a:moveTo>
                      <a:pt x="606" y="1407"/>
                    </a:moveTo>
                    <a:cubicBezTo>
                      <a:pt x="605" y="1404"/>
                      <a:pt x="602" y="1408"/>
                      <a:pt x="606" y="1407"/>
                    </a:cubicBezTo>
                    <a:moveTo>
                      <a:pt x="886" y="1409"/>
                    </a:moveTo>
                    <a:cubicBezTo>
                      <a:pt x="854" y="1430"/>
                      <a:pt x="820" y="1448"/>
                      <a:pt x="783" y="1463"/>
                    </a:cubicBezTo>
                    <a:cubicBezTo>
                      <a:pt x="824" y="1454"/>
                      <a:pt x="862" y="1441"/>
                      <a:pt x="897" y="1426"/>
                    </a:cubicBezTo>
                    <a:cubicBezTo>
                      <a:pt x="899" y="1420"/>
                      <a:pt x="901" y="1413"/>
                      <a:pt x="903" y="1408"/>
                    </a:cubicBezTo>
                    <a:cubicBezTo>
                      <a:pt x="897" y="1407"/>
                      <a:pt x="893" y="1410"/>
                      <a:pt x="886" y="1409"/>
                    </a:cubicBezTo>
                    <a:close/>
                    <a:moveTo>
                      <a:pt x="839" y="1412"/>
                    </a:moveTo>
                    <a:cubicBezTo>
                      <a:pt x="819" y="1430"/>
                      <a:pt x="798" y="1447"/>
                      <a:pt x="776" y="1463"/>
                    </a:cubicBezTo>
                    <a:cubicBezTo>
                      <a:pt x="814" y="1448"/>
                      <a:pt x="848" y="1430"/>
                      <a:pt x="879" y="1410"/>
                    </a:cubicBezTo>
                    <a:cubicBezTo>
                      <a:pt x="865" y="1410"/>
                      <a:pt x="853" y="1412"/>
                      <a:pt x="839" y="1412"/>
                    </a:cubicBezTo>
                    <a:close/>
                    <a:moveTo>
                      <a:pt x="736" y="1456"/>
                    </a:moveTo>
                    <a:cubicBezTo>
                      <a:pt x="735" y="1447"/>
                      <a:pt x="725" y="1440"/>
                      <a:pt x="718" y="1433"/>
                    </a:cubicBezTo>
                    <a:cubicBezTo>
                      <a:pt x="712" y="1427"/>
                      <a:pt x="704" y="1415"/>
                      <a:pt x="697" y="1413"/>
                    </a:cubicBezTo>
                    <a:cubicBezTo>
                      <a:pt x="687" y="1409"/>
                      <a:pt x="674" y="1412"/>
                      <a:pt x="661" y="1412"/>
                    </a:cubicBezTo>
                    <a:cubicBezTo>
                      <a:pt x="685" y="1428"/>
                      <a:pt x="708" y="1444"/>
                      <a:pt x="736" y="1456"/>
                    </a:cubicBezTo>
                    <a:close/>
                    <a:moveTo>
                      <a:pt x="770" y="1463"/>
                    </a:moveTo>
                    <a:cubicBezTo>
                      <a:pt x="769" y="1462"/>
                      <a:pt x="769" y="1463"/>
                      <a:pt x="769" y="1463"/>
                    </a:cubicBezTo>
                    <a:moveTo>
                      <a:pt x="769" y="1463"/>
                    </a:moveTo>
                    <a:cubicBezTo>
                      <a:pt x="767" y="1464"/>
                      <a:pt x="769" y="1465"/>
                      <a:pt x="769" y="1463"/>
                    </a:cubicBezTo>
                    <a:moveTo>
                      <a:pt x="769" y="1463"/>
                    </a:moveTo>
                    <a:cubicBezTo>
                      <a:pt x="770" y="1464"/>
                      <a:pt x="770" y="1463"/>
                      <a:pt x="770" y="1463"/>
                    </a:cubicBezTo>
                    <a:moveTo>
                      <a:pt x="770" y="1463"/>
                    </a:moveTo>
                    <a:cubicBezTo>
                      <a:pt x="789" y="1450"/>
                      <a:pt x="811" y="1435"/>
                      <a:pt x="828" y="1418"/>
                    </a:cubicBezTo>
                    <a:cubicBezTo>
                      <a:pt x="830" y="1417"/>
                      <a:pt x="834" y="1414"/>
                      <a:pt x="832" y="1412"/>
                    </a:cubicBezTo>
                    <a:cubicBezTo>
                      <a:pt x="824" y="1414"/>
                      <a:pt x="811" y="1412"/>
                      <a:pt x="801" y="1413"/>
                    </a:cubicBezTo>
                    <a:cubicBezTo>
                      <a:pt x="792" y="1430"/>
                      <a:pt x="781" y="1446"/>
                      <a:pt x="770" y="1463"/>
                    </a:cubicBezTo>
                    <a:moveTo>
                      <a:pt x="735" y="1445"/>
                    </a:moveTo>
                    <a:cubicBezTo>
                      <a:pt x="735" y="1434"/>
                      <a:pt x="734" y="1424"/>
                      <a:pt x="733" y="1414"/>
                    </a:cubicBezTo>
                    <a:cubicBezTo>
                      <a:pt x="724" y="1414"/>
                      <a:pt x="712" y="1411"/>
                      <a:pt x="702" y="1414"/>
                    </a:cubicBezTo>
                    <a:cubicBezTo>
                      <a:pt x="713" y="1424"/>
                      <a:pt x="723" y="1436"/>
                      <a:pt x="735" y="1445"/>
                    </a:cubicBezTo>
                    <a:close/>
                    <a:moveTo>
                      <a:pt x="574" y="1423"/>
                    </a:moveTo>
                    <a:cubicBezTo>
                      <a:pt x="566" y="1420"/>
                      <a:pt x="558" y="1416"/>
                      <a:pt x="549" y="1414"/>
                    </a:cubicBezTo>
                    <a:cubicBezTo>
                      <a:pt x="545" y="1420"/>
                      <a:pt x="540" y="1423"/>
                      <a:pt x="539" y="1433"/>
                    </a:cubicBezTo>
                    <a:cubicBezTo>
                      <a:pt x="554" y="1436"/>
                      <a:pt x="571" y="1443"/>
                      <a:pt x="584" y="1444"/>
                    </a:cubicBezTo>
                    <a:cubicBezTo>
                      <a:pt x="580" y="1438"/>
                      <a:pt x="578" y="1430"/>
                      <a:pt x="574" y="1423"/>
                    </a:cubicBezTo>
                    <a:close/>
                    <a:moveTo>
                      <a:pt x="761" y="1463"/>
                    </a:moveTo>
                    <a:cubicBezTo>
                      <a:pt x="763" y="1448"/>
                      <a:pt x="764" y="1430"/>
                      <a:pt x="766" y="1414"/>
                    </a:cubicBezTo>
                    <a:cubicBezTo>
                      <a:pt x="757" y="1414"/>
                      <a:pt x="745" y="1412"/>
                      <a:pt x="737" y="1415"/>
                    </a:cubicBezTo>
                    <a:cubicBezTo>
                      <a:pt x="745" y="1431"/>
                      <a:pt x="752" y="1449"/>
                      <a:pt x="761" y="1463"/>
                    </a:cubicBezTo>
                    <a:close/>
                    <a:moveTo>
                      <a:pt x="765" y="1464"/>
                    </a:moveTo>
                    <a:cubicBezTo>
                      <a:pt x="776" y="1448"/>
                      <a:pt x="788" y="1432"/>
                      <a:pt x="798" y="1414"/>
                    </a:cubicBezTo>
                    <a:cubicBezTo>
                      <a:pt x="788" y="1414"/>
                      <a:pt x="778" y="1414"/>
                      <a:pt x="768" y="1414"/>
                    </a:cubicBezTo>
                    <a:cubicBezTo>
                      <a:pt x="768" y="1431"/>
                      <a:pt x="764" y="1449"/>
                      <a:pt x="765" y="1464"/>
                    </a:cubicBezTo>
                    <a:close/>
                    <a:moveTo>
                      <a:pt x="366" y="1415"/>
                    </a:moveTo>
                    <a:cubicBezTo>
                      <a:pt x="366" y="1416"/>
                      <a:pt x="367" y="1416"/>
                      <a:pt x="367" y="1416"/>
                    </a:cubicBezTo>
                    <a:moveTo>
                      <a:pt x="367" y="1416"/>
                    </a:moveTo>
                    <a:cubicBezTo>
                      <a:pt x="382" y="1430"/>
                      <a:pt x="403" y="1442"/>
                      <a:pt x="422" y="1448"/>
                    </a:cubicBezTo>
                    <a:cubicBezTo>
                      <a:pt x="403" y="1438"/>
                      <a:pt x="388" y="1425"/>
                      <a:pt x="367" y="1416"/>
                    </a:cubicBezTo>
                    <a:moveTo>
                      <a:pt x="367" y="1416"/>
                    </a:moveTo>
                    <a:cubicBezTo>
                      <a:pt x="367" y="1416"/>
                      <a:pt x="366" y="1416"/>
                      <a:pt x="366" y="1415"/>
                    </a:cubicBezTo>
                    <a:moveTo>
                      <a:pt x="366" y="1415"/>
                    </a:moveTo>
                    <a:cubicBezTo>
                      <a:pt x="365" y="1414"/>
                      <a:pt x="364" y="1416"/>
                      <a:pt x="366" y="1415"/>
                    </a:cubicBezTo>
                    <a:moveTo>
                      <a:pt x="1132" y="1415"/>
                    </a:moveTo>
                    <a:cubicBezTo>
                      <a:pt x="1094" y="1431"/>
                      <a:pt x="1057" y="1446"/>
                      <a:pt x="1014" y="1456"/>
                    </a:cubicBezTo>
                    <a:cubicBezTo>
                      <a:pt x="1007" y="1463"/>
                      <a:pt x="999" y="1470"/>
                      <a:pt x="991" y="1477"/>
                    </a:cubicBezTo>
                    <a:cubicBezTo>
                      <a:pt x="1048" y="1467"/>
                      <a:pt x="1099" y="1450"/>
                      <a:pt x="1132" y="1415"/>
                    </a:cubicBezTo>
                    <a:moveTo>
                      <a:pt x="1132" y="1415"/>
                    </a:moveTo>
                    <a:cubicBezTo>
                      <a:pt x="1133" y="1415"/>
                      <a:pt x="1132" y="1414"/>
                      <a:pt x="1132" y="1415"/>
                    </a:cubicBezTo>
                    <a:moveTo>
                      <a:pt x="979" y="1419"/>
                    </a:moveTo>
                    <a:cubicBezTo>
                      <a:pt x="953" y="1430"/>
                      <a:pt x="925" y="1440"/>
                      <a:pt x="894" y="1447"/>
                    </a:cubicBezTo>
                    <a:cubicBezTo>
                      <a:pt x="893" y="1451"/>
                      <a:pt x="891" y="1455"/>
                      <a:pt x="890" y="1460"/>
                    </a:cubicBezTo>
                    <a:cubicBezTo>
                      <a:pt x="924" y="1455"/>
                      <a:pt x="955" y="1447"/>
                      <a:pt x="987" y="1439"/>
                    </a:cubicBezTo>
                    <a:cubicBezTo>
                      <a:pt x="986" y="1431"/>
                      <a:pt x="983" y="1424"/>
                      <a:pt x="979" y="1419"/>
                    </a:cubicBezTo>
                    <a:close/>
                    <a:moveTo>
                      <a:pt x="755" y="1463"/>
                    </a:moveTo>
                    <a:cubicBezTo>
                      <a:pt x="756" y="1464"/>
                      <a:pt x="756" y="1462"/>
                      <a:pt x="755" y="1463"/>
                    </a:cubicBezTo>
                    <a:moveTo>
                      <a:pt x="755" y="1463"/>
                    </a:moveTo>
                    <a:cubicBezTo>
                      <a:pt x="749" y="1449"/>
                      <a:pt x="743" y="1437"/>
                      <a:pt x="737" y="1424"/>
                    </a:cubicBezTo>
                    <a:cubicBezTo>
                      <a:pt x="736" y="1433"/>
                      <a:pt x="739" y="1439"/>
                      <a:pt x="738" y="1448"/>
                    </a:cubicBezTo>
                    <a:cubicBezTo>
                      <a:pt x="743" y="1453"/>
                      <a:pt x="749" y="1458"/>
                      <a:pt x="755" y="1463"/>
                    </a:cubicBezTo>
                    <a:moveTo>
                      <a:pt x="587" y="1446"/>
                    </a:moveTo>
                    <a:cubicBezTo>
                      <a:pt x="632" y="1456"/>
                      <a:pt x="682" y="1466"/>
                      <a:pt x="733" y="1466"/>
                    </a:cubicBezTo>
                    <a:cubicBezTo>
                      <a:pt x="676" y="1459"/>
                      <a:pt x="625" y="1440"/>
                      <a:pt x="578" y="1426"/>
                    </a:cubicBezTo>
                    <a:cubicBezTo>
                      <a:pt x="582" y="1432"/>
                      <a:pt x="584" y="1439"/>
                      <a:pt x="587" y="1446"/>
                    </a:cubicBezTo>
                    <a:close/>
                    <a:moveTo>
                      <a:pt x="1034" y="1427"/>
                    </a:moveTo>
                    <a:cubicBezTo>
                      <a:pt x="1019" y="1432"/>
                      <a:pt x="1004" y="1437"/>
                      <a:pt x="989" y="1441"/>
                    </a:cubicBezTo>
                    <a:cubicBezTo>
                      <a:pt x="989" y="1450"/>
                      <a:pt x="986" y="1454"/>
                      <a:pt x="984" y="1460"/>
                    </a:cubicBezTo>
                    <a:moveTo>
                      <a:pt x="984" y="1460"/>
                    </a:moveTo>
                    <a:cubicBezTo>
                      <a:pt x="982" y="1460"/>
                      <a:pt x="984" y="1461"/>
                      <a:pt x="984" y="1460"/>
                    </a:cubicBezTo>
                    <a:moveTo>
                      <a:pt x="984" y="1460"/>
                    </a:moveTo>
                    <a:cubicBezTo>
                      <a:pt x="994" y="1459"/>
                      <a:pt x="1001" y="1456"/>
                      <a:pt x="1011" y="1455"/>
                    </a:cubicBezTo>
                    <a:cubicBezTo>
                      <a:pt x="1019" y="1446"/>
                      <a:pt x="1027" y="1437"/>
                      <a:pt x="1034" y="1427"/>
                    </a:cubicBezTo>
                    <a:moveTo>
                      <a:pt x="1034" y="1427"/>
                    </a:moveTo>
                    <a:cubicBezTo>
                      <a:pt x="1035" y="1426"/>
                      <a:pt x="1034" y="1426"/>
                      <a:pt x="1034" y="1427"/>
                    </a:cubicBezTo>
                    <a:moveTo>
                      <a:pt x="1141" y="1428"/>
                    </a:moveTo>
                    <a:cubicBezTo>
                      <a:pt x="1141" y="1428"/>
                      <a:pt x="1142" y="1429"/>
                      <a:pt x="1141" y="1428"/>
                    </a:cubicBezTo>
                    <a:close/>
                    <a:moveTo>
                      <a:pt x="1139" y="1429"/>
                    </a:moveTo>
                    <a:cubicBezTo>
                      <a:pt x="1138" y="1429"/>
                      <a:pt x="1138" y="1429"/>
                      <a:pt x="1137" y="1430"/>
                    </a:cubicBezTo>
                    <a:moveTo>
                      <a:pt x="1137" y="1430"/>
                    </a:moveTo>
                    <a:cubicBezTo>
                      <a:pt x="1136" y="1430"/>
                      <a:pt x="1136" y="1430"/>
                      <a:pt x="1135" y="1431"/>
                    </a:cubicBezTo>
                    <a:moveTo>
                      <a:pt x="1135" y="1431"/>
                    </a:moveTo>
                    <a:cubicBezTo>
                      <a:pt x="1116" y="1441"/>
                      <a:pt x="1092" y="1448"/>
                      <a:pt x="1074" y="1461"/>
                    </a:cubicBezTo>
                    <a:cubicBezTo>
                      <a:pt x="1096" y="1452"/>
                      <a:pt x="1118" y="1443"/>
                      <a:pt x="1135" y="1431"/>
                    </a:cubicBezTo>
                    <a:moveTo>
                      <a:pt x="1135" y="1431"/>
                    </a:moveTo>
                    <a:cubicBezTo>
                      <a:pt x="1137" y="1431"/>
                      <a:pt x="1137" y="1431"/>
                      <a:pt x="1137" y="1430"/>
                    </a:cubicBezTo>
                    <a:moveTo>
                      <a:pt x="1137" y="1430"/>
                    </a:moveTo>
                    <a:cubicBezTo>
                      <a:pt x="1138" y="1430"/>
                      <a:pt x="1139" y="1430"/>
                      <a:pt x="1139" y="1429"/>
                    </a:cubicBezTo>
                    <a:moveTo>
                      <a:pt x="1139" y="1429"/>
                    </a:moveTo>
                    <a:cubicBezTo>
                      <a:pt x="1141" y="1428"/>
                      <a:pt x="1139" y="1428"/>
                      <a:pt x="1139" y="1429"/>
                    </a:cubicBezTo>
                    <a:moveTo>
                      <a:pt x="789" y="1465"/>
                    </a:moveTo>
                    <a:cubicBezTo>
                      <a:pt x="825" y="1461"/>
                      <a:pt x="858" y="1454"/>
                      <a:pt x="891" y="1446"/>
                    </a:cubicBezTo>
                    <a:cubicBezTo>
                      <a:pt x="892" y="1440"/>
                      <a:pt x="897" y="1434"/>
                      <a:pt x="895" y="1429"/>
                    </a:cubicBezTo>
                    <a:cubicBezTo>
                      <a:pt x="863" y="1444"/>
                      <a:pt x="826" y="1455"/>
                      <a:pt x="789" y="1465"/>
                    </a:cubicBezTo>
                    <a:close/>
                    <a:moveTo>
                      <a:pt x="404" y="1435"/>
                    </a:moveTo>
                    <a:cubicBezTo>
                      <a:pt x="404" y="1434"/>
                      <a:pt x="405" y="1435"/>
                      <a:pt x="404" y="1435"/>
                    </a:cubicBezTo>
                    <a:close/>
                    <a:moveTo>
                      <a:pt x="407" y="1436"/>
                    </a:moveTo>
                    <a:cubicBezTo>
                      <a:pt x="407" y="1437"/>
                      <a:pt x="408" y="1436"/>
                      <a:pt x="409" y="1437"/>
                    </a:cubicBezTo>
                    <a:moveTo>
                      <a:pt x="409" y="1437"/>
                    </a:moveTo>
                    <a:cubicBezTo>
                      <a:pt x="409" y="1437"/>
                      <a:pt x="409" y="1437"/>
                      <a:pt x="409" y="1438"/>
                    </a:cubicBezTo>
                    <a:cubicBezTo>
                      <a:pt x="439" y="1456"/>
                      <a:pt x="472" y="1472"/>
                      <a:pt x="513" y="1480"/>
                    </a:cubicBezTo>
                    <a:moveTo>
                      <a:pt x="513" y="1480"/>
                    </a:moveTo>
                    <a:cubicBezTo>
                      <a:pt x="514" y="1483"/>
                      <a:pt x="517" y="1479"/>
                      <a:pt x="513" y="1480"/>
                    </a:cubicBezTo>
                    <a:moveTo>
                      <a:pt x="513" y="1480"/>
                    </a:moveTo>
                    <a:cubicBezTo>
                      <a:pt x="487" y="1457"/>
                      <a:pt x="441" y="1454"/>
                      <a:pt x="409" y="1437"/>
                    </a:cubicBezTo>
                    <a:moveTo>
                      <a:pt x="409" y="1437"/>
                    </a:moveTo>
                    <a:cubicBezTo>
                      <a:pt x="409" y="1436"/>
                      <a:pt x="408" y="1436"/>
                      <a:pt x="407" y="1436"/>
                    </a:cubicBezTo>
                    <a:moveTo>
                      <a:pt x="407" y="1436"/>
                    </a:moveTo>
                    <a:cubicBezTo>
                      <a:pt x="406" y="1434"/>
                      <a:pt x="406" y="1436"/>
                      <a:pt x="407" y="1436"/>
                    </a:cubicBezTo>
                    <a:moveTo>
                      <a:pt x="541" y="1455"/>
                    </a:moveTo>
                    <a:cubicBezTo>
                      <a:pt x="559" y="1457"/>
                      <a:pt x="575" y="1462"/>
                      <a:pt x="594" y="1463"/>
                    </a:cubicBezTo>
                    <a:cubicBezTo>
                      <a:pt x="592" y="1458"/>
                      <a:pt x="588" y="1454"/>
                      <a:pt x="586" y="1448"/>
                    </a:cubicBezTo>
                    <a:cubicBezTo>
                      <a:pt x="570" y="1444"/>
                      <a:pt x="554" y="1440"/>
                      <a:pt x="538" y="1435"/>
                    </a:cubicBezTo>
                    <a:cubicBezTo>
                      <a:pt x="536" y="1441"/>
                      <a:pt x="539" y="1450"/>
                      <a:pt x="541" y="1455"/>
                    </a:cubicBezTo>
                    <a:close/>
                    <a:moveTo>
                      <a:pt x="466" y="1437"/>
                    </a:moveTo>
                    <a:cubicBezTo>
                      <a:pt x="466" y="1437"/>
                      <a:pt x="466" y="1437"/>
                      <a:pt x="466" y="1438"/>
                    </a:cubicBezTo>
                    <a:cubicBezTo>
                      <a:pt x="476" y="1446"/>
                      <a:pt x="485" y="1455"/>
                      <a:pt x="495" y="1463"/>
                    </a:cubicBezTo>
                    <a:cubicBezTo>
                      <a:pt x="514" y="1467"/>
                      <a:pt x="531" y="1473"/>
                      <a:pt x="552" y="1474"/>
                    </a:cubicBezTo>
                    <a:moveTo>
                      <a:pt x="552" y="1474"/>
                    </a:moveTo>
                    <a:cubicBezTo>
                      <a:pt x="552" y="1475"/>
                      <a:pt x="553" y="1474"/>
                      <a:pt x="552" y="1474"/>
                    </a:cubicBezTo>
                    <a:moveTo>
                      <a:pt x="552" y="1474"/>
                    </a:moveTo>
                    <a:cubicBezTo>
                      <a:pt x="547" y="1468"/>
                      <a:pt x="542" y="1463"/>
                      <a:pt x="538" y="1456"/>
                    </a:cubicBezTo>
                    <a:cubicBezTo>
                      <a:pt x="512" y="1451"/>
                      <a:pt x="490" y="1443"/>
                      <a:pt x="466" y="1437"/>
                    </a:cubicBezTo>
                    <a:moveTo>
                      <a:pt x="466" y="1437"/>
                    </a:moveTo>
                    <a:cubicBezTo>
                      <a:pt x="466" y="1435"/>
                      <a:pt x="465" y="1437"/>
                      <a:pt x="466" y="1437"/>
                    </a:cubicBezTo>
                    <a:moveTo>
                      <a:pt x="888" y="1463"/>
                    </a:moveTo>
                    <a:cubicBezTo>
                      <a:pt x="888" y="1467"/>
                      <a:pt x="885" y="1469"/>
                      <a:pt x="884" y="1472"/>
                    </a:cubicBezTo>
                    <a:cubicBezTo>
                      <a:pt x="919" y="1472"/>
                      <a:pt x="949" y="1466"/>
                      <a:pt x="980" y="1462"/>
                    </a:cubicBezTo>
                    <a:cubicBezTo>
                      <a:pt x="982" y="1456"/>
                      <a:pt x="988" y="1448"/>
                      <a:pt x="986" y="1441"/>
                    </a:cubicBezTo>
                    <a:cubicBezTo>
                      <a:pt x="956" y="1451"/>
                      <a:pt x="922" y="1458"/>
                      <a:pt x="888" y="1463"/>
                    </a:cubicBezTo>
                    <a:close/>
                    <a:moveTo>
                      <a:pt x="1098" y="1445"/>
                    </a:moveTo>
                    <a:cubicBezTo>
                      <a:pt x="1098" y="1445"/>
                      <a:pt x="1099" y="1446"/>
                      <a:pt x="1098" y="1445"/>
                    </a:cubicBezTo>
                    <a:close/>
                    <a:moveTo>
                      <a:pt x="423" y="1450"/>
                    </a:moveTo>
                    <a:cubicBezTo>
                      <a:pt x="423" y="1450"/>
                      <a:pt x="424" y="1451"/>
                      <a:pt x="423" y="1450"/>
                    </a:cubicBezTo>
                    <a:close/>
                    <a:moveTo>
                      <a:pt x="600" y="1464"/>
                    </a:moveTo>
                    <a:cubicBezTo>
                      <a:pt x="639" y="1469"/>
                      <a:pt x="688" y="1474"/>
                      <a:pt x="730" y="1469"/>
                    </a:cubicBezTo>
                    <a:cubicBezTo>
                      <a:pt x="679" y="1467"/>
                      <a:pt x="633" y="1459"/>
                      <a:pt x="590" y="1449"/>
                    </a:cubicBezTo>
                    <a:cubicBezTo>
                      <a:pt x="593" y="1455"/>
                      <a:pt x="595" y="1461"/>
                      <a:pt x="600" y="1464"/>
                    </a:cubicBezTo>
                    <a:close/>
                    <a:moveTo>
                      <a:pt x="888" y="1449"/>
                    </a:moveTo>
                    <a:cubicBezTo>
                      <a:pt x="859" y="1457"/>
                      <a:pt x="828" y="1462"/>
                      <a:pt x="797" y="1467"/>
                    </a:cubicBezTo>
                    <a:cubicBezTo>
                      <a:pt x="795" y="1467"/>
                      <a:pt x="793" y="1467"/>
                      <a:pt x="792" y="1467"/>
                    </a:cubicBezTo>
                    <a:cubicBezTo>
                      <a:pt x="790" y="1468"/>
                      <a:pt x="792" y="1469"/>
                      <a:pt x="794" y="1468"/>
                    </a:cubicBezTo>
                    <a:cubicBezTo>
                      <a:pt x="826" y="1467"/>
                      <a:pt x="856" y="1465"/>
                      <a:pt x="885" y="1461"/>
                    </a:cubicBezTo>
                    <a:cubicBezTo>
                      <a:pt x="887" y="1457"/>
                      <a:pt x="888" y="1453"/>
                      <a:pt x="890" y="1449"/>
                    </a:cubicBezTo>
                    <a:cubicBezTo>
                      <a:pt x="889" y="1449"/>
                      <a:pt x="888" y="1449"/>
                      <a:pt x="888" y="1449"/>
                    </a:cubicBezTo>
                    <a:close/>
                    <a:moveTo>
                      <a:pt x="425" y="1451"/>
                    </a:moveTo>
                    <a:cubicBezTo>
                      <a:pt x="425" y="1451"/>
                      <a:pt x="426" y="1452"/>
                      <a:pt x="425" y="1451"/>
                    </a:cubicBezTo>
                    <a:close/>
                    <a:moveTo>
                      <a:pt x="427" y="1452"/>
                    </a:moveTo>
                    <a:cubicBezTo>
                      <a:pt x="427" y="1452"/>
                      <a:pt x="428" y="1453"/>
                      <a:pt x="427" y="1452"/>
                    </a:cubicBezTo>
                    <a:close/>
                    <a:moveTo>
                      <a:pt x="429" y="1453"/>
                    </a:moveTo>
                    <a:cubicBezTo>
                      <a:pt x="428" y="1453"/>
                      <a:pt x="430" y="1454"/>
                      <a:pt x="429" y="1453"/>
                    </a:cubicBezTo>
                    <a:close/>
                    <a:moveTo>
                      <a:pt x="749" y="1462"/>
                    </a:moveTo>
                    <a:cubicBezTo>
                      <a:pt x="749" y="1462"/>
                      <a:pt x="750" y="1462"/>
                      <a:pt x="750" y="1463"/>
                    </a:cubicBezTo>
                    <a:moveTo>
                      <a:pt x="750" y="1463"/>
                    </a:moveTo>
                    <a:cubicBezTo>
                      <a:pt x="751" y="1464"/>
                      <a:pt x="752" y="1462"/>
                      <a:pt x="750" y="1463"/>
                    </a:cubicBezTo>
                    <a:moveTo>
                      <a:pt x="750" y="1463"/>
                    </a:moveTo>
                    <a:cubicBezTo>
                      <a:pt x="750" y="1462"/>
                      <a:pt x="749" y="1462"/>
                      <a:pt x="749" y="1462"/>
                    </a:cubicBezTo>
                    <a:moveTo>
                      <a:pt x="749" y="1462"/>
                    </a:moveTo>
                    <a:cubicBezTo>
                      <a:pt x="746" y="1458"/>
                      <a:pt x="742" y="1456"/>
                      <a:pt x="739" y="1453"/>
                    </a:cubicBezTo>
                    <a:cubicBezTo>
                      <a:pt x="738" y="1460"/>
                      <a:pt x="744" y="1460"/>
                      <a:pt x="749" y="1462"/>
                    </a:cubicBezTo>
                    <a:moveTo>
                      <a:pt x="559" y="1476"/>
                    </a:moveTo>
                    <a:cubicBezTo>
                      <a:pt x="572" y="1480"/>
                      <a:pt x="590" y="1477"/>
                      <a:pt x="605" y="1480"/>
                    </a:cubicBezTo>
                    <a:cubicBezTo>
                      <a:pt x="605" y="1476"/>
                      <a:pt x="598" y="1472"/>
                      <a:pt x="597" y="1466"/>
                    </a:cubicBezTo>
                    <a:cubicBezTo>
                      <a:pt x="577" y="1465"/>
                      <a:pt x="561" y="1460"/>
                      <a:pt x="543" y="1458"/>
                    </a:cubicBezTo>
                    <a:cubicBezTo>
                      <a:pt x="547" y="1464"/>
                      <a:pt x="551" y="1473"/>
                      <a:pt x="559" y="1476"/>
                    </a:cubicBezTo>
                    <a:close/>
                    <a:moveTo>
                      <a:pt x="981" y="1463"/>
                    </a:moveTo>
                    <a:cubicBezTo>
                      <a:pt x="976" y="1471"/>
                      <a:pt x="970" y="1476"/>
                      <a:pt x="964" y="1481"/>
                    </a:cubicBezTo>
                    <a:cubicBezTo>
                      <a:pt x="972" y="1480"/>
                      <a:pt x="978" y="1479"/>
                      <a:pt x="986" y="1478"/>
                    </a:cubicBezTo>
                    <a:cubicBezTo>
                      <a:pt x="993" y="1472"/>
                      <a:pt x="1000" y="1466"/>
                      <a:pt x="1007" y="1460"/>
                    </a:cubicBezTo>
                    <a:cubicBezTo>
                      <a:pt x="1007" y="1458"/>
                      <a:pt x="1008" y="1458"/>
                      <a:pt x="1006" y="1458"/>
                    </a:cubicBezTo>
                    <a:cubicBezTo>
                      <a:pt x="998" y="1460"/>
                      <a:pt x="989" y="1461"/>
                      <a:pt x="981" y="1463"/>
                    </a:cubicBezTo>
                    <a:close/>
                    <a:moveTo>
                      <a:pt x="1069" y="1460"/>
                    </a:moveTo>
                    <a:cubicBezTo>
                      <a:pt x="1069" y="1459"/>
                      <a:pt x="1070" y="1460"/>
                      <a:pt x="1069" y="1460"/>
                    </a:cubicBezTo>
                    <a:close/>
                    <a:moveTo>
                      <a:pt x="1066" y="1461"/>
                    </a:moveTo>
                    <a:cubicBezTo>
                      <a:pt x="1041" y="1468"/>
                      <a:pt x="1016" y="1476"/>
                      <a:pt x="987" y="1480"/>
                    </a:cubicBezTo>
                    <a:cubicBezTo>
                      <a:pt x="984" y="1484"/>
                      <a:pt x="979" y="1485"/>
                      <a:pt x="976" y="1488"/>
                    </a:cubicBezTo>
                    <a:cubicBezTo>
                      <a:pt x="1008" y="1481"/>
                      <a:pt x="1042" y="1475"/>
                      <a:pt x="1066" y="1461"/>
                    </a:cubicBezTo>
                    <a:moveTo>
                      <a:pt x="1066" y="1461"/>
                    </a:moveTo>
                    <a:cubicBezTo>
                      <a:pt x="1070" y="1462"/>
                      <a:pt x="1067" y="1458"/>
                      <a:pt x="1066" y="1461"/>
                    </a:cubicBezTo>
                    <a:moveTo>
                      <a:pt x="742" y="1463"/>
                    </a:moveTo>
                    <a:cubicBezTo>
                      <a:pt x="742" y="1465"/>
                      <a:pt x="746" y="1462"/>
                      <a:pt x="742" y="1463"/>
                    </a:cubicBezTo>
                    <a:moveTo>
                      <a:pt x="742" y="1463"/>
                    </a:moveTo>
                    <a:cubicBezTo>
                      <a:pt x="741" y="1462"/>
                      <a:pt x="740" y="1461"/>
                      <a:pt x="739" y="1461"/>
                    </a:cubicBezTo>
                    <a:cubicBezTo>
                      <a:pt x="739" y="1463"/>
                      <a:pt x="740" y="1462"/>
                      <a:pt x="742" y="1463"/>
                    </a:cubicBezTo>
                    <a:moveTo>
                      <a:pt x="1072" y="1462"/>
                    </a:moveTo>
                    <a:cubicBezTo>
                      <a:pt x="1072" y="1461"/>
                      <a:pt x="1073" y="1462"/>
                      <a:pt x="1072" y="1462"/>
                    </a:cubicBezTo>
                    <a:close/>
                    <a:moveTo>
                      <a:pt x="774" y="1463"/>
                    </a:moveTo>
                    <a:cubicBezTo>
                      <a:pt x="774" y="1463"/>
                      <a:pt x="775" y="1464"/>
                      <a:pt x="774" y="1463"/>
                    </a:cubicBezTo>
                    <a:close/>
                    <a:moveTo>
                      <a:pt x="746" y="1464"/>
                    </a:moveTo>
                    <a:cubicBezTo>
                      <a:pt x="745" y="1464"/>
                      <a:pt x="746" y="1465"/>
                      <a:pt x="746" y="1464"/>
                    </a:cubicBezTo>
                    <a:close/>
                    <a:moveTo>
                      <a:pt x="780" y="1464"/>
                    </a:moveTo>
                    <a:cubicBezTo>
                      <a:pt x="780" y="1464"/>
                      <a:pt x="781" y="1465"/>
                      <a:pt x="780" y="1464"/>
                    </a:cubicBezTo>
                    <a:close/>
                    <a:moveTo>
                      <a:pt x="796" y="1472"/>
                    </a:moveTo>
                    <a:cubicBezTo>
                      <a:pt x="823" y="1473"/>
                      <a:pt x="851" y="1473"/>
                      <a:pt x="879" y="1473"/>
                    </a:cubicBezTo>
                    <a:cubicBezTo>
                      <a:pt x="879" y="1470"/>
                      <a:pt x="886" y="1464"/>
                      <a:pt x="882" y="1463"/>
                    </a:cubicBezTo>
                    <a:cubicBezTo>
                      <a:pt x="855" y="1469"/>
                      <a:pt x="823" y="1468"/>
                      <a:pt x="796" y="1472"/>
                    </a:cubicBezTo>
                    <a:close/>
                    <a:moveTo>
                      <a:pt x="882" y="1475"/>
                    </a:moveTo>
                    <a:cubicBezTo>
                      <a:pt x="882" y="1479"/>
                      <a:pt x="879" y="1481"/>
                      <a:pt x="878" y="1485"/>
                    </a:cubicBezTo>
                    <a:cubicBezTo>
                      <a:pt x="901" y="1482"/>
                      <a:pt x="937" y="1489"/>
                      <a:pt x="958" y="1482"/>
                    </a:cubicBezTo>
                    <a:cubicBezTo>
                      <a:pt x="961" y="1480"/>
                      <a:pt x="965" y="1476"/>
                      <a:pt x="968" y="1473"/>
                    </a:cubicBezTo>
                    <a:cubicBezTo>
                      <a:pt x="971" y="1470"/>
                      <a:pt x="977" y="1467"/>
                      <a:pt x="975" y="1464"/>
                    </a:cubicBezTo>
                    <a:cubicBezTo>
                      <a:pt x="946" y="1470"/>
                      <a:pt x="916" y="1474"/>
                      <a:pt x="882" y="1475"/>
                    </a:cubicBezTo>
                    <a:close/>
                    <a:moveTo>
                      <a:pt x="784" y="1466"/>
                    </a:moveTo>
                    <a:cubicBezTo>
                      <a:pt x="784" y="1466"/>
                      <a:pt x="785" y="1467"/>
                      <a:pt x="784" y="1466"/>
                    </a:cubicBezTo>
                    <a:close/>
                    <a:moveTo>
                      <a:pt x="503" y="1468"/>
                    </a:moveTo>
                    <a:cubicBezTo>
                      <a:pt x="520" y="1486"/>
                      <a:pt x="554" y="1491"/>
                      <a:pt x="582" y="1493"/>
                    </a:cubicBezTo>
                    <a:cubicBezTo>
                      <a:pt x="572" y="1490"/>
                      <a:pt x="565" y="1483"/>
                      <a:pt x="556" y="1478"/>
                    </a:cubicBezTo>
                    <a:cubicBezTo>
                      <a:pt x="537" y="1475"/>
                      <a:pt x="521" y="1471"/>
                      <a:pt x="503" y="1468"/>
                    </a:cubicBezTo>
                    <a:moveTo>
                      <a:pt x="503" y="1468"/>
                    </a:moveTo>
                    <a:cubicBezTo>
                      <a:pt x="502" y="1467"/>
                      <a:pt x="502" y="1468"/>
                      <a:pt x="503" y="1468"/>
                    </a:cubicBezTo>
                    <a:moveTo>
                      <a:pt x="611" y="1480"/>
                    </a:moveTo>
                    <a:cubicBezTo>
                      <a:pt x="653" y="1483"/>
                      <a:pt x="697" y="1480"/>
                      <a:pt x="732" y="1473"/>
                    </a:cubicBezTo>
                    <a:cubicBezTo>
                      <a:pt x="687" y="1475"/>
                      <a:pt x="642" y="1473"/>
                      <a:pt x="601" y="1467"/>
                    </a:cubicBezTo>
                    <a:cubicBezTo>
                      <a:pt x="604" y="1472"/>
                      <a:pt x="605" y="1478"/>
                      <a:pt x="611" y="1480"/>
                    </a:cubicBezTo>
                    <a:close/>
                    <a:moveTo>
                      <a:pt x="738" y="1472"/>
                    </a:moveTo>
                    <a:cubicBezTo>
                      <a:pt x="737" y="1472"/>
                      <a:pt x="736" y="1472"/>
                      <a:pt x="736" y="1473"/>
                    </a:cubicBezTo>
                    <a:cubicBezTo>
                      <a:pt x="737" y="1473"/>
                      <a:pt x="738" y="1473"/>
                      <a:pt x="738" y="1472"/>
                    </a:cubicBezTo>
                    <a:close/>
                    <a:moveTo>
                      <a:pt x="789" y="1473"/>
                    </a:moveTo>
                    <a:cubicBezTo>
                      <a:pt x="788" y="1473"/>
                      <a:pt x="786" y="1473"/>
                      <a:pt x="786" y="1474"/>
                    </a:cubicBezTo>
                    <a:cubicBezTo>
                      <a:pt x="787" y="1474"/>
                      <a:pt x="789" y="1474"/>
                      <a:pt x="789" y="1473"/>
                    </a:cubicBezTo>
                    <a:close/>
                    <a:moveTo>
                      <a:pt x="742" y="1475"/>
                    </a:moveTo>
                    <a:cubicBezTo>
                      <a:pt x="741" y="1475"/>
                      <a:pt x="742" y="1476"/>
                      <a:pt x="742" y="1475"/>
                    </a:cubicBezTo>
                    <a:close/>
                    <a:moveTo>
                      <a:pt x="745" y="1509"/>
                    </a:moveTo>
                    <a:cubicBezTo>
                      <a:pt x="748" y="1509"/>
                      <a:pt x="752" y="1509"/>
                      <a:pt x="755" y="1509"/>
                    </a:cubicBezTo>
                    <a:cubicBezTo>
                      <a:pt x="757" y="1498"/>
                      <a:pt x="761" y="1484"/>
                      <a:pt x="759" y="1474"/>
                    </a:cubicBezTo>
                    <a:cubicBezTo>
                      <a:pt x="754" y="1485"/>
                      <a:pt x="737" y="1490"/>
                      <a:pt x="745" y="1509"/>
                    </a:cubicBezTo>
                    <a:close/>
                    <a:moveTo>
                      <a:pt x="877" y="1476"/>
                    </a:moveTo>
                    <a:cubicBezTo>
                      <a:pt x="879" y="1475"/>
                      <a:pt x="877" y="1475"/>
                      <a:pt x="877" y="1476"/>
                    </a:cubicBezTo>
                    <a:moveTo>
                      <a:pt x="877" y="1476"/>
                    </a:moveTo>
                    <a:cubicBezTo>
                      <a:pt x="848" y="1477"/>
                      <a:pt x="817" y="1475"/>
                      <a:pt x="791" y="1475"/>
                    </a:cubicBezTo>
                    <a:cubicBezTo>
                      <a:pt x="817" y="1479"/>
                      <a:pt x="844" y="1483"/>
                      <a:pt x="873" y="1485"/>
                    </a:cubicBezTo>
                    <a:cubicBezTo>
                      <a:pt x="875" y="1482"/>
                      <a:pt x="877" y="1480"/>
                      <a:pt x="877" y="1476"/>
                    </a:cubicBezTo>
                    <a:moveTo>
                      <a:pt x="655" y="1493"/>
                    </a:moveTo>
                    <a:cubicBezTo>
                      <a:pt x="685" y="1490"/>
                      <a:pt x="715" y="1482"/>
                      <a:pt x="737" y="1477"/>
                    </a:cubicBezTo>
                    <a:cubicBezTo>
                      <a:pt x="737" y="1476"/>
                      <a:pt x="739" y="1475"/>
                      <a:pt x="736" y="1475"/>
                    </a:cubicBezTo>
                    <a:cubicBezTo>
                      <a:pt x="700" y="1482"/>
                      <a:pt x="655" y="1485"/>
                      <a:pt x="612" y="1483"/>
                    </a:cubicBezTo>
                    <a:cubicBezTo>
                      <a:pt x="615" y="1498"/>
                      <a:pt x="635" y="1496"/>
                      <a:pt x="655" y="1493"/>
                    </a:cubicBezTo>
                    <a:close/>
                    <a:moveTo>
                      <a:pt x="749" y="1476"/>
                    </a:moveTo>
                    <a:cubicBezTo>
                      <a:pt x="748" y="1476"/>
                      <a:pt x="749" y="1477"/>
                      <a:pt x="749" y="1476"/>
                    </a:cubicBezTo>
                    <a:close/>
                    <a:moveTo>
                      <a:pt x="754" y="1476"/>
                    </a:moveTo>
                    <a:cubicBezTo>
                      <a:pt x="749" y="1477"/>
                      <a:pt x="746" y="1481"/>
                      <a:pt x="741" y="1483"/>
                    </a:cubicBezTo>
                    <a:cubicBezTo>
                      <a:pt x="742" y="1484"/>
                      <a:pt x="741" y="1488"/>
                      <a:pt x="743" y="1489"/>
                    </a:cubicBezTo>
                    <a:cubicBezTo>
                      <a:pt x="746" y="1485"/>
                      <a:pt x="752" y="1481"/>
                      <a:pt x="754" y="1476"/>
                    </a:cubicBezTo>
                    <a:moveTo>
                      <a:pt x="754" y="1476"/>
                    </a:moveTo>
                    <a:cubicBezTo>
                      <a:pt x="756" y="1475"/>
                      <a:pt x="754" y="1475"/>
                      <a:pt x="754" y="1476"/>
                    </a:cubicBezTo>
                    <a:moveTo>
                      <a:pt x="773" y="1476"/>
                    </a:moveTo>
                    <a:cubicBezTo>
                      <a:pt x="772" y="1476"/>
                      <a:pt x="773" y="1477"/>
                      <a:pt x="773" y="1476"/>
                    </a:cubicBezTo>
                    <a:close/>
                    <a:moveTo>
                      <a:pt x="782" y="1475"/>
                    </a:moveTo>
                    <a:cubicBezTo>
                      <a:pt x="781" y="1475"/>
                      <a:pt x="780" y="1475"/>
                      <a:pt x="780" y="1476"/>
                    </a:cubicBezTo>
                    <a:cubicBezTo>
                      <a:pt x="781" y="1476"/>
                      <a:pt x="782" y="1476"/>
                      <a:pt x="782" y="1475"/>
                    </a:cubicBezTo>
                    <a:close/>
                    <a:moveTo>
                      <a:pt x="746" y="1477"/>
                    </a:moveTo>
                    <a:cubicBezTo>
                      <a:pt x="743" y="1476"/>
                      <a:pt x="739" y="1478"/>
                      <a:pt x="742" y="1480"/>
                    </a:cubicBezTo>
                    <a:cubicBezTo>
                      <a:pt x="742" y="1478"/>
                      <a:pt x="745" y="1479"/>
                      <a:pt x="746" y="1477"/>
                    </a:cubicBezTo>
                    <a:moveTo>
                      <a:pt x="746" y="1477"/>
                    </a:moveTo>
                    <a:cubicBezTo>
                      <a:pt x="750" y="1478"/>
                      <a:pt x="746" y="1474"/>
                      <a:pt x="746" y="1477"/>
                    </a:cubicBezTo>
                    <a:moveTo>
                      <a:pt x="758" y="1509"/>
                    </a:moveTo>
                    <a:cubicBezTo>
                      <a:pt x="768" y="1509"/>
                      <a:pt x="777" y="1509"/>
                      <a:pt x="787" y="1509"/>
                    </a:cubicBezTo>
                    <a:cubicBezTo>
                      <a:pt x="781" y="1500"/>
                      <a:pt x="770" y="1487"/>
                      <a:pt x="763" y="1476"/>
                    </a:cubicBezTo>
                    <a:cubicBezTo>
                      <a:pt x="761" y="1486"/>
                      <a:pt x="760" y="1498"/>
                      <a:pt x="758" y="1509"/>
                    </a:cubicBezTo>
                    <a:close/>
                    <a:moveTo>
                      <a:pt x="796" y="1509"/>
                    </a:moveTo>
                    <a:cubicBezTo>
                      <a:pt x="804" y="1511"/>
                      <a:pt x="813" y="1505"/>
                      <a:pt x="826" y="1508"/>
                    </a:cubicBezTo>
                    <a:cubicBezTo>
                      <a:pt x="807" y="1497"/>
                      <a:pt x="786" y="1489"/>
                      <a:pt x="769" y="1476"/>
                    </a:cubicBezTo>
                    <a:cubicBezTo>
                      <a:pt x="777" y="1485"/>
                      <a:pt x="782" y="1505"/>
                      <a:pt x="796" y="1509"/>
                    </a:cubicBezTo>
                    <a:close/>
                    <a:moveTo>
                      <a:pt x="837" y="1507"/>
                    </a:moveTo>
                    <a:cubicBezTo>
                      <a:pt x="844" y="1507"/>
                      <a:pt x="860" y="1507"/>
                      <a:pt x="864" y="1499"/>
                    </a:cubicBezTo>
                    <a:cubicBezTo>
                      <a:pt x="831" y="1496"/>
                      <a:pt x="800" y="1484"/>
                      <a:pt x="774" y="1477"/>
                    </a:cubicBezTo>
                    <a:cubicBezTo>
                      <a:pt x="791" y="1485"/>
                      <a:pt x="814" y="1505"/>
                      <a:pt x="837" y="1507"/>
                    </a:cubicBezTo>
                    <a:close/>
                    <a:moveTo>
                      <a:pt x="865" y="1497"/>
                    </a:moveTo>
                    <a:cubicBezTo>
                      <a:pt x="867" y="1494"/>
                      <a:pt x="870" y="1491"/>
                      <a:pt x="871" y="1487"/>
                    </a:cubicBezTo>
                    <a:cubicBezTo>
                      <a:pt x="839" y="1487"/>
                      <a:pt x="810" y="1479"/>
                      <a:pt x="783" y="1477"/>
                    </a:cubicBezTo>
                    <a:cubicBezTo>
                      <a:pt x="809" y="1485"/>
                      <a:pt x="835" y="1493"/>
                      <a:pt x="865" y="1497"/>
                    </a:cubicBezTo>
                    <a:close/>
                    <a:moveTo>
                      <a:pt x="617" y="1495"/>
                    </a:moveTo>
                    <a:cubicBezTo>
                      <a:pt x="616" y="1492"/>
                      <a:pt x="610" y="1486"/>
                      <a:pt x="606" y="1483"/>
                    </a:cubicBezTo>
                    <a:cubicBezTo>
                      <a:pt x="592" y="1483"/>
                      <a:pt x="576" y="1479"/>
                      <a:pt x="563" y="1480"/>
                    </a:cubicBezTo>
                    <a:cubicBezTo>
                      <a:pt x="577" y="1489"/>
                      <a:pt x="591" y="1498"/>
                      <a:pt x="617" y="1495"/>
                    </a:cubicBezTo>
                    <a:close/>
                    <a:moveTo>
                      <a:pt x="626" y="1499"/>
                    </a:moveTo>
                    <a:cubicBezTo>
                      <a:pt x="667" y="1513"/>
                      <a:pt x="710" y="1498"/>
                      <a:pt x="738" y="1480"/>
                    </a:cubicBezTo>
                    <a:cubicBezTo>
                      <a:pt x="706" y="1488"/>
                      <a:pt x="665" y="1495"/>
                      <a:pt x="626" y="1499"/>
                    </a:cubicBezTo>
                    <a:close/>
                    <a:moveTo>
                      <a:pt x="1025" y="1480"/>
                    </a:moveTo>
                    <a:cubicBezTo>
                      <a:pt x="1025" y="1479"/>
                      <a:pt x="1026" y="1480"/>
                      <a:pt x="1025" y="1480"/>
                    </a:cubicBezTo>
                    <a:close/>
                    <a:moveTo>
                      <a:pt x="1022" y="1481"/>
                    </a:moveTo>
                    <a:cubicBezTo>
                      <a:pt x="1023" y="1481"/>
                      <a:pt x="1022" y="1480"/>
                      <a:pt x="1022" y="1481"/>
                    </a:cubicBezTo>
                    <a:close/>
                    <a:moveTo>
                      <a:pt x="516" y="1482"/>
                    </a:moveTo>
                    <a:cubicBezTo>
                      <a:pt x="516" y="1481"/>
                      <a:pt x="517" y="1482"/>
                      <a:pt x="516" y="1482"/>
                    </a:cubicBezTo>
                    <a:close/>
                    <a:moveTo>
                      <a:pt x="1018" y="1482"/>
                    </a:moveTo>
                    <a:cubicBezTo>
                      <a:pt x="1001" y="1486"/>
                      <a:pt x="981" y="1488"/>
                      <a:pt x="966" y="1495"/>
                    </a:cubicBezTo>
                    <a:moveTo>
                      <a:pt x="966" y="1495"/>
                    </a:moveTo>
                    <a:cubicBezTo>
                      <a:pt x="962" y="1494"/>
                      <a:pt x="965" y="1498"/>
                      <a:pt x="966" y="1495"/>
                    </a:cubicBezTo>
                    <a:moveTo>
                      <a:pt x="966" y="1495"/>
                    </a:moveTo>
                    <a:cubicBezTo>
                      <a:pt x="985" y="1493"/>
                      <a:pt x="1002" y="1488"/>
                      <a:pt x="1018" y="1482"/>
                    </a:cubicBezTo>
                    <a:moveTo>
                      <a:pt x="1018" y="1482"/>
                    </a:moveTo>
                    <a:cubicBezTo>
                      <a:pt x="1022" y="1483"/>
                      <a:pt x="1019" y="1479"/>
                      <a:pt x="1018" y="1482"/>
                    </a:cubicBezTo>
                    <a:moveTo>
                      <a:pt x="940" y="1495"/>
                    </a:moveTo>
                    <a:cubicBezTo>
                      <a:pt x="955" y="1492"/>
                      <a:pt x="972" y="1491"/>
                      <a:pt x="980" y="1482"/>
                    </a:cubicBezTo>
                    <a:cubicBezTo>
                      <a:pt x="962" y="1482"/>
                      <a:pt x="950" y="1488"/>
                      <a:pt x="940" y="1495"/>
                    </a:cubicBezTo>
                    <a:close/>
                    <a:moveTo>
                      <a:pt x="681" y="1507"/>
                    </a:moveTo>
                    <a:cubicBezTo>
                      <a:pt x="694" y="1507"/>
                      <a:pt x="707" y="1507"/>
                      <a:pt x="719" y="1509"/>
                    </a:cubicBezTo>
                    <a:cubicBezTo>
                      <a:pt x="726" y="1503"/>
                      <a:pt x="734" y="1498"/>
                      <a:pt x="740" y="1491"/>
                    </a:cubicBezTo>
                    <a:cubicBezTo>
                      <a:pt x="737" y="1491"/>
                      <a:pt x="741" y="1484"/>
                      <a:pt x="738" y="1484"/>
                    </a:cubicBezTo>
                    <a:cubicBezTo>
                      <a:pt x="722" y="1494"/>
                      <a:pt x="700" y="1499"/>
                      <a:pt x="681" y="1507"/>
                    </a:cubicBezTo>
                    <a:close/>
                    <a:moveTo>
                      <a:pt x="876" y="1487"/>
                    </a:moveTo>
                    <a:cubicBezTo>
                      <a:pt x="874" y="1491"/>
                      <a:pt x="871" y="1493"/>
                      <a:pt x="870" y="1498"/>
                    </a:cubicBezTo>
                    <a:cubicBezTo>
                      <a:pt x="900" y="1502"/>
                      <a:pt x="934" y="1501"/>
                      <a:pt x="950" y="1486"/>
                    </a:cubicBezTo>
                    <a:cubicBezTo>
                      <a:pt x="927" y="1487"/>
                      <a:pt x="902" y="1488"/>
                      <a:pt x="876" y="1487"/>
                    </a:cubicBezTo>
                    <a:close/>
                    <a:moveTo>
                      <a:pt x="542" y="1492"/>
                    </a:moveTo>
                    <a:cubicBezTo>
                      <a:pt x="542" y="1492"/>
                      <a:pt x="543" y="1493"/>
                      <a:pt x="542" y="1492"/>
                    </a:cubicBezTo>
                    <a:close/>
                    <a:moveTo>
                      <a:pt x="570" y="1495"/>
                    </a:moveTo>
                    <a:cubicBezTo>
                      <a:pt x="565" y="1495"/>
                      <a:pt x="538" y="1491"/>
                      <a:pt x="548" y="1494"/>
                    </a:cubicBezTo>
                    <a:cubicBezTo>
                      <a:pt x="571" y="1502"/>
                      <a:pt x="600" y="1512"/>
                      <a:pt x="625" y="1510"/>
                    </a:cubicBezTo>
                    <a:cubicBezTo>
                      <a:pt x="606" y="1504"/>
                      <a:pt x="592" y="1498"/>
                      <a:pt x="570" y="1495"/>
                    </a:cubicBezTo>
                    <a:close/>
                    <a:moveTo>
                      <a:pt x="958" y="1495"/>
                    </a:moveTo>
                    <a:cubicBezTo>
                      <a:pt x="949" y="1496"/>
                      <a:pt x="942" y="1497"/>
                      <a:pt x="935" y="1499"/>
                    </a:cubicBezTo>
                    <a:cubicBezTo>
                      <a:pt x="943" y="1498"/>
                      <a:pt x="953" y="1499"/>
                      <a:pt x="958" y="1495"/>
                    </a:cubicBezTo>
                    <a:moveTo>
                      <a:pt x="958" y="1495"/>
                    </a:moveTo>
                    <a:cubicBezTo>
                      <a:pt x="962" y="1496"/>
                      <a:pt x="958" y="1492"/>
                      <a:pt x="958" y="1495"/>
                    </a:cubicBezTo>
                    <a:moveTo>
                      <a:pt x="724" y="1509"/>
                    </a:moveTo>
                    <a:cubicBezTo>
                      <a:pt x="730" y="1509"/>
                      <a:pt x="736" y="1509"/>
                      <a:pt x="742" y="1509"/>
                    </a:cubicBezTo>
                    <a:cubicBezTo>
                      <a:pt x="740" y="1505"/>
                      <a:pt x="741" y="1498"/>
                      <a:pt x="739" y="1495"/>
                    </a:cubicBezTo>
                    <a:cubicBezTo>
                      <a:pt x="735" y="1501"/>
                      <a:pt x="728" y="1504"/>
                      <a:pt x="724" y="1509"/>
                    </a:cubicBezTo>
                    <a:close/>
                    <a:moveTo>
                      <a:pt x="613" y="1499"/>
                    </a:moveTo>
                    <a:cubicBezTo>
                      <a:pt x="615" y="1500"/>
                      <a:pt x="623" y="1501"/>
                      <a:pt x="624" y="1500"/>
                    </a:cubicBezTo>
                    <a:cubicBezTo>
                      <a:pt x="622" y="1496"/>
                      <a:pt x="599" y="1499"/>
                      <a:pt x="613" y="1499"/>
                    </a:cubicBezTo>
                    <a:close/>
                    <a:moveTo>
                      <a:pt x="929" y="1500"/>
                    </a:moveTo>
                    <a:cubicBezTo>
                      <a:pt x="929" y="1500"/>
                      <a:pt x="930" y="1501"/>
                      <a:pt x="929" y="1500"/>
                    </a:cubicBezTo>
                    <a:close/>
                    <a:moveTo>
                      <a:pt x="865" y="1505"/>
                    </a:moveTo>
                    <a:cubicBezTo>
                      <a:pt x="871" y="1503"/>
                      <a:pt x="880" y="1504"/>
                      <a:pt x="886" y="1502"/>
                    </a:cubicBezTo>
                    <a:cubicBezTo>
                      <a:pt x="879" y="1502"/>
                      <a:pt x="867" y="1497"/>
                      <a:pt x="865" y="1505"/>
                    </a:cubicBezTo>
                    <a:close/>
                    <a:moveTo>
                      <a:pt x="608" y="1501"/>
                    </a:moveTo>
                    <a:cubicBezTo>
                      <a:pt x="608" y="1501"/>
                      <a:pt x="607" y="1501"/>
                      <a:pt x="606" y="1502"/>
                    </a:cubicBezTo>
                    <a:cubicBezTo>
                      <a:pt x="607" y="1502"/>
                      <a:pt x="608" y="1502"/>
                      <a:pt x="608" y="1501"/>
                    </a:cubicBezTo>
                    <a:close/>
                    <a:moveTo>
                      <a:pt x="885" y="1514"/>
                    </a:moveTo>
                    <a:cubicBezTo>
                      <a:pt x="909" y="1514"/>
                      <a:pt x="929" y="1509"/>
                      <a:pt x="946" y="1501"/>
                    </a:cubicBezTo>
                    <a:cubicBezTo>
                      <a:pt x="921" y="1500"/>
                      <a:pt x="904" y="1509"/>
                      <a:pt x="885" y="1514"/>
                    </a:cubicBezTo>
                    <a:close/>
                    <a:moveTo>
                      <a:pt x="633" y="1509"/>
                    </a:moveTo>
                    <a:cubicBezTo>
                      <a:pt x="629" y="1504"/>
                      <a:pt x="618" y="1501"/>
                      <a:pt x="609" y="1503"/>
                    </a:cubicBezTo>
                    <a:cubicBezTo>
                      <a:pt x="618" y="1504"/>
                      <a:pt x="626" y="1509"/>
                      <a:pt x="633" y="1509"/>
                    </a:cubicBezTo>
                    <a:close/>
                    <a:moveTo>
                      <a:pt x="858" y="1512"/>
                    </a:moveTo>
                    <a:cubicBezTo>
                      <a:pt x="879" y="1516"/>
                      <a:pt x="896" y="1508"/>
                      <a:pt x="912" y="1503"/>
                    </a:cubicBezTo>
                    <a:cubicBezTo>
                      <a:pt x="893" y="1506"/>
                      <a:pt x="869" y="1502"/>
                      <a:pt x="858" y="1512"/>
                    </a:cubicBezTo>
                    <a:close/>
                    <a:moveTo>
                      <a:pt x="659" y="1507"/>
                    </a:moveTo>
                    <a:cubicBezTo>
                      <a:pt x="650" y="1508"/>
                      <a:pt x="641" y="1503"/>
                      <a:pt x="633" y="1506"/>
                    </a:cubicBezTo>
                    <a:cubicBezTo>
                      <a:pt x="638" y="1512"/>
                      <a:pt x="652" y="1509"/>
                      <a:pt x="659" y="1507"/>
                    </a:cubicBezTo>
                    <a:close/>
                    <a:moveTo>
                      <a:pt x="645" y="1512"/>
                    </a:moveTo>
                    <a:cubicBezTo>
                      <a:pt x="667" y="1518"/>
                      <a:pt x="698" y="1526"/>
                      <a:pt x="714" y="1511"/>
                    </a:cubicBezTo>
                    <a:cubicBezTo>
                      <a:pt x="688" y="1510"/>
                      <a:pt x="666" y="1506"/>
                      <a:pt x="645" y="1512"/>
                    </a:cubicBezTo>
                    <a:close/>
                    <a:moveTo>
                      <a:pt x="845" y="1510"/>
                    </a:moveTo>
                    <a:cubicBezTo>
                      <a:pt x="849" y="1510"/>
                      <a:pt x="855" y="1512"/>
                      <a:pt x="856" y="1508"/>
                    </a:cubicBezTo>
                    <a:cubicBezTo>
                      <a:pt x="852" y="1509"/>
                      <a:pt x="847" y="1508"/>
                      <a:pt x="845" y="1510"/>
                    </a:cubicBezTo>
                    <a:close/>
                    <a:moveTo>
                      <a:pt x="798" y="1512"/>
                    </a:moveTo>
                    <a:cubicBezTo>
                      <a:pt x="808" y="1524"/>
                      <a:pt x="839" y="1525"/>
                      <a:pt x="850" y="1513"/>
                    </a:cubicBezTo>
                    <a:cubicBezTo>
                      <a:pt x="837" y="1508"/>
                      <a:pt x="813" y="1509"/>
                      <a:pt x="798" y="1512"/>
                    </a:cubicBezTo>
                    <a:close/>
                    <a:moveTo>
                      <a:pt x="699" y="1522"/>
                    </a:moveTo>
                    <a:cubicBezTo>
                      <a:pt x="714" y="1522"/>
                      <a:pt x="731" y="1526"/>
                      <a:pt x="746" y="1524"/>
                    </a:cubicBezTo>
                    <a:cubicBezTo>
                      <a:pt x="743" y="1521"/>
                      <a:pt x="744" y="1515"/>
                      <a:pt x="742" y="1511"/>
                    </a:cubicBezTo>
                    <a:cubicBezTo>
                      <a:pt x="721" y="1509"/>
                      <a:pt x="710" y="1514"/>
                      <a:pt x="699" y="1522"/>
                    </a:cubicBezTo>
                    <a:close/>
                    <a:moveTo>
                      <a:pt x="750" y="1525"/>
                    </a:moveTo>
                    <a:cubicBezTo>
                      <a:pt x="753" y="1522"/>
                      <a:pt x="754" y="1517"/>
                      <a:pt x="754" y="1511"/>
                    </a:cubicBezTo>
                    <a:cubicBezTo>
                      <a:pt x="751" y="1511"/>
                      <a:pt x="748" y="1511"/>
                      <a:pt x="745" y="1511"/>
                    </a:cubicBezTo>
                    <a:cubicBezTo>
                      <a:pt x="747" y="1516"/>
                      <a:pt x="745" y="1524"/>
                      <a:pt x="750" y="1525"/>
                    </a:cubicBezTo>
                    <a:close/>
                    <a:moveTo>
                      <a:pt x="790" y="1511"/>
                    </a:moveTo>
                    <a:cubicBezTo>
                      <a:pt x="779" y="1511"/>
                      <a:pt x="768" y="1511"/>
                      <a:pt x="757" y="1511"/>
                    </a:cubicBezTo>
                    <a:cubicBezTo>
                      <a:pt x="757" y="1517"/>
                      <a:pt x="755" y="1520"/>
                      <a:pt x="754" y="1525"/>
                    </a:cubicBezTo>
                    <a:cubicBezTo>
                      <a:pt x="773" y="1525"/>
                      <a:pt x="792" y="1526"/>
                      <a:pt x="807" y="1522"/>
                    </a:cubicBezTo>
                    <a:cubicBezTo>
                      <a:pt x="800" y="1520"/>
                      <a:pt x="797" y="1514"/>
                      <a:pt x="790" y="1511"/>
                    </a:cubicBezTo>
                    <a:close/>
                    <a:moveTo>
                      <a:pt x="852" y="1517"/>
                    </a:moveTo>
                    <a:cubicBezTo>
                      <a:pt x="851" y="1518"/>
                      <a:pt x="852" y="1518"/>
                      <a:pt x="852" y="1517"/>
                    </a:cubicBezTo>
                    <a:moveTo>
                      <a:pt x="852" y="1517"/>
                    </a:moveTo>
                    <a:cubicBezTo>
                      <a:pt x="857" y="1517"/>
                      <a:pt x="861" y="1517"/>
                      <a:pt x="864" y="1515"/>
                    </a:cubicBezTo>
                    <a:cubicBezTo>
                      <a:pt x="859" y="1515"/>
                      <a:pt x="854" y="1513"/>
                      <a:pt x="852" y="1517"/>
                    </a:cubicBezTo>
                    <a:moveTo>
                      <a:pt x="655" y="1518"/>
                    </a:moveTo>
                    <a:cubicBezTo>
                      <a:pt x="655" y="1518"/>
                      <a:pt x="656" y="1519"/>
                      <a:pt x="655" y="1518"/>
                    </a:cubicBezTo>
                    <a:close/>
                    <a:moveTo>
                      <a:pt x="674" y="1522"/>
                    </a:moveTo>
                    <a:cubicBezTo>
                      <a:pt x="679" y="1522"/>
                      <a:pt x="678" y="1522"/>
                      <a:pt x="674" y="1521"/>
                    </a:cubicBezTo>
                    <a:cubicBezTo>
                      <a:pt x="672" y="1521"/>
                      <a:pt x="662" y="1518"/>
                      <a:pt x="658" y="1519"/>
                    </a:cubicBezTo>
                    <a:cubicBezTo>
                      <a:pt x="665" y="1520"/>
                      <a:pt x="671" y="1522"/>
                      <a:pt x="674" y="1522"/>
                    </a:cubicBezTo>
                    <a:close/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 dirty="0">
                  <a:latin typeface="+mj-lt"/>
                </a:endParaRPr>
              </a:p>
            </p:txBody>
          </p:sp>
          <p:sp>
            <p:nvSpPr>
              <p:cNvPr id="81" name="Freeform 14">
                <a:extLst>
                  <a:ext uri="{FF2B5EF4-FFF2-40B4-BE49-F238E27FC236}">
                    <a16:creationId xmlns:a16="http://schemas.microsoft.com/office/drawing/2014/main" id="{4B92B182-6CE0-4AC4-B441-7BF53ECE1C74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7130066" y="4179967"/>
                <a:ext cx="1648922" cy="1573866"/>
              </a:xfrm>
              <a:custGeom>
                <a:avLst/>
                <a:gdLst/>
                <a:ahLst/>
                <a:cxnLst>
                  <a:cxn ang="0">
                    <a:pos x="384" y="189"/>
                  </a:cxn>
                  <a:cxn ang="0">
                    <a:pos x="1025" y="205"/>
                  </a:cxn>
                  <a:cxn ang="0">
                    <a:pos x="1008" y="222"/>
                  </a:cxn>
                  <a:cxn ang="0">
                    <a:pos x="303" y="287"/>
                  </a:cxn>
                  <a:cxn ang="0">
                    <a:pos x="1438" y="336"/>
                  </a:cxn>
                  <a:cxn ang="0">
                    <a:pos x="1510" y="454"/>
                  </a:cxn>
                  <a:cxn ang="0">
                    <a:pos x="1570" y="581"/>
                  </a:cxn>
                  <a:cxn ang="0">
                    <a:pos x="179" y="535"/>
                  </a:cxn>
                  <a:cxn ang="0">
                    <a:pos x="1553" y="610"/>
                  </a:cxn>
                  <a:cxn ang="0">
                    <a:pos x="235" y="694"/>
                  </a:cxn>
                  <a:cxn ang="0">
                    <a:pos x="240" y="723"/>
                  </a:cxn>
                  <a:cxn ang="0">
                    <a:pos x="1574" y="823"/>
                  </a:cxn>
                  <a:cxn ang="0">
                    <a:pos x="1656" y="952"/>
                  </a:cxn>
                  <a:cxn ang="0">
                    <a:pos x="1670" y="983"/>
                  </a:cxn>
                  <a:cxn ang="0">
                    <a:pos x="1680" y="1016"/>
                  </a:cxn>
                  <a:cxn ang="0">
                    <a:pos x="1653" y="1092"/>
                  </a:cxn>
                  <a:cxn ang="0">
                    <a:pos x="1625" y="1070"/>
                  </a:cxn>
                  <a:cxn ang="0">
                    <a:pos x="1304" y="1217"/>
                  </a:cxn>
                  <a:cxn ang="0">
                    <a:pos x="1548" y="1278"/>
                  </a:cxn>
                  <a:cxn ang="0">
                    <a:pos x="1390" y="1253"/>
                  </a:cxn>
                  <a:cxn ang="0">
                    <a:pos x="1572" y="1253"/>
                  </a:cxn>
                  <a:cxn ang="0">
                    <a:pos x="1373" y="1296"/>
                  </a:cxn>
                  <a:cxn ang="0">
                    <a:pos x="524" y="1564"/>
                  </a:cxn>
                  <a:cxn ang="0">
                    <a:pos x="640" y="19"/>
                  </a:cxn>
                  <a:cxn ang="0">
                    <a:pos x="514" y="60"/>
                  </a:cxn>
                  <a:cxn ang="0">
                    <a:pos x="595" y="39"/>
                  </a:cxn>
                  <a:cxn ang="0">
                    <a:pos x="476" y="143"/>
                  </a:cxn>
                  <a:cxn ang="0">
                    <a:pos x="568" y="66"/>
                  </a:cxn>
                  <a:cxn ang="0">
                    <a:pos x="1392" y="1158"/>
                  </a:cxn>
                  <a:cxn ang="0">
                    <a:pos x="1405" y="1142"/>
                  </a:cxn>
                  <a:cxn ang="0">
                    <a:pos x="1493" y="942"/>
                  </a:cxn>
                  <a:cxn ang="0">
                    <a:pos x="1463" y="654"/>
                  </a:cxn>
                  <a:cxn ang="0">
                    <a:pos x="1531" y="606"/>
                  </a:cxn>
                  <a:cxn ang="0">
                    <a:pos x="1448" y="417"/>
                  </a:cxn>
                  <a:cxn ang="0">
                    <a:pos x="1274" y="301"/>
                  </a:cxn>
                  <a:cxn ang="0">
                    <a:pos x="1381" y="278"/>
                  </a:cxn>
                  <a:cxn ang="0">
                    <a:pos x="1223" y="161"/>
                  </a:cxn>
                  <a:cxn ang="0">
                    <a:pos x="986" y="252"/>
                  </a:cxn>
                  <a:cxn ang="0">
                    <a:pos x="835" y="224"/>
                  </a:cxn>
                  <a:cxn ang="0">
                    <a:pos x="733" y="313"/>
                  </a:cxn>
                  <a:cxn ang="0">
                    <a:pos x="607" y="304"/>
                  </a:cxn>
                  <a:cxn ang="0">
                    <a:pos x="540" y="276"/>
                  </a:cxn>
                  <a:cxn ang="0">
                    <a:pos x="336" y="313"/>
                  </a:cxn>
                  <a:cxn ang="0">
                    <a:pos x="420" y="378"/>
                  </a:cxn>
                  <a:cxn ang="0">
                    <a:pos x="233" y="393"/>
                  </a:cxn>
                  <a:cxn ang="0">
                    <a:pos x="211" y="407"/>
                  </a:cxn>
                  <a:cxn ang="0">
                    <a:pos x="182" y="554"/>
                  </a:cxn>
                  <a:cxn ang="0">
                    <a:pos x="211" y="635"/>
                  </a:cxn>
                  <a:cxn ang="0">
                    <a:pos x="252" y="678"/>
                  </a:cxn>
                  <a:cxn ang="0">
                    <a:pos x="192" y="770"/>
                  </a:cxn>
                  <a:cxn ang="0">
                    <a:pos x="70" y="552"/>
                  </a:cxn>
                  <a:cxn ang="0">
                    <a:pos x="383" y="1408"/>
                  </a:cxn>
                  <a:cxn ang="0">
                    <a:pos x="340" y="1140"/>
                  </a:cxn>
                  <a:cxn ang="0">
                    <a:pos x="437" y="1211"/>
                  </a:cxn>
                  <a:cxn ang="0">
                    <a:pos x="528" y="1017"/>
                  </a:cxn>
                  <a:cxn ang="0">
                    <a:pos x="710" y="1053"/>
                  </a:cxn>
                  <a:cxn ang="0">
                    <a:pos x="972" y="1230"/>
                  </a:cxn>
                  <a:cxn ang="0">
                    <a:pos x="1167" y="1076"/>
                  </a:cxn>
                  <a:cxn ang="0">
                    <a:pos x="263" y="663"/>
                  </a:cxn>
                  <a:cxn ang="0">
                    <a:pos x="358" y="598"/>
                  </a:cxn>
                  <a:cxn ang="0">
                    <a:pos x="748" y="322"/>
                  </a:cxn>
                  <a:cxn ang="0">
                    <a:pos x="1627" y="1195"/>
                  </a:cxn>
                </a:cxnLst>
                <a:rect l="0" t="0" r="r" b="b"/>
                <a:pathLst>
                  <a:path w="1695" h="1619">
                    <a:moveTo>
                      <a:pt x="644" y="14"/>
                    </a:moveTo>
                    <a:cubicBezTo>
                      <a:pt x="639" y="14"/>
                      <a:pt x="635" y="15"/>
                      <a:pt x="632" y="17"/>
                    </a:cubicBezTo>
                    <a:cubicBezTo>
                      <a:pt x="637" y="18"/>
                      <a:pt x="640" y="16"/>
                      <a:pt x="644" y="14"/>
                    </a:cubicBezTo>
                    <a:close/>
                    <a:moveTo>
                      <a:pt x="650" y="19"/>
                    </a:moveTo>
                    <a:cubicBezTo>
                      <a:pt x="653" y="22"/>
                      <a:pt x="656" y="17"/>
                      <a:pt x="659" y="16"/>
                    </a:cubicBezTo>
                    <a:cubicBezTo>
                      <a:pt x="655" y="16"/>
                      <a:pt x="651" y="16"/>
                      <a:pt x="650" y="19"/>
                    </a:cubicBezTo>
                    <a:close/>
                    <a:moveTo>
                      <a:pt x="624" y="30"/>
                    </a:moveTo>
                    <a:cubicBezTo>
                      <a:pt x="630" y="28"/>
                      <a:pt x="637" y="28"/>
                      <a:pt x="640" y="25"/>
                    </a:cubicBezTo>
                    <a:cubicBezTo>
                      <a:pt x="635" y="26"/>
                      <a:pt x="627" y="26"/>
                      <a:pt x="624" y="30"/>
                    </a:cubicBezTo>
                    <a:close/>
                    <a:moveTo>
                      <a:pt x="623" y="30"/>
                    </a:moveTo>
                    <a:cubicBezTo>
                      <a:pt x="619" y="31"/>
                      <a:pt x="614" y="31"/>
                      <a:pt x="612" y="33"/>
                    </a:cubicBezTo>
                    <a:cubicBezTo>
                      <a:pt x="616" y="33"/>
                      <a:pt x="621" y="33"/>
                      <a:pt x="623" y="30"/>
                    </a:cubicBezTo>
                    <a:close/>
                    <a:moveTo>
                      <a:pt x="1163" y="173"/>
                    </a:moveTo>
                    <a:cubicBezTo>
                      <a:pt x="1161" y="169"/>
                      <a:pt x="1163" y="169"/>
                      <a:pt x="1164" y="166"/>
                    </a:cubicBezTo>
                    <a:cubicBezTo>
                      <a:pt x="1161" y="162"/>
                      <a:pt x="1154" y="163"/>
                      <a:pt x="1150" y="165"/>
                    </a:cubicBezTo>
                    <a:cubicBezTo>
                      <a:pt x="1152" y="170"/>
                      <a:pt x="1156" y="173"/>
                      <a:pt x="1163" y="173"/>
                    </a:cubicBezTo>
                    <a:close/>
                    <a:moveTo>
                      <a:pt x="368" y="214"/>
                    </a:moveTo>
                    <a:cubicBezTo>
                      <a:pt x="382" y="213"/>
                      <a:pt x="388" y="203"/>
                      <a:pt x="395" y="195"/>
                    </a:cubicBezTo>
                    <a:cubicBezTo>
                      <a:pt x="390" y="197"/>
                      <a:pt x="389" y="193"/>
                      <a:pt x="391" y="190"/>
                    </a:cubicBezTo>
                    <a:cubicBezTo>
                      <a:pt x="386" y="190"/>
                      <a:pt x="387" y="191"/>
                      <a:pt x="389" y="188"/>
                    </a:cubicBezTo>
                    <a:cubicBezTo>
                      <a:pt x="387" y="187"/>
                      <a:pt x="385" y="191"/>
                      <a:pt x="384" y="189"/>
                    </a:cubicBezTo>
                    <a:cubicBezTo>
                      <a:pt x="387" y="186"/>
                      <a:pt x="392" y="184"/>
                      <a:pt x="395" y="179"/>
                    </a:cubicBezTo>
                    <a:cubicBezTo>
                      <a:pt x="391" y="180"/>
                      <a:pt x="386" y="179"/>
                      <a:pt x="382" y="182"/>
                    </a:cubicBezTo>
                    <a:cubicBezTo>
                      <a:pt x="381" y="185"/>
                      <a:pt x="385" y="183"/>
                      <a:pt x="384" y="186"/>
                    </a:cubicBezTo>
                    <a:cubicBezTo>
                      <a:pt x="381" y="186"/>
                      <a:pt x="381" y="188"/>
                      <a:pt x="378" y="188"/>
                    </a:cubicBezTo>
                    <a:cubicBezTo>
                      <a:pt x="378" y="186"/>
                      <a:pt x="378" y="185"/>
                      <a:pt x="376" y="185"/>
                    </a:cubicBezTo>
                    <a:cubicBezTo>
                      <a:pt x="374" y="189"/>
                      <a:pt x="370" y="198"/>
                      <a:pt x="366" y="194"/>
                    </a:cubicBezTo>
                    <a:cubicBezTo>
                      <a:pt x="361" y="198"/>
                      <a:pt x="361" y="204"/>
                      <a:pt x="356" y="209"/>
                    </a:cubicBezTo>
                    <a:cubicBezTo>
                      <a:pt x="359" y="211"/>
                      <a:pt x="365" y="211"/>
                      <a:pt x="368" y="214"/>
                    </a:cubicBezTo>
                    <a:close/>
                    <a:moveTo>
                      <a:pt x="775" y="204"/>
                    </a:moveTo>
                    <a:cubicBezTo>
                      <a:pt x="776" y="205"/>
                      <a:pt x="777" y="205"/>
                      <a:pt x="778" y="206"/>
                    </a:cubicBezTo>
                    <a:cubicBezTo>
                      <a:pt x="781" y="206"/>
                      <a:pt x="780" y="202"/>
                      <a:pt x="784" y="203"/>
                    </a:cubicBezTo>
                    <a:cubicBezTo>
                      <a:pt x="784" y="205"/>
                      <a:pt x="783" y="205"/>
                      <a:pt x="783" y="207"/>
                    </a:cubicBezTo>
                    <a:cubicBezTo>
                      <a:pt x="791" y="209"/>
                      <a:pt x="795" y="209"/>
                      <a:pt x="803" y="211"/>
                    </a:cubicBezTo>
                    <a:cubicBezTo>
                      <a:pt x="803" y="206"/>
                      <a:pt x="801" y="203"/>
                      <a:pt x="800" y="200"/>
                    </a:cubicBezTo>
                    <a:cubicBezTo>
                      <a:pt x="796" y="199"/>
                      <a:pt x="797" y="203"/>
                      <a:pt x="794" y="202"/>
                    </a:cubicBezTo>
                    <a:cubicBezTo>
                      <a:pt x="795" y="198"/>
                      <a:pt x="790" y="203"/>
                      <a:pt x="790" y="200"/>
                    </a:cubicBezTo>
                    <a:cubicBezTo>
                      <a:pt x="790" y="193"/>
                      <a:pt x="783" y="188"/>
                      <a:pt x="776" y="191"/>
                    </a:cubicBezTo>
                    <a:cubicBezTo>
                      <a:pt x="774" y="196"/>
                      <a:pt x="779" y="202"/>
                      <a:pt x="775" y="204"/>
                    </a:cubicBezTo>
                    <a:close/>
                    <a:moveTo>
                      <a:pt x="1025" y="205"/>
                    </a:moveTo>
                    <a:cubicBezTo>
                      <a:pt x="1021" y="202"/>
                      <a:pt x="1009" y="202"/>
                      <a:pt x="1003" y="205"/>
                    </a:cubicBezTo>
                    <a:cubicBezTo>
                      <a:pt x="1007" y="208"/>
                      <a:pt x="1022" y="211"/>
                      <a:pt x="1025" y="205"/>
                    </a:cubicBezTo>
                    <a:close/>
                    <a:moveTo>
                      <a:pt x="827" y="214"/>
                    </a:moveTo>
                    <a:cubicBezTo>
                      <a:pt x="824" y="211"/>
                      <a:pt x="819" y="204"/>
                      <a:pt x="815" y="208"/>
                    </a:cubicBezTo>
                    <a:cubicBezTo>
                      <a:pt x="813" y="206"/>
                      <a:pt x="814" y="202"/>
                      <a:pt x="810" y="203"/>
                    </a:cubicBezTo>
                    <a:cubicBezTo>
                      <a:pt x="810" y="209"/>
                      <a:pt x="806" y="215"/>
                      <a:pt x="808" y="220"/>
                    </a:cubicBezTo>
                    <a:cubicBezTo>
                      <a:pt x="815" y="218"/>
                      <a:pt x="819" y="214"/>
                      <a:pt x="827" y="214"/>
                    </a:cubicBezTo>
                    <a:close/>
                    <a:moveTo>
                      <a:pt x="990" y="219"/>
                    </a:moveTo>
                    <a:cubicBezTo>
                      <a:pt x="988" y="218"/>
                      <a:pt x="989" y="216"/>
                      <a:pt x="989" y="215"/>
                    </a:cubicBezTo>
                    <a:cubicBezTo>
                      <a:pt x="993" y="214"/>
                      <a:pt x="994" y="213"/>
                      <a:pt x="995" y="210"/>
                    </a:cubicBezTo>
                    <a:cubicBezTo>
                      <a:pt x="996" y="211"/>
                      <a:pt x="1001" y="212"/>
                      <a:pt x="1001" y="209"/>
                    </a:cubicBezTo>
                    <a:cubicBezTo>
                      <a:pt x="1000" y="205"/>
                      <a:pt x="993" y="205"/>
                      <a:pt x="988" y="206"/>
                    </a:cubicBezTo>
                    <a:cubicBezTo>
                      <a:pt x="986" y="209"/>
                      <a:pt x="993" y="209"/>
                      <a:pt x="990" y="210"/>
                    </a:cubicBezTo>
                    <a:cubicBezTo>
                      <a:pt x="986" y="208"/>
                      <a:pt x="985" y="205"/>
                      <a:pt x="978" y="206"/>
                    </a:cubicBezTo>
                    <a:cubicBezTo>
                      <a:pt x="978" y="208"/>
                      <a:pt x="980" y="209"/>
                      <a:pt x="978" y="209"/>
                    </a:cubicBezTo>
                    <a:cubicBezTo>
                      <a:pt x="975" y="208"/>
                      <a:pt x="969" y="207"/>
                      <a:pt x="966" y="208"/>
                    </a:cubicBezTo>
                    <a:cubicBezTo>
                      <a:pt x="968" y="217"/>
                      <a:pt x="981" y="220"/>
                      <a:pt x="990" y="219"/>
                    </a:cubicBezTo>
                    <a:close/>
                    <a:moveTo>
                      <a:pt x="998" y="219"/>
                    </a:moveTo>
                    <a:cubicBezTo>
                      <a:pt x="999" y="222"/>
                      <a:pt x="1003" y="225"/>
                      <a:pt x="1006" y="222"/>
                    </a:cubicBezTo>
                    <a:cubicBezTo>
                      <a:pt x="1006" y="219"/>
                      <a:pt x="1001" y="217"/>
                      <a:pt x="998" y="219"/>
                    </a:cubicBezTo>
                    <a:close/>
                    <a:moveTo>
                      <a:pt x="1008" y="222"/>
                    </a:moveTo>
                    <a:cubicBezTo>
                      <a:pt x="1010" y="229"/>
                      <a:pt x="1021" y="222"/>
                      <a:pt x="1024" y="222"/>
                    </a:cubicBezTo>
                    <a:cubicBezTo>
                      <a:pt x="1020" y="219"/>
                      <a:pt x="1010" y="215"/>
                      <a:pt x="1008" y="222"/>
                    </a:cubicBezTo>
                    <a:close/>
                    <a:moveTo>
                      <a:pt x="700" y="223"/>
                    </a:moveTo>
                    <a:cubicBezTo>
                      <a:pt x="692" y="221"/>
                      <a:pt x="686" y="227"/>
                      <a:pt x="680" y="228"/>
                    </a:cubicBezTo>
                    <a:cubicBezTo>
                      <a:pt x="677" y="229"/>
                      <a:pt x="675" y="226"/>
                      <a:pt x="673" y="226"/>
                    </a:cubicBezTo>
                    <a:cubicBezTo>
                      <a:pt x="664" y="226"/>
                      <a:pt x="657" y="232"/>
                      <a:pt x="650" y="236"/>
                    </a:cubicBezTo>
                    <a:cubicBezTo>
                      <a:pt x="651" y="236"/>
                      <a:pt x="652" y="236"/>
                      <a:pt x="652" y="238"/>
                    </a:cubicBezTo>
                    <a:cubicBezTo>
                      <a:pt x="639" y="246"/>
                      <a:pt x="627" y="254"/>
                      <a:pt x="618" y="266"/>
                    </a:cubicBezTo>
                    <a:cubicBezTo>
                      <a:pt x="619" y="269"/>
                      <a:pt x="625" y="268"/>
                      <a:pt x="626" y="272"/>
                    </a:cubicBezTo>
                    <a:cubicBezTo>
                      <a:pt x="626" y="275"/>
                      <a:pt x="624" y="275"/>
                      <a:pt x="624" y="278"/>
                    </a:cubicBezTo>
                    <a:cubicBezTo>
                      <a:pt x="627" y="282"/>
                      <a:pt x="632" y="283"/>
                      <a:pt x="638" y="283"/>
                    </a:cubicBezTo>
                    <a:cubicBezTo>
                      <a:pt x="624" y="263"/>
                      <a:pt x="661" y="241"/>
                      <a:pt x="673" y="237"/>
                    </a:cubicBezTo>
                    <a:cubicBezTo>
                      <a:pt x="683" y="234"/>
                      <a:pt x="700" y="237"/>
                      <a:pt x="700" y="223"/>
                    </a:cubicBezTo>
                    <a:close/>
                    <a:moveTo>
                      <a:pt x="1326" y="255"/>
                    </a:moveTo>
                    <a:cubicBezTo>
                      <a:pt x="1325" y="250"/>
                      <a:pt x="1322" y="249"/>
                      <a:pt x="1318" y="247"/>
                    </a:cubicBezTo>
                    <a:cubicBezTo>
                      <a:pt x="1319" y="252"/>
                      <a:pt x="1322" y="254"/>
                      <a:pt x="1326" y="255"/>
                    </a:cubicBezTo>
                    <a:close/>
                    <a:moveTo>
                      <a:pt x="702" y="263"/>
                    </a:moveTo>
                    <a:cubicBezTo>
                      <a:pt x="704" y="264"/>
                      <a:pt x="709" y="263"/>
                      <a:pt x="708" y="258"/>
                    </a:cubicBezTo>
                    <a:cubicBezTo>
                      <a:pt x="703" y="257"/>
                      <a:pt x="701" y="258"/>
                      <a:pt x="702" y="263"/>
                    </a:cubicBezTo>
                    <a:close/>
                    <a:moveTo>
                      <a:pt x="335" y="283"/>
                    </a:moveTo>
                    <a:cubicBezTo>
                      <a:pt x="331" y="283"/>
                      <a:pt x="330" y="286"/>
                      <a:pt x="328" y="289"/>
                    </a:cubicBezTo>
                    <a:cubicBezTo>
                      <a:pt x="332" y="288"/>
                      <a:pt x="333" y="285"/>
                      <a:pt x="335" y="283"/>
                    </a:cubicBezTo>
                    <a:close/>
                    <a:moveTo>
                      <a:pt x="303" y="287"/>
                    </a:moveTo>
                    <a:cubicBezTo>
                      <a:pt x="299" y="287"/>
                      <a:pt x="296" y="288"/>
                      <a:pt x="296" y="292"/>
                    </a:cubicBezTo>
                    <a:cubicBezTo>
                      <a:pt x="300" y="292"/>
                      <a:pt x="302" y="289"/>
                      <a:pt x="303" y="287"/>
                    </a:cubicBezTo>
                    <a:close/>
                    <a:moveTo>
                      <a:pt x="650" y="298"/>
                    </a:moveTo>
                    <a:cubicBezTo>
                      <a:pt x="654" y="295"/>
                      <a:pt x="651" y="287"/>
                      <a:pt x="645" y="288"/>
                    </a:cubicBezTo>
                    <a:cubicBezTo>
                      <a:pt x="643" y="292"/>
                      <a:pt x="646" y="298"/>
                      <a:pt x="650" y="298"/>
                    </a:cubicBezTo>
                    <a:close/>
                    <a:moveTo>
                      <a:pt x="294" y="294"/>
                    </a:moveTo>
                    <a:cubicBezTo>
                      <a:pt x="290" y="295"/>
                      <a:pt x="289" y="298"/>
                      <a:pt x="288" y="300"/>
                    </a:cubicBezTo>
                    <a:cubicBezTo>
                      <a:pt x="291" y="300"/>
                      <a:pt x="293" y="298"/>
                      <a:pt x="294" y="294"/>
                    </a:cubicBezTo>
                    <a:close/>
                    <a:moveTo>
                      <a:pt x="252" y="331"/>
                    </a:moveTo>
                    <a:cubicBezTo>
                      <a:pt x="262" y="330"/>
                      <a:pt x="267" y="320"/>
                      <a:pt x="266" y="311"/>
                    </a:cubicBezTo>
                    <a:cubicBezTo>
                      <a:pt x="259" y="311"/>
                      <a:pt x="258" y="316"/>
                      <a:pt x="253" y="318"/>
                    </a:cubicBezTo>
                    <a:cubicBezTo>
                      <a:pt x="253" y="315"/>
                      <a:pt x="255" y="315"/>
                      <a:pt x="254" y="313"/>
                    </a:cubicBezTo>
                    <a:cubicBezTo>
                      <a:pt x="249" y="316"/>
                      <a:pt x="243" y="320"/>
                      <a:pt x="241" y="327"/>
                    </a:cubicBezTo>
                    <a:cubicBezTo>
                      <a:pt x="232" y="331"/>
                      <a:pt x="225" y="333"/>
                      <a:pt x="222" y="343"/>
                    </a:cubicBezTo>
                    <a:cubicBezTo>
                      <a:pt x="225" y="345"/>
                      <a:pt x="230" y="345"/>
                      <a:pt x="235" y="347"/>
                    </a:cubicBezTo>
                    <a:cubicBezTo>
                      <a:pt x="242" y="343"/>
                      <a:pt x="247" y="337"/>
                      <a:pt x="252" y="331"/>
                    </a:cubicBezTo>
                    <a:close/>
                    <a:moveTo>
                      <a:pt x="1434" y="332"/>
                    </a:moveTo>
                    <a:cubicBezTo>
                      <a:pt x="1433" y="327"/>
                      <a:pt x="1427" y="321"/>
                      <a:pt x="1424" y="321"/>
                    </a:cubicBezTo>
                    <a:cubicBezTo>
                      <a:pt x="1428" y="324"/>
                      <a:pt x="1429" y="330"/>
                      <a:pt x="1434" y="332"/>
                    </a:cubicBezTo>
                    <a:close/>
                    <a:moveTo>
                      <a:pt x="1443" y="338"/>
                    </a:moveTo>
                    <a:cubicBezTo>
                      <a:pt x="1442" y="337"/>
                      <a:pt x="1440" y="333"/>
                      <a:pt x="1438" y="336"/>
                    </a:cubicBezTo>
                    <a:cubicBezTo>
                      <a:pt x="1440" y="336"/>
                      <a:pt x="1441" y="341"/>
                      <a:pt x="1443" y="338"/>
                    </a:cubicBezTo>
                    <a:close/>
                    <a:moveTo>
                      <a:pt x="1291" y="369"/>
                    </a:moveTo>
                    <a:cubicBezTo>
                      <a:pt x="1295" y="372"/>
                      <a:pt x="1297" y="376"/>
                      <a:pt x="1304" y="376"/>
                    </a:cubicBezTo>
                    <a:cubicBezTo>
                      <a:pt x="1302" y="372"/>
                      <a:pt x="1296" y="367"/>
                      <a:pt x="1291" y="369"/>
                    </a:cubicBezTo>
                    <a:close/>
                    <a:moveTo>
                      <a:pt x="1480" y="388"/>
                    </a:moveTo>
                    <a:cubicBezTo>
                      <a:pt x="1480" y="384"/>
                      <a:pt x="1479" y="381"/>
                      <a:pt x="1476" y="381"/>
                    </a:cubicBezTo>
                    <a:cubicBezTo>
                      <a:pt x="1476" y="384"/>
                      <a:pt x="1478" y="386"/>
                      <a:pt x="1480" y="388"/>
                    </a:cubicBezTo>
                    <a:close/>
                    <a:moveTo>
                      <a:pt x="1489" y="410"/>
                    </a:moveTo>
                    <a:cubicBezTo>
                      <a:pt x="1484" y="407"/>
                      <a:pt x="1486" y="397"/>
                      <a:pt x="1480" y="394"/>
                    </a:cubicBezTo>
                    <a:cubicBezTo>
                      <a:pt x="1478" y="401"/>
                      <a:pt x="1485" y="410"/>
                      <a:pt x="1489" y="410"/>
                    </a:cubicBezTo>
                    <a:close/>
                    <a:moveTo>
                      <a:pt x="1494" y="424"/>
                    </a:moveTo>
                    <a:cubicBezTo>
                      <a:pt x="1493" y="419"/>
                      <a:pt x="1491" y="416"/>
                      <a:pt x="1487" y="414"/>
                    </a:cubicBezTo>
                    <a:cubicBezTo>
                      <a:pt x="1488" y="418"/>
                      <a:pt x="1491" y="421"/>
                      <a:pt x="1494" y="424"/>
                    </a:cubicBezTo>
                    <a:close/>
                    <a:moveTo>
                      <a:pt x="1487" y="454"/>
                    </a:moveTo>
                    <a:cubicBezTo>
                      <a:pt x="1487" y="455"/>
                      <a:pt x="1485" y="455"/>
                      <a:pt x="1483" y="455"/>
                    </a:cubicBezTo>
                    <a:cubicBezTo>
                      <a:pt x="1488" y="465"/>
                      <a:pt x="1498" y="471"/>
                      <a:pt x="1507" y="477"/>
                    </a:cubicBezTo>
                    <a:cubicBezTo>
                      <a:pt x="1506" y="472"/>
                      <a:pt x="1506" y="469"/>
                      <a:pt x="1505" y="464"/>
                    </a:cubicBezTo>
                    <a:cubicBezTo>
                      <a:pt x="1501" y="464"/>
                      <a:pt x="1495" y="468"/>
                      <a:pt x="1495" y="462"/>
                    </a:cubicBezTo>
                    <a:cubicBezTo>
                      <a:pt x="1496" y="462"/>
                      <a:pt x="1498" y="463"/>
                      <a:pt x="1499" y="463"/>
                    </a:cubicBezTo>
                    <a:cubicBezTo>
                      <a:pt x="1499" y="461"/>
                      <a:pt x="1498" y="457"/>
                      <a:pt x="1500" y="456"/>
                    </a:cubicBezTo>
                    <a:cubicBezTo>
                      <a:pt x="1503" y="455"/>
                      <a:pt x="1507" y="455"/>
                      <a:pt x="1510" y="454"/>
                    </a:cubicBezTo>
                    <a:cubicBezTo>
                      <a:pt x="1510" y="447"/>
                      <a:pt x="1502" y="447"/>
                      <a:pt x="1501" y="440"/>
                    </a:cubicBezTo>
                    <a:cubicBezTo>
                      <a:pt x="1504" y="437"/>
                      <a:pt x="1503" y="432"/>
                      <a:pt x="1500" y="428"/>
                    </a:cubicBezTo>
                    <a:cubicBezTo>
                      <a:pt x="1494" y="429"/>
                      <a:pt x="1493" y="423"/>
                      <a:pt x="1488" y="422"/>
                    </a:cubicBezTo>
                    <a:cubicBezTo>
                      <a:pt x="1488" y="425"/>
                      <a:pt x="1490" y="426"/>
                      <a:pt x="1489" y="429"/>
                    </a:cubicBezTo>
                    <a:cubicBezTo>
                      <a:pt x="1481" y="435"/>
                      <a:pt x="1471" y="429"/>
                      <a:pt x="1460" y="429"/>
                    </a:cubicBezTo>
                    <a:cubicBezTo>
                      <a:pt x="1465" y="441"/>
                      <a:pt x="1483" y="441"/>
                      <a:pt x="1487" y="454"/>
                    </a:cubicBezTo>
                    <a:close/>
                    <a:moveTo>
                      <a:pt x="1515" y="474"/>
                    </a:moveTo>
                    <a:cubicBezTo>
                      <a:pt x="1514" y="477"/>
                      <a:pt x="1512" y="473"/>
                      <a:pt x="1510" y="474"/>
                    </a:cubicBezTo>
                    <a:cubicBezTo>
                      <a:pt x="1514" y="481"/>
                      <a:pt x="1519" y="486"/>
                      <a:pt x="1525" y="491"/>
                    </a:cubicBezTo>
                    <a:cubicBezTo>
                      <a:pt x="1526" y="492"/>
                      <a:pt x="1528" y="491"/>
                      <a:pt x="1529" y="491"/>
                    </a:cubicBezTo>
                    <a:cubicBezTo>
                      <a:pt x="1536" y="495"/>
                      <a:pt x="1535" y="507"/>
                      <a:pt x="1544" y="511"/>
                    </a:cubicBezTo>
                    <a:cubicBezTo>
                      <a:pt x="1545" y="521"/>
                      <a:pt x="1552" y="526"/>
                      <a:pt x="1548" y="536"/>
                    </a:cubicBezTo>
                    <a:cubicBezTo>
                      <a:pt x="1545" y="535"/>
                      <a:pt x="1545" y="531"/>
                      <a:pt x="1542" y="530"/>
                    </a:cubicBezTo>
                    <a:cubicBezTo>
                      <a:pt x="1545" y="541"/>
                      <a:pt x="1552" y="547"/>
                      <a:pt x="1557" y="557"/>
                    </a:cubicBezTo>
                    <a:cubicBezTo>
                      <a:pt x="1550" y="560"/>
                      <a:pt x="1553" y="574"/>
                      <a:pt x="1546" y="577"/>
                    </a:cubicBezTo>
                    <a:cubicBezTo>
                      <a:pt x="1550" y="587"/>
                      <a:pt x="1546" y="603"/>
                      <a:pt x="1553" y="607"/>
                    </a:cubicBezTo>
                    <a:cubicBezTo>
                      <a:pt x="1562" y="602"/>
                      <a:pt x="1556" y="592"/>
                      <a:pt x="1561" y="583"/>
                    </a:cubicBezTo>
                    <a:cubicBezTo>
                      <a:pt x="1562" y="593"/>
                      <a:pt x="1563" y="613"/>
                      <a:pt x="1575" y="607"/>
                    </a:cubicBezTo>
                    <a:cubicBezTo>
                      <a:pt x="1573" y="604"/>
                      <a:pt x="1572" y="599"/>
                      <a:pt x="1571" y="595"/>
                    </a:cubicBezTo>
                    <a:cubicBezTo>
                      <a:pt x="1573" y="593"/>
                      <a:pt x="1573" y="595"/>
                      <a:pt x="1576" y="595"/>
                    </a:cubicBezTo>
                    <a:cubicBezTo>
                      <a:pt x="1574" y="590"/>
                      <a:pt x="1573" y="585"/>
                      <a:pt x="1570" y="581"/>
                    </a:cubicBezTo>
                    <a:cubicBezTo>
                      <a:pt x="1566" y="580"/>
                      <a:pt x="1567" y="583"/>
                      <a:pt x="1564" y="582"/>
                    </a:cubicBezTo>
                    <a:cubicBezTo>
                      <a:pt x="1564" y="579"/>
                      <a:pt x="1561" y="579"/>
                      <a:pt x="1562" y="575"/>
                    </a:cubicBezTo>
                    <a:cubicBezTo>
                      <a:pt x="1566" y="577"/>
                      <a:pt x="1564" y="571"/>
                      <a:pt x="1566" y="571"/>
                    </a:cubicBezTo>
                    <a:cubicBezTo>
                      <a:pt x="1569" y="576"/>
                      <a:pt x="1570" y="583"/>
                      <a:pt x="1578" y="582"/>
                    </a:cubicBezTo>
                    <a:cubicBezTo>
                      <a:pt x="1581" y="576"/>
                      <a:pt x="1574" y="573"/>
                      <a:pt x="1575" y="564"/>
                    </a:cubicBezTo>
                    <a:cubicBezTo>
                      <a:pt x="1573" y="562"/>
                      <a:pt x="1567" y="563"/>
                      <a:pt x="1568" y="558"/>
                    </a:cubicBezTo>
                    <a:cubicBezTo>
                      <a:pt x="1569" y="559"/>
                      <a:pt x="1571" y="559"/>
                      <a:pt x="1573" y="558"/>
                    </a:cubicBezTo>
                    <a:cubicBezTo>
                      <a:pt x="1576" y="554"/>
                      <a:pt x="1575" y="549"/>
                      <a:pt x="1573" y="544"/>
                    </a:cubicBezTo>
                    <a:cubicBezTo>
                      <a:pt x="1575" y="544"/>
                      <a:pt x="1577" y="549"/>
                      <a:pt x="1578" y="546"/>
                    </a:cubicBezTo>
                    <a:cubicBezTo>
                      <a:pt x="1575" y="542"/>
                      <a:pt x="1572" y="536"/>
                      <a:pt x="1571" y="530"/>
                    </a:cubicBezTo>
                    <a:cubicBezTo>
                      <a:pt x="1574" y="531"/>
                      <a:pt x="1574" y="535"/>
                      <a:pt x="1577" y="536"/>
                    </a:cubicBezTo>
                    <a:cubicBezTo>
                      <a:pt x="1578" y="529"/>
                      <a:pt x="1573" y="528"/>
                      <a:pt x="1572" y="522"/>
                    </a:cubicBezTo>
                    <a:cubicBezTo>
                      <a:pt x="1571" y="521"/>
                      <a:pt x="1569" y="520"/>
                      <a:pt x="1567" y="520"/>
                    </a:cubicBezTo>
                    <a:cubicBezTo>
                      <a:pt x="1564" y="507"/>
                      <a:pt x="1548" y="508"/>
                      <a:pt x="1547" y="493"/>
                    </a:cubicBezTo>
                    <a:cubicBezTo>
                      <a:pt x="1539" y="479"/>
                      <a:pt x="1524" y="473"/>
                      <a:pt x="1509" y="467"/>
                    </a:cubicBezTo>
                    <a:cubicBezTo>
                      <a:pt x="1509" y="474"/>
                      <a:pt x="1514" y="471"/>
                      <a:pt x="1515" y="474"/>
                    </a:cubicBezTo>
                    <a:close/>
                    <a:moveTo>
                      <a:pt x="1538" y="514"/>
                    </a:moveTo>
                    <a:cubicBezTo>
                      <a:pt x="1539" y="517"/>
                      <a:pt x="1541" y="519"/>
                      <a:pt x="1544" y="520"/>
                    </a:cubicBezTo>
                    <a:cubicBezTo>
                      <a:pt x="1543" y="517"/>
                      <a:pt x="1542" y="514"/>
                      <a:pt x="1538" y="514"/>
                    </a:cubicBezTo>
                    <a:close/>
                    <a:moveTo>
                      <a:pt x="165" y="558"/>
                    </a:moveTo>
                    <a:cubicBezTo>
                      <a:pt x="172" y="553"/>
                      <a:pt x="179" y="544"/>
                      <a:pt x="179" y="535"/>
                    </a:cubicBezTo>
                    <a:cubicBezTo>
                      <a:pt x="170" y="538"/>
                      <a:pt x="165" y="549"/>
                      <a:pt x="165" y="558"/>
                    </a:cubicBezTo>
                    <a:close/>
                    <a:moveTo>
                      <a:pt x="131" y="540"/>
                    </a:moveTo>
                    <a:cubicBezTo>
                      <a:pt x="127" y="541"/>
                      <a:pt x="126" y="548"/>
                      <a:pt x="128" y="551"/>
                    </a:cubicBezTo>
                    <a:cubicBezTo>
                      <a:pt x="132" y="551"/>
                      <a:pt x="135" y="542"/>
                      <a:pt x="131" y="540"/>
                    </a:cubicBezTo>
                    <a:close/>
                    <a:moveTo>
                      <a:pt x="134" y="552"/>
                    </a:moveTo>
                    <a:cubicBezTo>
                      <a:pt x="135" y="550"/>
                      <a:pt x="139" y="545"/>
                      <a:pt x="134" y="545"/>
                    </a:cubicBezTo>
                    <a:cubicBezTo>
                      <a:pt x="135" y="548"/>
                      <a:pt x="132" y="550"/>
                      <a:pt x="134" y="552"/>
                    </a:cubicBezTo>
                    <a:close/>
                    <a:moveTo>
                      <a:pt x="157" y="557"/>
                    </a:moveTo>
                    <a:cubicBezTo>
                      <a:pt x="155" y="569"/>
                      <a:pt x="146" y="575"/>
                      <a:pt x="143" y="588"/>
                    </a:cubicBezTo>
                    <a:cubicBezTo>
                      <a:pt x="145" y="589"/>
                      <a:pt x="147" y="588"/>
                      <a:pt x="150" y="590"/>
                    </a:cubicBezTo>
                    <a:cubicBezTo>
                      <a:pt x="155" y="580"/>
                      <a:pt x="164" y="574"/>
                      <a:pt x="165" y="559"/>
                    </a:cubicBezTo>
                    <a:cubicBezTo>
                      <a:pt x="160" y="562"/>
                      <a:pt x="160" y="559"/>
                      <a:pt x="157" y="557"/>
                    </a:cubicBezTo>
                    <a:close/>
                    <a:moveTo>
                      <a:pt x="1553" y="610"/>
                    </a:moveTo>
                    <a:cubicBezTo>
                      <a:pt x="1553" y="615"/>
                      <a:pt x="1554" y="620"/>
                      <a:pt x="1552" y="624"/>
                    </a:cubicBezTo>
                    <a:cubicBezTo>
                      <a:pt x="1554" y="627"/>
                      <a:pt x="1557" y="628"/>
                      <a:pt x="1560" y="630"/>
                    </a:cubicBezTo>
                    <a:cubicBezTo>
                      <a:pt x="1563" y="629"/>
                      <a:pt x="1558" y="626"/>
                      <a:pt x="1561" y="625"/>
                    </a:cubicBezTo>
                    <a:cubicBezTo>
                      <a:pt x="1569" y="629"/>
                      <a:pt x="1566" y="644"/>
                      <a:pt x="1576" y="646"/>
                    </a:cubicBezTo>
                    <a:cubicBezTo>
                      <a:pt x="1578" y="642"/>
                      <a:pt x="1572" y="639"/>
                      <a:pt x="1575" y="636"/>
                    </a:cubicBezTo>
                    <a:cubicBezTo>
                      <a:pt x="1578" y="636"/>
                      <a:pt x="1577" y="641"/>
                      <a:pt x="1580" y="641"/>
                    </a:cubicBezTo>
                    <a:cubicBezTo>
                      <a:pt x="1580" y="628"/>
                      <a:pt x="1569" y="627"/>
                      <a:pt x="1570" y="613"/>
                    </a:cubicBezTo>
                    <a:cubicBezTo>
                      <a:pt x="1564" y="609"/>
                      <a:pt x="1559" y="608"/>
                      <a:pt x="1553" y="610"/>
                    </a:cubicBezTo>
                    <a:close/>
                    <a:moveTo>
                      <a:pt x="1533" y="650"/>
                    </a:moveTo>
                    <a:cubicBezTo>
                      <a:pt x="1538" y="651"/>
                      <a:pt x="1537" y="646"/>
                      <a:pt x="1537" y="642"/>
                    </a:cubicBezTo>
                    <a:cubicBezTo>
                      <a:pt x="1534" y="642"/>
                      <a:pt x="1534" y="642"/>
                      <a:pt x="1534" y="642"/>
                    </a:cubicBezTo>
                    <a:cubicBezTo>
                      <a:pt x="1533" y="644"/>
                      <a:pt x="1531" y="647"/>
                      <a:pt x="1533" y="650"/>
                    </a:cubicBezTo>
                    <a:close/>
                    <a:moveTo>
                      <a:pt x="151" y="669"/>
                    </a:moveTo>
                    <a:cubicBezTo>
                      <a:pt x="152" y="668"/>
                      <a:pt x="154" y="661"/>
                      <a:pt x="151" y="660"/>
                    </a:cubicBezTo>
                    <a:cubicBezTo>
                      <a:pt x="150" y="662"/>
                      <a:pt x="146" y="668"/>
                      <a:pt x="151" y="669"/>
                    </a:cubicBezTo>
                    <a:close/>
                    <a:moveTo>
                      <a:pt x="252" y="666"/>
                    </a:moveTo>
                    <a:cubicBezTo>
                      <a:pt x="253" y="665"/>
                      <a:pt x="254" y="664"/>
                      <a:pt x="253" y="662"/>
                    </a:cubicBezTo>
                    <a:cubicBezTo>
                      <a:pt x="252" y="662"/>
                      <a:pt x="252" y="661"/>
                      <a:pt x="250" y="661"/>
                    </a:cubicBezTo>
                    <a:cubicBezTo>
                      <a:pt x="249" y="664"/>
                      <a:pt x="249" y="666"/>
                      <a:pt x="252" y="666"/>
                    </a:cubicBezTo>
                    <a:close/>
                    <a:moveTo>
                      <a:pt x="205" y="662"/>
                    </a:moveTo>
                    <a:cubicBezTo>
                      <a:pt x="203" y="664"/>
                      <a:pt x="202" y="669"/>
                      <a:pt x="206" y="669"/>
                    </a:cubicBezTo>
                    <a:cubicBezTo>
                      <a:pt x="208" y="668"/>
                      <a:pt x="208" y="662"/>
                      <a:pt x="205" y="662"/>
                    </a:cubicBezTo>
                    <a:close/>
                    <a:moveTo>
                      <a:pt x="202" y="678"/>
                    </a:moveTo>
                    <a:cubicBezTo>
                      <a:pt x="205" y="678"/>
                      <a:pt x="205" y="674"/>
                      <a:pt x="205" y="672"/>
                    </a:cubicBezTo>
                    <a:cubicBezTo>
                      <a:pt x="203" y="672"/>
                      <a:pt x="203" y="672"/>
                      <a:pt x="203" y="672"/>
                    </a:cubicBezTo>
                    <a:cubicBezTo>
                      <a:pt x="203" y="674"/>
                      <a:pt x="201" y="675"/>
                      <a:pt x="202" y="678"/>
                    </a:cubicBezTo>
                    <a:close/>
                    <a:moveTo>
                      <a:pt x="235" y="694"/>
                    </a:moveTo>
                    <a:cubicBezTo>
                      <a:pt x="235" y="701"/>
                      <a:pt x="235" y="701"/>
                      <a:pt x="235" y="701"/>
                    </a:cubicBezTo>
                    <a:cubicBezTo>
                      <a:pt x="239" y="701"/>
                      <a:pt x="239" y="694"/>
                      <a:pt x="235" y="694"/>
                    </a:cubicBezTo>
                    <a:close/>
                    <a:moveTo>
                      <a:pt x="228" y="697"/>
                    </a:moveTo>
                    <a:cubicBezTo>
                      <a:pt x="228" y="701"/>
                      <a:pt x="228" y="701"/>
                      <a:pt x="228" y="701"/>
                    </a:cubicBezTo>
                    <a:cubicBezTo>
                      <a:pt x="232" y="701"/>
                      <a:pt x="232" y="696"/>
                      <a:pt x="228" y="697"/>
                    </a:cubicBezTo>
                    <a:close/>
                    <a:moveTo>
                      <a:pt x="246" y="705"/>
                    </a:moveTo>
                    <a:cubicBezTo>
                      <a:pt x="243" y="705"/>
                      <a:pt x="243" y="707"/>
                      <a:pt x="243" y="709"/>
                    </a:cubicBezTo>
                    <a:cubicBezTo>
                      <a:pt x="245" y="709"/>
                      <a:pt x="246" y="708"/>
                      <a:pt x="246" y="705"/>
                    </a:cubicBezTo>
                    <a:close/>
                    <a:moveTo>
                      <a:pt x="250" y="710"/>
                    </a:moveTo>
                    <a:cubicBezTo>
                      <a:pt x="253" y="710"/>
                      <a:pt x="253" y="710"/>
                      <a:pt x="253" y="710"/>
                    </a:cubicBezTo>
                    <a:cubicBezTo>
                      <a:pt x="253" y="708"/>
                      <a:pt x="253" y="705"/>
                      <a:pt x="251" y="705"/>
                    </a:cubicBezTo>
                    <a:cubicBezTo>
                      <a:pt x="251" y="708"/>
                      <a:pt x="249" y="707"/>
                      <a:pt x="250" y="710"/>
                    </a:cubicBezTo>
                    <a:close/>
                    <a:moveTo>
                      <a:pt x="234" y="715"/>
                    </a:moveTo>
                    <a:cubicBezTo>
                      <a:pt x="239" y="717"/>
                      <a:pt x="240" y="707"/>
                      <a:pt x="235" y="708"/>
                    </a:cubicBezTo>
                    <a:cubicBezTo>
                      <a:pt x="234" y="709"/>
                      <a:pt x="234" y="712"/>
                      <a:pt x="234" y="715"/>
                    </a:cubicBezTo>
                    <a:close/>
                    <a:moveTo>
                      <a:pt x="209" y="710"/>
                    </a:moveTo>
                    <a:cubicBezTo>
                      <a:pt x="209" y="711"/>
                      <a:pt x="209" y="711"/>
                      <a:pt x="208" y="711"/>
                    </a:cubicBezTo>
                    <a:cubicBezTo>
                      <a:pt x="208" y="714"/>
                      <a:pt x="210" y="714"/>
                      <a:pt x="212" y="714"/>
                    </a:cubicBezTo>
                    <a:cubicBezTo>
                      <a:pt x="212" y="711"/>
                      <a:pt x="212" y="710"/>
                      <a:pt x="209" y="710"/>
                    </a:cubicBezTo>
                    <a:close/>
                    <a:moveTo>
                      <a:pt x="248" y="727"/>
                    </a:moveTo>
                    <a:cubicBezTo>
                      <a:pt x="250" y="726"/>
                      <a:pt x="254" y="726"/>
                      <a:pt x="254" y="723"/>
                    </a:cubicBezTo>
                    <a:cubicBezTo>
                      <a:pt x="251" y="720"/>
                      <a:pt x="246" y="722"/>
                      <a:pt x="248" y="727"/>
                    </a:cubicBezTo>
                    <a:close/>
                    <a:moveTo>
                      <a:pt x="240" y="723"/>
                    </a:moveTo>
                    <a:cubicBezTo>
                      <a:pt x="238" y="725"/>
                      <a:pt x="240" y="727"/>
                      <a:pt x="242" y="727"/>
                    </a:cubicBezTo>
                    <a:cubicBezTo>
                      <a:pt x="243" y="726"/>
                      <a:pt x="243" y="722"/>
                      <a:pt x="240" y="723"/>
                    </a:cubicBezTo>
                    <a:close/>
                    <a:moveTo>
                      <a:pt x="212" y="726"/>
                    </a:moveTo>
                    <a:cubicBezTo>
                      <a:pt x="212" y="728"/>
                      <a:pt x="211" y="729"/>
                      <a:pt x="211" y="732"/>
                    </a:cubicBezTo>
                    <a:cubicBezTo>
                      <a:pt x="214" y="736"/>
                      <a:pt x="219" y="739"/>
                      <a:pt x="219" y="746"/>
                    </a:cubicBezTo>
                    <a:cubicBezTo>
                      <a:pt x="224" y="746"/>
                      <a:pt x="227" y="749"/>
                      <a:pt x="231" y="750"/>
                    </a:cubicBezTo>
                    <a:cubicBezTo>
                      <a:pt x="232" y="749"/>
                      <a:pt x="234" y="748"/>
                      <a:pt x="233" y="745"/>
                    </a:cubicBezTo>
                    <a:cubicBezTo>
                      <a:pt x="224" y="741"/>
                      <a:pt x="221" y="730"/>
                      <a:pt x="212" y="726"/>
                    </a:cubicBezTo>
                    <a:close/>
                    <a:moveTo>
                      <a:pt x="250" y="744"/>
                    </a:moveTo>
                    <a:cubicBezTo>
                      <a:pt x="253" y="743"/>
                      <a:pt x="255" y="740"/>
                      <a:pt x="256" y="736"/>
                    </a:cubicBezTo>
                    <a:cubicBezTo>
                      <a:pt x="256" y="735"/>
                      <a:pt x="255" y="735"/>
                      <a:pt x="254" y="734"/>
                    </a:cubicBezTo>
                    <a:cubicBezTo>
                      <a:pt x="253" y="737"/>
                      <a:pt x="248" y="738"/>
                      <a:pt x="250" y="744"/>
                    </a:cubicBezTo>
                    <a:close/>
                    <a:moveTo>
                      <a:pt x="241" y="750"/>
                    </a:moveTo>
                    <a:cubicBezTo>
                      <a:pt x="245" y="751"/>
                      <a:pt x="245" y="742"/>
                      <a:pt x="243" y="741"/>
                    </a:cubicBezTo>
                    <a:cubicBezTo>
                      <a:pt x="242" y="744"/>
                      <a:pt x="239" y="747"/>
                      <a:pt x="241" y="750"/>
                    </a:cubicBezTo>
                    <a:close/>
                    <a:moveTo>
                      <a:pt x="308" y="792"/>
                    </a:moveTo>
                    <a:cubicBezTo>
                      <a:pt x="308" y="787"/>
                      <a:pt x="313" y="786"/>
                      <a:pt x="314" y="781"/>
                    </a:cubicBezTo>
                    <a:cubicBezTo>
                      <a:pt x="304" y="783"/>
                      <a:pt x="299" y="779"/>
                      <a:pt x="290" y="778"/>
                    </a:cubicBezTo>
                    <a:cubicBezTo>
                      <a:pt x="286" y="792"/>
                      <a:pt x="297" y="793"/>
                      <a:pt x="308" y="792"/>
                    </a:cubicBezTo>
                    <a:close/>
                    <a:moveTo>
                      <a:pt x="1572" y="782"/>
                    </a:moveTo>
                    <a:cubicBezTo>
                      <a:pt x="1571" y="794"/>
                      <a:pt x="1568" y="813"/>
                      <a:pt x="1574" y="823"/>
                    </a:cubicBezTo>
                    <a:cubicBezTo>
                      <a:pt x="1578" y="829"/>
                      <a:pt x="1585" y="830"/>
                      <a:pt x="1589" y="834"/>
                    </a:cubicBezTo>
                    <a:cubicBezTo>
                      <a:pt x="1587" y="815"/>
                      <a:pt x="1583" y="798"/>
                      <a:pt x="1577" y="782"/>
                    </a:cubicBezTo>
                    <a:lnTo>
                      <a:pt x="1572" y="782"/>
                    </a:lnTo>
                    <a:close/>
                    <a:moveTo>
                      <a:pt x="1610" y="920"/>
                    </a:moveTo>
                    <a:cubicBezTo>
                      <a:pt x="1612" y="931"/>
                      <a:pt x="1623" y="933"/>
                      <a:pt x="1629" y="940"/>
                    </a:cubicBezTo>
                    <a:cubicBezTo>
                      <a:pt x="1628" y="942"/>
                      <a:pt x="1627" y="943"/>
                      <a:pt x="1627" y="946"/>
                    </a:cubicBezTo>
                    <a:cubicBezTo>
                      <a:pt x="1632" y="948"/>
                      <a:pt x="1632" y="954"/>
                      <a:pt x="1635" y="957"/>
                    </a:cubicBezTo>
                    <a:cubicBezTo>
                      <a:pt x="1642" y="945"/>
                      <a:pt x="1626" y="938"/>
                      <a:pt x="1634" y="928"/>
                    </a:cubicBezTo>
                    <a:cubicBezTo>
                      <a:pt x="1638" y="928"/>
                      <a:pt x="1637" y="929"/>
                      <a:pt x="1640" y="927"/>
                    </a:cubicBezTo>
                    <a:cubicBezTo>
                      <a:pt x="1640" y="923"/>
                      <a:pt x="1638" y="923"/>
                      <a:pt x="1640" y="919"/>
                    </a:cubicBezTo>
                    <a:cubicBezTo>
                      <a:pt x="1643" y="920"/>
                      <a:pt x="1642" y="925"/>
                      <a:pt x="1646" y="925"/>
                    </a:cubicBezTo>
                    <a:cubicBezTo>
                      <a:pt x="1651" y="922"/>
                      <a:pt x="1651" y="908"/>
                      <a:pt x="1643" y="909"/>
                    </a:cubicBezTo>
                    <a:cubicBezTo>
                      <a:pt x="1639" y="914"/>
                      <a:pt x="1636" y="920"/>
                      <a:pt x="1631" y="924"/>
                    </a:cubicBezTo>
                    <a:cubicBezTo>
                      <a:pt x="1625" y="904"/>
                      <a:pt x="1630" y="877"/>
                      <a:pt x="1616" y="864"/>
                    </a:cubicBezTo>
                    <a:cubicBezTo>
                      <a:pt x="1615" y="869"/>
                      <a:pt x="1613" y="874"/>
                      <a:pt x="1608" y="876"/>
                    </a:cubicBezTo>
                    <a:cubicBezTo>
                      <a:pt x="1605" y="894"/>
                      <a:pt x="1612" y="902"/>
                      <a:pt x="1614" y="917"/>
                    </a:cubicBezTo>
                    <a:cubicBezTo>
                      <a:pt x="1613" y="919"/>
                      <a:pt x="1609" y="917"/>
                      <a:pt x="1610" y="920"/>
                    </a:cubicBezTo>
                    <a:close/>
                    <a:moveTo>
                      <a:pt x="1646" y="969"/>
                    </a:moveTo>
                    <a:cubicBezTo>
                      <a:pt x="1647" y="967"/>
                      <a:pt x="1648" y="964"/>
                      <a:pt x="1649" y="963"/>
                    </a:cubicBezTo>
                    <a:cubicBezTo>
                      <a:pt x="1653" y="969"/>
                      <a:pt x="1647" y="978"/>
                      <a:pt x="1650" y="986"/>
                    </a:cubicBezTo>
                    <a:cubicBezTo>
                      <a:pt x="1660" y="978"/>
                      <a:pt x="1651" y="964"/>
                      <a:pt x="1656" y="952"/>
                    </a:cubicBezTo>
                    <a:cubicBezTo>
                      <a:pt x="1656" y="955"/>
                      <a:pt x="1656" y="957"/>
                      <a:pt x="1657" y="960"/>
                    </a:cubicBezTo>
                    <a:cubicBezTo>
                      <a:pt x="1658" y="966"/>
                      <a:pt x="1659" y="949"/>
                      <a:pt x="1658" y="947"/>
                    </a:cubicBezTo>
                    <a:cubicBezTo>
                      <a:pt x="1660" y="944"/>
                      <a:pt x="1662" y="947"/>
                      <a:pt x="1665" y="945"/>
                    </a:cubicBezTo>
                    <a:cubicBezTo>
                      <a:pt x="1665" y="937"/>
                      <a:pt x="1665" y="937"/>
                      <a:pt x="1665" y="937"/>
                    </a:cubicBezTo>
                    <a:cubicBezTo>
                      <a:pt x="1662" y="937"/>
                      <a:pt x="1661" y="936"/>
                      <a:pt x="1661" y="934"/>
                    </a:cubicBezTo>
                    <a:cubicBezTo>
                      <a:pt x="1676" y="925"/>
                      <a:pt x="1649" y="905"/>
                      <a:pt x="1653" y="929"/>
                    </a:cubicBezTo>
                    <a:cubicBezTo>
                      <a:pt x="1657" y="930"/>
                      <a:pt x="1659" y="926"/>
                      <a:pt x="1660" y="928"/>
                    </a:cubicBezTo>
                    <a:cubicBezTo>
                      <a:pt x="1660" y="935"/>
                      <a:pt x="1657" y="937"/>
                      <a:pt x="1657" y="945"/>
                    </a:cubicBezTo>
                    <a:cubicBezTo>
                      <a:pt x="1654" y="945"/>
                      <a:pt x="1655" y="944"/>
                      <a:pt x="1653" y="945"/>
                    </a:cubicBezTo>
                    <a:cubicBezTo>
                      <a:pt x="1654" y="951"/>
                      <a:pt x="1654" y="953"/>
                      <a:pt x="1650" y="956"/>
                    </a:cubicBezTo>
                    <a:cubicBezTo>
                      <a:pt x="1650" y="952"/>
                      <a:pt x="1652" y="951"/>
                      <a:pt x="1651" y="946"/>
                    </a:cubicBezTo>
                    <a:cubicBezTo>
                      <a:pt x="1640" y="944"/>
                      <a:pt x="1640" y="962"/>
                      <a:pt x="1646" y="969"/>
                    </a:cubicBezTo>
                    <a:close/>
                    <a:moveTo>
                      <a:pt x="1498" y="979"/>
                    </a:moveTo>
                    <a:cubicBezTo>
                      <a:pt x="1515" y="981"/>
                      <a:pt x="1516" y="955"/>
                      <a:pt x="1512" y="941"/>
                    </a:cubicBezTo>
                    <a:cubicBezTo>
                      <a:pt x="1497" y="941"/>
                      <a:pt x="1480" y="977"/>
                      <a:pt x="1498" y="979"/>
                    </a:cubicBezTo>
                    <a:close/>
                    <a:moveTo>
                      <a:pt x="1672" y="946"/>
                    </a:moveTo>
                    <a:cubicBezTo>
                      <a:pt x="1670" y="946"/>
                      <a:pt x="1670" y="945"/>
                      <a:pt x="1667" y="945"/>
                    </a:cubicBezTo>
                    <a:cubicBezTo>
                      <a:pt x="1670" y="969"/>
                      <a:pt x="1652" y="986"/>
                      <a:pt x="1650" y="1012"/>
                    </a:cubicBezTo>
                    <a:cubicBezTo>
                      <a:pt x="1657" y="1009"/>
                      <a:pt x="1656" y="998"/>
                      <a:pt x="1662" y="994"/>
                    </a:cubicBezTo>
                    <a:cubicBezTo>
                      <a:pt x="1662" y="999"/>
                      <a:pt x="1662" y="1003"/>
                      <a:pt x="1664" y="1006"/>
                    </a:cubicBezTo>
                    <a:cubicBezTo>
                      <a:pt x="1671" y="1002"/>
                      <a:pt x="1674" y="993"/>
                      <a:pt x="1670" y="983"/>
                    </a:cubicBezTo>
                    <a:cubicBezTo>
                      <a:pt x="1680" y="977"/>
                      <a:pt x="1673" y="960"/>
                      <a:pt x="1672" y="946"/>
                    </a:cubicBezTo>
                    <a:close/>
                    <a:moveTo>
                      <a:pt x="1661" y="959"/>
                    </a:moveTo>
                    <a:cubicBezTo>
                      <a:pt x="1661" y="957"/>
                      <a:pt x="1663" y="952"/>
                      <a:pt x="1661" y="951"/>
                    </a:cubicBezTo>
                    <a:cubicBezTo>
                      <a:pt x="1660" y="953"/>
                      <a:pt x="1657" y="958"/>
                      <a:pt x="1661" y="959"/>
                    </a:cubicBezTo>
                    <a:close/>
                    <a:moveTo>
                      <a:pt x="1613" y="1046"/>
                    </a:moveTo>
                    <a:cubicBezTo>
                      <a:pt x="1616" y="1037"/>
                      <a:pt x="1618" y="1029"/>
                      <a:pt x="1620" y="1017"/>
                    </a:cubicBezTo>
                    <a:cubicBezTo>
                      <a:pt x="1622" y="1009"/>
                      <a:pt x="1629" y="1002"/>
                      <a:pt x="1629" y="996"/>
                    </a:cubicBezTo>
                    <a:cubicBezTo>
                      <a:pt x="1629" y="991"/>
                      <a:pt x="1627" y="985"/>
                      <a:pt x="1624" y="980"/>
                    </a:cubicBezTo>
                    <a:cubicBezTo>
                      <a:pt x="1623" y="986"/>
                      <a:pt x="1621" y="995"/>
                      <a:pt x="1625" y="999"/>
                    </a:cubicBezTo>
                    <a:cubicBezTo>
                      <a:pt x="1621" y="1013"/>
                      <a:pt x="1611" y="1032"/>
                      <a:pt x="1613" y="1046"/>
                    </a:cubicBezTo>
                    <a:close/>
                    <a:moveTo>
                      <a:pt x="1677" y="995"/>
                    </a:moveTo>
                    <a:cubicBezTo>
                      <a:pt x="1677" y="997"/>
                      <a:pt x="1675" y="1003"/>
                      <a:pt x="1677" y="1005"/>
                    </a:cubicBezTo>
                    <a:cubicBezTo>
                      <a:pt x="1677" y="1002"/>
                      <a:pt x="1680" y="997"/>
                      <a:pt x="1677" y="995"/>
                    </a:cubicBezTo>
                    <a:close/>
                    <a:moveTo>
                      <a:pt x="1685" y="1000"/>
                    </a:moveTo>
                    <a:cubicBezTo>
                      <a:pt x="1684" y="1002"/>
                      <a:pt x="1682" y="1006"/>
                      <a:pt x="1684" y="1007"/>
                    </a:cubicBezTo>
                    <a:cubicBezTo>
                      <a:pt x="1684" y="1005"/>
                      <a:pt x="1687" y="1001"/>
                      <a:pt x="1685" y="1000"/>
                    </a:cubicBezTo>
                    <a:close/>
                    <a:moveTo>
                      <a:pt x="1680" y="1016"/>
                    </a:moveTo>
                    <a:cubicBezTo>
                      <a:pt x="1679" y="1027"/>
                      <a:pt x="1675" y="1037"/>
                      <a:pt x="1676" y="1047"/>
                    </a:cubicBezTo>
                    <a:cubicBezTo>
                      <a:pt x="1682" y="1042"/>
                      <a:pt x="1683" y="1028"/>
                      <a:pt x="1683" y="1018"/>
                    </a:cubicBezTo>
                    <a:cubicBezTo>
                      <a:pt x="1681" y="1022"/>
                      <a:pt x="1681" y="1028"/>
                      <a:pt x="1679" y="1031"/>
                    </a:cubicBezTo>
                    <a:cubicBezTo>
                      <a:pt x="1679" y="1026"/>
                      <a:pt x="1683" y="1021"/>
                      <a:pt x="1680" y="1016"/>
                    </a:cubicBezTo>
                    <a:close/>
                    <a:moveTo>
                      <a:pt x="1649" y="1021"/>
                    </a:moveTo>
                    <a:cubicBezTo>
                      <a:pt x="1648" y="1023"/>
                      <a:pt x="1648" y="1026"/>
                      <a:pt x="1647" y="1029"/>
                    </a:cubicBezTo>
                    <a:cubicBezTo>
                      <a:pt x="1652" y="1031"/>
                      <a:pt x="1653" y="1021"/>
                      <a:pt x="1649" y="1021"/>
                    </a:cubicBezTo>
                    <a:close/>
                    <a:moveTo>
                      <a:pt x="1641" y="1043"/>
                    </a:moveTo>
                    <a:cubicBezTo>
                      <a:pt x="1641" y="1041"/>
                      <a:pt x="1644" y="1037"/>
                      <a:pt x="1642" y="1035"/>
                    </a:cubicBezTo>
                    <a:cubicBezTo>
                      <a:pt x="1641" y="1036"/>
                      <a:pt x="1638" y="1041"/>
                      <a:pt x="1641" y="1043"/>
                    </a:cubicBezTo>
                    <a:close/>
                    <a:moveTo>
                      <a:pt x="1634" y="1121"/>
                    </a:moveTo>
                    <a:cubicBezTo>
                      <a:pt x="1639" y="1092"/>
                      <a:pt x="1667" y="1080"/>
                      <a:pt x="1667" y="1048"/>
                    </a:cubicBezTo>
                    <a:cubicBezTo>
                      <a:pt x="1661" y="1065"/>
                      <a:pt x="1655" y="1083"/>
                      <a:pt x="1641" y="1091"/>
                    </a:cubicBezTo>
                    <a:cubicBezTo>
                      <a:pt x="1640" y="1102"/>
                      <a:pt x="1632" y="1110"/>
                      <a:pt x="1630" y="1121"/>
                    </a:cubicBezTo>
                    <a:cubicBezTo>
                      <a:pt x="1629" y="1130"/>
                      <a:pt x="1625" y="1136"/>
                      <a:pt x="1624" y="1142"/>
                    </a:cubicBezTo>
                    <a:cubicBezTo>
                      <a:pt x="1624" y="1144"/>
                      <a:pt x="1626" y="1146"/>
                      <a:pt x="1625" y="1148"/>
                    </a:cubicBezTo>
                    <a:cubicBezTo>
                      <a:pt x="1623" y="1156"/>
                      <a:pt x="1615" y="1162"/>
                      <a:pt x="1619" y="1171"/>
                    </a:cubicBezTo>
                    <a:cubicBezTo>
                      <a:pt x="1619" y="1170"/>
                      <a:pt x="1621" y="1165"/>
                      <a:pt x="1621" y="1168"/>
                    </a:cubicBezTo>
                    <a:cubicBezTo>
                      <a:pt x="1622" y="1180"/>
                      <a:pt x="1616" y="1184"/>
                      <a:pt x="1615" y="1194"/>
                    </a:cubicBezTo>
                    <a:cubicBezTo>
                      <a:pt x="1628" y="1182"/>
                      <a:pt x="1629" y="1157"/>
                      <a:pt x="1634" y="1139"/>
                    </a:cubicBezTo>
                    <a:cubicBezTo>
                      <a:pt x="1636" y="1151"/>
                      <a:pt x="1633" y="1158"/>
                      <a:pt x="1634" y="1168"/>
                    </a:cubicBezTo>
                    <a:cubicBezTo>
                      <a:pt x="1638" y="1159"/>
                      <a:pt x="1642" y="1150"/>
                      <a:pt x="1645" y="1140"/>
                    </a:cubicBezTo>
                    <a:cubicBezTo>
                      <a:pt x="1645" y="1138"/>
                      <a:pt x="1642" y="1140"/>
                      <a:pt x="1643" y="1137"/>
                    </a:cubicBezTo>
                    <a:cubicBezTo>
                      <a:pt x="1646" y="1132"/>
                      <a:pt x="1645" y="1125"/>
                      <a:pt x="1643" y="1120"/>
                    </a:cubicBezTo>
                    <a:cubicBezTo>
                      <a:pt x="1646" y="1111"/>
                      <a:pt x="1653" y="1101"/>
                      <a:pt x="1653" y="1092"/>
                    </a:cubicBezTo>
                    <a:cubicBezTo>
                      <a:pt x="1646" y="1100"/>
                      <a:pt x="1642" y="1125"/>
                      <a:pt x="1634" y="1121"/>
                    </a:cubicBezTo>
                    <a:close/>
                    <a:moveTo>
                      <a:pt x="1558" y="1177"/>
                    </a:moveTo>
                    <a:cubicBezTo>
                      <a:pt x="1557" y="1180"/>
                      <a:pt x="1561" y="1179"/>
                      <a:pt x="1560" y="1182"/>
                    </a:cubicBezTo>
                    <a:cubicBezTo>
                      <a:pt x="1550" y="1194"/>
                      <a:pt x="1533" y="1199"/>
                      <a:pt x="1531" y="1219"/>
                    </a:cubicBezTo>
                    <a:cubicBezTo>
                      <a:pt x="1534" y="1221"/>
                      <a:pt x="1535" y="1225"/>
                      <a:pt x="1536" y="1229"/>
                    </a:cubicBezTo>
                    <a:cubicBezTo>
                      <a:pt x="1538" y="1229"/>
                      <a:pt x="1539" y="1227"/>
                      <a:pt x="1542" y="1228"/>
                    </a:cubicBezTo>
                    <a:cubicBezTo>
                      <a:pt x="1541" y="1234"/>
                      <a:pt x="1541" y="1240"/>
                      <a:pt x="1541" y="1250"/>
                    </a:cubicBezTo>
                    <a:cubicBezTo>
                      <a:pt x="1549" y="1246"/>
                      <a:pt x="1552" y="1238"/>
                      <a:pt x="1558" y="1232"/>
                    </a:cubicBezTo>
                    <a:cubicBezTo>
                      <a:pt x="1559" y="1235"/>
                      <a:pt x="1555" y="1238"/>
                      <a:pt x="1558" y="1239"/>
                    </a:cubicBezTo>
                    <a:cubicBezTo>
                      <a:pt x="1562" y="1233"/>
                      <a:pt x="1568" y="1227"/>
                      <a:pt x="1572" y="1222"/>
                    </a:cubicBezTo>
                    <a:cubicBezTo>
                      <a:pt x="1572" y="1223"/>
                      <a:pt x="1573" y="1224"/>
                      <a:pt x="1574" y="1225"/>
                    </a:cubicBezTo>
                    <a:cubicBezTo>
                      <a:pt x="1578" y="1222"/>
                      <a:pt x="1581" y="1213"/>
                      <a:pt x="1585" y="1213"/>
                    </a:cubicBezTo>
                    <a:cubicBezTo>
                      <a:pt x="1585" y="1217"/>
                      <a:pt x="1584" y="1219"/>
                      <a:pt x="1583" y="1221"/>
                    </a:cubicBezTo>
                    <a:cubicBezTo>
                      <a:pt x="1595" y="1207"/>
                      <a:pt x="1602" y="1188"/>
                      <a:pt x="1609" y="1169"/>
                    </a:cubicBezTo>
                    <a:cubicBezTo>
                      <a:pt x="1604" y="1157"/>
                      <a:pt x="1620" y="1149"/>
                      <a:pt x="1620" y="1135"/>
                    </a:cubicBezTo>
                    <a:cubicBezTo>
                      <a:pt x="1619" y="1135"/>
                      <a:pt x="1618" y="1137"/>
                      <a:pt x="1618" y="1135"/>
                    </a:cubicBezTo>
                    <a:cubicBezTo>
                      <a:pt x="1619" y="1127"/>
                      <a:pt x="1627" y="1124"/>
                      <a:pt x="1629" y="1115"/>
                    </a:cubicBezTo>
                    <a:cubicBezTo>
                      <a:pt x="1623" y="1113"/>
                      <a:pt x="1624" y="1107"/>
                      <a:pt x="1625" y="1101"/>
                    </a:cubicBezTo>
                    <a:cubicBezTo>
                      <a:pt x="1623" y="1100"/>
                      <a:pt x="1622" y="1103"/>
                      <a:pt x="1621" y="1101"/>
                    </a:cubicBezTo>
                    <a:cubicBezTo>
                      <a:pt x="1619" y="1095"/>
                      <a:pt x="1622" y="1089"/>
                      <a:pt x="1621" y="1082"/>
                    </a:cubicBezTo>
                    <a:cubicBezTo>
                      <a:pt x="1627" y="1081"/>
                      <a:pt x="1629" y="1074"/>
                      <a:pt x="1625" y="1070"/>
                    </a:cubicBezTo>
                    <a:cubicBezTo>
                      <a:pt x="1628" y="1066"/>
                      <a:pt x="1635" y="1062"/>
                      <a:pt x="1632" y="1056"/>
                    </a:cubicBezTo>
                    <a:cubicBezTo>
                      <a:pt x="1629" y="1055"/>
                      <a:pt x="1627" y="1059"/>
                      <a:pt x="1622" y="1060"/>
                    </a:cubicBezTo>
                    <a:cubicBezTo>
                      <a:pt x="1623" y="1054"/>
                      <a:pt x="1618" y="1057"/>
                      <a:pt x="1617" y="1059"/>
                    </a:cubicBezTo>
                    <a:cubicBezTo>
                      <a:pt x="1615" y="1057"/>
                      <a:pt x="1617" y="1054"/>
                      <a:pt x="1613" y="1055"/>
                    </a:cubicBezTo>
                    <a:cubicBezTo>
                      <a:pt x="1611" y="1069"/>
                      <a:pt x="1603" y="1077"/>
                      <a:pt x="1602" y="1092"/>
                    </a:cubicBezTo>
                    <a:cubicBezTo>
                      <a:pt x="1594" y="1096"/>
                      <a:pt x="1595" y="1102"/>
                      <a:pt x="1593" y="1110"/>
                    </a:cubicBezTo>
                    <a:cubicBezTo>
                      <a:pt x="1588" y="1127"/>
                      <a:pt x="1583" y="1139"/>
                      <a:pt x="1573" y="1151"/>
                    </a:cubicBezTo>
                    <a:cubicBezTo>
                      <a:pt x="1568" y="1158"/>
                      <a:pt x="1561" y="1166"/>
                      <a:pt x="1558" y="1177"/>
                    </a:cubicBezTo>
                    <a:close/>
                    <a:moveTo>
                      <a:pt x="1665" y="1099"/>
                    </a:moveTo>
                    <a:cubicBezTo>
                      <a:pt x="1666" y="1096"/>
                      <a:pt x="1670" y="1091"/>
                      <a:pt x="1668" y="1087"/>
                    </a:cubicBezTo>
                    <a:cubicBezTo>
                      <a:pt x="1666" y="1090"/>
                      <a:pt x="1662" y="1096"/>
                      <a:pt x="1665" y="1099"/>
                    </a:cubicBezTo>
                    <a:close/>
                    <a:moveTo>
                      <a:pt x="1300" y="1160"/>
                    </a:moveTo>
                    <a:cubicBezTo>
                      <a:pt x="1300" y="1162"/>
                      <a:pt x="1298" y="1161"/>
                      <a:pt x="1297" y="1162"/>
                    </a:cubicBezTo>
                    <a:cubicBezTo>
                      <a:pt x="1293" y="1173"/>
                      <a:pt x="1294" y="1189"/>
                      <a:pt x="1301" y="1197"/>
                    </a:cubicBezTo>
                    <a:cubicBezTo>
                      <a:pt x="1302" y="1187"/>
                      <a:pt x="1305" y="1166"/>
                      <a:pt x="1300" y="1160"/>
                    </a:cubicBezTo>
                    <a:close/>
                    <a:moveTo>
                      <a:pt x="1524" y="1187"/>
                    </a:moveTo>
                    <a:cubicBezTo>
                      <a:pt x="1528" y="1188"/>
                      <a:pt x="1528" y="1184"/>
                      <a:pt x="1528" y="1181"/>
                    </a:cubicBezTo>
                    <a:cubicBezTo>
                      <a:pt x="1526" y="1179"/>
                      <a:pt x="1521" y="1184"/>
                      <a:pt x="1524" y="1187"/>
                    </a:cubicBezTo>
                    <a:close/>
                    <a:moveTo>
                      <a:pt x="1305" y="1208"/>
                    </a:moveTo>
                    <a:cubicBezTo>
                      <a:pt x="1300" y="1207"/>
                      <a:pt x="1301" y="1211"/>
                      <a:pt x="1299" y="1211"/>
                    </a:cubicBezTo>
                    <a:cubicBezTo>
                      <a:pt x="1300" y="1214"/>
                      <a:pt x="1300" y="1217"/>
                      <a:pt x="1304" y="1217"/>
                    </a:cubicBezTo>
                    <a:cubicBezTo>
                      <a:pt x="1305" y="1215"/>
                      <a:pt x="1304" y="1211"/>
                      <a:pt x="1305" y="1208"/>
                    </a:cubicBezTo>
                    <a:close/>
                    <a:moveTo>
                      <a:pt x="1604" y="1225"/>
                    </a:moveTo>
                    <a:cubicBezTo>
                      <a:pt x="1604" y="1229"/>
                      <a:pt x="1596" y="1231"/>
                      <a:pt x="1599" y="1235"/>
                    </a:cubicBezTo>
                    <a:cubicBezTo>
                      <a:pt x="1601" y="1233"/>
                      <a:pt x="1606" y="1228"/>
                      <a:pt x="1604" y="1225"/>
                    </a:cubicBezTo>
                    <a:close/>
                    <a:moveTo>
                      <a:pt x="1599" y="1243"/>
                    </a:moveTo>
                    <a:cubicBezTo>
                      <a:pt x="1601" y="1238"/>
                      <a:pt x="1613" y="1234"/>
                      <a:pt x="1607" y="1229"/>
                    </a:cubicBezTo>
                    <a:cubicBezTo>
                      <a:pt x="1606" y="1234"/>
                      <a:pt x="1597" y="1238"/>
                      <a:pt x="1599" y="1243"/>
                    </a:cubicBezTo>
                    <a:close/>
                    <a:moveTo>
                      <a:pt x="1484" y="1254"/>
                    </a:moveTo>
                    <a:cubicBezTo>
                      <a:pt x="1485" y="1252"/>
                      <a:pt x="1488" y="1248"/>
                      <a:pt x="1484" y="1247"/>
                    </a:cubicBezTo>
                    <a:cubicBezTo>
                      <a:pt x="1483" y="1248"/>
                      <a:pt x="1480" y="1249"/>
                      <a:pt x="1481" y="1253"/>
                    </a:cubicBezTo>
                    <a:cubicBezTo>
                      <a:pt x="1483" y="1253"/>
                      <a:pt x="1483" y="1253"/>
                      <a:pt x="1484" y="1254"/>
                    </a:cubicBezTo>
                    <a:close/>
                    <a:moveTo>
                      <a:pt x="1326" y="1251"/>
                    </a:moveTo>
                    <a:cubicBezTo>
                      <a:pt x="1323" y="1254"/>
                      <a:pt x="1325" y="1260"/>
                      <a:pt x="1331" y="1258"/>
                    </a:cubicBezTo>
                    <a:cubicBezTo>
                      <a:pt x="1333" y="1255"/>
                      <a:pt x="1331" y="1250"/>
                      <a:pt x="1326" y="1251"/>
                    </a:cubicBezTo>
                    <a:close/>
                    <a:moveTo>
                      <a:pt x="1583" y="1252"/>
                    </a:moveTo>
                    <a:cubicBezTo>
                      <a:pt x="1582" y="1254"/>
                      <a:pt x="1579" y="1254"/>
                      <a:pt x="1579" y="1257"/>
                    </a:cubicBezTo>
                    <a:cubicBezTo>
                      <a:pt x="1582" y="1257"/>
                      <a:pt x="1585" y="1253"/>
                      <a:pt x="1583" y="1252"/>
                    </a:cubicBezTo>
                    <a:close/>
                    <a:moveTo>
                      <a:pt x="1576" y="1259"/>
                    </a:moveTo>
                    <a:cubicBezTo>
                      <a:pt x="1570" y="1267"/>
                      <a:pt x="1562" y="1273"/>
                      <a:pt x="1556" y="1280"/>
                    </a:cubicBezTo>
                    <a:cubicBezTo>
                      <a:pt x="1557" y="1277"/>
                      <a:pt x="1558" y="1274"/>
                      <a:pt x="1559" y="1272"/>
                    </a:cubicBezTo>
                    <a:cubicBezTo>
                      <a:pt x="1555" y="1270"/>
                      <a:pt x="1552" y="1276"/>
                      <a:pt x="1548" y="1278"/>
                    </a:cubicBezTo>
                    <a:cubicBezTo>
                      <a:pt x="1548" y="1279"/>
                      <a:pt x="1545" y="1279"/>
                      <a:pt x="1544" y="1279"/>
                    </a:cubicBezTo>
                    <a:cubicBezTo>
                      <a:pt x="1540" y="1282"/>
                      <a:pt x="1541" y="1287"/>
                      <a:pt x="1538" y="1290"/>
                    </a:cubicBezTo>
                    <a:cubicBezTo>
                      <a:pt x="1533" y="1295"/>
                      <a:pt x="1518" y="1305"/>
                      <a:pt x="1512" y="1303"/>
                    </a:cubicBezTo>
                    <a:cubicBezTo>
                      <a:pt x="1504" y="1310"/>
                      <a:pt x="1495" y="1315"/>
                      <a:pt x="1486" y="1320"/>
                    </a:cubicBezTo>
                    <a:cubicBezTo>
                      <a:pt x="1491" y="1309"/>
                      <a:pt x="1491" y="1298"/>
                      <a:pt x="1496" y="1288"/>
                    </a:cubicBezTo>
                    <a:cubicBezTo>
                      <a:pt x="1494" y="1288"/>
                      <a:pt x="1492" y="1285"/>
                      <a:pt x="1491" y="1282"/>
                    </a:cubicBezTo>
                    <a:cubicBezTo>
                      <a:pt x="1490" y="1284"/>
                      <a:pt x="1486" y="1287"/>
                      <a:pt x="1485" y="1285"/>
                    </a:cubicBezTo>
                    <a:cubicBezTo>
                      <a:pt x="1487" y="1283"/>
                      <a:pt x="1490" y="1281"/>
                      <a:pt x="1493" y="1279"/>
                    </a:cubicBezTo>
                    <a:cubicBezTo>
                      <a:pt x="1494" y="1281"/>
                      <a:pt x="1493" y="1285"/>
                      <a:pt x="1496" y="1284"/>
                    </a:cubicBezTo>
                    <a:cubicBezTo>
                      <a:pt x="1506" y="1284"/>
                      <a:pt x="1507" y="1277"/>
                      <a:pt x="1503" y="1269"/>
                    </a:cubicBezTo>
                    <a:cubicBezTo>
                      <a:pt x="1490" y="1265"/>
                      <a:pt x="1490" y="1282"/>
                      <a:pt x="1480" y="1285"/>
                    </a:cubicBezTo>
                    <a:cubicBezTo>
                      <a:pt x="1479" y="1284"/>
                      <a:pt x="1480" y="1280"/>
                      <a:pt x="1478" y="1278"/>
                    </a:cubicBezTo>
                    <a:cubicBezTo>
                      <a:pt x="1474" y="1279"/>
                      <a:pt x="1473" y="1283"/>
                      <a:pt x="1469" y="1283"/>
                    </a:cubicBezTo>
                    <a:cubicBezTo>
                      <a:pt x="1469" y="1276"/>
                      <a:pt x="1472" y="1272"/>
                      <a:pt x="1472" y="1266"/>
                    </a:cubicBezTo>
                    <a:cubicBezTo>
                      <a:pt x="1467" y="1266"/>
                      <a:pt x="1467" y="1271"/>
                      <a:pt x="1462" y="1272"/>
                    </a:cubicBezTo>
                    <a:cubicBezTo>
                      <a:pt x="1462" y="1268"/>
                      <a:pt x="1462" y="1268"/>
                      <a:pt x="1462" y="1268"/>
                    </a:cubicBezTo>
                    <a:cubicBezTo>
                      <a:pt x="1459" y="1268"/>
                      <a:pt x="1458" y="1270"/>
                      <a:pt x="1455" y="1270"/>
                    </a:cubicBezTo>
                    <a:cubicBezTo>
                      <a:pt x="1456" y="1265"/>
                      <a:pt x="1451" y="1266"/>
                      <a:pt x="1449" y="1264"/>
                    </a:cubicBezTo>
                    <a:cubicBezTo>
                      <a:pt x="1449" y="1262"/>
                      <a:pt x="1451" y="1262"/>
                      <a:pt x="1451" y="1259"/>
                    </a:cubicBezTo>
                    <a:cubicBezTo>
                      <a:pt x="1441" y="1261"/>
                      <a:pt x="1431" y="1274"/>
                      <a:pt x="1424" y="1262"/>
                    </a:cubicBezTo>
                    <a:cubicBezTo>
                      <a:pt x="1408" y="1266"/>
                      <a:pt x="1398" y="1253"/>
                      <a:pt x="1390" y="1253"/>
                    </a:cubicBezTo>
                    <a:cubicBezTo>
                      <a:pt x="1382" y="1252"/>
                      <a:pt x="1376" y="1259"/>
                      <a:pt x="1366" y="1261"/>
                    </a:cubicBezTo>
                    <a:cubicBezTo>
                      <a:pt x="1359" y="1256"/>
                      <a:pt x="1350" y="1262"/>
                      <a:pt x="1352" y="1272"/>
                    </a:cubicBezTo>
                    <a:cubicBezTo>
                      <a:pt x="1363" y="1279"/>
                      <a:pt x="1383" y="1278"/>
                      <a:pt x="1390" y="1289"/>
                    </a:cubicBezTo>
                    <a:cubicBezTo>
                      <a:pt x="1404" y="1286"/>
                      <a:pt x="1411" y="1291"/>
                      <a:pt x="1410" y="1305"/>
                    </a:cubicBezTo>
                    <a:cubicBezTo>
                      <a:pt x="1414" y="1306"/>
                      <a:pt x="1414" y="1302"/>
                      <a:pt x="1418" y="1302"/>
                    </a:cubicBezTo>
                    <a:cubicBezTo>
                      <a:pt x="1419" y="1306"/>
                      <a:pt x="1421" y="1308"/>
                      <a:pt x="1427" y="1307"/>
                    </a:cubicBezTo>
                    <a:cubicBezTo>
                      <a:pt x="1426" y="1315"/>
                      <a:pt x="1433" y="1314"/>
                      <a:pt x="1430" y="1323"/>
                    </a:cubicBezTo>
                    <a:cubicBezTo>
                      <a:pt x="1437" y="1323"/>
                      <a:pt x="1440" y="1330"/>
                      <a:pt x="1448" y="1326"/>
                    </a:cubicBezTo>
                    <a:cubicBezTo>
                      <a:pt x="1448" y="1331"/>
                      <a:pt x="1448" y="1331"/>
                      <a:pt x="1448" y="1331"/>
                    </a:cubicBezTo>
                    <a:cubicBezTo>
                      <a:pt x="1456" y="1331"/>
                      <a:pt x="1465" y="1331"/>
                      <a:pt x="1470" y="1334"/>
                    </a:cubicBezTo>
                    <a:cubicBezTo>
                      <a:pt x="1472" y="1328"/>
                      <a:pt x="1479" y="1326"/>
                      <a:pt x="1484" y="1323"/>
                    </a:cubicBezTo>
                    <a:cubicBezTo>
                      <a:pt x="1484" y="1329"/>
                      <a:pt x="1476" y="1333"/>
                      <a:pt x="1476" y="1338"/>
                    </a:cubicBezTo>
                    <a:cubicBezTo>
                      <a:pt x="1479" y="1336"/>
                      <a:pt x="1482" y="1333"/>
                      <a:pt x="1485" y="1331"/>
                    </a:cubicBezTo>
                    <a:cubicBezTo>
                      <a:pt x="1486" y="1334"/>
                      <a:pt x="1484" y="1334"/>
                      <a:pt x="1484" y="1336"/>
                    </a:cubicBezTo>
                    <a:cubicBezTo>
                      <a:pt x="1493" y="1328"/>
                      <a:pt x="1504" y="1324"/>
                      <a:pt x="1514" y="1317"/>
                    </a:cubicBezTo>
                    <a:cubicBezTo>
                      <a:pt x="1519" y="1313"/>
                      <a:pt x="1524" y="1308"/>
                      <a:pt x="1529" y="1305"/>
                    </a:cubicBezTo>
                    <a:cubicBezTo>
                      <a:pt x="1531" y="1305"/>
                      <a:pt x="1533" y="1306"/>
                      <a:pt x="1534" y="1305"/>
                    </a:cubicBezTo>
                    <a:cubicBezTo>
                      <a:pt x="1544" y="1301"/>
                      <a:pt x="1548" y="1286"/>
                      <a:pt x="1560" y="1286"/>
                    </a:cubicBezTo>
                    <a:cubicBezTo>
                      <a:pt x="1561" y="1281"/>
                      <a:pt x="1568" y="1281"/>
                      <a:pt x="1567" y="1273"/>
                    </a:cubicBezTo>
                    <a:cubicBezTo>
                      <a:pt x="1571" y="1270"/>
                      <a:pt x="1578" y="1265"/>
                      <a:pt x="1576" y="1259"/>
                    </a:cubicBezTo>
                    <a:close/>
                    <a:moveTo>
                      <a:pt x="1572" y="1253"/>
                    </a:moveTo>
                    <a:cubicBezTo>
                      <a:pt x="1569" y="1258"/>
                      <a:pt x="1563" y="1260"/>
                      <a:pt x="1562" y="1267"/>
                    </a:cubicBezTo>
                    <a:cubicBezTo>
                      <a:pt x="1567" y="1265"/>
                      <a:pt x="1572" y="1257"/>
                      <a:pt x="1572" y="1253"/>
                    </a:cubicBezTo>
                    <a:close/>
                    <a:moveTo>
                      <a:pt x="1486" y="1256"/>
                    </a:moveTo>
                    <a:cubicBezTo>
                      <a:pt x="1483" y="1258"/>
                      <a:pt x="1481" y="1259"/>
                      <a:pt x="1482" y="1264"/>
                    </a:cubicBezTo>
                    <a:cubicBezTo>
                      <a:pt x="1488" y="1266"/>
                      <a:pt x="1490" y="1258"/>
                      <a:pt x="1486" y="1256"/>
                    </a:cubicBezTo>
                    <a:close/>
                    <a:moveTo>
                      <a:pt x="1512" y="1275"/>
                    </a:moveTo>
                    <a:cubicBezTo>
                      <a:pt x="1515" y="1276"/>
                      <a:pt x="1524" y="1270"/>
                      <a:pt x="1521" y="1264"/>
                    </a:cubicBezTo>
                    <a:cubicBezTo>
                      <a:pt x="1515" y="1264"/>
                      <a:pt x="1512" y="1269"/>
                      <a:pt x="1512" y="1275"/>
                    </a:cubicBezTo>
                    <a:close/>
                    <a:moveTo>
                      <a:pt x="1481" y="1269"/>
                    </a:moveTo>
                    <a:cubicBezTo>
                      <a:pt x="1480" y="1271"/>
                      <a:pt x="1478" y="1272"/>
                      <a:pt x="1478" y="1275"/>
                    </a:cubicBezTo>
                    <a:cubicBezTo>
                      <a:pt x="1483" y="1277"/>
                      <a:pt x="1486" y="1269"/>
                      <a:pt x="1481" y="1269"/>
                    </a:cubicBezTo>
                    <a:close/>
                    <a:moveTo>
                      <a:pt x="1116" y="1298"/>
                    </a:moveTo>
                    <a:cubicBezTo>
                      <a:pt x="1109" y="1297"/>
                      <a:pt x="1104" y="1288"/>
                      <a:pt x="1096" y="1287"/>
                    </a:cubicBezTo>
                    <a:cubicBezTo>
                      <a:pt x="1087" y="1286"/>
                      <a:pt x="1087" y="1292"/>
                      <a:pt x="1082" y="1297"/>
                    </a:cubicBezTo>
                    <a:cubicBezTo>
                      <a:pt x="1096" y="1306"/>
                      <a:pt x="1083" y="1311"/>
                      <a:pt x="1081" y="1320"/>
                    </a:cubicBezTo>
                    <a:cubicBezTo>
                      <a:pt x="1080" y="1327"/>
                      <a:pt x="1084" y="1338"/>
                      <a:pt x="1088" y="1341"/>
                    </a:cubicBezTo>
                    <a:cubicBezTo>
                      <a:pt x="1100" y="1349"/>
                      <a:pt x="1128" y="1331"/>
                      <a:pt x="1129" y="1325"/>
                    </a:cubicBezTo>
                    <a:cubicBezTo>
                      <a:pt x="1130" y="1317"/>
                      <a:pt x="1120" y="1314"/>
                      <a:pt x="1120" y="1304"/>
                    </a:cubicBezTo>
                    <a:cubicBezTo>
                      <a:pt x="1118" y="1303"/>
                      <a:pt x="1114" y="1303"/>
                      <a:pt x="1116" y="1298"/>
                    </a:cubicBezTo>
                    <a:close/>
                    <a:moveTo>
                      <a:pt x="1361" y="1301"/>
                    </a:moveTo>
                    <a:cubicBezTo>
                      <a:pt x="1367" y="1301"/>
                      <a:pt x="1372" y="1301"/>
                      <a:pt x="1373" y="1296"/>
                    </a:cubicBezTo>
                    <a:cubicBezTo>
                      <a:pt x="1369" y="1293"/>
                      <a:pt x="1360" y="1293"/>
                      <a:pt x="1361" y="1301"/>
                    </a:cubicBezTo>
                    <a:close/>
                    <a:moveTo>
                      <a:pt x="1382" y="1306"/>
                    </a:moveTo>
                    <a:cubicBezTo>
                      <a:pt x="1387" y="1307"/>
                      <a:pt x="1387" y="1311"/>
                      <a:pt x="1392" y="1311"/>
                    </a:cubicBezTo>
                    <a:cubicBezTo>
                      <a:pt x="1395" y="1310"/>
                      <a:pt x="1395" y="1306"/>
                      <a:pt x="1395" y="1302"/>
                    </a:cubicBezTo>
                    <a:cubicBezTo>
                      <a:pt x="1391" y="1298"/>
                      <a:pt x="1381" y="1299"/>
                      <a:pt x="1382" y="1306"/>
                    </a:cubicBezTo>
                    <a:close/>
                    <a:moveTo>
                      <a:pt x="1407" y="1320"/>
                    </a:moveTo>
                    <a:cubicBezTo>
                      <a:pt x="1404" y="1322"/>
                      <a:pt x="1402" y="1324"/>
                      <a:pt x="1403" y="1330"/>
                    </a:cubicBezTo>
                    <a:cubicBezTo>
                      <a:pt x="1405" y="1330"/>
                      <a:pt x="1405" y="1332"/>
                      <a:pt x="1406" y="1332"/>
                    </a:cubicBezTo>
                    <a:cubicBezTo>
                      <a:pt x="1411" y="1330"/>
                      <a:pt x="1413" y="1322"/>
                      <a:pt x="1407" y="1320"/>
                    </a:cubicBezTo>
                    <a:close/>
                    <a:moveTo>
                      <a:pt x="1418" y="1326"/>
                    </a:moveTo>
                    <a:cubicBezTo>
                      <a:pt x="1417" y="1328"/>
                      <a:pt x="1413" y="1327"/>
                      <a:pt x="1414" y="1331"/>
                    </a:cubicBezTo>
                    <a:cubicBezTo>
                      <a:pt x="1418" y="1332"/>
                      <a:pt x="1422" y="1328"/>
                      <a:pt x="1418" y="1326"/>
                    </a:cubicBezTo>
                    <a:close/>
                    <a:moveTo>
                      <a:pt x="1416" y="1335"/>
                    </a:moveTo>
                    <a:cubicBezTo>
                      <a:pt x="1420" y="1336"/>
                      <a:pt x="1426" y="1339"/>
                      <a:pt x="1426" y="1332"/>
                    </a:cubicBezTo>
                    <a:cubicBezTo>
                      <a:pt x="1423" y="1330"/>
                      <a:pt x="1416" y="1331"/>
                      <a:pt x="1416" y="1335"/>
                    </a:cubicBezTo>
                    <a:close/>
                    <a:moveTo>
                      <a:pt x="576" y="1568"/>
                    </a:moveTo>
                    <a:cubicBezTo>
                      <a:pt x="565" y="1562"/>
                      <a:pt x="558" y="1545"/>
                      <a:pt x="543" y="1549"/>
                    </a:cubicBezTo>
                    <a:cubicBezTo>
                      <a:pt x="548" y="1557"/>
                      <a:pt x="537" y="1557"/>
                      <a:pt x="532" y="1555"/>
                    </a:cubicBezTo>
                    <a:cubicBezTo>
                      <a:pt x="531" y="1559"/>
                      <a:pt x="535" y="1557"/>
                      <a:pt x="534" y="1561"/>
                    </a:cubicBezTo>
                    <a:cubicBezTo>
                      <a:pt x="529" y="1562"/>
                      <a:pt x="530" y="1558"/>
                      <a:pt x="525" y="1559"/>
                    </a:cubicBezTo>
                    <a:cubicBezTo>
                      <a:pt x="525" y="1560"/>
                      <a:pt x="526" y="1564"/>
                      <a:pt x="524" y="1564"/>
                    </a:cubicBezTo>
                    <a:cubicBezTo>
                      <a:pt x="522" y="1563"/>
                      <a:pt x="521" y="1561"/>
                      <a:pt x="519" y="1561"/>
                    </a:cubicBezTo>
                    <a:cubicBezTo>
                      <a:pt x="518" y="1563"/>
                      <a:pt x="522" y="1564"/>
                      <a:pt x="519" y="1565"/>
                    </a:cubicBezTo>
                    <a:cubicBezTo>
                      <a:pt x="506" y="1563"/>
                      <a:pt x="494" y="1558"/>
                      <a:pt x="484" y="1558"/>
                    </a:cubicBezTo>
                    <a:cubicBezTo>
                      <a:pt x="487" y="1560"/>
                      <a:pt x="481" y="1561"/>
                      <a:pt x="480" y="1562"/>
                    </a:cubicBezTo>
                    <a:cubicBezTo>
                      <a:pt x="483" y="1570"/>
                      <a:pt x="494" y="1576"/>
                      <a:pt x="495" y="1583"/>
                    </a:cubicBezTo>
                    <a:cubicBezTo>
                      <a:pt x="490" y="1582"/>
                      <a:pt x="488" y="1584"/>
                      <a:pt x="483" y="1584"/>
                    </a:cubicBezTo>
                    <a:cubicBezTo>
                      <a:pt x="499" y="1603"/>
                      <a:pt x="519" y="1618"/>
                      <a:pt x="553" y="1619"/>
                    </a:cubicBezTo>
                    <a:cubicBezTo>
                      <a:pt x="548" y="1606"/>
                      <a:pt x="582" y="1598"/>
                      <a:pt x="564" y="1585"/>
                    </a:cubicBezTo>
                    <a:cubicBezTo>
                      <a:pt x="568" y="1584"/>
                      <a:pt x="570" y="1581"/>
                      <a:pt x="569" y="1579"/>
                    </a:cubicBezTo>
                    <a:cubicBezTo>
                      <a:pt x="576" y="1577"/>
                      <a:pt x="579" y="1584"/>
                      <a:pt x="584" y="1581"/>
                    </a:cubicBezTo>
                    <a:cubicBezTo>
                      <a:pt x="581" y="1578"/>
                      <a:pt x="577" y="1576"/>
                      <a:pt x="574" y="1573"/>
                    </a:cubicBezTo>
                    <a:cubicBezTo>
                      <a:pt x="575" y="1571"/>
                      <a:pt x="577" y="1571"/>
                      <a:pt x="576" y="1568"/>
                    </a:cubicBezTo>
                    <a:close/>
                    <a:moveTo>
                      <a:pt x="678" y="8"/>
                    </a:moveTo>
                    <a:cubicBezTo>
                      <a:pt x="673" y="11"/>
                      <a:pt x="668" y="8"/>
                      <a:pt x="666" y="13"/>
                    </a:cubicBezTo>
                    <a:cubicBezTo>
                      <a:pt x="676" y="11"/>
                      <a:pt x="686" y="9"/>
                      <a:pt x="693" y="5"/>
                    </a:cubicBezTo>
                    <a:cubicBezTo>
                      <a:pt x="689" y="5"/>
                      <a:pt x="682" y="8"/>
                      <a:pt x="679" y="6"/>
                    </a:cubicBezTo>
                    <a:cubicBezTo>
                      <a:pt x="688" y="5"/>
                      <a:pt x="698" y="3"/>
                      <a:pt x="707" y="0"/>
                    </a:cubicBezTo>
                    <a:cubicBezTo>
                      <a:pt x="689" y="3"/>
                      <a:pt x="677" y="5"/>
                      <a:pt x="662" y="9"/>
                    </a:cubicBezTo>
                    <a:cubicBezTo>
                      <a:pt x="668" y="10"/>
                      <a:pt x="673" y="6"/>
                      <a:pt x="678" y="8"/>
                    </a:cubicBezTo>
                    <a:close/>
                    <a:moveTo>
                      <a:pt x="643" y="17"/>
                    </a:moveTo>
                    <a:cubicBezTo>
                      <a:pt x="637" y="20"/>
                      <a:pt x="630" y="21"/>
                      <a:pt x="640" y="19"/>
                    </a:cubicBezTo>
                    <a:cubicBezTo>
                      <a:pt x="642" y="19"/>
                      <a:pt x="644" y="19"/>
                      <a:pt x="645" y="19"/>
                    </a:cubicBezTo>
                    <a:cubicBezTo>
                      <a:pt x="649" y="12"/>
                      <a:pt x="664" y="17"/>
                      <a:pt x="666" y="10"/>
                    </a:cubicBezTo>
                    <a:cubicBezTo>
                      <a:pt x="664" y="11"/>
                      <a:pt x="660" y="13"/>
                      <a:pt x="659" y="10"/>
                    </a:cubicBezTo>
                    <a:cubicBezTo>
                      <a:pt x="660" y="10"/>
                      <a:pt x="661" y="10"/>
                      <a:pt x="661" y="9"/>
                    </a:cubicBezTo>
                    <a:cubicBezTo>
                      <a:pt x="659" y="9"/>
                      <a:pt x="659" y="9"/>
                      <a:pt x="659" y="9"/>
                    </a:cubicBezTo>
                    <a:cubicBezTo>
                      <a:pt x="658" y="11"/>
                      <a:pt x="657" y="11"/>
                      <a:pt x="659" y="12"/>
                    </a:cubicBezTo>
                    <a:cubicBezTo>
                      <a:pt x="655" y="11"/>
                      <a:pt x="649" y="15"/>
                      <a:pt x="643" y="17"/>
                    </a:cubicBezTo>
                    <a:close/>
                    <a:moveTo>
                      <a:pt x="460" y="90"/>
                    </a:moveTo>
                    <a:cubicBezTo>
                      <a:pt x="476" y="80"/>
                      <a:pt x="494" y="74"/>
                      <a:pt x="509" y="68"/>
                    </a:cubicBezTo>
                    <a:cubicBezTo>
                      <a:pt x="519" y="64"/>
                      <a:pt x="531" y="58"/>
                      <a:pt x="543" y="54"/>
                    </a:cubicBezTo>
                    <a:cubicBezTo>
                      <a:pt x="552" y="52"/>
                      <a:pt x="562" y="50"/>
                      <a:pt x="568" y="42"/>
                    </a:cubicBezTo>
                    <a:cubicBezTo>
                      <a:pt x="567" y="42"/>
                      <a:pt x="566" y="42"/>
                      <a:pt x="565" y="41"/>
                    </a:cubicBezTo>
                    <a:cubicBezTo>
                      <a:pt x="570" y="40"/>
                      <a:pt x="572" y="46"/>
                      <a:pt x="570" y="40"/>
                    </a:cubicBezTo>
                    <a:cubicBezTo>
                      <a:pt x="573" y="44"/>
                      <a:pt x="580" y="40"/>
                      <a:pt x="581" y="35"/>
                    </a:cubicBezTo>
                    <a:cubicBezTo>
                      <a:pt x="576" y="34"/>
                      <a:pt x="572" y="40"/>
                      <a:pt x="568" y="37"/>
                    </a:cubicBezTo>
                    <a:cubicBezTo>
                      <a:pt x="578" y="34"/>
                      <a:pt x="556" y="38"/>
                      <a:pt x="564" y="42"/>
                    </a:cubicBezTo>
                    <a:cubicBezTo>
                      <a:pt x="557" y="41"/>
                      <a:pt x="542" y="44"/>
                      <a:pt x="540" y="50"/>
                    </a:cubicBezTo>
                    <a:cubicBezTo>
                      <a:pt x="540" y="49"/>
                      <a:pt x="545" y="47"/>
                      <a:pt x="545" y="49"/>
                    </a:cubicBezTo>
                    <a:cubicBezTo>
                      <a:pt x="535" y="52"/>
                      <a:pt x="528" y="58"/>
                      <a:pt x="518" y="58"/>
                    </a:cubicBezTo>
                    <a:cubicBezTo>
                      <a:pt x="520" y="58"/>
                      <a:pt x="521" y="58"/>
                      <a:pt x="521" y="56"/>
                    </a:cubicBezTo>
                    <a:cubicBezTo>
                      <a:pt x="518" y="57"/>
                      <a:pt x="516" y="58"/>
                      <a:pt x="514" y="60"/>
                    </a:cubicBezTo>
                    <a:cubicBezTo>
                      <a:pt x="516" y="62"/>
                      <a:pt x="517" y="58"/>
                      <a:pt x="517" y="60"/>
                    </a:cubicBezTo>
                    <a:cubicBezTo>
                      <a:pt x="513" y="61"/>
                      <a:pt x="502" y="69"/>
                      <a:pt x="502" y="63"/>
                    </a:cubicBezTo>
                    <a:cubicBezTo>
                      <a:pt x="486" y="72"/>
                      <a:pt x="468" y="78"/>
                      <a:pt x="453" y="89"/>
                    </a:cubicBezTo>
                    <a:cubicBezTo>
                      <a:pt x="456" y="89"/>
                      <a:pt x="456" y="87"/>
                      <a:pt x="459" y="87"/>
                    </a:cubicBezTo>
                    <a:cubicBezTo>
                      <a:pt x="457" y="91"/>
                      <a:pt x="460" y="86"/>
                      <a:pt x="460" y="90"/>
                    </a:cubicBezTo>
                    <a:close/>
                    <a:moveTo>
                      <a:pt x="587" y="35"/>
                    </a:moveTo>
                    <a:cubicBezTo>
                      <a:pt x="589" y="37"/>
                      <a:pt x="591" y="33"/>
                      <a:pt x="592" y="35"/>
                    </a:cubicBezTo>
                    <a:cubicBezTo>
                      <a:pt x="583" y="39"/>
                      <a:pt x="572" y="43"/>
                      <a:pt x="564" y="49"/>
                    </a:cubicBezTo>
                    <a:cubicBezTo>
                      <a:pt x="567" y="51"/>
                      <a:pt x="569" y="48"/>
                      <a:pt x="572" y="48"/>
                    </a:cubicBezTo>
                    <a:cubicBezTo>
                      <a:pt x="572" y="50"/>
                      <a:pt x="570" y="50"/>
                      <a:pt x="569" y="52"/>
                    </a:cubicBezTo>
                    <a:cubicBezTo>
                      <a:pt x="572" y="53"/>
                      <a:pt x="574" y="49"/>
                      <a:pt x="575" y="52"/>
                    </a:cubicBezTo>
                    <a:cubicBezTo>
                      <a:pt x="574" y="53"/>
                      <a:pt x="577" y="53"/>
                      <a:pt x="574" y="55"/>
                    </a:cubicBezTo>
                    <a:cubicBezTo>
                      <a:pt x="578" y="59"/>
                      <a:pt x="583" y="52"/>
                      <a:pt x="586" y="54"/>
                    </a:cubicBezTo>
                    <a:cubicBezTo>
                      <a:pt x="585" y="55"/>
                      <a:pt x="584" y="55"/>
                      <a:pt x="582" y="55"/>
                    </a:cubicBezTo>
                    <a:cubicBezTo>
                      <a:pt x="583" y="59"/>
                      <a:pt x="583" y="57"/>
                      <a:pt x="581" y="59"/>
                    </a:cubicBezTo>
                    <a:cubicBezTo>
                      <a:pt x="581" y="62"/>
                      <a:pt x="587" y="64"/>
                      <a:pt x="586" y="69"/>
                    </a:cubicBezTo>
                    <a:cubicBezTo>
                      <a:pt x="604" y="64"/>
                      <a:pt x="608" y="51"/>
                      <a:pt x="622" y="40"/>
                    </a:cubicBezTo>
                    <a:cubicBezTo>
                      <a:pt x="620" y="39"/>
                      <a:pt x="617" y="43"/>
                      <a:pt x="615" y="40"/>
                    </a:cubicBezTo>
                    <a:cubicBezTo>
                      <a:pt x="618" y="40"/>
                      <a:pt x="622" y="39"/>
                      <a:pt x="624" y="38"/>
                    </a:cubicBezTo>
                    <a:cubicBezTo>
                      <a:pt x="621" y="30"/>
                      <a:pt x="597" y="39"/>
                      <a:pt x="600" y="43"/>
                    </a:cubicBezTo>
                    <a:cubicBezTo>
                      <a:pt x="594" y="42"/>
                      <a:pt x="600" y="41"/>
                      <a:pt x="595" y="39"/>
                    </a:cubicBezTo>
                    <a:cubicBezTo>
                      <a:pt x="596" y="38"/>
                      <a:pt x="596" y="37"/>
                      <a:pt x="595" y="36"/>
                    </a:cubicBezTo>
                    <a:cubicBezTo>
                      <a:pt x="602" y="35"/>
                      <a:pt x="612" y="33"/>
                      <a:pt x="613" y="30"/>
                    </a:cubicBezTo>
                    <a:cubicBezTo>
                      <a:pt x="607" y="30"/>
                      <a:pt x="601" y="37"/>
                      <a:pt x="593" y="33"/>
                    </a:cubicBezTo>
                    <a:cubicBezTo>
                      <a:pt x="597" y="33"/>
                      <a:pt x="614" y="30"/>
                      <a:pt x="603" y="30"/>
                    </a:cubicBezTo>
                    <a:cubicBezTo>
                      <a:pt x="603" y="29"/>
                      <a:pt x="604" y="29"/>
                      <a:pt x="605" y="28"/>
                    </a:cubicBezTo>
                    <a:cubicBezTo>
                      <a:pt x="603" y="28"/>
                      <a:pt x="599" y="30"/>
                      <a:pt x="598" y="28"/>
                    </a:cubicBezTo>
                    <a:cubicBezTo>
                      <a:pt x="600" y="28"/>
                      <a:pt x="601" y="27"/>
                      <a:pt x="601" y="26"/>
                    </a:cubicBezTo>
                    <a:cubicBezTo>
                      <a:pt x="591" y="30"/>
                      <a:pt x="582" y="30"/>
                      <a:pt x="573" y="35"/>
                    </a:cubicBezTo>
                    <a:cubicBezTo>
                      <a:pt x="580" y="35"/>
                      <a:pt x="589" y="30"/>
                      <a:pt x="594" y="30"/>
                    </a:cubicBezTo>
                    <a:cubicBezTo>
                      <a:pt x="593" y="33"/>
                      <a:pt x="587" y="32"/>
                      <a:pt x="587" y="35"/>
                    </a:cubicBezTo>
                    <a:close/>
                    <a:moveTo>
                      <a:pt x="400" y="143"/>
                    </a:moveTo>
                    <a:cubicBezTo>
                      <a:pt x="398" y="147"/>
                      <a:pt x="400" y="146"/>
                      <a:pt x="399" y="150"/>
                    </a:cubicBezTo>
                    <a:cubicBezTo>
                      <a:pt x="406" y="151"/>
                      <a:pt x="413" y="148"/>
                      <a:pt x="419" y="149"/>
                    </a:cubicBezTo>
                    <a:cubicBezTo>
                      <a:pt x="418" y="150"/>
                      <a:pt x="416" y="150"/>
                      <a:pt x="417" y="153"/>
                    </a:cubicBezTo>
                    <a:cubicBezTo>
                      <a:pt x="421" y="160"/>
                      <a:pt x="429" y="159"/>
                      <a:pt x="438" y="160"/>
                    </a:cubicBezTo>
                    <a:cubicBezTo>
                      <a:pt x="439" y="153"/>
                      <a:pt x="447" y="148"/>
                      <a:pt x="452" y="149"/>
                    </a:cubicBezTo>
                    <a:cubicBezTo>
                      <a:pt x="447" y="151"/>
                      <a:pt x="443" y="154"/>
                      <a:pt x="441" y="159"/>
                    </a:cubicBezTo>
                    <a:cubicBezTo>
                      <a:pt x="455" y="155"/>
                      <a:pt x="463" y="145"/>
                      <a:pt x="473" y="137"/>
                    </a:cubicBezTo>
                    <a:cubicBezTo>
                      <a:pt x="473" y="139"/>
                      <a:pt x="475" y="139"/>
                      <a:pt x="475" y="140"/>
                    </a:cubicBezTo>
                    <a:cubicBezTo>
                      <a:pt x="473" y="142"/>
                      <a:pt x="471" y="144"/>
                      <a:pt x="468" y="147"/>
                    </a:cubicBezTo>
                    <a:cubicBezTo>
                      <a:pt x="473" y="147"/>
                      <a:pt x="473" y="143"/>
                      <a:pt x="476" y="143"/>
                    </a:cubicBezTo>
                    <a:cubicBezTo>
                      <a:pt x="475" y="144"/>
                      <a:pt x="475" y="145"/>
                      <a:pt x="476" y="147"/>
                    </a:cubicBezTo>
                    <a:cubicBezTo>
                      <a:pt x="482" y="146"/>
                      <a:pt x="486" y="140"/>
                      <a:pt x="489" y="145"/>
                    </a:cubicBezTo>
                    <a:cubicBezTo>
                      <a:pt x="493" y="143"/>
                      <a:pt x="494" y="138"/>
                      <a:pt x="499" y="137"/>
                    </a:cubicBezTo>
                    <a:cubicBezTo>
                      <a:pt x="499" y="138"/>
                      <a:pt x="498" y="139"/>
                      <a:pt x="497" y="140"/>
                    </a:cubicBezTo>
                    <a:cubicBezTo>
                      <a:pt x="506" y="139"/>
                      <a:pt x="509" y="133"/>
                      <a:pt x="515" y="129"/>
                    </a:cubicBezTo>
                    <a:cubicBezTo>
                      <a:pt x="517" y="129"/>
                      <a:pt x="517" y="132"/>
                      <a:pt x="516" y="134"/>
                    </a:cubicBezTo>
                    <a:cubicBezTo>
                      <a:pt x="527" y="130"/>
                      <a:pt x="539" y="120"/>
                      <a:pt x="550" y="124"/>
                    </a:cubicBezTo>
                    <a:cubicBezTo>
                      <a:pt x="556" y="120"/>
                      <a:pt x="568" y="124"/>
                      <a:pt x="574" y="122"/>
                    </a:cubicBezTo>
                    <a:cubicBezTo>
                      <a:pt x="574" y="116"/>
                      <a:pt x="574" y="116"/>
                      <a:pt x="574" y="116"/>
                    </a:cubicBezTo>
                    <a:cubicBezTo>
                      <a:pt x="569" y="116"/>
                      <a:pt x="569" y="116"/>
                      <a:pt x="569" y="116"/>
                    </a:cubicBezTo>
                    <a:cubicBezTo>
                      <a:pt x="572" y="112"/>
                      <a:pt x="568" y="114"/>
                      <a:pt x="566" y="112"/>
                    </a:cubicBezTo>
                    <a:cubicBezTo>
                      <a:pt x="571" y="111"/>
                      <a:pt x="575" y="110"/>
                      <a:pt x="580" y="109"/>
                    </a:cubicBezTo>
                    <a:cubicBezTo>
                      <a:pt x="583" y="103"/>
                      <a:pt x="586" y="99"/>
                      <a:pt x="588" y="94"/>
                    </a:cubicBezTo>
                    <a:cubicBezTo>
                      <a:pt x="585" y="93"/>
                      <a:pt x="586" y="90"/>
                      <a:pt x="584" y="89"/>
                    </a:cubicBezTo>
                    <a:cubicBezTo>
                      <a:pt x="584" y="87"/>
                      <a:pt x="587" y="88"/>
                      <a:pt x="587" y="85"/>
                    </a:cubicBezTo>
                    <a:cubicBezTo>
                      <a:pt x="583" y="82"/>
                      <a:pt x="578" y="89"/>
                      <a:pt x="574" y="85"/>
                    </a:cubicBezTo>
                    <a:cubicBezTo>
                      <a:pt x="577" y="84"/>
                      <a:pt x="580" y="83"/>
                      <a:pt x="581" y="80"/>
                    </a:cubicBezTo>
                    <a:cubicBezTo>
                      <a:pt x="579" y="80"/>
                      <a:pt x="577" y="81"/>
                      <a:pt x="577" y="79"/>
                    </a:cubicBezTo>
                    <a:cubicBezTo>
                      <a:pt x="581" y="77"/>
                      <a:pt x="585" y="76"/>
                      <a:pt x="585" y="69"/>
                    </a:cubicBezTo>
                    <a:cubicBezTo>
                      <a:pt x="579" y="70"/>
                      <a:pt x="582" y="68"/>
                      <a:pt x="581" y="64"/>
                    </a:cubicBezTo>
                    <a:cubicBezTo>
                      <a:pt x="575" y="63"/>
                      <a:pt x="573" y="69"/>
                      <a:pt x="568" y="66"/>
                    </a:cubicBezTo>
                    <a:cubicBezTo>
                      <a:pt x="572" y="63"/>
                      <a:pt x="570" y="61"/>
                      <a:pt x="573" y="58"/>
                    </a:cubicBezTo>
                    <a:cubicBezTo>
                      <a:pt x="546" y="58"/>
                      <a:pt x="540" y="76"/>
                      <a:pt x="516" y="83"/>
                    </a:cubicBezTo>
                    <a:cubicBezTo>
                      <a:pt x="507" y="86"/>
                      <a:pt x="499" y="89"/>
                      <a:pt x="488" y="89"/>
                    </a:cubicBezTo>
                    <a:cubicBezTo>
                      <a:pt x="487" y="90"/>
                      <a:pt x="487" y="90"/>
                      <a:pt x="486" y="90"/>
                    </a:cubicBezTo>
                    <a:cubicBezTo>
                      <a:pt x="484" y="91"/>
                      <a:pt x="484" y="95"/>
                      <a:pt x="482" y="96"/>
                    </a:cubicBezTo>
                    <a:cubicBezTo>
                      <a:pt x="478" y="96"/>
                      <a:pt x="473" y="101"/>
                      <a:pt x="470" y="100"/>
                    </a:cubicBezTo>
                    <a:cubicBezTo>
                      <a:pt x="474" y="98"/>
                      <a:pt x="477" y="96"/>
                      <a:pt x="479" y="94"/>
                    </a:cubicBezTo>
                    <a:cubicBezTo>
                      <a:pt x="469" y="96"/>
                      <a:pt x="462" y="108"/>
                      <a:pt x="450" y="105"/>
                    </a:cubicBezTo>
                    <a:cubicBezTo>
                      <a:pt x="453" y="105"/>
                      <a:pt x="455" y="104"/>
                      <a:pt x="456" y="102"/>
                    </a:cubicBezTo>
                    <a:cubicBezTo>
                      <a:pt x="453" y="102"/>
                      <a:pt x="452" y="104"/>
                      <a:pt x="450" y="104"/>
                    </a:cubicBezTo>
                    <a:cubicBezTo>
                      <a:pt x="450" y="103"/>
                      <a:pt x="452" y="102"/>
                      <a:pt x="449" y="102"/>
                    </a:cubicBezTo>
                    <a:cubicBezTo>
                      <a:pt x="440" y="109"/>
                      <a:pt x="422" y="111"/>
                      <a:pt x="416" y="118"/>
                    </a:cubicBezTo>
                    <a:cubicBezTo>
                      <a:pt x="416" y="118"/>
                      <a:pt x="418" y="118"/>
                      <a:pt x="418" y="119"/>
                    </a:cubicBezTo>
                    <a:cubicBezTo>
                      <a:pt x="394" y="126"/>
                      <a:pt x="373" y="142"/>
                      <a:pt x="359" y="156"/>
                    </a:cubicBezTo>
                    <a:cubicBezTo>
                      <a:pt x="372" y="151"/>
                      <a:pt x="390" y="144"/>
                      <a:pt x="400" y="143"/>
                    </a:cubicBezTo>
                    <a:close/>
                    <a:moveTo>
                      <a:pt x="1359" y="1093"/>
                    </a:moveTo>
                    <a:cubicBezTo>
                      <a:pt x="1366" y="1102"/>
                      <a:pt x="1365" y="1114"/>
                      <a:pt x="1370" y="1122"/>
                    </a:cubicBezTo>
                    <a:cubicBezTo>
                      <a:pt x="1371" y="1123"/>
                      <a:pt x="1374" y="1124"/>
                      <a:pt x="1375" y="1125"/>
                    </a:cubicBezTo>
                    <a:cubicBezTo>
                      <a:pt x="1380" y="1132"/>
                      <a:pt x="1385" y="1139"/>
                      <a:pt x="1389" y="1146"/>
                    </a:cubicBezTo>
                    <a:cubicBezTo>
                      <a:pt x="1386" y="1149"/>
                      <a:pt x="1385" y="1155"/>
                      <a:pt x="1384" y="1160"/>
                    </a:cubicBezTo>
                    <a:cubicBezTo>
                      <a:pt x="1389" y="1162"/>
                      <a:pt x="1390" y="1156"/>
                      <a:pt x="1392" y="1158"/>
                    </a:cubicBezTo>
                    <a:cubicBezTo>
                      <a:pt x="1394" y="1178"/>
                      <a:pt x="1390" y="1191"/>
                      <a:pt x="1392" y="1212"/>
                    </a:cubicBezTo>
                    <a:cubicBezTo>
                      <a:pt x="1398" y="1213"/>
                      <a:pt x="1396" y="1206"/>
                      <a:pt x="1401" y="1206"/>
                    </a:cubicBezTo>
                    <a:cubicBezTo>
                      <a:pt x="1407" y="1206"/>
                      <a:pt x="1406" y="1213"/>
                      <a:pt x="1414" y="1212"/>
                    </a:cubicBezTo>
                    <a:cubicBezTo>
                      <a:pt x="1416" y="1221"/>
                      <a:pt x="1425" y="1222"/>
                      <a:pt x="1424" y="1234"/>
                    </a:cubicBezTo>
                    <a:cubicBezTo>
                      <a:pt x="1428" y="1235"/>
                      <a:pt x="1427" y="1230"/>
                      <a:pt x="1432" y="1231"/>
                    </a:cubicBezTo>
                    <a:cubicBezTo>
                      <a:pt x="1433" y="1237"/>
                      <a:pt x="1430" y="1241"/>
                      <a:pt x="1432" y="1246"/>
                    </a:cubicBezTo>
                    <a:cubicBezTo>
                      <a:pt x="1436" y="1247"/>
                      <a:pt x="1436" y="1244"/>
                      <a:pt x="1439" y="1245"/>
                    </a:cubicBezTo>
                    <a:cubicBezTo>
                      <a:pt x="1438" y="1249"/>
                      <a:pt x="1438" y="1251"/>
                      <a:pt x="1440" y="1254"/>
                    </a:cubicBezTo>
                    <a:cubicBezTo>
                      <a:pt x="1455" y="1254"/>
                      <a:pt x="1481" y="1264"/>
                      <a:pt x="1479" y="1239"/>
                    </a:cubicBezTo>
                    <a:cubicBezTo>
                      <a:pt x="1478" y="1237"/>
                      <a:pt x="1474" y="1237"/>
                      <a:pt x="1472" y="1235"/>
                    </a:cubicBezTo>
                    <a:cubicBezTo>
                      <a:pt x="1468" y="1227"/>
                      <a:pt x="1473" y="1212"/>
                      <a:pt x="1469" y="1204"/>
                    </a:cubicBezTo>
                    <a:cubicBezTo>
                      <a:pt x="1460" y="1204"/>
                      <a:pt x="1454" y="1203"/>
                      <a:pt x="1447" y="1203"/>
                    </a:cubicBezTo>
                    <a:cubicBezTo>
                      <a:pt x="1446" y="1201"/>
                      <a:pt x="1446" y="1197"/>
                      <a:pt x="1444" y="1196"/>
                    </a:cubicBezTo>
                    <a:cubicBezTo>
                      <a:pt x="1438" y="1196"/>
                      <a:pt x="1438" y="1202"/>
                      <a:pt x="1432" y="1203"/>
                    </a:cubicBezTo>
                    <a:cubicBezTo>
                      <a:pt x="1431" y="1201"/>
                      <a:pt x="1430" y="1199"/>
                      <a:pt x="1428" y="1197"/>
                    </a:cubicBezTo>
                    <a:cubicBezTo>
                      <a:pt x="1424" y="1196"/>
                      <a:pt x="1427" y="1203"/>
                      <a:pt x="1423" y="1202"/>
                    </a:cubicBezTo>
                    <a:cubicBezTo>
                      <a:pt x="1419" y="1198"/>
                      <a:pt x="1426" y="1197"/>
                      <a:pt x="1426" y="1193"/>
                    </a:cubicBezTo>
                    <a:cubicBezTo>
                      <a:pt x="1424" y="1187"/>
                      <a:pt x="1415" y="1187"/>
                      <a:pt x="1416" y="1179"/>
                    </a:cubicBezTo>
                    <a:cubicBezTo>
                      <a:pt x="1412" y="1179"/>
                      <a:pt x="1410" y="1183"/>
                      <a:pt x="1406" y="1184"/>
                    </a:cubicBezTo>
                    <a:cubicBezTo>
                      <a:pt x="1404" y="1179"/>
                      <a:pt x="1406" y="1169"/>
                      <a:pt x="1402" y="1165"/>
                    </a:cubicBezTo>
                    <a:cubicBezTo>
                      <a:pt x="1409" y="1160"/>
                      <a:pt x="1404" y="1151"/>
                      <a:pt x="1405" y="1142"/>
                    </a:cubicBezTo>
                    <a:cubicBezTo>
                      <a:pt x="1406" y="1140"/>
                      <a:pt x="1408" y="1138"/>
                      <a:pt x="1408" y="1136"/>
                    </a:cubicBezTo>
                    <a:cubicBezTo>
                      <a:pt x="1411" y="1122"/>
                      <a:pt x="1401" y="1112"/>
                      <a:pt x="1418" y="1113"/>
                    </a:cubicBezTo>
                    <a:cubicBezTo>
                      <a:pt x="1417" y="1118"/>
                      <a:pt x="1420" y="1119"/>
                      <a:pt x="1419" y="1124"/>
                    </a:cubicBezTo>
                    <a:cubicBezTo>
                      <a:pt x="1427" y="1123"/>
                      <a:pt x="1428" y="1115"/>
                      <a:pt x="1435" y="1113"/>
                    </a:cubicBezTo>
                    <a:cubicBezTo>
                      <a:pt x="1436" y="1117"/>
                      <a:pt x="1439" y="1119"/>
                      <a:pt x="1440" y="1122"/>
                    </a:cubicBezTo>
                    <a:cubicBezTo>
                      <a:pt x="1444" y="1122"/>
                      <a:pt x="1445" y="1118"/>
                      <a:pt x="1449" y="1118"/>
                    </a:cubicBezTo>
                    <a:cubicBezTo>
                      <a:pt x="1452" y="1121"/>
                      <a:pt x="1450" y="1123"/>
                      <a:pt x="1450" y="1128"/>
                    </a:cubicBezTo>
                    <a:cubicBezTo>
                      <a:pt x="1455" y="1130"/>
                      <a:pt x="1463" y="1130"/>
                      <a:pt x="1469" y="1128"/>
                    </a:cubicBezTo>
                    <a:cubicBezTo>
                      <a:pt x="1475" y="1132"/>
                      <a:pt x="1475" y="1142"/>
                      <a:pt x="1478" y="1149"/>
                    </a:cubicBezTo>
                    <a:cubicBezTo>
                      <a:pt x="1496" y="1148"/>
                      <a:pt x="1492" y="1126"/>
                      <a:pt x="1503" y="1118"/>
                    </a:cubicBezTo>
                    <a:cubicBezTo>
                      <a:pt x="1504" y="1115"/>
                      <a:pt x="1499" y="1115"/>
                      <a:pt x="1501" y="1112"/>
                    </a:cubicBezTo>
                    <a:cubicBezTo>
                      <a:pt x="1516" y="1098"/>
                      <a:pt x="1530" y="1083"/>
                      <a:pt x="1528" y="1053"/>
                    </a:cubicBezTo>
                    <a:cubicBezTo>
                      <a:pt x="1528" y="1050"/>
                      <a:pt x="1525" y="1049"/>
                      <a:pt x="1524" y="1047"/>
                    </a:cubicBezTo>
                    <a:cubicBezTo>
                      <a:pt x="1527" y="1035"/>
                      <a:pt x="1515" y="1029"/>
                      <a:pt x="1514" y="1018"/>
                    </a:cubicBezTo>
                    <a:cubicBezTo>
                      <a:pt x="1504" y="1015"/>
                      <a:pt x="1493" y="1012"/>
                      <a:pt x="1481" y="1013"/>
                    </a:cubicBezTo>
                    <a:cubicBezTo>
                      <a:pt x="1480" y="1010"/>
                      <a:pt x="1480" y="1008"/>
                      <a:pt x="1479" y="1005"/>
                    </a:cubicBezTo>
                    <a:cubicBezTo>
                      <a:pt x="1466" y="1000"/>
                      <a:pt x="1456" y="995"/>
                      <a:pt x="1454" y="984"/>
                    </a:cubicBezTo>
                    <a:cubicBezTo>
                      <a:pt x="1452" y="968"/>
                      <a:pt x="1464" y="961"/>
                      <a:pt x="1468" y="951"/>
                    </a:cubicBezTo>
                    <a:cubicBezTo>
                      <a:pt x="1471" y="943"/>
                      <a:pt x="1468" y="935"/>
                      <a:pt x="1476" y="932"/>
                    </a:cubicBezTo>
                    <a:cubicBezTo>
                      <a:pt x="1481" y="934"/>
                      <a:pt x="1483" y="927"/>
                      <a:pt x="1488" y="927"/>
                    </a:cubicBezTo>
                    <a:cubicBezTo>
                      <a:pt x="1493" y="929"/>
                      <a:pt x="1490" y="938"/>
                      <a:pt x="1493" y="942"/>
                    </a:cubicBezTo>
                    <a:cubicBezTo>
                      <a:pt x="1497" y="942"/>
                      <a:pt x="1499" y="945"/>
                      <a:pt x="1502" y="943"/>
                    </a:cubicBezTo>
                    <a:cubicBezTo>
                      <a:pt x="1507" y="933"/>
                      <a:pt x="1499" y="930"/>
                      <a:pt x="1501" y="920"/>
                    </a:cubicBezTo>
                    <a:cubicBezTo>
                      <a:pt x="1504" y="908"/>
                      <a:pt x="1522" y="904"/>
                      <a:pt x="1523" y="891"/>
                    </a:cubicBezTo>
                    <a:cubicBezTo>
                      <a:pt x="1523" y="887"/>
                      <a:pt x="1519" y="884"/>
                      <a:pt x="1521" y="879"/>
                    </a:cubicBezTo>
                    <a:cubicBezTo>
                      <a:pt x="1524" y="879"/>
                      <a:pt x="1524" y="883"/>
                      <a:pt x="1527" y="883"/>
                    </a:cubicBezTo>
                    <a:cubicBezTo>
                      <a:pt x="1530" y="880"/>
                      <a:pt x="1531" y="876"/>
                      <a:pt x="1531" y="870"/>
                    </a:cubicBezTo>
                    <a:cubicBezTo>
                      <a:pt x="1542" y="863"/>
                      <a:pt x="1554" y="847"/>
                      <a:pt x="1553" y="828"/>
                    </a:cubicBezTo>
                    <a:cubicBezTo>
                      <a:pt x="1553" y="827"/>
                      <a:pt x="1551" y="824"/>
                      <a:pt x="1550" y="822"/>
                    </a:cubicBezTo>
                    <a:cubicBezTo>
                      <a:pt x="1550" y="818"/>
                      <a:pt x="1552" y="815"/>
                      <a:pt x="1552" y="810"/>
                    </a:cubicBezTo>
                    <a:cubicBezTo>
                      <a:pt x="1554" y="798"/>
                      <a:pt x="1553" y="787"/>
                      <a:pt x="1548" y="778"/>
                    </a:cubicBezTo>
                    <a:cubicBezTo>
                      <a:pt x="1549" y="776"/>
                      <a:pt x="1549" y="773"/>
                      <a:pt x="1549" y="770"/>
                    </a:cubicBezTo>
                    <a:cubicBezTo>
                      <a:pt x="1540" y="759"/>
                      <a:pt x="1545" y="741"/>
                      <a:pt x="1546" y="727"/>
                    </a:cubicBezTo>
                    <a:cubicBezTo>
                      <a:pt x="1539" y="726"/>
                      <a:pt x="1543" y="713"/>
                      <a:pt x="1538" y="709"/>
                    </a:cubicBezTo>
                    <a:cubicBezTo>
                      <a:pt x="1531" y="711"/>
                      <a:pt x="1531" y="721"/>
                      <a:pt x="1524" y="724"/>
                    </a:cubicBezTo>
                    <a:cubicBezTo>
                      <a:pt x="1523" y="717"/>
                      <a:pt x="1527" y="714"/>
                      <a:pt x="1527" y="709"/>
                    </a:cubicBezTo>
                    <a:cubicBezTo>
                      <a:pt x="1527" y="707"/>
                      <a:pt x="1525" y="707"/>
                      <a:pt x="1524" y="705"/>
                    </a:cubicBezTo>
                    <a:cubicBezTo>
                      <a:pt x="1519" y="705"/>
                      <a:pt x="1517" y="709"/>
                      <a:pt x="1512" y="705"/>
                    </a:cubicBezTo>
                    <a:cubicBezTo>
                      <a:pt x="1513" y="702"/>
                      <a:pt x="1517" y="702"/>
                      <a:pt x="1519" y="699"/>
                    </a:cubicBezTo>
                    <a:cubicBezTo>
                      <a:pt x="1513" y="697"/>
                      <a:pt x="1510" y="690"/>
                      <a:pt x="1503" y="694"/>
                    </a:cubicBezTo>
                    <a:cubicBezTo>
                      <a:pt x="1495" y="683"/>
                      <a:pt x="1482" y="675"/>
                      <a:pt x="1465" y="678"/>
                    </a:cubicBezTo>
                    <a:cubicBezTo>
                      <a:pt x="1460" y="672"/>
                      <a:pt x="1461" y="660"/>
                      <a:pt x="1463" y="654"/>
                    </a:cubicBezTo>
                    <a:cubicBezTo>
                      <a:pt x="1458" y="648"/>
                      <a:pt x="1460" y="636"/>
                      <a:pt x="1467" y="633"/>
                    </a:cubicBezTo>
                    <a:cubicBezTo>
                      <a:pt x="1465" y="630"/>
                      <a:pt x="1464" y="626"/>
                      <a:pt x="1460" y="624"/>
                    </a:cubicBezTo>
                    <a:cubicBezTo>
                      <a:pt x="1455" y="627"/>
                      <a:pt x="1453" y="632"/>
                      <a:pt x="1444" y="630"/>
                    </a:cubicBezTo>
                    <a:cubicBezTo>
                      <a:pt x="1441" y="633"/>
                      <a:pt x="1442" y="641"/>
                      <a:pt x="1442" y="647"/>
                    </a:cubicBezTo>
                    <a:cubicBezTo>
                      <a:pt x="1433" y="653"/>
                      <a:pt x="1430" y="641"/>
                      <a:pt x="1425" y="638"/>
                    </a:cubicBezTo>
                    <a:cubicBezTo>
                      <a:pt x="1417" y="647"/>
                      <a:pt x="1404" y="644"/>
                      <a:pt x="1403" y="631"/>
                    </a:cubicBezTo>
                    <a:cubicBezTo>
                      <a:pt x="1416" y="630"/>
                      <a:pt x="1411" y="619"/>
                      <a:pt x="1406" y="611"/>
                    </a:cubicBezTo>
                    <a:cubicBezTo>
                      <a:pt x="1413" y="607"/>
                      <a:pt x="1407" y="601"/>
                      <a:pt x="1408" y="592"/>
                    </a:cubicBezTo>
                    <a:cubicBezTo>
                      <a:pt x="1419" y="581"/>
                      <a:pt x="1423" y="599"/>
                      <a:pt x="1426" y="608"/>
                    </a:cubicBezTo>
                    <a:cubicBezTo>
                      <a:pt x="1427" y="610"/>
                      <a:pt x="1431" y="609"/>
                      <a:pt x="1432" y="610"/>
                    </a:cubicBezTo>
                    <a:cubicBezTo>
                      <a:pt x="1432" y="614"/>
                      <a:pt x="1432" y="618"/>
                      <a:pt x="1435" y="619"/>
                    </a:cubicBezTo>
                    <a:cubicBezTo>
                      <a:pt x="1440" y="609"/>
                      <a:pt x="1433" y="592"/>
                      <a:pt x="1444" y="585"/>
                    </a:cubicBezTo>
                    <a:cubicBezTo>
                      <a:pt x="1449" y="591"/>
                      <a:pt x="1451" y="582"/>
                      <a:pt x="1455" y="583"/>
                    </a:cubicBezTo>
                    <a:cubicBezTo>
                      <a:pt x="1464" y="586"/>
                      <a:pt x="1463" y="604"/>
                      <a:pt x="1475" y="606"/>
                    </a:cubicBezTo>
                    <a:cubicBezTo>
                      <a:pt x="1475" y="600"/>
                      <a:pt x="1483" y="602"/>
                      <a:pt x="1484" y="598"/>
                    </a:cubicBezTo>
                    <a:cubicBezTo>
                      <a:pt x="1486" y="601"/>
                      <a:pt x="1494" y="598"/>
                      <a:pt x="1495" y="602"/>
                    </a:cubicBezTo>
                    <a:cubicBezTo>
                      <a:pt x="1495" y="605"/>
                      <a:pt x="1492" y="605"/>
                      <a:pt x="1492" y="607"/>
                    </a:cubicBezTo>
                    <a:cubicBezTo>
                      <a:pt x="1499" y="609"/>
                      <a:pt x="1500" y="616"/>
                      <a:pt x="1509" y="615"/>
                    </a:cubicBezTo>
                    <a:cubicBezTo>
                      <a:pt x="1510" y="626"/>
                      <a:pt x="1517" y="630"/>
                      <a:pt x="1524" y="635"/>
                    </a:cubicBezTo>
                    <a:cubicBezTo>
                      <a:pt x="1528" y="632"/>
                      <a:pt x="1524" y="629"/>
                      <a:pt x="1524" y="626"/>
                    </a:cubicBezTo>
                    <a:cubicBezTo>
                      <a:pt x="1525" y="619"/>
                      <a:pt x="1532" y="612"/>
                      <a:pt x="1531" y="606"/>
                    </a:cubicBezTo>
                    <a:cubicBezTo>
                      <a:pt x="1531" y="603"/>
                      <a:pt x="1519" y="590"/>
                      <a:pt x="1517" y="588"/>
                    </a:cubicBezTo>
                    <a:cubicBezTo>
                      <a:pt x="1512" y="584"/>
                      <a:pt x="1504" y="585"/>
                      <a:pt x="1500" y="583"/>
                    </a:cubicBezTo>
                    <a:cubicBezTo>
                      <a:pt x="1490" y="580"/>
                      <a:pt x="1481" y="568"/>
                      <a:pt x="1474" y="575"/>
                    </a:cubicBezTo>
                    <a:cubicBezTo>
                      <a:pt x="1475" y="568"/>
                      <a:pt x="1468" y="570"/>
                      <a:pt x="1467" y="566"/>
                    </a:cubicBezTo>
                    <a:cubicBezTo>
                      <a:pt x="1468" y="562"/>
                      <a:pt x="1469" y="559"/>
                      <a:pt x="1469" y="556"/>
                    </a:cubicBezTo>
                    <a:cubicBezTo>
                      <a:pt x="1469" y="554"/>
                      <a:pt x="1466" y="543"/>
                      <a:pt x="1466" y="543"/>
                    </a:cubicBezTo>
                    <a:cubicBezTo>
                      <a:pt x="1463" y="537"/>
                      <a:pt x="1457" y="537"/>
                      <a:pt x="1453" y="531"/>
                    </a:cubicBezTo>
                    <a:cubicBezTo>
                      <a:pt x="1451" y="526"/>
                      <a:pt x="1453" y="520"/>
                      <a:pt x="1452" y="515"/>
                    </a:cubicBezTo>
                    <a:cubicBezTo>
                      <a:pt x="1450" y="511"/>
                      <a:pt x="1445" y="511"/>
                      <a:pt x="1446" y="506"/>
                    </a:cubicBezTo>
                    <a:cubicBezTo>
                      <a:pt x="1450" y="503"/>
                      <a:pt x="1454" y="507"/>
                      <a:pt x="1457" y="508"/>
                    </a:cubicBezTo>
                    <a:cubicBezTo>
                      <a:pt x="1457" y="503"/>
                      <a:pt x="1458" y="502"/>
                      <a:pt x="1461" y="504"/>
                    </a:cubicBezTo>
                    <a:cubicBezTo>
                      <a:pt x="1466" y="489"/>
                      <a:pt x="1456" y="482"/>
                      <a:pt x="1452" y="474"/>
                    </a:cubicBezTo>
                    <a:cubicBezTo>
                      <a:pt x="1446" y="462"/>
                      <a:pt x="1440" y="449"/>
                      <a:pt x="1432" y="440"/>
                    </a:cubicBezTo>
                    <a:cubicBezTo>
                      <a:pt x="1430" y="438"/>
                      <a:pt x="1427" y="436"/>
                      <a:pt x="1425" y="434"/>
                    </a:cubicBezTo>
                    <a:cubicBezTo>
                      <a:pt x="1420" y="428"/>
                      <a:pt x="1418" y="421"/>
                      <a:pt x="1413" y="415"/>
                    </a:cubicBezTo>
                    <a:cubicBezTo>
                      <a:pt x="1400" y="400"/>
                      <a:pt x="1374" y="397"/>
                      <a:pt x="1364" y="379"/>
                    </a:cubicBezTo>
                    <a:cubicBezTo>
                      <a:pt x="1376" y="380"/>
                      <a:pt x="1383" y="386"/>
                      <a:pt x="1390" y="390"/>
                    </a:cubicBezTo>
                    <a:cubicBezTo>
                      <a:pt x="1393" y="392"/>
                      <a:pt x="1397" y="394"/>
                      <a:pt x="1400" y="395"/>
                    </a:cubicBezTo>
                    <a:cubicBezTo>
                      <a:pt x="1406" y="399"/>
                      <a:pt x="1413" y="405"/>
                      <a:pt x="1418" y="407"/>
                    </a:cubicBezTo>
                    <a:cubicBezTo>
                      <a:pt x="1431" y="410"/>
                      <a:pt x="1441" y="420"/>
                      <a:pt x="1453" y="425"/>
                    </a:cubicBezTo>
                    <a:cubicBezTo>
                      <a:pt x="1452" y="422"/>
                      <a:pt x="1448" y="421"/>
                      <a:pt x="1448" y="417"/>
                    </a:cubicBezTo>
                    <a:cubicBezTo>
                      <a:pt x="1451" y="413"/>
                      <a:pt x="1454" y="419"/>
                      <a:pt x="1457" y="416"/>
                    </a:cubicBezTo>
                    <a:cubicBezTo>
                      <a:pt x="1453" y="409"/>
                      <a:pt x="1442" y="412"/>
                      <a:pt x="1434" y="410"/>
                    </a:cubicBezTo>
                    <a:cubicBezTo>
                      <a:pt x="1424" y="406"/>
                      <a:pt x="1420" y="398"/>
                      <a:pt x="1412" y="392"/>
                    </a:cubicBezTo>
                    <a:cubicBezTo>
                      <a:pt x="1416" y="392"/>
                      <a:pt x="1419" y="391"/>
                      <a:pt x="1424" y="391"/>
                    </a:cubicBezTo>
                    <a:cubicBezTo>
                      <a:pt x="1410" y="386"/>
                      <a:pt x="1396" y="378"/>
                      <a:pt x="1382" y="374"/>
                    </a:cubicBezTo>
                    <a:cubicBezTo>
                      <a:pt x="1378" y="373"/>
                      <a:pt x="1373" y="374"/>
                      <a:pt x="1368" y="372"/>
                    </a:cubicBezTo>
                    <a:cubicBezTo>
                      <a:pt x="1365" y="371"/>
                      <a:pt x="1363" y="366"/>
                      <a:pt x="1359" y="365"/>
                    </a:cubicBezTo>
                    <a:cubicBezTo>
                      <a:pt x="1351" y="360"/>
                      <a:pt x="1340" y="360"/>
                      <a:pt x="1332" y="355"/>
                    </a:cubicBezTo>
                    <a:cubicBezTo>
                      <a:pt x="1330" y="359"/>
                      <a:pt x="1337" y="360"/>
                      <a:pt x="1341" y="362"/>
                    </a:cubicBezTo>
                    <a:cubicBezTo>
                      <a:pt x="1341" y="373"/>
                      <a:pt x="1358" y="371"/>
                      <a:pt x="1358" y="378"/>
                    </a:cubicBezTo>
                    <a:cubicBezTo>
                      <a:pt x="1347" y="371"/>
                      <a:pt x="1336" y="369"/>
                      <a:pt x="1319" y="368"/>
                    </a:cubicBezTo>
                    <a:cubicBezTo>
                      <a:pt x="1319" y="371"/>
                      <a:pt x="1317" y="372"/>
                      <a:pt x="1315" y="373"/>
                    </a:cubicBezTo>
                    <a:cubicBezTo>
                      <a:pt x="1318" y="375"/>
                      <a:pt x="1320" y="378"/>
                      <a:pt x="1320" y="383"/>
                    </a:cubicBezTo>
                    <a:cubicBezTo>
                      <a:pt x="1316" y="383"/>
                      <a:pt x="1317" y="379"/>
                      <a:pt x="1312" y="380"/>
                    </a:cubicBezTo>
                    <a:cubicBezTo>
                      <a:pt x="1312" y="381"/>
                      <a:pt x="1313" y="383"/>
                      <a:pt x="1311" y="384"/>
                    </a:cubicBezTo>
                    <a:cubicBezTo>
                      <a:pt x="1307" y="382"/>
                      <a:pt x="1304" y="379"/>
                      <a:pt x="1300" y="377"/>
                    </a:cubicBezTo>
                    <a:cubicBezTo>
                      <a:pt x="1297" y="380"/>
                      <a:pt x="1294" y="383"/>
                      <a:pt x="1287" y="382"/>
                    </a:cubicBezTo>
                    <a:cubicBezTo>
                      <a:pt x="1280" y="356"/>
                      <a:pt x="1260" y="341"/>
                      <a:pt x="1249" y="318"/>
                    </a:cubicBezTo>
                    <a:cubicBezTo>
                      <a:pt x="1254" y="316"/>
                      <a:pt x="1258" y="308"/>
                      <a:pt x="1265" y="311"/>
                    </a:cubicBezTo>
                    <a:cubicBezTo>
                      <a:pt x="1266" y="308"/>
                      <a:pt x="1264" y="308"/>
                      <a:pt x="1264" y="306"/>
                    </a:cubicBezTo>
                    <a:cubicBezTo>
                      <a:pt x="1273" y="307"/>
                      <a:pt x="1268" y="302"/>
                      <a:pt x="1274" y="301"/>
                    </a:cubicBezTo>
                    <a:cubicBezTo>
                      <a:pt x="1272" y="300"/>
                      <a:pt x="1271" y="298"/>
                      <a:pt x="1270" y="296"/>
                    </a:cubicBezTo>
                    <a:cubicBezTo>
                      <a:pt x="1273" y="294"/>
                      <a:pt x="1274" y="293"/>
                      <a:pt x="1279" y="294"/>
                    </a:cubicBezTo>
                    <a:cubicBezTo>
                      <a:pt x="1279" y="293"/>
                      <a:pt x="1278" y="290"/>
                      <a:pt x="1280" y="290"/>
                    </a:cubicBezTo>
                    <a:cubicBezTo>
                      <a:pt x="1285" y="290"/>
                      <a:pt x="1285" y="296"/>
                      <a:pt x="1290" y="296"/>
                    </a:cubicBezTo>
                    <a:cubicBezTo>
                      <a:pt x="1290" y="291"/>
                      <a:pt x="1293" y="288"/>
                      <a:pt x="1296" y="284"/>
                    </a:cubicBezTo>
                    <a:cubicBezTo>
                      <a:pt x="1295" y="283"/>
                      <a:pt x="1295" y="280"/>
                      <a:pt x="1294" y="279"/>
                    </a:cubicBezTo>
                    <a:cubicBezTo>
                      <a:pt x="1289" y="278"/>
                      <a:pt x="1289" y="278"/>
                      <a:pt x="1285" y="280"/>
                    </a:cubicBezTo>
                    <a:cubicBezTo>
                      <a:pt x="1276" y="274"/>
                      <a:pt x="1269" y="266"/>
                      <a:pt x="1260" y="259"/>
                    </a:cubicBezTo>
                    <a:cubicBezTo>
                      <a:pt x="1263" y="257"/>
                      <a:pt x="1264" y="256"/>
                      <a:pt x="1264" y="253"/>
                    </a:cubicBezTo>
                    <a:cubicBezTo>
                      <a:pt x="1272" y="253"/>
                      <a:pt x="1279" y="255"/>
                      <a:pt x="1286" y="257"/>
                    </a:cubicBezTo>
                    <a:cubicBezTo>
                      <a:pt x="1284" y="251"/>
                      <a:pt x="1275" y="248"/>
                      <a:pt x="1277" y="242"/>
                    </a:cubicBezTo>
                    <a:cubicBezTo>
                      <a:pt x="1272" y="240"/>
                      <a:pt x="1264" y="241"/>
                      <a:pt x="1261" y="237"/>
                    </a:cubicBezTo>
                    <a:cubicBezTo>
                      <a:pt x="1264" y="237"/>
                      <a:pt x="1263" y="234"/>
                      <a:pt x="1264" y="234"/>
                    </a:cubicBezTo>
                    <a:cubicBezTo>
                      <a:pt x="1271" y="239"/>
                      <a:pt x="1281" y="241"/>
                      <a:pt x="1289" y="245"/>
                    </a:cubicBezTo>
                    <a:cubicBezTo>
                      <a:pt x="1295" y="256"/>
                      <a:pt x="1311" y="262"/>
                      <a:pt x="1319" y="272"/>
                    </a:cubicBezTo>
                    <a:cubicBezTo>
                      <a:pt x="1324" y="278"/>
                      <a:pt x="1324" y="285"/>
                      <a:pt x="1332" y="285"/>
                    </a:cubicBezTo>
                    <a:cubicBezTo>
                      <a:pt x="1341" y="299"/>
                      <a:pt x="1365" y="300"/>
                      <a:pt x="1381" y="306"/>
                    </a:cubicBezTo>
                    <a:cubicBezTo>
                      <a:pt x="1388" y="308"/>
                      <a:pt x="1393" y="315"/>
                      <a:pt x="1401" y="311"/>
                    </a:cubicBezTo>
                    <a:cubicBezTo>
                      <a:pt x="1407" y="314"/>
                      <a:pt x="1416" y="318"/>
                      <a:pt x="1423" y="318"/>
                    </a:cubicBezTo>
                    <a:cubicBezTo>
                      <a:pt x="1419" y="305"/>
                      <a:pt x="1398" y="305"/>
                      <a:pt x="1397" y="292"/>
                    </a:cubicBezTo>
                    <a:cubicBezTo>
                      <a:pt x="1390" y="289"/>
                      <a:pt x="1378" y="288"/>
                      <a:pt x="1381" y="278"/>
                    </a:cubicBezTo>
                    <a:cubicBezTo>
                      <a:pt x="1375" y="273"/>
                      <a:pt x="1363" y="276"/>
                      <a:pt x="1357" y="268"/>
                    </a:cubicBezTo>
                    <a:cubicBezTo>
                      <a:pt x="1359" y="267"/>
                      <a:pt x="1361" y="268"/>
                      <a:pt x="1361" y="267"/>
                    </a:cubicBezTo>
                    <a:cubicBezTo>
                      <a:pt x="1354" y="261"/>
                      <a:pt x="1342" y="264"/>
                      <a:pt x="1334" y="258"/>
                    </a:cubicBezTo>
                    <a:cubicBezTo>
                      <a:pt x="1331" y="258"/>
                      <a:pt x="1334" y="263"/>
                      <a:pt x="1331" y="262"/>
                    </a:cubicBezTo>
                    <a:cubicBezTo>
                      <a:pt x="1325" y="261"/>
                      <a:pt x="1322" y="257"/>
                      <a:pt x="1317" y="254"/>
                    </a:cubicBezTo>
                    <a:cubicBezTo>
                      <a:pt x="1313" y="252"/>
                      <a:pt x="1305" y="251"/>
                      <a:pt x="1306" y="245"/>
                    </a:cubicBezTo>
                    <a:cubicBezTo>
                      <a:pt x="1306" y="245"/>
                      <a:pt x="1309" y="247"/>
                      <a:pt x="1309" y="245"/>
                    </a:cubicBezTo>
                    <a:cubicBezTo>
                      <a:pt x="1307" y="242"/>
                      <a:pt x="1302" y="242"/>
                      <a:pt x="1302" y="238"/>
                    </a:cubicBezTo>
                    <a:cubicBezTo>
                      <a:pt x="1305" y="238"/>
                      <a:pt x="1310" y="242"/>
                      <a:pt x="1311" y="240"/>
                    </a:cubicBezTo>
                    <a:cubicBezTo>
                      <a:pt x="1306" y="238"/>
                      <a:pt x="1302" y="231"/>
                      <a:pt x="1308" y="227"/>
                    </a:cubicBezTo>
                    <a:cubicBezTo>
                      <a:pt x="1314" y="227"/>
                      <a:pt x="1314" y="227"/>
                      <a:pt x="1314" y="227"/>
                    </a:cubicBezTo>
                    <a:cubicBezTo>
                      <a:pt x="1301" y="218"/>
                      <a:pt x="1293" y="208"/>
                      <a:pt x="1284" y="197"/>
                    </a:cubicBezTo>
                    <a:cubicBezTo>
                      <a:pt x="1286" y="196"/>
                      <a:pt x="1287" y="193"/>
                      <a:pt x="1288" y="192"/>
                    </a:cubicBezTo>
                    <a:cubicBezTo>
                      <a:pt x="1280" y="185"/>
                      <a:pt x="1270" y="191"/>
                      <a:pt x="1260" y="188"/>
                    </a:cubicBezTo>
                    <a:cubicBezTo>
                      <a:pt x="1260" y="190"/>
                      <a:pt x="1259" y="192"/>
                      <a:pt x="1254" y="191"/>
                    </a:cubicBezTo>
                    <a:cubicBezTo>
                      <a:pt x="1256" y="176"/>
                      <a:pt x="1238" y="183"/>
                      <a:pt x="1234" y="177"/>
                    </a:cubicBezTo>
                    <a:cubicBezTo>
                      <a:pt x="1238" y="176"/>
                      <a:pt x="1242" y="179"/>
                      <a:pt x="1245" y="177"/>
                    </a:cubicBezTo>
                    <a:cubicBezTo>
                      <a:pt x="1248" y="176"/>
                      <a:pt x="1243" y="174"/>
                      <a:pt x="1246" y="173"/>
                    </a:cubicBezTo>
                    <a:cubicBezTo>
                      <a:pt x="1254" y="173"/>
                      <a:pt x="1258" y="168"/>
                      <a:pt x="1267" y="169"/>
                    </a:cubicBezTo>
                    <a:cubicBezTo>
                      <a:pt x="1263" y="161"/>
                      <a:pt x="1246" y="166"/>
                      <a:pt x="1244" y="155"/>
                    </a:cubicBezTo>
                    <a:cubicBezTo>
                      <a:pt x="1235" y="153"/>
                      <a:pt x="1232" y="159"/>
                      <a:pt x="1223" y="161"/>
                    </a:cubicBezTo>
                    <a:cubicBezTo>
                      <a:pt x="1222" y="165"/>
                      <a:pt x="1227" y="163"/>
                      <a:pt x="1228" y="165"/>
                    </a:cubicBezTo>
                    <a:cubicBezTo>
                      <a:pt x="1216" y="163"/>
                      <a:pt x="1208" y="168"/>
                      <a:pt x="1196" y="172"/>
                    </a:cubicBezTo>
                    <a:cubicBezTo>
                      <a:pt x="1181" y="177"/>
                      <a:pt x="1171" y="177"/>
                      <a:pt x="1166" y="187"/>
                    </a:cubicBezTo>
                    <a:cubicBezTo>
                      <a:pt x="1162" y="187"/>
                      <a:pt x="1157" y="187"/>
                      <a:pt x="1156" y="190"/>
                    </a:cubicBezTo>
                    <a:cubicBezTo>
                      <a:pt x="1162" y="196"/>
                      <a:pt x="1174" y="189"/>
                      <a:pt x="1177" y="198"/>
                    </a:cubicBezTo>
                    <a:cubicBezTo>
                      <a:pt x="1171" y="195"/>
                      <a:pt x="1168" y="197"/>
                      <a:pt x="1164" y="198"/>
                    </a:cubicBezTo>
                    <a:cubicBezTo>
                      <a:pt x="1162" y="195"/>
                      <a:pt x="1158" y="192"/>
                      <a:pt x="1153" y="195"/>
                    </a:cubicBezTo>
                    <a:cubicBezTo>
                      <a:pt x="1153" y="198"/>
                      <a:pt x="1158" y="197"/>
                      <a:pt x="1157" y="201"/>
                    </a:cubicBezTo>
                    <a:cubicBezTo>
                      <a:pt x="1149" y="202"/>
                      <a:pt x="1141" y="207"/>
                      <a:pt x="1140" y="212"/>
                    </a:cubicBezTo>
                    <a:cubicBezTo>
                      <a:pt x="1128" y="214"/>
                      <a:pt x="1109" y="206"/>
                      <a:pt x="1097" y="216"/>
                    </a:cubicBezTo>
                    <a:cubicBezTo>
                      <a:pt x="1095" y="217"/>
                      <a:pt x="1099" y="219"/>
                      <a:pt x="1096" y="222"/>
                    </a:cubicBezTo>
                    <a:cubicBezTo>
                      <a:pt x="1077" y="223"/>
                      <a:pt x="1063" y="218"/>
                      <a:pt x="1044" y="222"/>
                    </a:cubicBezTo>
                    <a:cubicBezTo>
                      <a:pt x="1037" y="226"/>
                      <a:pt x="1029" y="227"/>
                      <a:pt x="1020" y="228"/>
                    </a:cubicBezTo>
                    <a:cubicBezTo>
                      <a:pt x="1024" y="230"/>
                      <a:pt x="1020" y="233"/>
                      <a:pt x="1022" y="235"/>
                    </a:cubicBezTo>
                    <a:cubicBezTo>
                      <a:pt x="1028" y="236"/>
                      <a:pt x="1032" y="234"/>
                      <a:pt x="1036" y="239"/>
                    </a:cubicBezTo>
                    <a:cubicBezTo>
                      <a:pt x="1034" y="241"/>
                      <a:pt x="1033" y="238"/>
                      <a:pt x="1030" y="239"/>
                    </a:cubicBezTo>
                    <a:cubicBezTo>
                      <a:pt x="1029" y="241"/>
                      <a:pt x="1033" y="243"/>
                      <a:pt x="1030" y="244"/>
                    </a:cubicBezTo>
                    <a:cubicBezTo>
                      <a:pt x="1026" y="244"/>
                      <a:pt x="1024" y="242"/>
                      <a:pt x="1020" y="243"/>
                    </a:cubicBezTo>
                    <a:cubicBezTo>
                      <a:pt x="1018" y="251"/>
                      <a:pt x="1009" y="247"/>
                      <a:pt x="1002" y="246"/>
                    </a:cubicBezTo>
                    <a:cubicBezTo>
                      <a:pt x="1003" y="251"/>
                      <a:pt x="1009" y="251"/>
                      <a:pt x="1011" y="256"/>
                    </a:cubicBezTo>
                    <a:cubicBezTo>
                      <a:pt x="1000" y="257"/>
                      <a:pt x="993" y="249"/>
                      <a:pt x="986" y="252"/>
                    </a:cubicBezTo>
                    <a:cubicBezTo>
                      <a:pt x="985" y="250"/>
                      <a:pt x="987" y="248"/>
                      <a:pt x="984" y="246"/>
                    </a:cubicBezTo>
                    <a:cubicBezTo>
                      <a:pt x="976" y="244"/>
                      <a:pt x="969" y="240"/>
                      <a:pt x="961" y="238"/>
                    </a:cubicBezTo>
                    <a:cubicBezTo>
                      <a:pt x="957" y="244"/>
                      <a:pt x="948" y="238"/>
                      <a:pt x="942" y="241"/>
                    </a:cubicBezTo>
                    <a:cubicBezTo>
                      <a:pt x="942" y="245"/>
                      <a:pt x="950" y="246"/>
                      <a:pt x="948" y="249"/>
                    </a:cubicBezTo>
                    <a:cubicBezTo>
                      <a:pt x="937" y="248"/>
                      <a:pt x="935" y="251"/>
                      <a:pt x="924" y="250"/>
                    </a:cubicBezTo>
                    <a:cubicBezTo>
                      <a:pt x="925" y="248"/>
                      <a:pt x="924" y="246"/>
                      <a:pt x="922" y="246"/>
                    </a:cubicBezTo>
                    <a:cubicBezTo>
                      <a:pt x="913" y="249"/>
                      <a:pt x="906" y="247"/>
                      <a:pt x="900" y="251"/>
                    </a:cubicBezTo>
                    <a:cubicBezTo>
                      <a:pt x="897" y="250"/>
                      <a:pt x="896" y="247"/>
                      <a:pt x="893" y="246"/>
                    </a:cubicBezTo>
                    <a:cubicBezTo>
                      <a:pt x="892" y="248"/>
                      <a:pt x="894" y="251"/>
                      <a:pt x="892" y="251"/>
                    </a:cubicBezTo>
                    <a:cubicBezTo>
                      <a:pt x="889" y="251"/>
                      <a:pt x="887" y="250"/>
                      <a:pt x="886" y="248"/>
                    </a:cubicBezTo>
                    <a:cubicBezTo>
                      <a:pt x="887" y="247"/>
                      <a:pt x="891" y="248"/>
                      <a:pt x="890" y="244"/>
                    </a:cubicBezTo>
                    <a:cubicBezTo>
                      <a:pt x="889" y="242"/>
                      <a:pt x="884" y="242"/>
                      <a:pt x="882" y="244"/>
                    </a:cubicBezTo>
                    <a:cubicBezTo>
                      <a:pt x="881" y="247"/>
                      <a:pt x="885" y="246"/>
                      <a:pt x="885" y="247"/>
                    </a:cubicBezTo>
                    <a:cubicBezTo>
                      <a:pt x="884" y="249"/>
                      <a:pt x="879" y="247"/>
                      <a:pt x="880" y="250"/>
                    </a:cubicBezTo>
                    <a:cubicBezTo>
                      <a:pt x="879" y="254"/>
                      <a:pt x="885" y="252"/>
                      <a:pt x="884" y="255"/>
                    </a:cubicBezTo>
                    <a:cubicBezTo>
                      <a:pt x="879" y="258"/>
                      <a:pt x="870" y="258"/>
                      <a:pt x="868" y="264"/>
                    </a:cubicBezTo>
                    <a:cubicBezTo>
                      <a:pt x="865" y="255"/>
                      <a:pt x="880" y="256"/>
                      <a:pt x="877" y="244"/>
                    </a:cubicBezTo>
                    <a:cubicBezTo>
                      <a:pt x="879" y="242"/>
                      <a:pt x="883" y="242"/>
                      <a:pt x="883" y="239"/>
                    </a:cubicBezTo>
                    <a:cubicBezTo>
                      <a:pt x="881" y="224"/>
                      <a:pt x="859" y="222"/>
                      <a:pt x="846" y="228"/>
                    </a:cubicBezTo>
                    <a:cubicBezTo>
                      <a:pt x="843" y="228"/>
                      <a:pt x="844" y="225"/>
                      <a:pt x="843" y="223"/>
                    </a:cubicBezTo>
                    <a:cubicBezTo>
                      <a:pt x="839" y="223"/>
                      <a:pt x="839" y="225"/>
                      <a:pt x="835" y="224"/>
                    </a:cubicBezTo>
                    <a:cubicBezTo>
                      <a:pt x="835" y="222"/>
                      <a:pt x="837" y="222"/>
                      <a:pt x="835" y="221"/>
                    </a:cubicBezTo>
                    <a:cubicBezTo>
                      <a:pt x="828" y="218"/>
                      <a:pt x="825" y="220"/>
                      <a:pt x="820" y="222"/>
                    </a:cubicBezTo>
                    <a:cubicBezTo>
                      <a:pt x="819" y="227"/>
                      <a:pt x="823" y="227"/>
                      <a:pt x="823" y="230"/>
                    </a:cubicBezTo>
                    <a:cubicBezTo>
                      <a:pt x="814" y="229"/>
                      <a:pt x="815" y="238"/>
                      <a:pt x="806" y="238"/>
                    </a:cubicBezTo>
                    <a:cubicBezTo>
                      <a:pt x="807" y="235"/>
                      <a:pt x="807" y="233"/>
                      <a:pt x="804" y="233"/>
                    </a:cubicBezTo>
                    <a:cubicBezTo>
                      <a:pt x="793" y="239"/>
                      <a:pt x="778" y="240"/>
                      <a:pt x="772" y="250"/>
                    </a:cubicBezTo>
                    <a:cubicBezTo>
                      <a:pt x="773" y="253"/>
                      <a:pt x="775" y="254"/>
                      <a:pt x="775" y="257"/>
                    </a:cubicBezTo>
                    <a:cubicBezTo>
                      <a:pt x="768" y="263"/>
                      <a:pt x="758" y="257"/>
                      <a:pt x="750" y="261"/>
                    </a:cubicBezTo>
                    <a:cubicBezTo>
                      <a:pt x="748" y="266"/>
                      <a:pt x="751" y="269"/>
                      <a:pt x="752" y="273"/>
                    </a:cubicBezTo>
                    <a:cubicBezTo>
                      <a:pt x="756" y="275"/>
                      <a:pt x="762" y="275"/>
                      <a:pt x="763" y="280"/>
                    </a:cubicBezTo>
                    <a:cubicBezTo>
                      <a:pt x="754" y="283"/>
                      <a:pt x="752" y="271"/>
                      <a:pt x="739" y="273"/>
                    </a:cubicBezTo>
                    <a:cubicBezTo>
                      <a:pt x="739" y="279"/>
                      <a:pt x="739" y="279"/>
                      <a:pt x="739" y="279"/>
                    </a:cubicBezTo>
                    <a:cubicBezTo>
                      <a:pt x="737" y="278"/>
                      <a:pt x="736" y="275"/>
                      <a:pt x="732" y="275"/>
                    </a:cubicBezTo>
                    <a:cubicBezTo>
                      <a:pt x="729" y="279"/>
                      <a:pt x="732" y="281"/>
                      <a:pt x="732" y="286"/>
                    </a:cubicBezTo>
                    <a:cubicBezTo>
                      <a:pt x="729" y="285"/>
                      <a:pt x="728" y="282"/>
                      <a:pt x="727" y="278"/>
                    </a:cubicBezTo>
                    <a:cubicBezTo>
                      <a:pt x="729" y="276"/>
                      <a:pt x="730" y="268"/>
                      <a:pt x="726" y="268"/>
                    </a:cubicBezTo>
                    <a:cubicBezTo>
                      <a:pt x="723" y="269"/>
                      <a:pt x="726" y="272"/>
                      <a:pt x="726" y="273"/>
                    </a:cubicBezTo>
                    <a:cubicBezTo>
                      <a:pt x="715" y="277"/>
                      <a:pt x="715" y="286"/>
                      <a:pt x="723" y="293"/>
                    </a:cubicBezTo>
                    <a:cubicBezTo>
                      <a:pt x="722" y="296"/>
                      <a:pt x="720" y="299"/>
                      <a:pt x="720" y="303"/>
                    </a:cubicBezTo>
                    <a:cubicBezTo>
                      <a:pt x="722" y="305"/>
                      <a:pt x="725" y="306"/>
                      <a:pt x="724" y="311"/>
                    </a:cubicBezTo>
                    <a:cubicBezTo>
                      <a:pt x="726" y="313"/>
                      <a:pt x="732" y="311"/>
                      <a:pt x="733" y="313"/>
                    </a:cubicBezTo>
                    <a:cubicBezTo>
                      <a:pt x="725" y="312"/>
                      <a:pt x="726" y="322"/>
                      <a:pt x="730" y="326"/>
                    </a:cubicBezTo>
                    <a:cubicBezTo>
                      <a:pt x="724" y="332"/>
                      <a:pt x="723" y="342"/>
                      <a:pt x="714" y="345"/>
                    </a:cubicBezTo>
                    <a:cubicBezTo>
                      <a:pt x="711" y="341"/>
                      <a:pt x="700" y="346"/>
                      <a:pt x="700" y="339"/>
                    </a:cubicBezTo>
                    <a:cubicBezTo>
                      <a:pt x="706" y="340"/>
                      <a:pt x="708" y="337"/>
                      <a:pt x="715" y="338"/>
                    </a:cubicBezTo>
                    <a:cubicBezTo>
                      <a:pt x="716" y="329"/>
                      <a:pt x="723" y="327"/>
                      <a:pt x="722" y="317"/>
                    </a:cubicBezTo>
                    <a:cubicBezTo>
                      <a:pt x="708" y="314"/>
                      <a:pt x="721" y="291"/>
                      <a:pt x="711" y="282"/>
                    </a:cubicBezTo>
                    <a:cubicBezTo>
                      <a:pt x="714" y="280"/>
                      <a:pt x="716" y="276"/>
                      <a:pt x="715" y="270"/>
                    </a:cubicBezTo>
                    <a:cubicBezTo>
                      <a:pt x="711" y="267"/>
                      <a:pt x="706" y="265"/>
                      <a:pt x="699" y="265"/>
                    </a:cubicBezTo>
                    <a:cubicBezTo>
                      <a:pt x="697" y="275"/>
                      <a:pt x="689" y="279"/>
                      <a:pt x="684" y="286"/>
                    </a:cubicBezTo>
                    <a:cubicBezTo>
                      <a:pt x="689" y="291"/>
                      <a:pt x="685" y="296"/>
                      <a:pt x="685" y="303"/>
                    </a:cubicBezTo>
                    <a:cubicBezTo>
                      <a:pt x="692" y="302"/>
                      <a:pt x="691" y="310"/>
                      <a:pt x="695" y="312"/>
                    </a:cubicBezTo>
                    <a:cubicBezTo>
                      <a:pt x="695" y="315"/>
                      <a:pt x="694" y="316"/>
                      <a:pt x="691" y="317"/>
                    </a:cubicBezTo>
                    <a:cubicBezTo>
                      <a:pt x="688" y="315"/>
                      <a:pt x="686" y="311"/>
                      <a:pt x="684" y="308"/>
                    </a:cubicBezTo>
                    <a:cubicBezTo>
                      <a:pt x="671" y="307"/>
                      <a:pt x="667" y="292"/>
                      <a:pt x="652" y="297"/>
                    </a:cubicBezTo>
                    <a:cubicBezTo>
                      <a:pt x="650" y="301"/>
                      <a:pt x="652" y="302"/>
                      <a:pt x="652" y="307"/>
                    </a:cubicBezTo>
                    <a:cubicBezTo>
                      <a:pt x="647" y="306"/>
                      <a:pt x="648" y="312"/>
                      <a:pt x="644" y="312"/>
                    </a:cubicBezTo>
                    <a:cubicBezTo>
                      <a:pt x="642" y="310"/>
                      <a:pt x="648" y="306"/>
                      <a:pt x="645" y="303"/>
                    </a:cubicBezTo>
                    <a:cubicBezTo>
                      <a:pt x="640" y="303"/>
                      <a:pt x="639" y="307"/>
                      <a:pt x="635" y="308"/>
                    </a:cubicBezTo>
                    <a:cubicBezTo>
                      <a:pt x="628" y="300"/>
                      <a:pt x="621" y="312"/>
                      <a:pt x="613" y="309"/>
                    </a:cubicBezTo>
                    <a:cubicBezTo>
                      <a:pt x="615" y="305"/>
                      <a:pt x="617" y="303"/>
                      <a:pt x="618" y="299"/>
                    </a:cubicBezTo>
                    <a:cubicBezTo>
                      <a:pt x="612" y="298"/>
                      <a:pt x="611" y="303"/>
                      <a:pt x="607" y="304"/>
                    </a:cubicBezTo>
                    <a:cubicBezTo>
                      <a:pt x="601" y="299"/>
                      <a:pt x="591" y="309"/>
                      <a:pt x="582" y="309"/>
                    </a:cubicBezTo>
                    <a:cubicBezTo>
                      <a:pt x="579" y="313"/>
                      <a:pt x="578" y="318"/>
                      <a:pt x="569" y="317"/>
                    </a:cubicBezTo>
                    <a:cubicBezTo>
                      <a:pt x="571" y="312"/>
                      <a:pt x="565" y="314"/>
                      <a:pt x="565" y="310"/>
                    </a:cubicBezTo>
                    <a:cubicBezTo>
                      <a:pt x="568" y="305"/>
                      <a:pt x="571" y="305"/>
                      <a:pt x="577" y="306"/>
                    </a:cubicBezTo>
                    <a:cubicBezTo>
                      <a:pt x="579" y="304"/>
                      <a:pt x="578" y="299"/>
                      <a:pt x="578" y="295"/>
                    </a:cubicBezTo>
                    <a:cubicBezTo>
                      <a:pt x="575" y="294"/>
                      <a:pt x="572" y="292"/>
                      <a:pt x="567" y="293"/>
                    </a:cubicBezTo>
                    <a:cubicBezTo>
                      <a:pt x="570" y="303"/>
                      <a:pt x="552" y="305"/>
                      <a:pt x="560" y="317"/>
                    </a:cubicBezTo>
                    <a:cubicBezTo>
                      <a:pt x="556" y="317"/>
                      <a:pt x="557" y="324"/>
                      <a:pt x="552" y="321"/>
                    </a:cubicBezTo>
                    <a:cubicBezTo>
                      <a:pt x="550" y="319"/>
                      <a:pt x="551" y="314"/>
                      <a:pt x="547" y="314"/>
                    </a:cubicBezTo>
                    <a:cubicBezTo>
                      <a:pt x="543" y="320"/>
                      <a:pt x="534" y="321"/>
                      <a:pt x="527" y="324"/>
                    </a:cubicBezTo>
                    <a:cubicBezTo>
                      <a:pt x="527" y="329"/>
                      <a:pt x="529" y="337"/>
                      <a:pt x="523" y="337"/>
                    </a:cubicBezTo>
                    <a:cubicBezTo>
                      <a:pt x="517" y="335"/>
                      <a:pt x="516" y="330"/>
                      <a:pt x="516" y="324"/>
                    </a:cubicBezTo>
                    <a:cubicBezTo>
                      <a:pt x="513" y="325"/>
                      <a:pt x="510" y="326"/>
                      <a:pt x="507" y="327"/>
                    </a:cubicBezTo>
                    <a:cubicBezTo>
                      <a:pt x="506" y="333"/>
                      <a:pt x="508" y="336"/>
                      <a:pt x="511" y="338"/>
                    </a:cubicBezTo>
                    <a:cubicBezTo>
                      <a:pt x="508" y="338"/>
                      <a:pt x="509" y="341"/>
                      <a:pt x="505" y="341"/>
                    </a:cubicBezTo>
                    <a:cubicBezTo>
                      <a:pt x="501" y="338"/>
                      <a:pt x="502" y="331"/>
                      <a:pt x="496" y="330"/>
                    </a:cubicBezTo>
                    <a:cubicBezTo>
                      <a:pt x="498" y="322"/>
                      <a:pt x="507" y="320"/>
                      <a:pt x="509" y="313"/>
                    </a:cubicBezTo>
                    <a:cubicBezTo>
                      <a:pt x="510" y="307"/>
                      <a:pt x="501" y="299"/>
                      <a:pt x="510" y="294"/>
                    </a:cubicBezTo>
                    <a:cubicBezTo>
                      <a:pt x="507" y="300"/>
                      <a:pt x="516" y="301"/>
                      <a:pt x="514" y="307"/>
                    </a:cubicBezTo>
                    <a:cubicBezTo>
                      <a:pt x="520" y="316"/>
                      <a:pt x="538" y="322"/>
                      <a:pt x="546" y="312"/>
                    </a:cubicBezTo>
                    <a:cubicBezTo>
                      <a:pt x="556" y="300"/>
                      <a:pt x="542" y="287"/>
                      <a:pt x="540" y="276"/>
                    </a:cubicBezTo>
                    <a:cubicBezTo>
                      <a:pt x="537" y="275"/>
                      <a:pt x="533" y="274"/>
                      <a:pt x="531" y="272"/>
                    </a:cubicBezTo>
                    <a:cubicBezTo>
                      <a:pt x="531" y="271"/>
                      <a:pt x="531" y="269"/>
                      <a:pt x="530" y="269"/>
                    </a:cubicBezTo>
                    <a:cubicBezTo>
                      <a:pt x="532" y="266"/>
                      <a:pt x="537" y="266"/>
                      <a:pt x="534" y="261"/>
                    </a:cubicBezTo>
                    <a:cubicBezTo>
                      <a:pt x="530" y="259"/>
                      <a:pt x="526" y="267"/>
                      <a:pt x="522" y="261"/>
                    </a:cubicBezTo>
                    <a:cubicBezTo>
                      <a:pt x="531" y="260"/>
                      <a:pt x="534" y="248"/>
                      <a:pt x="526" y="249"/>
                    </a:cubicBezTo>
                    <a:cubicBezTo>
                      <a:pt x="528" y="248"/>
                      <a:pt x="528" y="246"/>
                      <a:pt x="528" y="244"/>
                    </a:cubicBezTo>
                    <a:cubicBezTo>
                      <a:pt x="523" y="244"/>
                      <a:pt x="521" y="249"/>
                      <a:pt x="516" y="250"/>
                    </a:cubicBezTo>
                    <a:cubicBezTo>
                      <a:pt x="516" y="248"/>
                      <a:pt x="521" y="246"/>
                      <a:pt x="518" y="246"/>
                    </a:cubicBezTo>
                    <a:cubicBezTo>
                      <a:pt x="517" y="247"/>
                      <a:pt x="513" y="250"/>
                      <a:pt x="512" y="248"/>
                    </a:cubicBezTo>
                    <a:cubicBezTo>
                      <a:pt x="514" y="245"/>
                      <a:pt x="521" y="246"/>
                      <a:pt x="521" y="241"/>
                    </a:cubicBezTo>
                    <a:cubicBezTo>
                      <a:pt x="507" y="245"/>
                      <a:pt x="500" y="243"/>
                      <a:pt x="489" y="248"/>
                    </a:cubicBezTo>
                    <a:cubicBezTo>
                      <a:pt x="489" y="246"/>
                      <a:pt x="492" y="247"/>
                      <a:pt x="492" y="244"/>
                    </a:cubicBezTo>
                    <a:cubicBezTo>
                      <a:pt x="489" y="244"/>
                      <a:pt x="487" y="246"/>
                      <a:pt x="485" y="246"/>
                    </a:cubicBezTo>
                    <a:cubicBezTo>
                      <a:pt x="485" y="244"/>
                      <a:pt x="493" y="243"/>
                      <a:pt x="490" y="240"/>
                    </a:cubicBezTo>
                    <a:cubicBezTo>
                      <a:pt x="481" y="246"/>
                      <a:pt x="467" y="253"/>
                      <a:pt x="458" y="252"/>
                    </a:cubicBezTo>
                    <a:cubicBezTo>
                      <a:pt x="445" y="261"/>
                      <a:pt x="427" y="265"/>
                      <a:pt x="417" y="276"/>
                    </a:cubicBezTo>
                    <a:cubicBezTo>
                      <a:pt x="409" y="278"/>
                      <a:pt x="402" y="278"/>
                      <a:pt x="396" y="283"/>
                    </a:cubicBezTo>
                    <a:cubicBezTo>
                      <a:pt x="389" y="277"/>
                      <a:pt x="378" y="288"/>
                      <a:pt x="372" y="290"/>
                    </a:cubicBezTo>
                    <a:cubicBezTo>
                      <a:pt x="366" y="285"/>
                      <a:pt x="356" y="295"/>
                      <a:pt x="357" y="300"/>
                    </a:cubicBezTo>
                    <a:cubicBezTo>
                      <a:pt x="355" y="300"/>
                      <a:pt x="355" y="297"/>
                      <a:pt x="352" y="298"/>
                    </a:cubicBezTo>
                    <a:cubicBezTo>
                      <a:pt x="348" y="304"/>
                      <a:pt x="345" y="312"/>
                      <a:pt x="336" y="313"/>
                    </a:cubicBezTo>
                    <a:cubicBezTo>
                      <a:pt x="335" y="316"/>
                      <a:pt x="335" y="316"/>
                      <a:pt x="336" y="318"/>
                    </a:cubicBezTo>
                    <a:cubicBezTo>
                      <a:pt x="334" y="322"/>
                      <a:pt x="331" y="320"/>
                      <a:pt x="328" y="321"/>
                    </a:cubicBezTo>
                    <a:cubicBezTo>
                      <a:pt x="327" y="327"/>
                      <a:pt x="321" y="333"/>
                      <a:pt x="325" y="339"/>
                    </a:cubicBezTo>
                    <a:cubicBezTo>
                      <a:pt x="335" y="338"/>
                      <a:pt x="342" y="331"/>
                      <a:pt x="348" y="333"/>
                    </a:cubicBezTo>
                    <a:cubicBezTo>
                      <a:pt x="343" y="348"/>
                      <a:pt x="331" y="353"/>
                      <a:pt x="327" y="370"/>
                    </a:cubicBezTo>
                    <a:cubicBezTo>
                      <a:pt x="321" y="374"/>
                      <a:pt x="317" y="380"/>
                      <a:pt x="315" y="388"/>
                    </a:cubicBezTo>
                    <a:cubicBezTo>
                      <a:pt x="317" y="388"/>
                      <a:pt x="317" y="391"/>
                      <a:pt x="320" y="390"/>
                    </a:cubicBezTo>
                    <a:cubicBezTo>
                      <a:pt x="322" y="387"/>
                      <a:pt x="326" y="384"/>
                      <a:pt x="330" y="383"/>
                    </a:cubicBezTo>
                    <a:cubicBezTo>
                      <a:pt x="332" y="384"/>
                      <a:pt x="332" y="387"/>
                      <a:pt x="335" y="387"/>
                    </a:cubicBezTo>
                    <a:cubicBezTo>
                      <a:pt x="345" y="378"/>
                      <a:pt x="354" y="369"/>
                      <a:pt x="363" y="360"/>
                    </a:cubicBezTo>
                    <a:cubicBezTo>
                      <a:pt x="373" y="360"/>
                      <a:pt x="392" y="350"/>
                      <a:pt x="387" y="336"/>
                    </a:cubicBezTo>
                    <a:cubicBezTo>
                      <a:pt x="397" y="325"/>
                      <a:pt x="410" y="307"/>
                      <a:pt x="428" y="311"/>
                    </a:cubicBezTo>
                    <a:cubicBezTo>
                      <a:pt x="440" y="305"/>
                      <a:pt x="446" y="293"/>
                      <a:pt x="460" y="290"/>
                    </a:cubicBezTo>
                    <a:cubicBezTo>
                      <a:pt x="472" y="302"/>
                      <a:pt x="451" y="310"/>
                      <a:pt x="439" y="312"/>
                    </a:cubicBezTo>
                    <a:cubicBezTo>
                      <a:pt x="429" y="318"/>
                      <a:pt x="419" y="321"/>
                      <a:pt x="414" y="331"/>
                    </a:cubicBezTo>
                    <a:cubicBezTo>
                      <a:pt x="413" y="332"/>
                      <a:pt x="414" y="334"/>
                      <a:pt x="414" y="335"/>
                    </a:cubicBezTo>
                    <a:cubicBezTo>
                      <a:pt x="409" y="340"/>
                      <a:pt x="402" y="344"/>
                      <a:pt x="401" y="351"/>
                    </a:cubicBezTo>
                    <a:cubicBezTo>
                      <a:pt x="401" y="355"/>
                      <a:pt x="404" y="358"/>
                      <a:pt x="402" y="362"/>
                    </a:cubicBezTo>
                    <a:cubicBezTo>
                      <a:pt x="413" y="364"/>
                      <a:pt x="424" y="362"/>
                      <a:pt x="434" y="366"/>
                    </a:cubicBezTo>
                    <a:cubicBezTo>
                      <a:pt x="432" y="368"/>
                      <a:pt x="434" y="372"/>
                      <a:pt x="433" y="374"/>
                    </a:cubicBezTo>
                    <a:cubicBezTo>
                      <a:pt x="428" y="376"/>
                      <a:pt x="425" y="375"/>
                      <a:pt x="420" y="378"/>
                    </a:cubicBezTo>
                    <a:cubicBezTo>
                      <a:pt x="418" y="364"/>
                      <a:pt x="384" y="366"/>
                      <a:pt x="393" y="385"/>
                    </a:cubicBezTo>
                    <a:cubicBezTo>
                      <a:pt x="386" y="387"/>
                      <a:pt x="387" y="397"/>
                      <a:pt x="380" y="399"/>
                    </a:cubicBezTo>
                    <a:cubicBezTo>
                      <a:pt x="374" y="397"/>
                      <a:pt x="382" y="390"/>
                      <a:pt x="379" y="386"/>
                    </a:cubicBezTo>
                    <a:cubicBezTo>
                      <a:pt x="362" y="386"/>
                      <a:pt x="356" y="407"/>
                      <a:pt x="346" y="417"/>
                    </a:cubicBezTo>
                    <a:cubicBezTo>
                      <a:pt x="343" y="417"/>
                      <a:pt x="343" y="414"/>
                      <a:pt x="339" y="415"/>
                    </a:cubicBezTo>
                    <a:cubicBezTo>
                      <a:pt x="337" y="417"/>
                      <a:pt x="337" y="421"/>
                      <a:pt x="333" y="421"/>
                    </a:cubicBezTo>
                    <a:cubicBezTo>
                      <a:pt x="329" y="420"/>
                      <a:pt x="331" y="416"/>
                      <a:pt x="331" y="412"/>
                    </a:cubicBezTo>
                    <a:cubicBezTo>
                      <a:pt x="323" y="407"/>
                      <a:pt x="310" y="410"/>
                      <a:pt x="302" y="411"/>
                    </a:cubicBezTo>
                    <a:cubicBezTo>
                      <a:pt x="305" y="406"/>
                      <a:pt x="304" y="403"/>
                      <a:pt x="303" y="397"/>
                    </a:cubicBezTo>
                    <a:cubicBezTo>
                      <a:pt x="299" y="397"/>
                      <a:pt x="295" y="397"/>
                      <a:pt x="293" y="396"/>
                    </a:cubicBezTo>
                    <a:cubicBezTo>
                      <a:pt x="294" y="394"/>
                      <a:pt x="297" y="393"/>
                      <a:pt x="298" y="390"/>
                    </a:cubicBezTo>
                    <a:cubicBezTo>
                      <a:pt x="290" y="381"/>
                      <a:pt x="309" y="368"/>
                      <a:pt x="318" y="366"/>
                    </a:cubicBezTo>
                    <a:cubicBezTo>
                      <a:pt x="318" y="357"/>
                      <a:pt x="328" y="358"/>
                      <a:pt x="329" y="349"/>
                    </a:cubicBezTo>
                    <a:cubicBezTo>
                      <a:pt x="325" y="350"/>
                      <a:pt x="323" y="353"/>
                      <a:pt x="319" y="354"/>
                    </a:cubicBezTo>
                    <a:cubicBezTo>
                      <a:pt x="318" y="352"/>
                      <a:pt x="323" y="350"/>
                      <a:pt x="319" y="350"/>
                    </a:cubicBezTo>
                    <a:cubicBezTo>
                      <a:pt x="314" y="350"/>
                      <a:pt x="315" y="355"/>
                      <a:pt x="312" y="357"/>
                    </a:cubicBezTo>
                    <a:cubicBezTo>
                      <a:pt x="297" y="360"/>
                      <a:pt x="296" y="386"/>
                      <a:pt x="278" y="391"/>
                    </a:cubicBezTo>
                    <a:cubicBezTo>
                      <a:pt x="278" y="386"/>
                      <a:pt x="278" y="386"/>
                      <a:pt x="278" y="386"/>
                    </a:cubicBezTo>
                    <a:cubicBezTo>
                      <a:pt x="275" y="385"/>
                      <a:pt x="276" y="389"/>
                      <a:pt x="273" y="389"/>
                    </a:cubicBezTo>
                    <a:cubicBezTo>
                      <a:pt x="272" y="386"/>
                      <a:pt x="272" y="384"/>
                      <a:pt x="269" y="384"/>
                    </a:cubicBezTo>
                    <a:cubicBezTo>
                      <a:pt x="255" y="385"/>
                      <a:pt x="243" y="406"/>
                      <a:pt x="233" y="393"/>
                    </a:cubicBezTo>
                    <a:cubicBezTo>
                      <a:pt x="234" y="380"/>
                      <a:pt x="260" y="382"/>
                      <a:pt x="251" y="366"/>
                    </a:cubicBezTo>
                    <a:cubicBezTo>
                      <a:pt x="269" y="350"/>
                      <a:pt x="274" y="320"/>
                      <a:pt x="300" y="311"/>
                    </a:cubicBezTo>
                    <a:cubicBezTo>
                      <a:pt x="301" y="307"/>
                      <a:pt x="299" y="305"/>
                      <a:pt x="299" y="301"/>
                    </a:cubicBezTo>
                    <a:cubicBezTo>
                      <a:pt x="303" y="299"/>
                      <a:pt x="309" y="299"/>
                      <a:pt x="310" y="294"/>
                    </a:cubicBezTo>
                    <a:cubicBezTo>
                      <a:pt x="308" y="294"/>
                      <a:pt x="307" y="292"/>
                      <a:pt x="307" y="290"/>
                    </a:cubicBezTo>
                    <a:cubicBezTo>
                      <a:pt x="294" y="296"/>
                      <a:pt x="283" y="306"/>
                      <a:pt x="273" y="315"/>
                    </a:cubicBezTo>
                    <a:cubicBezTo>
                      <a:pt x="273" y="313"/>
                      <a:pt x="277" y="312"/>
                      <a:pt x="273" y="312"/>
                    </a:cubicBezTo>
                    <a:cubicBezTo>
                      <a:pt x="270" y="315"/>
                      <a:pt x="267" y="319"/>
                      <a:pt x="270" y="320"/>
                    </a:cubicBezTo>
                    <a:cubicBezTo>
                      <a:pt x="268" y="323"/>
                      <a:pt x="264" y="324"/>
                      <a:pt x="262" y="327"/>
                    </a:cubicBezTo>
                    <a:cubicBezTo>
                      <a:pt x="261" y="331"/>
                      <a:pt x="266" y="329"/>
                      <a:pt x="266" y="333"/>
                    </a:cubicBezTo>
                    <a:cubicBezTo>
                      <a:pt x="257" y="336"/>
                      <a:pt x="258" y="348"/>
                      <a:pt x="249" y="350"/>
                    </a:cubicBezTo>
                    <a:cubicBezTo>
                      <a:pt x="249" y="343"/>
                      <a:pt x="249" y="343"/>
                      <a:pt x="249" y="343"/>
                    </a:cubicBezTo>
                    <a:cubicBezTo>
                      <a:pt x="245" y="345"/>
                      <a:pt x="241" y="346"/>
                      <a:pt x="242" y="352"/>
                    </a:cubicBezTo>
                    <a:cubicBezTo>
                      <a:pt x="239" y="356"/>
                      <a:pt x="231" y="355"/>
                      <a:pt x="228" y="360"/>
                    </a:cubicBezTo>
                    <a:cubicBezTo>
                      <a:pt x="229" y="363"/>
                      <a:pt x="228" y="369"/>
                      <a:pt x="228" y="371"/>
                    </a:cubicBezTo>
                    <a:cubicBezTo>
                      <a:pt x="224" y="366"/>
                      <a:pt x="212" y="372"/>
                      <a:pt x="210" y="377"/>
                    </a:cubicBezTo>
                    <a:cubicBezTo>
                      <a:pt x="215" y="375"/>
                      <a:pt x="216" y="378"/>
                      <a:pt x="214" y="382"/>
                    </a:cubicBezTo>
                    <a:cubicBezTo>
                      <a:pt x="218" y="382"/>
                      <a:pt x="218" y="379"/>
                      <a:pt x="221" y="379"/>
                    </a:cubicBezTo>
                    <a:cubicBezTo>
                      <a:pt x="220" y="388"/>
                      <a:pt x="224" y="390"/>
                      <a:pt x="232" y="394"/>
                    </a:cubicBezTo>
                    <a:cubicBezTo>
                      <a:pt x="229" y="397"/>
                      <a:pt x="228" y="403"/>
                      <a:pt x="224" y="405"/>
                    </a:cubicBezTo>
                    <a:cubicBezTo>
                      <a:pt x="219" y="400"/>
                      <a:pt x="214" y="408"/>
                      <a:pt x="211" y="407"/>
                    </a:cubicBezTo>
                    <a:cubicBezTo>
                      <a:pt x="209" y="401"/>
                      <a:pt x="217" y="397"/>
                      <a:pt x="212" y="395"/>
                    </a:cubicBezTo>
                    <a:cubicBezTo>
                      <a:pt x="210" y="399"/>
                      <a:pt x="209" y="405"/>
                      <a:pt x="204" y="407"/>
                    </a:cubicBezTo>
                    <a:cubicBezTo>
                      <a:pt x="202" y="404"/>
                      <a:pt x="202" y="401"/>
                      <a:pt x="203" y="397"/>
                    </a:cubicBezTo>
                    <a:cubicBezTo>
                      <a:pt x="200" y="398"/>
                      <a:pt x="200" y="395"/>
                      <a:pt x="198" y="394"/>
                    </a:cubicBezTo>
                    <a:cubicBezTo>
                      <a:pt x="195" y="396"/>
                      <a:pt x="193" y="400"/>
                      <a:pt x="190" y="401"/>
                    </a:cubicBezTo>
                    <a:cubicBezTo>
                      <a:pt x="189" y="429"/>
                      <a:pt x="170" y="457"/>
                      <a:pt x="151" y="469"/>
                    </a:cubicBezTo>
                    <a:cubicBezTo>
                      <a:pt x="148" y="457"/>
                      <a:pt x="148" y="442"/>
                      <a:pt x="148" y="433"/>
                    </a:cubicBezTo>
                    <a:cubicBezTo>
                      <a:pt x="141" y="431"/>
                      <a:pt x="142" y="434"/>
                      <a:pt x="137" y="442"/>
                    </a:cubicBezTo>
                    <a:cubicBezTo>
                      <a:pt x="126" y="461"/>
                      <a:pt x="114" y="467"/>
                      <a:pt x="105" y="486"/>
                    </a:cubicBezTo>
                    <a:cubicBezTo>
                      <a:pt x="101" y="494"/>
                      <a:pt x="95" y="500"/>
                      <a:pt x="94" y="504"/>
                    </a:cubicBezTo>
                    <a:cubicBezTo>
                      <a:pt x="93" y="508"/>
                      <a:pt x="95" y="512"/>
                      <a:pt x="95" y="515"/>
                    </a:cubicBezTo>
                    <a:cubicBezTo>
                      <a:pt x="94" y="523"/>
                      <a:pt x="87" y="530"/>
                      <a:pt x="88" y="537"/>
                    </a:cubicBezTo>
                    <a:cubicBezTo>
                      <a:pt x="95" y="535"/>
                      <a:pt x="94" y="548"/>
                      <a:pt x="97" y="553"/>
                    </a:cubicBezTo>
                    <a:cubicBezTo>
                      <a:pt x="99" y="550"/>
                      <a:pt x="103" y="544"/>
                      <a:pt x="107" y="549"/>
                    </a:cubicBezTo>
                    <a:cubicBezTo>
                      <a:pt x="109" y="544"/>
                      <a:pt x="112" y="541"/>
                      <a:pt x="116" y="541"/>
                    </a:cubicBezTo>
                    <a:cubicBezTo>
                      <a:pt x="117" y="527"/>
                      <a:pt x="128" y="522"/>
                      <a:pt x="137" y="516"/>
                    </a:cubicBezTo>
                    <a:cubicBezTo>
                      <a:pt x="139" y="519"/>
                      <a:pt x="144" y="518"/>
                      <a:pt x="149" y="518"/>
                    </a:cubicBezTo>
                    <a:cubicBezTo>
                      <a:pt x="154" y="512"/>
                      <a:pt x="154" y="500"/>
                      <a:pt x="166" y="500"/>
                    </a:cubicBezTo>
                    <a:cubicBezTo>
                      <a:pt x="168" y="507"/>
                      <a:pt x="166" y="513"/>
                      <a:pt x="169" y="519"/>
                    </a:cubicBezTo>
                    <a:cubicBezTo>
                      <a:pt x="175" y="515"/>
                      <a:pt x="182" y="517"/>
                      <a:pt x="189" y="513"/>
                    </a:cubicBezTo>
                    <a:cubicBezTo>
                      <a:pt x="194" y="529"/>
                      <a:pt x="183" y="537"/>
                      <a:pt x="182" y="554"/>
                    </a:cubicBezTo>
                    <a:cubicBezTo>
                      <a:pt x="182" y="572"/>
                      <a:pt x="181" y="586"/>
                      <a:pt x="186" y="599"/>
                    </a:cubicBezTo>
                    <a:cubicBezTo>
                      <a:pt x="182" y="612"/>
                      <a:pt x="187" y="633"/>
                      <a:pt x="172" y="639"/>
                    </a:cubicBezTo>
                    <a:cubicBezTo>
                      <a:pt x="171" y="634"/>
                      <a:pt x="163" y="635"/>
                      <a:pt x="161" y="631"/>
                    </a:cubicBezTo>
                    <a:cubicBezTo>
                      <a:pt x="162" y="625"/>
                      <a:pt x="158" y="625"/>
                      <a:pt x="155" y="623"/>
                    </a:cubicBezTo>
                    <a:cubicBezTo>
                      <a:pt x="151" y="633"/>
                      <a:pt x="155" y="651"/>
                      <a:pt x="159" y="659"/>
                    </a:cubicBezTo>
                    <a:cubicBezTo>
                      <a:pt x="164" y="656"/>
                      <a:pt x="163" y="646"/>
                      <a:pt x="169" y="644"/>
                    </a:cubicBezTo>
                    <a:cubicBezTo>
                      <a:pt x="179" y="648"/>
                      <a:pt x="180" y="636"/>
                      <a:pt x="189" y="635"/>
                    </a:cubicBezTo>
                    <a:cubicBezTo>
                      <a:pt x="191" y="626"/>
                      <a:pt x="187" y="615"/>
                      <a:pt x="198" y="614"/>
                    </a:cubicBezTo>
                    <a:cubicBezTo>
                      <a:pt x="200" y="619"/>
                      <a:pt x="198" y="626"/>
                      <a:pt x="201" y="630"/>
                    </a:cubicBezTo>
                    <a:cubicBezTo>
                      <a:pt x="211" y="622"/>
                      <a:pt x="201" y="603"/>
                      <a:pt x="199" y="593"/>
                    </a:cubicBezTo>
                    <a:cubicBezTo>
                      <a:pt x="200" y="590"/>
                      <a:pt x="204" y="590"/>
                      <a:pt x="204" y="586"/>
                    </a:cubicBezTo>
                    <a:cubicBezTo>
                      <a:pt x="191" y="572"/>
                      <a:pt x="206" y="547"/>
                      <a:pt x="206" y="526"/>
                    </a:cubicBezTo>
                    <a:cubicBezTo>
                      <a:pt x="213" y="527"/>
                      <a:pt x="209" y="518"/>
                      <a:pt x="214" y="517"/>
                    </a:cubicBezTo>
                    <a:cubicBezTo>
                      <a:pt x="215" y="517"/>
                      <a:pt x="222" y="516"/>
                      <a:pt x="223" y="519"/>
                    </a:cubicBezTo>
                    <a:cubicBezTo>
                      <a:pt x="221" y="524"/>
                      <a:pt x="216" y="526"/>
                      <a:pt x="215" y="532"/>
                    </a:cubicBezTo>
                    <a:cubicBezTo>
                      <a:pt x="217" y="532"/>
                      <a:pt x="219" y="527"/>
                      <a:pt x="221" y="531"/>
                    </a:cubicBezTo>
                    <a:cubicBezTo>
                      <a:pt x="217" y="539"/>
                      <a:pt x="217" y="552"/>
                      <a:pt x="214" y="560"/>
                    </a:cubicBezTo>
                    <a:cubicBezTo>
                      <a:pt x="214" y="565"/>
                      <a:pt x="219" y="564"/>
                      <a:pt x="219" y="568"/>
                    </a:cubicBezTo>
                    <a:cubicBezTo>
                      <a:pt x="218" y="578"/>
                      <a:pt x="221" y="595"/>
                      <a:pt x="223" y="607"/>
                    </a:cubicBezTo>
                    <a:cubicBezTo>
                      <a:pt x="220" y="616"/>
                      <a:pt x="211" y="620"/>
                      <a:pt x="209" y="629"/>
                    </a:cubicBezTo>
                    <a:cubicBezTo>
                      <a:pt x="209" y="631"/>
                      <a:pt x="211" y="633"/>
                      <a:pt x="211" y="635"/>
                    </a:cubicBezTo>
                    <a:cubicBezTo>
                      <a:pt x="211" y="637"/>
                      <a:pt x="209" y="639"/>
                      <a:pt x="209" y="641"/>
                    </a:cubicBezTo>
                    <a:cubicBezTo>
                      <a:pt x="209" y="649"/>
                      <a:pt x="212" y="658"/>
                      <a:pt x="210" y="667"/>
                    </a:cubicBezTo>
                    <a:cubicBezTo>
                      <a:pt x="211" y="670"/>
                      <a:pt x="215" y="669"/>
                      <a:pt x="214" y="674"/>
                    </a:cubicBezTo>
                    <a:cubicBezTo>
                      <a:pt x="211" y="672"/>
                      <a:pt x="210" y="674"/>
                      <a:pt x="207" y="676"/>
                    </a:cubicBezTo>
                    <a:cubicBezTo>
                      <a:pt x="209" y="684"/>
                      <a:pt x="205" y="688"/>
                      <a:pt x="204" y="694"/>
                    </a:cubicBezTo>
                    <a:cubicBezTo>
                      <a:pt x="208" y="696"/>
                      <a:pt x="208" y="700"/>
                      <a:pt x="208" y="704"/>
                    </a:cubicBezTo>
                    <a:cubicBezTo>
                      <a:pt x="212" y="700"/>
                      <a:pt x="210" y="709"/>
                      <a:pt x="213" y="708"/>
                    </a:cubicBezTo>
                    <a:cubicBezTo>
                      <a:pt x="216" y="703"/>
                      <a:pt x="216" y="696"/>
                      <a:pt x="218" y="690"/>
                    </a:cubicBezTo>
                    <a:cubicBezTo>
                      <a:pt x="220" y="691"/>
                      <a:pt x="219" y="696"/>
                      <a:pt x="222" y="696"/>
                    </a:cubicBezTo>
                    <a:cubicBezTo>
                      <a:pt x="226" y="687"/>
                      <a:pt x="215" y="680"/>
                      <a:pt x="218" y="673"/>
                    </a:cubicBezTo>
                    <a:cubicBezTo>
                      <a:pt x="222" y="677"/>
                      <a:pt x="225" y="684"/>
                      <a:pt x="227" y="692"/>
                    </a:cubicBezTo>
                    <a:cubicBezTo>
                      <a:pt x="232" y="690"/>
                      <a:pt x="231" y="681"/>
                      <a:pt x="237" y="680"/>
                    </a:cubicBezTo>
                    <a:cubicBezTo>
                      <a:pt x="229" y="672"/>
                      <a:pt x="231" y="656"/>
                      <a:pt x="234" y="643"/>
                    </a:cubicBezTo>
                    <a:cubicBezTo>
                      <a:pt x="236" y="646"/>
                      <a:pt x="236" y="651"/>
                      <a:pt x="237" y="654"/>
                    </a:cubicBezTo>
                    <a:cubicBezTo>
                      <a:pt x="245" y="655"/>
                      <a:pt x="242" y="645"/>
                      <a:pt x="249" y="644"/>
                    </a:cubicBezTo>
                    <a:cubicBezTo>
                      <a:pt x="252" y="645"/>
                      <a:pt x="249" y="650"/>
                      <a:pt x="252" y="651"/>
                    </a:cubicBezTo>
                    <a:cubicBezTo>
                      <a:pt x="253" y="649"/>
                      <a:pt x="255" y="648"/>
                      <a:pt x="258" y="648"/>
                    </a:cubicBezTo>
                    <a:cubicBezTo>
                      <a:pt x="260" y="651"/>
                      <a:pt x="263" y="654"/>
                      <a:pt x="262" y="660"/>
                    </a:cubicBezTo>
                    <a:cubicBezTo>
                      <a:pt x="258" y="659"/>
                      <a:pt x="256" y="660"/>
                      <a:pt x="255" y="665"/>
                    </a:cubicBezTo>
                    <a:cubicBezTo>
                      <a:pt x="259" y="667"/>
                      <a:pt x="260" y="662"/>
                      <a:pt x="261" y="664"/>
                    </a:cubicBezTo>
                    <a:cubicBezTo>
                      <a:pt x="258" y="669"/>
                      <a:pt x="257" y="676"/>
                      <a:pt x="252" y="678"/>
                    </a:cubicBezTo>
                    <a:cubicBezTo>
                      <a:pt x="252" y="682"/>
                      <a:pt x="253" y="685"/>
                      <a:pt x="255" y="686"/>
                    </a:cubicBezTo>
                    <a:cubicBezTo>
                      <a:pt x="260" y="684"/>
                      <a:pt x="256" y="680"/>
                      <a:pt x="257" y="678"/>
                    </a:cubicBezTo>
                    <a:cubicBezTo>
                      <a:pt x="262" y="682"/>
                      <a:pt x="256" y="692"/>
                      <a:pt x="255" y="698"/>
                    </a:cubicBezTo>
                    <a:cubicBezTo>
                      <a:pt x="255" y="690"/>
                      <a:pt x="252" y="691"/>
                      <a:pt x="248" y="689"/>
                    </a:cubicBezTo>
                    <a:cubicBezTo>
                      <a:pt x="247" y="691"/>
                      <a:pt x="246" y="693"/>
                      <a:pt x="246" y="696"/>
                    </a:cubicBezTo>
                    <a:cubicBezTo>
                      <a:pt x="250" y="693"/>
                      <a:pt x="249" y="702"/>
                      <a:pt x="254" y="702"/>
                    </a:cubicBezTo>
                    <a:cubicBezTo>
                      <a:pt x="254" y="713"/>
                      <a:pt x="255" y="721"/>
                      <a:pt x="256" y="731"/>
                    </a:cubicBezTo>
                    <a:cubicBezTo>
                      <a:pt x="265" y="735"/>
                      <a:pt x="263" y="750"/>
                      <a:pt x="276" y="750"/>
                    </a:cubicBezTo>
                    <a:cubicBezTo>
                      <a:pt x="278" y="747"/>
                      <a:pt x="279" y="743"/>
                      <a:pt x="283" y="743"/>
                    </a:cubicBezTo>
                    <a:cubicBezTo>
                      <a:pt x="296" y="749"/>
                      <a:pt x="291" y="768"/>
                      <a:pt x="306" y="768"/>
                    </a:cubicBezTo>
                    <a:cubicBezTo>
                      <a:pt x="315" y="768"/>
                      <a:pt x="325" y="755"/>
                      <a:pt x="329" y="770"/>
                    </a:cubicBezTo>
                    <a:cubicBezTo>
                      <a:pt x="333" y="770"/>
                      <a:pt x="334" y="766"/>
                      <a:pt x="338" y="767"/>
                    </a:cubicBezTo>
                    <a:cubicBezTo>
                      <a:pt x="334" y="779"/>
                      <a:pt x="321" y="789"/>
                      <a:pt x="326" y="804"/>
                    </a:cubicBezTo>
                    <a:cubicBezTo>
                      <a:pt x="311" y="813"/>
                      <a:pt x="311" y="837"/>
                      <a:pt x="301" y="850"/>
                    </a:cubicBezTo>
                    <a:cubicBezTo>
                      <a:pt x="295" y="847"/>
                      <a:pt x="297" y="854"/>
                      <a:pt x="292" y="854"/>
                    </a:cubicBezTo>
                    <a:cubicBezTo>
                      <a:pt x="284" y="854"/>
                      <a:pt x="281" y="849"/>
                      <a:pt x="276" y="846"/>
                    </a:cubicBezTo>
                    <a:cubicBezTo>
                      <a:pt x="273" y="831"/>
                      <a:pt x="253" y="833"/>
                      <a:pt x="241" y="835"/>
                    </a:cubicBezTo>
                    <a:cubicBezTo>
                      <a:pt x="230" y="823"/>
                      <a:pt x="221" y="810"/>
                      <a:pt x="207" y="801"/>
                    </a:cubicBezTo>
                    <a:cubicBezTo>
                      <a:pt x="205" y="800"/>
                      <a:pt x="207" y="797"/>
                      <a:pt x="207" y="795"/>
                    </a:cubicBezTo>
                    <a:cubicBezTo>
                      <a:pt x="204" y="792"/>
                      <a:pt x="204" y="789"/>
                      <a:pt x="201" y="789"/>
                    </a:cubicBezTo>
                    <a:cubicBezTo>
                      <a:pt x="200" y="780"/>
                      <a:pt x="189" y="782"/>
                      <a:pt x="192" y="770"/>
                    </a:cubicBezTo>
                    <a:cubicBezTo>
                      <a:pt x="189" y="766"/>
                      <a:pt x="186" y="763"/>
                      <a:pt x="183" y="758"/>
                    </a:cubicBezTo>
                    <a:cubicBezTo>
                      <a:pt x="175" y="759"/>
                      <a:pt x="177" y="755"/>
                      <a:pt x="173" y="755"/>
                    </a:cubicBezTo>
                    <a:cubicBezTo>
                      <a:pt x="159" y="756"/>
                      <a:pt x="166" y="786"/>
                      <a:pt x="154" y="785"/>
                    </a:cubicBezTo>
                    <a:cubicBezTo>
                      <a:pt x="144" y="784"/>
                      <a:pt x="147" y="766"/>
                      <a:pt x="142" y="757"/>
                    </a:cubicBezTo>
                    <a:cubicBezTo>
                      <a:pt x="140" y="753"/>
                      <a:pt x="134" y="751"/>
                      <a:pt x="132" y="747"/>
                    </a:cubicBezTo>
                    <a:cubicBezTo>
                      <a:pt x="131" y="740"/>
                      <a:pt x="134" y="732"/>
                      <a:pt x="133" y="726"/>
                    </a:cubicBezTo>
                    <a:cubicBezTo>
                      <a:pt x="132" y="714"/>
                      <a:pt x="127" y="708"/>
                      <a:pt x="120" y="702"/>
                    </a:cubicBezTo>
                    <a:cubicBezTo>
                      <a:pt x="118" y="689"/>
                      <a:pt x="116" y="678"/>
                      <a:pt x="116" y="666"/>
                    </a:cubicBezTo>
                    <a:cubicBezTo>
                      <a:pt x="126" y="663"/>
                      <a:pt x="133" y="656"/>
                      <a:pt x="131" y="641"/>
                    </a:cubicBezTo>
                    <a:cubicBezTo>
                      <a:pt x="133" y="636"/>
                      <a:pt x="140" y="636"/>
                      <a:pt x="140" y="629"/>
                    </a:cubicBezTo>
                    <a:cubicBezTo>
                      <a:pt x="137" y="627"/>
                      <a:pt x="135" y="632"/>
                      <a:pt x="134" y="630"/>
                    </a:cubicBezTo>
                    <a:cubicBezTo>
                      <a:pt x="134" y="624"/>
                      <a:pt x="139" y="624"/>
                      <a:pt x="138" y="618"/>
                    </a:cubicBezTo>
                    <a:cubicBezTo>
                      <a:pt x="132" y="616"/>
                      <a:pt x="125" y="614"/>
                      <a:pt x="125" y="606"/>
                    </a:cubicBezTo>
                    <a:cubicBezTo>
                      <a:pt x="123" y="608"/>
                      <a:pt x="121" y="603"/>
                      <a:pt x="122" y="600"/>
                    </a:cubicBezTo>
                    <a:cubicBezTo>
                      <a:pt x="119" y="602"/>
                      <a:pt x="117" y="599"/>
                      <a:pt x="114" y="598"/>
                    </a:cubicBezTo>
                    <a:cubicBezTo>
                      <a:pt x="113" y="586"/>
                      <a:pt x="104" y="581"/>
                      <a:pt x="100" y="572"/>
                    </a:cubicBezTo>
                    <a:cubicBezTo>
                      <a:pt x="97" y="572"/>
                      <a:pt x="97" y="574"/>
                      <a:pt x="95" y="575"/>
                    </a:cubicBezTo>
                    <a:cubicBezTo>
                      <a:pt x="92" y="571"/>
                      <a:pt x="91" y="573"/>
                      <a:pt x="86" y="574"/>
                    </a:cubicBezTo>
                    <a:cubicBezTo>
                      <a:pt x="84" y="563"/>
                      <a:pt x="84" y="551"/>
                      <a:pt x="85" y="539"/>
                    </a:cubicBezTo>
                    <a:cubicBezTo>
                      <a:pt x="82" y="546"/>
                      <a:pt x="78" y="551"/>
                      <a:pt x="73" y="556"/>
                    </a:cubicBezTo>
                    <a:cubicBezTo>
                      <a:pt x="73" y="554"/>
                      <a:pt x="71" y="553"/>
                      <a:pt x="70" y="552"/>
                    </a:cubicBezTo>
                    <a:cubicBezTo>
                      <a:pt x="57" y="560"/>
                      <a:pt x="57" y="581"/>
                      <a:pt x="45" y="590"/>
                    </a:cubicBezTo>
                    <a:cubicBezTo>
                      <a:pt x="43" y="588"/>
                      <a:pt x="46" y="587"/>
                      <a:pt x="44" y="585"/>
                    </a:cubicBezTo>
                    <a:cubicBezTo>
                      <a:pt x="13" y="667"/>
                      <a:pt x="0" y="783"/>
                      <a:pt x="5" y="894"/>
                    </a:cubicBezTo>
                    <a:cubicBezTo>
                      <a:pt x="8" y="958"/>
                      <a:pt x="25" y="1012"/>
                      <a:pt x="41" y="1061"/>
                    </a:cubicBezTo>
                    <a:cubicBezTo>
                      <a:pt x="53" y="1077"/>
                      <a:pt x="55" y="1101"/>
                      <a:pt x="59" y="1119"/>
                    </a:cubicBezTo>
                    <a:cubicBezTo>
                      <a:pt x="61" y="1131"/>
                      <a:pt x="62" y="1139"/>
                      <a:pt x="65" y="1149"/>
                    </a:cubicBezTo>
                    <a:cubicBezTo>
                      <a:pt x="75" y="1175"/>
                      <a:pt x="88" y="1198"/>
                      <a:pt x="99" y="1223"/>
                    </a:cubicBezTo>
                    <a:cubicBezTo>
                      <a:pt x="162" y="1366"/>
                      <a:pt x="271" y="1478"/>
                      <a:pt x="394" y="1556"/>
                    </a:cubicBezTo>
                    <a:cubicBezTo>
                      <a:pt x="392" y="1554"/>
                      <a:pt x="385" y="1551"/>
                      <a:pt x="386" y="1549"/>
                    </a:cubicBezTo>
                    <a:cubicBezTo>
                      <a:pt x="392" y="1552"/>
                      <a:pt x="400" y="1557"/>
                      <a:pt x="405" y="1557"/>
                    </a:cubicBezTo>
                    <a:cubicBezTo>
                      <a:pt x="395" y="1548"/>
                      <a:pt x="386" y="1539"/>
                      <a:pt x="376" y="1529"/>
                    </a:cubicBezTo>
                    <a:cubicBezTo>
                      <a:pt x="382" y="1530"/>
                      <a:pt x="385" y="1530"/>
                      <a:pt x="391" y="1531"/>
                    </a:cubicBezTo>
                    <a:cubicBezTo>
                      <a:pt x="393" y="1531"/>
                      <a:pt x="390" y="1527"/>
                      <a:pt x="394" y="1528"/>
                    </a:cubicBezTo>
                    <a:cubicBezTo>
                      <a:pt x="406" y="1530"/>
                      <a:pt x="417" y="1538"/>
                      <a:pt x="429" y="1532"/>
                    </a:cubicBezTo>
                    <a:cubicBezTo>
                      <a:pt x="429" y="1531"/>
                      <a:pt x="429" y="1529"/>
                      <a:pt x="430" y="1529"/>
                    </a:cubicBezTo>
                    <a:cubicBezTo>
                      <a:pt x="424" y="1517"/>
                      <a:pt x="415" y="1509"/>
                      <a:pt x="414" y="1493"/>
                    </a:cubicBezTo>
                    <a:cubicBezTo>
                      <a:pt x="401" y="1482"/>
                      <a:pt x="383" y="1468"/>
                      <a:pt x="386" y="1451"/>
                    </a:cubicBezTo>
                    <a:cubicBezTo>
                      <a:pt x="379" y="1444"/>
                      <a:pt x="369" y="1441"/>
                      <a:pt x="373" y="1425"/>
                    </a:cubicBezTo>
                    <a:cubicBezTo>
                      <a:pt x="379" y="1426"/>
                      <a:pt x="382" y="1419"/>
                      <a:pt x="379" y="1415"/>
                    </a:cubicBezTo>
                    <a:cubicBezTo>
                      <a:pt x="382" y="1415"/>
                      <a:pt x="381" y="1413"/>
                      <a:pt x="384" y="1414"/>
                    </a:cubicBezTo>
                    <a:cubicBezTo>
                      <a:pt x="385" y="1411"/>
                      <a:pt x="382" y="1411"/>
                      <a:pt x="383" y="1408"/>
                    </a:cubicBezTo>
                    <a:cubicBezTo>
                      <a:pt x="390" y="1409"/>
                      <a:pt x="390" y="1407"/>
                      <a:pt x="392" y="1404"/>
                    </a:cubicBezTo>
                    <a:cubicBezTo>
                      <a:pt x="395" y="1404"/>
                      <a:pt x="396" y="1406"/>
                      <a:pt x="399" y="1405"/>
                    </a:cubicBezTo>
                    <a:cubicBezTo>
                      <a:pt x="403" y="1403"/>
                      <a:pt x="405" y="1398"/>
                      <a:pt x="409" y="1395"/>
                    </a:cubicBezTo>
                    <a:cubicBezTo>
                      <a:pt x="413" y="1395"/>
                      <a:pt x="415" y="1393"/>
                      <a:pt x="420" y="1393"/>
                    </a:cubicBezTo>
                    <a:cubicBezTo>
                      <a:pt x="428" y="1380"/>
                      <a:pt x="445" y="1381"/>
                      <a:pt x="461" y="1376"/>
                    </a:cubicBezTo>
                    <a:cubicBezTo>
                      <a:pt x="472" y="1373"/>
                      <a:pt x="484" y="1367"/>
                      <a:pt x="492" y="1359"/>
                    </a:cubicBezTo>
                    <a:cubicBezTo>
                      <a:pt x="497" y="1356"/>
                      <a:pt x="498" y="1350"/>
                      <a:pt x="502" y="1345"/>
                    </a:cubicBezTo>
                    <a:cubicBezTo>
                      <a:pt x="506" y="1340"/>
                      <a:pt x="513" y="1339"/>
                      <a:pt x="511" y="1329"/>
                    </a:cubicBezTo>
                    <a:cubicBezTo>
                      <a:pt x="522" y="1324"/>
                      <a:pt x="522" y="1307"/>
                      <a:pt x="534" y="1302"/>
                    </a:cubicBezTo>
                    <a:cubicBezTo>
                      <a:pt x="534" y="1299"/>
                      <a:pt x="533" y="1291"/>
                      <a:pt x="534" y="1284"/>
                    </a:cubicBezTo>
                    <a:cubicBezTo>
                      <a:pt x="542" y="1282"/>
                      <a:pt x="533" y="1267"/>
                      <a:pt x="540" y="1262"/>
                    </a:cubicBezTo>
                    <a:cubicBezTo>
                      <a:pt x="538" y="1258"/>
                      <a:pt x="533" y="1257"/>
                      <a:pt x="527" y="1256"/>
                    </a:cubicBezTo>
                    <a:cubicBezTo>
                      <a:pt x="517" y="1271"/>
                      <a:pt x="494" y="1253"/>
                      <a:pt x="482" y="1261"/>
                    </a:cubicBezTo>
                    <a:cubicBezTo>
                      <a:pt x="476" y="1254"/>
                      <a:pt x="465" y="1257"/>
                      <a:pt x="458" y="1261"/>
                    </a:cubicBezTo>
                    <a:cubicBezTo>
                      <a:pt x="451" y="1252"/>
                      <a:pt x="443" y="1258"/>
                      <a:pt x="434" y="1257"/>
                    </a:cubicBezTo>
                    <a:cubicBezTo>
                      <a:pt x="416" y="1257"/>
                      <a:pt x="411" y="1239"/>
                      <a:pt x="399" y="1229"/>
                    </a:cubicBezTo>
                    <a:cubicBezTo>
                      <a:pt x="402" y="1227"/>
                      <a:pt x="405" y="1226"/>
                      <a:pt x="406" y="1223"/>
                    </a:cubicBezTo>
                    <a:cubicBezTo>
                      <a:pt x="404" y="1209"/>
                      <a:pt x="388" y="1209"/>
                      <a:pt x="387" y="1195"/>
                    </a:cubicBezTo>
                    <a:cubicBezTo>
                      <a:pt x="382" y="1193"/>
                      <a:pt x="378" y="1189"/>
                      <a:pt x="374" y="1185"/>
                    </a:cubicBezTo>
                    <a:cubicBezTo>
                      <a:pt x="374" y="1177"/>
                      <a:pt x="371" y="1171"/>
                      <a:pt x="363" y="1170"/>
                    </a:cubicBezTo>
                    <a:cubicBezTo>
                      <a:pt x="356" y="1160"/>
                      <a:pt x="342" y="1155"/>
                      <a:pt x="340" y="1140"/>
                    </a:cubicBezTo>
                    <a:cubicBezTo>
                      <a:pt x="340" y="1139"/>
                      <a:pt x="341" y="1136"/>
                      <a:pt x="341" y="1134"/>
                    </a:cubicBezTo>
                    <a:cubicBezTo>
                      <a:pt x="341" y="1116"/>
                      <a:pt x="328" y="1105"/>
                      <a:pt x="323" y="1090"/>
                    </a:cubicBezTo>
                    <a:cubicBezTo>
                      <a:pt x="320" y="1088"/>
                      <a:pt x="316" y="1089"/>
                      <a:pt x="315" y="1086"/>
                    </a:cubicBezTo>
                    <a:cubicBezTo>
                      <a:pt x="316" y="1071"/>
                      <a:pt x="310" y="1060"/>
                      <a:pt x="315" y="1047"/>
                    </a:cubicBezTo>
                    <a:cubicBezTo>
                      <a:pt x="309" y="1042"/>
                      <a:pt x="314" y="1037"/>
                      <a:pt x="312" y="1031"/>
                    </a:cubicBezTo>
                    <a:cubicBezTo>
                      <a:pt x="308" y="1017"/>
                      <a:pt x="286" y="1008"/>
                      <a:pt x="299" y="989"/>
                    </a:cubicBezTo>
                    <a:cubicBezTo>
                      <a:pt x="287" y="969"/>
                      <a:pt x="285" y="936"/>
                      <a:pt x="280" y="916"/>
                    </a:cubicBezTo>
                    <a:cubicBezTo>
                      <a:pt x="283" y="919"/>
                      <a:pt x="283" y="926"/>
                      <a:pt x="289" y="925"/>
                    </a:cubicBezTo>
                    <a:cubicBezTo>
                      <a:pt x="291" y="918"/>
                      <a:pt x="289" y="907"/>
                      <a:pt x="295" y="904"/>
                    </a:cubicBezTo>
                    <a:cubicBezTo>
                      <a:pt x="296" y="910"/>
                      <a:pt x="292" y="916"/>
                      <a:pt x="293" y="922"/>
                    </a:cubicBezTo>
                    <a:cubicBezTo>
                      <a:pt x="294" y="928"/>
                      <a:pt x="302" y="932"/>
                      <a:pt x="303" y="937"/>
                    </a:cubicBezTo>
                    <a:cubicBezTo>
                      <a:pt x="305" y="942"/>
                      <a:pt x="304" y="950"/>
                      <a:pt x="306" y="957"/>
                    </a:cubicBezTo>
                    <a:cubicBezTo>
                      <a:pt x="309" y="964"/>
                      <a:pt x="315" y="970"/>
                      <a:pt x="317" y="977"/>
                    </a:cubicBezTo>
                    <a:cubicBezTo>
                      <a:pt x="318" y="982"/>
                      <a:pt x="317" y="989"/>
                      <a:pt x="319" y="994"/>
                    </a:cubicBezTo>
                    <a:cubicBezTo>
                      <a:pt x="322" y="1002"/>
                      <a:pt x="329" y="1001"/>
                      <a:pt x="333" y="1005"/>
                    </a:cubicBezTo>
                    <a:cubicBezTo>
                      <a:pt x="349" y="1019"/>
                      <a:pt x="333" y="1061"/>
                      <a:pt x="351" y="1072"/>
                    </a:cubicBezTo>
                    <a:cubicBezTo>
                      <a:pt x="368" y="1077"/>
                      <a:pt x="369" y="1096"/>
                      <a:pt x="376" y="1112"/>
                    </a:cubicBezTo>
                    <a:cubicBezTo>
                      <a:pt x="385" y="1131"/>
                      <a:pt x="402" y="1143"/>
                      <a:pt x="391" y="1162"/>
                    </a:cubicBezTo>
                    <a:cubicBezTo>
                      <a:pt x="399" y="1168"/>
                      <a:pt x="398" y="1182"/>
                      <a:pt x="396" y="1194"/>
                    </a:cubicBezTo>
                    <a:cubicBezTo>
                      <a:pt x="404" y="1205"/>
                      <a:pt x="409" y="1222"/>
                      <a:pt x="429" y="1218"/>
                    </a:cubicBezTo>
                    <a:cubicBezTo>
                      <a:pt x="431" y="1215"/>
                      <a:pt x="433" y="1212"/>
                      <a:pt x="437" y="1211"/>
                    </a:cubicBezTo>
                    <a:cubicBezTo>
                      <a:pt x="450" y="1215"/>
                      <a:pt x="465" y="1222"/>
                      <a:pt x="480" y="1219"/>
                    </a:cubicBezTo>
                    <a:cubicBezTo>
                      <a:pt x="483" y="1218"/>
                      <a:pt x="487" y="1214"/>
                      <a:pt x="492" y="1212"/>
                    </a:cubicBezTo>
                    <a:cubicBezTo>
                      <a:pt x="509" y="1205"/>
                      <a:pt x="529" y="1200"/>
                      <a:pt x="550" y="1204"/>
                    </a:cubicBezTo>
                    <a:cubicBezTo>
                      <a:pt x="554" y="1182"/>
                      <a:pt x="587" y="1189"/>
                      <a:pt x="607" y="1182"/>
                    </a:cubicBezTo>
                    <a:cubicBezTo>
                      <a:pt x="607" y="1178"/>
                      <a:pt x="607" y="1174"/>
                      <a:pt x="610" y="1173"/>
                    </a:cubicBezTo>
                    <a:cubicBezTo>
                      <a:pt x="617" y="1173"/>
                      <a:pt x="624" y="1172"/>
                      <a:pt x="629" y="1169"/>
                    </a:cubicBezTo>
                    <a:cubicBezTo>
                      <a:pt x="629" y="1157"/>
                      <a:pt x="644" y="1160"/>
                      <a:pt x="648" y="1153"/>
                    </a:cubicBezTo>
                    <a:cubicBezTo>
                      <a:pt x="651" y="1148"/>
                      <a:pt x="648" y="1143"/>
                      <a:pt x="652" y="1137"/>
                    </a:cubicBezTo>
                    <a:cubicBezTo>
                      <a:pt x="656" y="1139"/>
                      <a:pt x="660" y="1140"/>
                      <a:pt x="664" y="1137"/>
                    </a:cubicBezTo>
                    <a:cubicBezTo>
                      <a:pt x="665" y="1135"/>
                      <a:pt x="665" y="1131"/>
                      <a:pt x="665" y="1128"/>
                    </a:cubicBezTo>
                    <a:cubicBezTo>
                      <a:pt x="671" y="1126"/>
                      <a:pt x="674" y="1121"/>
                      <a:pt x="680" y="1118"/>
                    </a:cubicBezTo>
                    <a:cubicBezTo>
                      <a:pt x="680" y="1112"/>
                      <a:pt x="682" y="1108"/>
                      <a:pt x="682" y="1102"/>
                    </a:cubicBezTo>
                    <a:cubicBezTo>
                      <a:pt x="681" y="1102"/>
                      <a:pt x="680" y="1101"/>
                      <a:pt x="681" y="1100"/>
                    </a:cubicBezTo>
                    <a:cubicBezTo>
                      <a:pt x="679" y="1098"/>
                      <a:pt x="676" y="1098"/>
                      <a:pt x="673" y="1097"/>
                    </a:cubicBezTo>
                    <a:cubicBezTo>
                      <a:pt x="668" y="1091"/>
                      <a:pt x="666" y="1083"/>
                      <a:pt x="660" y="1078"/>
                    </a:cubicBezTo>
                    <a:cubicBezTo>
                      <a:pt x="648" y="1069"/>
                      <a:pt x="630" y="1073"/>
                      <a:pt x="620" y="1062"/>
                    </a:cubicBezTo>
                    <a:cubicBezTo>
                      <a:pt x="611" y="1053"/>
                      <a:pt x="614" y="1038"/>
                      <a:pt x="613" y="1023"/>
                    </a:cubicBezTo>
                    <a:cubicBezTo>
                      <a:pt x="607" y="1023"/>
                      <a:pt x="605" y="1033"/>
                      <a:pt x="600" y="1038"/>
                    </a:cubicBezTo>
                    <a:cubicBezTo>
                      <a:pt x="589" y="1041"/>
                      <a:pt x="582" y="1049"/>
                      <a:pt x="578" y="1061"/>
                    </a:cubicBezTo>
                    <a:cubicBezTo>
                      <a:pt x="563" y="1060"/>
                      <a:pt x="555" y="1054"/>
                      <a:pt x="540" y="1059"/>
                    </a:cubicBezTo>
                    <a:cubicBezTo>
                      <a:pt x="521" y="1051"/>
                      <a:pt x="556" y="1018"/>
                      <a:pt x="528" y="1017"/>
                    </a:cubicBezTo>
                    <a:cubicBezTo>
                      <a:pt x="524" y="1023"/>
                      <a:pt x="528" y="1036"/>
                      <a:pt x="521" y="1038"/>
                    </a:cubicBezTo>
                    <a:cubicBezTo>
                      <a:pt x="517" y="1035"/>
                      <a:pt x="519" y="1031"/>
                      <a:pt x="516" y="1026"/>
                    </a:cubicBezTo>
                    <a:cubicBezTo>
                      <a:pt x="514" y="1021"/>
                      <a:pt x="508" y="1021"/>
                      <a:pt x="507" y="1014"/>
                    </a:cubicBezTo>
                    <a:cubicBezTo>
                      <a:pt x="506" y="1011"/>
                      <a:pt x="508" y="1007"/>
                      <a:pt x="507" y="1003"/>
                    </a:cubicBezTo>
                    <a:cubicBezTo>
                      <a:pt x="504" y="995"/>
                      <a:pt x="487" y="994"/>
                      <a:pt x="492" y="981"/>
                    </a:cubicBezTo>
                    <a:cubicBezTo>
                      <a:pt x="490" y="977"/>
                      <a:pt x="486" y="974"/>
                      <a:pt x="487" y="966"/>
                    </a:cubicBezTo>
                    <a:cubicBezTo>
                      <a:pt x="483" y="963"/>
                      <a:pt x="477" y="958"/>
                      <a:pt x="478" y="953"/>
                    </a:cubicBezTo>
                    <a:cubicBezTo>
                      <a:pt x="480" y="951"/>
                      <a:pt x="482" y="955"/>
                      <a:pt x="487" y="954"/>
                    </a:cubicBezTo>
                    <a:cubicBezTo>
                      <a:pt x="488" y="953"/>
                      <a:pt x="487" y="948"/>
                      <a:pt x="490" y="948"/>
                    </a:cubicBezTo>
                    <a:cubicBezTo>
                      <a:pt x="493" y="948"/>
                      <a:pt x="493" y="951"/>
                      <a:pt x="495" y="949"/>
                    </a:cubicBezTo>
                    <a:cubicBezTo>
                      <a:pt x="497" y="946"/>
                      <a:pt x="496" y="942"/>
                      <a:pt x="500" y="942"/>
                    </a:cubicBezTo>
                    <a:cubicBezTo>
                      <a:pt x="518" y="953"/>
                      <a:pt x="520" y="980"/>
                      <a:pt x="534" y="996"/>
                    </a:cubicBezTo>
                    <a:cubicBezTo>
                      <a:pt x="556" y="986"/>
                      <a:pt x="562" y="1017"/>
                      <a:pt x="577" y="1021"/>
                    </a:cubicBezTo>
                    <a:cubicBezTo>
                      <a:pt x="593" y="1025"/>
                      <a:pt x="599" y="1012"/>
                      <a:pt x="617" y="1013"/>
                    </a:cubicBezTo>
                    <a:cubicBezTo>
                      <a:pt x="622" y="1020"/>
                      <a:pt x="626" y="1028"/>
                      <a:pt x="629" y="1038"/>
                    </a:cubicBezTo>
                    <a:cubicBezTo>
                      <a:pt x="634" y="1035"/>
                      <a:pt x="635" y="1041"/>
                      <a:pt x="640" y="1042"/>
                    </a:cubicBezTo>
                    <a:cubicBezTo>
                      <a:pt x="646" y="1044"/>
                      <a:pt x="654" y="1042"/>
                      <a:pt x="660" y="1044"/>
                    </a:cubicBezTo>
                    <a:cubicBezTo>
                      <a:pt x="663" y="1046"/>
                      <a:pt x="665" y="1050"/>
                      <a:pt x="669" y="1051"/>
                    </a:cubicBezTo>
                    <a:cubicBezTo>
                      <a:pt x="673" y="1052"/>
                      <a:pt x="676" y="1050"/>
                      <a:pt x="680" y="1050"/>
                    </a:cubicBezTo>
                    <a:cubicBezTo>
                      <a:pt x="689" y="1051"/>
                      <a:pt x="692" y="1057"/>
                      <a:pt x="703" y="1056"/>
                    </a:cubicBezTo>
                    <a:cubicBezTo>
                      <a:pt x="705" y="1055"/>
                      <a:pt x="707" y="1053"/>
                      <a:pt x="710" y="1053"/>
                    </a:cubicBezTo>
                    <a:cubicBezTo>
                      <a:pt x="719" y="1053"/>
                      <a:pt x="728" y="1058"/>
                      <a:pt x="736" y="1051"/>
                    </a:cubicBezTo>
                    <a:cubicBezTo>
                      <a:pt x="747" y="1057"/>
                      <a:pt x="757" y="1048"/>
                      <a:pt x="771" y="1051"/>
                    </a:cubicBezTo>
                    <a:cubicBezTo>
                      <a:pt x="781" y="1041"/>
                      <a:pt x="789" y="1056"/>
                      <a:pt x="792" y="1064"/>
                    </a:cubicBezTo>
                    <a:cubicBezTo>
                      <a:pt x="800" y="1065"/>
                      <a:pt x="807" y="1067"/>
                      <a:pt x="814" y="1068"/>
                    </a:cubicBezTo>
                    <a:cubicBezTo>
                      <a:pt x="815" y="1072"/>
                      <a:pt x="819" y="1074"/>
                      <a:pt x="820" y="1078"/>
                    </a:cubicBezTo>
                    <a:cubicBezTo>
                      <a:pt x="826" y="1077"/>
                      <a:pt x="828" y="1080"/>
                      <a:pt x="834" y="1079"/>
                    </a:cubicBezTo>
                    <a:cubicBezTo>
                      <a:pt x="836" y="1081"/>
                      <a:pt x="836" y="1085"/>
                      <a:pt x="836" y="1089"/>
                    </a:cubicBezTo>
                    <a:cubicBezTo>
                      <a:pt x="847" y="1096"/>
                      <a:pt x="864" y="1092"/>
                      <a:pt x="871" y="1087"/>
                    </a:cubicBezTo>
                    <a:cubicBezTo>
                      <a:pt x="868" y="1101"/>
                      <a:pt x="850" y="1097"/>
                      <a:pt x="841" y="1104"/>
                    </a:cubicBezTo>
                    <a:cubicBezTo>
                      <a:pt x="841" y="1108"/>
                      <a:pt x="842" y="1111"/>
                      <a:pt x="845" y="1113"/>
                    </a:cubicBezTo>
                    <a:cubicBezTo>
                      <a:pt x="852" y="1119"/>
                      <a:pt x="871" y="1131"/>
                      <a:pt x="881" y="1132"/>
                    </a:cubicBezTo>
                    <a:cubicBezTo>
                      <a:pt x="892" y="1133"/>
                      <a:pt x="906" y="1126"/>
                      <a:pt x="909" y="1118"/>
                    </a:cubicBezTo>
                    <a:cubicBezTo>
                      <a:pt x="910" y="1115"/>
                      <a:pt x="908" y="1111"/>
                      <a:pt x="909" y="1109"/>
                    </a:cubicBezTo>
                    <a:cubicBezTo>
                      <a:pt x="911" y="1102"/>
                      <a:pt x="915" y="1098"/>
                      <a:pt x="922" y="1099"/>
                    </a:cubicBezTo>
                    <a:cubicBezTo>
                      <a:pt x="920" y="1106"/>
                      <a:pt x="913" y="1107"/>
                      <a:pt x="912" y="1114"/>
                    </a:cubicBezTo>
                    <a:cubicBezTo>
                      <a:pt x="913" y="1119"/>
                      <a:pt x="922" y="1119"/>
                      <a:pt x="924" y="1125"/>
                    </a:cubicBezTo>
                    <a:cubicBezTo>
                      <a:pt x="925" y="1131"/>
                      <a:pt x="920" y="1137"/>
                      <a:pt x="920" y="1144"/>
                    </a:cubicBezTo>
                    <a:cubicBezTo>
                      <a:pt x="917" y="1167"/>
                      <a:pt x="931" y="1186"/>
                      <a:pt x="942" y="1199"/>
                    </a:cubicBezTo>
                    <a:cubicBezTo>
                      <a:pt x="942" y="1201"/>
                      <a:pt x="942" y="1204"/>
                      <a:pt x="941" y="1206"/>
                    </a:cubicBezTo>
                    <a:cubicBezTo>
                      <a:pt x="944" y="1209"/>
                      <a:pt x="947" y="1213"/>
                      <a:pt x="954" y="1212"/>
                    </a:cubicBezTo>
                    <a:cubicBezTo>
                      <a:pt x="957" y="1221"/>
                      <a:pt x="963" y="1228"/>
                      <a:pt x="972" y="1230"/>
                    </a:cubicBezTo>
                    <a:cubicBezTo>
                      <a:pt x="977" y="1242"/>
                      <a:pt x="975" y="1248"/>
                      <a:pt x="980" y="1257"/>
                    </a:cubicBezTo>
                    <a:cubicBezTo>
                      <a:pt x="988" y="1272"/>
                      <a:pt x="1010" y="1273"/>
                      <a:pt x="1007" y="1296"/>
                    </a:cubicBezTo>
                    <a:cubicBezTo>
                      <a:pt x="1016" y="1305"/>
                      <a:pt x="1025" y="1313"/>
                      <a:pt x="1035" y="1322"/>
                    </a:cubicBezTo>
                    <a:cubicBezTo>
                      <a:pt x="1044" y="1319"/>
                      <a:pt x="1055" y="1318"/>
                      <a:pt x="1053" y="1304"/>
                    </a:cubicBezTo>
                    <a:cubicBezTo>
                      <a:pt x="1058" y="1300"/>
                      <a:pt x="1068" y="1301"/>
                      <a:pt x="1072" y="1296"/>
                    </a:cubicBezTo>
                    <a:cubicBezTo>
                      <a:pt x="1073" y="1292"/>
                      <a:pt x="1069" y="1293"/>
                      <a:pt x="1070" y="1289"/>
                    </a:cubicBezTo>
                    <a:cubicBezTo>
                      <a:pt x="1074" y="1283"/>
                      <a:pt x="1083" y="1282"/>
                      <a:pt x="1088" y="1277"/>
                    </a:cubicBezTo>
                    <a:cubicBezTo>
                      <a:pt x="1087" y="1265"/>
                      <a:pt x="1078" y="1258"/>
                      <a:pt x="1081" y="1247"/>
                    </a:cubicBezTo>
                    <a:cubicBezTo>
                      <a:pt x="1081" y="1245"/>
                      <a:pt x="1084" y="1244"/>
                      <a:pt x="1084" y="1242"/>
                    </a:cubicBezTo>
                    <a:cubicBezTo>
                      <a:pt x="1084" y="1236"/>
                      <a:pt x="1082" y="1231"/>
                      <a:pt x="1083" y="1225"/>
                    </a:cubicBezTo>
                    <a:cubicBezTo>
                      <a:pt x="1080" y="1222"/>
                      <a:pt x="1075" y="1222"/>
                      <a:pt x="1074" y="1217"/>
                    </a:cubicBezTo>
                    <a:cubicBezTo>
                      <a:pt x="1078" y="1212"/>
                      <a:pt x="1077" y="1204"/>
                      <a:pt x="1074" y="1199"/>
                    </a:cubicBezTo>
                    <a:cubicBezTo>
                      <a:pt x="1077" y="1194"/>
                      <a:pt x="1082" y="1192"/>
                      <a:pt x="1087" y="1190"/>
                    </a:cubicBezTo>
                    <a:cubicBezTo>
                      <a:pt x="1086" y="1177"/>
                      <a:pt x="1097" y="1176"/>
                      <a:pt x="1107" y="1174"/>
                    </a:cubicBezTo>
                    <a:cubicBezTo>
                      <a:pt x="1112" y="1165"/>
                      <a:pt x="1113" y="1156"/>
                      <a:pt x="1121" y="1149"/>
                    </a:cubicBezTo>
                    <a:cubicBezTo>
                      <a:pt x="1124" y="1147"/>
                      <a:pt x="1128" y="1146"/>
                      <a:pt x="1130" y="1143"/>
                    </a:cubicBezTo>
                    <a:cubicBezTo>
                      <a:pt x="1134" y="1137"/>
                      <a:pt x="1134" y="1128"/>
                      <a:pt x="1140" y="1122"/>
                    </a:cubicBezTo>
                    <a:cubicBezTo>
                      <a:pt x="1145" y="1116"/>
                      <a:pt x="1151" y="1116"/>
                      <a:pt x="1155" y="1109"/>
                    </a:cubicBezTo>
                    <a:cubicBezTo>
                      <a:pt x="1155" y="1108"/>
                      <a:pt x="1151" y="1107"/>
                      <a:pt x="1154" y="1106"/>
                    </a:cubicBezTo>
                    <a:cubicBezTo>
                      <a:pt x="1163" y="1109"/>
                      <a:pt x="1171" y="1094"/>
                      <a:pt x="1174" y="1085"/>
                    </a:cubicBezTo>
                    <a:cubicBezTo>
                      <a:pt x="1173" y="1081"/>
                      <a:pt x="1168" y="1080"/>
                      <a:pt x="1167" y="1076"/>
                    </a:cubicBezTo>
                    <a:cubicBezTo>
                      <a:pt x="1175" y="1072"/>
                      <a:pt x="1181" y="1067"/>
                      <a:pt x="1184" y="1059"/>
                    </a:cubicBezTo>
                    <a:cubicBezTo>
                      <a:pt x="1191" y="1058"/>
                      <a:pt x="1192" y="1064"/>
                      <a:pt x="1197" y="1066"/>
                    </a:cubicBezTo>
                    <a:cubicBezTo>
                      <a:pt x="1200" y="1064"/>
                      <a:pt x="1201" y="1060"/>
                      <a:pt x="1207" y="1061"/>
                    </a:cubicBezTo>
                    <a:cubicBezTo>
                      <a:pt x="1207" y="1057"/>
                      <a:pt x="1207" y="1054"/>
                      <a:pt x="1206" y="1052"/>
                    </a:cubicBezTo>
                    <a:cubicBezTo>
                      <a:pt x="1210" y="1048"/>
                      <a:pt x="1219" y="1053"/>
                      <a:pt x="1224" y="1048"/>
                    </a:cubicBezTo>
                    <a:cubicBezTo>
                      <a:pt x="1227" y="1046"/>
                      <a:pt x="1221" y="1044"/>
                      <a:pt x="1224" y="1042"/>
                    </a:cubicBezTo>
                    <a:cubicBezTo>
                      <a:pt x="1229" y="1041"/>
                      <a:pt x="1232" y="1044"/>
                      <a:pt x="1237" y="1041"/>
                    </a:cubicBezTo>
                    <a:cubicBezTo>
                      <a:pt x="1240" y="1040"/>
                      <a:pt x="1239" y="1036"/>
                      <a:pt x="1240" y="1035"/>
                    </a:cubicBezTo>
                    <a:cubicBezTo>
                      <a:pt x="1241" y="1035"/>
                      <a:pt x="1243" y="1036"/>
                      <a:pt x="1245" y="1036"/>
                    </a:cubicBezTo>
                    <a:cubicBezTo>
                      <a:pt x="1247" y="1039"/>
                      <a:pt x="1245" y="1046"/>
                      <a:pt x="1247" y="1050"/>
                    </a:cubicBezTo>
                    <a:cubicBezTo>
                      <a:pt x="1248" y="1051"/>
                      <a:pt x="1252" y="1051"/>
                      <a:pt x="1255" y="1051"/>
                    </a:cubicBezTo>
                    <a:cubicBezTo>
                      <a:pt x="1256" y="1053"/>
                      <a:pt x="1256" y="1057"/>
                      <a:pt x="1258" y="1060"/>
                    </a:cubicBezTo>
                    <a:cubicBezTo>
                      <a:pt x="1271" y="1057"/>
                      <a:pt x="1273" y="1068"/>
                      <a:pt x="1282" y="1067"/>
                    </a:cubicBezTo>
                    <a:cubicBezTo>
                      <a:pt x="1282" y="1070"/>
                      <a:pt x="1280" y="1071"/>
                      <a:pt x="1281" y="1074"/>
                    </a:cubicBezTo>
                    <a:cubicBezTo>
                      <a:pt x="1301" y="1070"/>
                      <a:pt x="1301" y="1085"/>
                      <a:pt x="1310" y="1091"/>
                    </a:cubicBezTo>
                    <a:cubicBezTo>
                      <a:pt x="1305" y="1101"/>
                      <a:pt x="1317" y="1109"/>
                      <a:pt x="1311" y="1119"/>
                    </a:cubicBezTo>
                    <a:cubicBezTo>
                      <a:pt x="1318" y="1123"/>
                      <a:pt x="1320" y="1115"/>
                      <a:pt x="1328" y="1117"/>
                    </a:cubicBezTo>
                    <a:cubicBezTo>
                      <a:pt x="1333" y="1104"/>
                      <a:pt x="1349" y="1100"/>
                      <a:pt x="1346" y="1082"/>
                    </a:cubicBezTo>
                    <a:cubicBezTo>
                      <a:pt x="1352" y="1084"/>
                      <a:pt x="1352" y="1092"/>
                      <a:pt x="1359" y="1093"/>
                    </a:cubicBezTo>
                    <a:close/>
                    <a:moveTo>
                      <a:pt x="268" y="663"/>
                    </a:moveTo>
                    <a:cubicBezTo>
                      <a:pt x="263" y="663"/>
                      <a:pt x="263" y="663"/>
                      <a:pt x="263" y="663"/>
                    </a:cubicBezTo>
                    <a:cubicBezTo>
                      <a:pt x="263" y="661"/>
                      <a:pt x="264" y="661"/>
                      <a:pt x="264" y="659"/>
                    </a:cubicBezTo>
                    <a:cubicBezTo>
                      <a:pt x="266" y="660"/>
                      <a:pt x="269" y="660"/>
                      <a:pt x="268" y="663"/>
                    </a:cubicBezTo>
                    <a:close/>
                    <a:moveTo>
                      <a:pt x="283" y="671"/>
                    </a:moveTo>
                    <a:cubicBezTo>
                      <a:pt x="279" y="669"/>
                      <a:pt x="275" y="667"/>
                      <a:pt x="272" y="664"/>
                    </a:cubicBezTo>
                    <a:cubicBezTo>
                      <a:pt x="274" y="651"/>
                      <a:pt x="297" y="665"/>
                      <a:pt x="283" y="671"/>
                    </a:cubicBezTo>
                    <a:close/>
                    <a:moveTo>
                      <a:pt x="418" y="702"/>
                    </a:moveTo>
                    <a:cubicBezTo>
                      <a:pt x="404" y="717"/>
                      <a:pt x="381" y="703"/>
                      <a:pt x="367" y="696"/>
                    </a:cubicBezTo>
                    <a:cubicBezTo>
                      <a:pt x="368" y="690"/>
                      <a:pt x="365" y="688"/>
                      <a:pt x="360" y="689"/>
                    </a:cubicBezTo>
                    <a:cubicBezTo>
                      <a:pt x="359" y="687"/>
                      <a:pt x="359" y="685"/>
                      <a:pt x="359" y="681"/>
                    </a:cubicBezTo>
                    <a:cubicBezTo>
                      <a:pt x="358" y="679"/>
                      <a:pt x="353" y="680"/>
                      <a:pt x="351" y="678"/>
                    </a:cubicBezTo>
                    <a:cubicBezTo>
                      <a:pt x="350" y="676"/>
                      <a:pt x="349" y="674"/>
                      <a:pt x="349" y="670"/>
                    </a:cubicBezTo>
                    <a:cubicBezTo>
                      <a:pt x="342" y="672"/>
                      <a:pt x="337" y="668"/>
                      <a:pt x="333" y="664"/>
                    </a:cubicBezTo>
                    <a:cubicBezTo>
                      <a:pt x="323" y="664"/>
                      <a:pt x="314" y="666"/>
                      <a:pt x="309" y="671"/>
                    </a:cubicBezTo>
                    <a:cubicBezTo>
                      <a:pt x="299" y="667"/>
                      <a:pt x="293" y="659"/>
                      <a:pt x="285" y="654"/>
                    </a:cubicBezTo>
                    <a:cubicBezTo>
                      <a:pt x="286" y="641"/>
                      <a:pt x="288" y="630"/>
                      <a:pt x="294" y="622"/>
                    </a:cubicBezTo>
                    <a:cubicBezTo>
                      <a:pt x="296" y="622"/>
                      <a:pt x="298" y="622"/>
                      <a:pt x="300" y="623"/>
                    </a:cubicBezTo>
                    <a:cubicBezTo>
                      <a:pt x="303" y="613"/>
                      <a:pt x="307" y="602"/>
                      <a:pt x="319" y="604"/>
                    </a:cubicBezTo>
                    <a:cubicBezTo>
                      <a:pt x="322" y="601"/>
                      <a:pt x="322" y="596"/>
                      <a:pt x="324" y="591"/>
                    </a:cubicBezTo>
                    <a:cubicBezTo>
                      <a:pt x="333" y="589"/>
                      <a:pt x="341" y="574"/>
                      <a:pt x="351" y="583"/>
                    </a:cubicBezTo>
                    <a:cubicBezTo>
                      <a:pt x="352" y="586"/>
                      <a:pt x="348" y="584"/>
                      <a:pt x="348" y="586"/>
                    </a:cubicBezTo>
                    <a:cubicBezTo>
                      <a:pt x="346" y="595"/>
                      <a:pt x="356" y="593"/>
                      <a:pt x="358" y="598"/>
                    </a:cubicBezTo>
                    <a:cubicBezTo>
                      <a:pt x="357" y="602"/>
                      <a:pt x="350" y="601"/>
                      <a:pt x="347" y="604"/>
                    </a:cubicBezTo>
                    <a:cubicBezTo>
                      <a:pt x="346" y="609"/>
                      <a:pt x="352" y="608"/>
                      <a:pt x="352" y="612"/>
                    </a:cubicBezTo>
                    <a:cubicBezTo>
                      <a:pt x="353" y="618"/>
                      <a:pt x="349" y="618"/>
                      <a:pt x="348" y="623"/>
                    </a:cubicBezTo>
                    <a:cubicBezTo>
                      <a:pt x="348" y="626"/>
                      <a:pt x="351" y="626"/>
                      <a:pt x="352" y="628"/>
                    </a:cubicBezTo>
                    <a:cubicBezTo>
                      <a:pt x="355" y="621"/>
                      <a:pt x="367" y="628"/>
                      <a:pt x="369" y="621"/>
                    </a:cubicBezTo>
                    <a:cubicBezTo>
                      <a:pt x="372" y="621"/>
                      <a:pt x="371" y="625"/>
                      <a:pt x="374" y="625"/>
                    </a:cubicBezTo>
                    <a:cubicBezTo>
                      <a:pt x="379" y="624"/>
                      <a:pt x="380" y="621"/>
                      <a:pt x="383" y="619"/>
                    </a:cubicBezTo>
                    <a:cubicBezTo>
                      <a:pt x="381" y="613"/>
                      <a:pt x="374" y="619"/>
                      <a:pt x="371" y="616"/>
                    </a:cubicBezTo>
                    <a:cubicBezTo>
                      <a:pt x="369" y="611"/>
                      <a:pt x="368" y="606"/>
                      <a:pt x="367" y="601"/>
                    </a:cubicBezTo>
                    <a:cubicBezTo>
                      <a:pt x="377" y="596"/>
                      <a:pt x="390" y="600"/>
                      <a:pt x="399" y="594"/>
                    </a:cubicBezTo>
                    <a:cubicBezTo>
                      <a:pt x="403" y="600"/>
                      <a:pt x="409" y="593"/>
                      <a:pt x="414" y="596"/>
                    </a:cubicBezTo>
                    <a:cubicBezTo>
                      <a:pt x="414" y="603"/>
                      <a:pt x="405" y="601"/>
                      <a:pt x="399" y="604"/>
                    </a:cubicBezTo>
                    <a:cubicBezTo>
                      <a:pt x="399" y="607"/>
                      <a:pt x="402" y="608"/>
                      <a:pt x="401" y="612"/>
                    </a:cubicBezTo>
                    <a:cubicBezTo>
                      <a:pt x="394" y="612"/>
                      <a:pt x="395" y="621"/>
                      <a:pt x="390" y="623"/>
                    </a:cubicBezTo>
                    <a:cubicBezTo>
                      <a:pt x="386" y="624"/>
                      <a:pt x="388" y="620"/>
                      <a:pt x="386" y="619"/>
                    </a:cubicBezTo>
                    <a:cubicBezTo>
                      <a:pt x="378" y="628"/>
                      <a:pt x="390" y="641"/>
                      <a:pt x="396" y="645"/>
                    </a:cubicBezTo>
                    <a:cubicBezTo>
                      <a:pt x="396" y="663"/>
                      <a:pt x="417" y="671"/>
                      <a:pt x="419" y="685"/>
                    </a:cubicBezTo>
                    <a:cubicBezTo>
                      <a:pt x="419" y="691"/>
                      <a:pt x="415" y="696"/>
                      <a:pt x="418" y="702"/>
                    </a:cubicBezTo>
                    <a:close/>
                    <a:moveTo>
                      <a:pt x="748" y="322"/>
                    </a:moveTo>
                    <a:cubicBezTo>
                      <a:pt x="743" y="322"/>
                      <a:pt x="742" y="318"/>
                      <a:pt x="740" y="315"/>
                    </a:cubicBezTo>
                    <a:cubicBezTo>
                      <a:pt x="744" y="312"/>
                      <a:pt x="750" y="319"/>
                      <a:pt x="748" y="322"/>
                    </a:cubicBezTo>
                    <a:close/>
                    <a:moveTo>
                      <a:pt x="1695" y="994"/>
                    </a:moveTo>
                    <a:cubicBezTo>
                      <a:pt x="1693" y="1005"/>
                      <a:pt x="1689" y="1017"/>
                      <a:pt x="1689" y="1026"/>
                    </a:cubicBezTo>
                    <a:cubicBezTo>
                      <a:pt x="1689" y="1025"/>
                      <a:pt x="1688" y="1023"/>
                      <a:pt x="1690" y="1023"/>
                    </a:cubicBezTo>
                    <a:cubicBezTo>
                      <a:pt x="1690" y="1027"/>
                      <a:pt x="1688" y="1029"/>
                      <a:pt x="1688" y="1033"/>
                    </a:cubicBezTo>
                    <a:cubicBezTo>
                      <a:pt x="1693" y="1021"/>
                      <a:pt x="1695" y="1007"/>
                      <a:pt x="1695" y="994"/>
                    </a:cubicBezTo>
                    <a:close/>
                    <a:moveTo>
                      <a:pt x="1682" y="1045"/>
                    </a:moveTo>
                    <a:cubicBezTo>
                      <a:pt x="1680" y="1057"/>
                      <a:pt x="1674" y="1068"/>
                      <a:pt x="1673" y="1078"/>
                    </a:cubicBezTo>
                    <a:cubicBezTo>
                      <a:pt x="1674" y="1069"/>
                      <a:pt x="1686" y="1057"/>
                      <a:pt x="1681" y="1051"/>
                    </a:cubicBezTo>
                    <a:cubicBezTo>
                      <a:pt x="1682" y="1050"/>
                      <a:pt x="1684" y="1043"/>
                      <a:pt x="1682" y="1045"/>
                    </a:cubicBezTo>
                    <a:close/>
                    <a:moveTo>
                      <a:pt x="1658" y="1099"/>
                    </a:moveTo>
                    <a:cubicBezTo>
                      <a:pt x="1659" y="1096"/>
                      <a:pt x="1665" y="1087"/>
                      <a:pt x="1663" y="1087"/>
                    </a:cubicBezTo>
                    <a:cubicBezTo>
                      <a:pt x="1661" y="1091"/>
                      <a:pt x="1656" y="1095"/>
                      <a:pt x="1658" y="1099"/>
                    </a:cubicBezTo>
                    <a:close/>
                    <a:moveTo>
                      <a:pt x="1647" y="1156"/>
                    </a:moveTo>
                    <a:cubicBezTo>
                      <a:pt x="1647" y="1161"/>
                      <a:pt x="1636" y="1177"/>
                      <a:pt x="1636" y="1185"/>
                    </a:cubicBezTo>
                    <a:cubicBezTo>
                      <a:pt x="1638" y="1181"/>
                      <a:pt x="1640" y="1175"/>
                      <a:pt x="1643" y="1169"/>
                    </a:cubicBezTo>
                    <a:cubicBezTo>
                      <a:pt x="1645" y="1164"/>
                      <a:pt x="1651" y="1157"/>
                      <a:pt x="1647" y="1156"/>
                    </a:cubicBezTo>
                    <a:close/>
                    <a:moveTo>
                      <a:pt x="1627" y="1204"/>
                    </a:moveTo>
                    <a:cubicBezTo>
                      <a:pt x="1629" y="1199"/>
                      <a:pt x="1635" y="1189"/>
                      <a:pt x="1634" y="1187"/>
                    </a:cubicBezTo>
                    <a:cubicBezTo>
                      <a:pt x="1631" y="1192"/>
                      <a:pt x="1627" y="1199"/>
                      <a:pt x="1627" y="1204"/>
                    </a:cubicBezTo>
                    <a:close/>
                    <a:moveTo>
                      <a:pt x="1608" y="1226"/>
                    </a:moveTo>
                    <a:cubicBezTo>
                      <a:pt x="1615" y="1216"/>
                      <a:pt x="1621" y="1205"/>
                      <a:pt x="1627" y="1195"/>
                    </a:cubicBezTo>
                    <a:cubicBezTo>
                      <a:pt x="1620" y="1203"/>
                      <a:pt x="1612" y="1217"/>
                      <a:pt x="1608" y="1226"/>
                    </a:cubicBezTo>
                    <a:close/>
                    <a:moveTo>
                      <a:pt x="1583" y="1258"/>
                    </a:moveTo>
                    <a:cubicBezTo>
                      <a:pt x="1589" y="1253"/>
                      <a:pt x="1594" y="1247"/>
                      <a:pt x="1597" y="1239"/>
                    </a:cubicBezTo>
                    <a:cubicBezTo>
                      <a:pt x="1592" y="1244"/>
                      <a:pt x="1584" y="1252"/>
                      <a:pt x="1583" y="1258"/>
                    </a:cubicBezTo>
                    <a:close/>
                    <a:moveTo>
                      <a:pt x="1571" y="1311"/>
                    </a:moveTo>
                    <a:cubicBezTo>
                      <a:pt x="1572" y="1306"/>
                      <a:pt x="1578" y="1301"/>
                      <a:pt x="1577" y="1298"/>
                    </a:cubicBezTo>
                    <a:cubicBezTo>
                      <a:pt x="1575" y="1302"/>
                      <a:pt x="1569" y="1307"/>
                      <a:pt x="1571" y="1311"/>
                    </a:cubicBezTo>
                    <a:close/>
                    <a:moveTo>
                      <a:pt x="1537" y="1355"/>
                    </a:moveTo>
                    <a:cubicBezTo>
                      <a:pt x="1509" y="1391"/>
                      <a:pt x="1478" y="1423"/>
                      <a:pt x="1448" y="1456"/>
                    </a:cubicBezTo>
                    <a:cubicBezTo>
                      <a:pt x="1481" y="1426"/>
                      <a:pt x="1513" y="1390"/>
                      <a:pt x="1537" y="1355"/>
                    </a:cubicBezTo>
                    <a:close/>
                    <a:moveTo>
                      <a:pt x="614" y="27"/>
                    </a:moveTo>
                    <a:cubicBezTo>
                      <a:pt x="613" y="27"/>
                      <a:pt x="612" y="27"/>
                      <a:pt x="612" y="29"/>
                    </a:cubicBezTo>
                    <a:cubicBezTo>
                      <a:pt x="617" y="28"/>
                      <a:pt x="625" y="27"/>
                      <a:pt x="623" y="24"/>
                    </a:cubicBezTo>
                    <a:cubicBezTo>
                      <a:pt x="623" y="25"/>
                      <a:pt x="618" y="25"/>
                      <a:pt x="618" y="24"/>
                    </a:cubicBezTo>
                    <a:cubicBezTo>
                      <a:pt x="620" y="23"/>
                      <a:pt x="623" y="23"/>
                      <a:pt x="624" y="21"/>
                    </a:cubicBezTo>
                    <a:cubicBezTo>
                      <a:pt x="617" y="22"/>
                      <a:pt x="609" y="23"/>
                      <a:pt x="604" y="27"/>
                    </a:cubicBezTo>
                    <a:cubicBezTo>
                      <a:pt x="609" y="27"/>
                      <a:pt x="611" y="25"/>
                      <a:pt x="614" y="27"/>
                    </a:cubicBezTo>
                    <a:close/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 dirty="0">
                  <a:latin typeface="+mj-lt"/>
                </a:endParaRPr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C101515E-CEE8-42C0-8C6A-D77A3306C3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ind das die Schlagzeilen </a:t>
            </a:r>
            <a:br>
              <a:rPr lang="de-DE" dirty="0"/>
            </a:br>
            <a:r>
              <a:rPr lang="de-DE" dirty="0"/>
              <a:t>der Wirtschaftspresse 2025 - 2030?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7B572913-621F-4FCB-BA11-88E094E61281}"/>
              </a:ext>
            </a:extLst>
          </p:cNvPr>
          <p:cNvGrpSpPr/>
          <p:nvPr/>
        </p:nvGrpSpPr>
        <p:grpSpPr>
          <a:xfrm>
            <a:off x="629254" y="3284775"/>
            <a:ext cx="3945786" cy="1244070"/>
            <a:chOff x="629254" y="3284775"/>
            <a:chExt cx="3945786" cy="1244070"/>
          </a:xfrm>
        </p:grpSpPr>
        <p:sp>
          <p:nvSpPr>
            <p:cNvPr id="102" name="Grafik 5">
              <a:extLst>
                <a:ext uri="{FF2B5EF4-FFF2-40B4-BE49-F238E27FC236}">
                  <a16:creationId xmlns:a16="http://schemas.microsoft.com/office/drawing/2014/main" id="{CD4DC564-C94B-4935-AB48-8591D72EB364}"/>
                </a:ext>
              </a:extLst>
            </p:cNvPr>
            <p:cNvSpPr>
              <a:spLocks/>
            </p:cNvSpPr>
            <p:nvPr/>
          </p:nvSpPr>
          <p:spPr>
            <a:xfrm>
              <a:off x="629254" y="3284775"/>
              <a:ext cx="3945786" cy="1244070"/>
            </a:xfrm>
            <a:custGeom>
              <a:avLst/>
              <a:gdLst>
                <a:gd name="connsiteX0" fmla="*/ 0 w 11363325"/>
                <a:gd name="connsiteY0" fmla="*/ 0 h 3495675"/>
                <a:gd name="connsiteX1" fmla="*/ 0 w 11363325"/>
                <a:gd name="connsiteY1" fmla="*/ 2568226 h 3495675"/>
                <a:gd name="connsiteX2" fmla="*/ 19336 w 11363325"/>
                <a:gd name="connsiteY2" fmla="*/ 2547080 h 3495675"/>
                <a:gd name="connsiteX3" fmla="*/ 91535 w 11363325"/>
                <a:gd name="connsiteY3" fmla="*/ 2541841 h 3495675"/>
                <a:gd name="connsiteX4" fmla="*/ 102775 w 11363325"/>
                <a:gd name="connsiteY4" fmla="*/ 2636520 h 3495675"/>
                <a:gd name="connsiteX5" fmla="*/ 78772 w 11363325"/>
                <a:gd name="connsiteY5" fmla="*/ 2749677 h 3495675"/>
                <a:gd name="connsiteX6" fmla="*/ 210312 w 11363325"/>
                <a:gd name="connsiteY6" fmla="*/ 2682907 h 3495675"/>
                <a:gd name="connsiteX7" fmla="*/ 278511 w 11363325"/>
                <a:gd name="connsiteY7" fmla="*/ 2680145 h 3495675"/>
                <a:gd name="connsiteX8" fmla="*/ 299847 w 11363325"/>
                <a:gd name="connsiteY8" fmla="*/ 2746153 h 3495675"/>
                <a:gd name="connsiteX9" fmla="*/ 268700 w 11363325"/>
                <a:gd name="connsiteY9" fmla="*/ 2873407 h 3495675"/>
                <a:gd name="connsiteX10" fmla="*/ 378619 w 11363325"/>
                <a:gd name="connsiteY10" fmla="*/ 2834164 h 3495675"/>
                <a:gd name="connsiteX11" fmla="*/ 383381 w 11363325"/>
                <a:gd name="connsiteY11" fmla="*/ 2910840 h 3495675"/>
                <a:gd name="connsiteX12" fmla="*/ 404241 w 11363325"/>
                <a:gd name="connsiteY12" fmla="*/ 2994470 h 3495675"/>
                <a:gd name="connsiteX13" fmla="*/ 479108 w 11363325"/>
                <a:gd name="connsiteY13" fmla="*/ 3001995 h 3495675"/>
                <a:gd name="connsiteX14" fmla="*/ 559308 w 11363325"/>
                <a:gd name="connsiteY14" fmla="*/ 2948559 h 3495675"/>
                <a:gd name="connsiteX15" fmla="*/ 590169 w 11363325"/>
                <a:gd name="connsiteY15" fmla="*/ 3082671 h 3495675"/>
                <a:gd name="connsiteX16" fmla="*/ 659035 w 11363325"/>
                <a:gd name="connsiteY16" fmla="*/ 3032570 h 3495675"/>
                <a:gd name="connsiteX17" fmla="*/ 714089 w 11363325"/>
                <a:gd name="connsiteY17" fmla="*/ 3084005 h 3495675"/>
                <a:gd name="connsiteX18" fmla="*/ 758285 w 11363325"/>
                <a:gd name="connsiteY18" fmla="*/ 3006757 h 3495675"/>
                <a:gd name="connsiteX19" fmla="*/ 775811 w 11363325"/>
                <a:gd name="connsiteY19" fmla="*/ 3059621 h 3495675"/>
                <a:gd name="connsiteX20" fmla="*/ 819722 w 11363325"/>
                <a:gd name="connsiteY20" fmla="*/ 3041714 h 3495675"/>
                <a:gd name="connsiteX21" fmla="*/ 893350 w 11363325"/>
                <a:gd name="connsiteY21" fmla="*/ 3040952 h 3495675"/>
                <a:gd name="connsiteX22" fmla="*/ 892112 w 11363325"/>
                <a:gd name="connsiteY22" fmla="*/ 3111532 h 3495675"/>
                <a:gd name="connsiteX23" fmla="*/ 1005364 w 11363325"/>
                <a:gd name="connsiteY23" fmla="*/ 3103721 h 3495675"/>
                <a:gd name="connsiteX24" fmla="*/ 976027 w 11363325"/>
                <a:gd name="connsiteY24" fmla="*/ 3173063 h 3495675"/>
                <a:gd name="connsiteX25" fmla="*/ 1054703 w 11363325"/>
                <a:gd name="connsiteY25" fmla="*/ 3175159 h 3495675"/>
                <a:gd name="connsiteX26" fmla="*/ 1054703 w 11363325"/>
                <a:gd name="connsiteY26" fmla="*/ 3175064 h 3495675"/>
                <a:gd name="connsiteX27" fmla="*/ 1111472 w 11363325"/>
                <a:gd name="connsiteY27" fmla="*/ 3158490 h 3495675"/>
                <a:gd name="connsiteX28" fmla="*/ 1200245 w 11363325"/>
                <a:gd name="connsiteY28" fmla="*/ 3255550 h 3495675"/>
                <a:gd name="connsiteX29" fmla="*/ 1274255 w 11363325"/>
                <a:gd name="connsiteY29" fmla="*/ 3154775 h 3495675"/>
                <a:gd name="connsiteX30" fmla="*/ 1294067 w 11363325"/>
                <a:gd name="connsiteY30" fmla="*/ 3253073 h 3495675"/>
                <a:gd name="connsiteX31" fmla="*/ 1185577 w 11363325"/>
                <a:gd name="connsiteY31" fmla="*/ 3354800 h 3495675"/>
                <a:gd name="connsiteX32" fmla="*/ 1302639 w 11363325"/>
                <a:gd name="connsiteY32" fmla="*/ 3385947 h 3495675"/>
                <a:gd name="connsiteX33" fmla="*/ 1340072 w 11363325"/>
                <a:gd name="connsiteY33" fmla="*/ 3302127 h 3495675"/>
                <a:gd name="connsiteX34" fmla="*/ 1414367 w 11363325"/>
                <a:gd name="connsiteY34" fmla="*/ 3363087 h 3495675"/>
                <a:gd name="connsiteX35" fmla="*/ 1432274 w 11363325"/>
                <a:gd name="connsiteY35" fmla="*/ 3434048 h 3495675"/>
                <a:gd name="connsiteX36" fmla="*/ 1498759 w 11363325"/>
                <a:gd name="connsiteY36" fmla="*/ 3388043 h 3495675"/>
                <a:gd name="connsiteX37" fmla="*/ 1507712 w 11363325"/>
                <a:gd name="connsiteY37" fmla="*/ 3467386 h 3495675"/>
                <a:gd name="connsiteX38" fmla="*/ 1620488 w 11363325"/>
                <a:gd name="connsiteY38" fmla="*/ 3370803 h 3495675"/>
                <a:gd name="connsiteX39" fmla="*/ 1609725 w 11363325"/>
                <a:gd name="connsiteY39" fmla="*/ 3390233 h 3495675"/>
                <a:gd name="connsiteX40" fmla="*/ 1657922 w 11363325"/>
                <a:gd name="connsiteY40" fmla="*/ 3376041 h 3495675"/>
                <a:gd name="connsiteX41" fmla="*/ 1776032 w 11363325"/>
                <a:gd name="connsiteY41" fmla="*/ 3499295 h 3495675"/>
                <a:gd name="connsiteX42" fmla="*/ 1755553 w 11363325"/>
                <a:gd name="connsiteY42" fmla="*/ 3349657 h 3495675"/>
                <a:gd name="connsiteX43" fmla="*/ 1822990 w 11363325"/>
                <a:gd name="connsiteY43" fmla="*/ 3340227 h 3495675"/>
                <a:gd name="connsiteX44" fmla="*/ 1915192 w 11363325"/>
                <a:gd name="connsiteY44" fmla="*/ 3379661 h 3495675"/>
                <a:gd name="connsiteX45" fmla="*/ 2007680 w 11363325"/>
                <a:gd name="connsiteY45" fmla="*/ 3332703 h 3495675"/>
                <a:gd name="connsiteX46" fmla="*/ 2005870 w 11363325"/>
                <a:gd name="connsiteY46" fmla="*/ 3231261 h 3495675"/>
                <a:gd name="connsiteX47" fmla="*/ 1929193 w 11363325"/>
                <a:gd name="connsiteY47" fmla="*/ 3188684 h 3495675"/>
                <a:gd name="connsiteX48" fmla="*/ 1961960 w 11363325"/>
                <a:gd name="connsiteY48" fmla="*/ 3130677 h 3495675"/>
                <a:gd name="connsiteX49" fmla="*/ 1847850 w 11363325"/>
                <a:gd name="connsiteY49" fmla="*/ 3093625 h 3495675"/>
                <a:gd name="connsiteX50" fmla="*/ 1863281 w 11363325"/>
                <a:gd name="connsiteY50" fmla="*/ 2997137 h 3495675"/>
                <a:gd name="connsiteX51" fmla="*/ 1957673 w 11363325"/>
                <a:gd name="connsiteY51" fmla="*/ 3006471 h 3495675"/>
                <a:gd name="connsiteX52" fmla="*/ 2019776 w 11363325"/>
                <a:gd name="connsiteY52" fmla="*/ 3112484 h 3495675"/>
                <a:gd name="connsiteX53" fmla="*/ 2068830 w 11363325"/>
                <a:gd name="connsiteY53" fmla="*/ 3065526 h 3495675"/>
                <a:gd name="connsiteX54" fmla="*/ 2061020 w 11363325"/>
                <a:gd name="connsiteY54" fmla="*/ 2944559 h 3495675"/>
                <a:gd name="connsiteX55" fmla="*/ 2064639 w 11363325"/>
                <a:gd name="connsiteY55" fmla="*/ 2930938 h 3495675"/>
                <a:gd name="connsiteX56" fmla="*/ 2164461 w 11363325"/>
                <a:gd name="connsiteY56" fmla="*/ 2904935 h 3495675"/>
                <a:gd name="connsiteX57" fmla="*/ 2174462 w 11363325"/>
                <a:gd name="connsiteY57" fmla="*/ 2844737 h 3495675"/>
                <a:gd name="connsiteX58" fmla="*/ 2144363 w 11363325"/>
                <a:gd name="connsiteY58" fmla="*/ 2754535 h 3495675"/>
                <a:gd name="connsiteX59" fmla="*/ 2286476 w 11363325"/>
                <a:gd name="connsiteY59" fmla="*/ 2780538 h 3495675"/>
                <a:gd name="connsiteX60" fmla="*/ 2292858 w 11363325"/>
                <a:gd name="connsiteY60" fmla="*/ 2739485 h 3495675"/>
                <a:gd name="connsiteX61" fmla="*/ 2337340 w 11363325"/>
                <a:gd name="connsiteY61" fmla="*/ 2786729 h 3495675"/>
                <a:gd name="connsiteX62" fmla="*/ 2405253 w 11363325"/>
                <a:gd name="connsiteY62" fmla="*/ 2622518 h 3495675"/>
                <a:gd name="connsiteX63" fmla="*/ 2478405 w 11363325"/>
                <a:gd name="connsiteY63" fmla="*/ 2735390 h 3495675"/>
                <a:gd name="connsiteX64" fmla="*/ 2416683 w 11363325"/>
                <a:gd name="connsiteY64" fmla="*/ 2594324 h 3495675"/>
                <a:gd name="connsiteX65" fmla="*/ 2517743 w 11363325"/>
                <a:gd name="connsiteY65" fmla="*/ 2600516 h 3495675"/>
                <a:gd name="connsiteX66" fmla="*/ 2563273 w 11363325"/>
                <a:gd name="connsiteY66" fmla="*/ 2546033 h 3495675"/>
                <a:gd name="connsiteX67" fmla="*/ 2633948 w 11363325"/>
                <a:gd name="connsiteY67" fmla="*/ 2504980 h 3495675"/>
                <a:gd name="connsiteX68" fmla="*/ 2691194 w 11363325"/>
                <a:gd name="connsiteY68" fmla="*/ 2545271 h 3495675"/>
                <a:gd name="connsiteX69" fmla="*/ 2742724 w 11363325"/>
                <a:gd name="connsiteY69" fmla="*/ 2633186 h 3495675"/>
                <a:gd name="connsiteX70" fmla="*/ 2794635 w 11363325"/>
                <a:gd name="connsiteY70" fmla="*/ 2642045 h 3495675"/>
                <a:gd name="connsiteX71" fmla="*/ 2876931 w 11363325"/>
                <a:gd name="connsiteY71" fmla="*/ 2517077 h 3495675"/>
                <a:gd name="connsiteX72" fmla="*/ 2886551 w 11363325"/>
                <a:gd name="connsiteY72" fmla="*/ 2505170 h 3495675"/>
                <a:gd name="connsiteX73" fmla="*/ 2947226 w 11363325"/>
                <a:gd name="connsiteY73" fmla="*/ 2548033 h 3495675"/>
                <a:gd name="connsiteX74" fmla="*/ 2941034 w 11363325"/>
                <a:gd name="connsiteY74" fmla="*/ 2456593 h 3495675"/>
                <a:gd name="connsiteX75" fmla="*/ 3068670 w 11363325"/>
                <a:gd name="connsiteY75" fmla="*/ 2516600 h 3495675"/>
                <a:gd name="connsiteX76" fmla="*/ 3110674 w 11363325"/>
                <a:gd name="connsiteY76" fmla="*/ 2553272 h 3495675"/>
                <a:gd name="connsiteX77" fmla="*/ 3139916 w 11363325"/>
                <a:gd name="connsiteY77" fmla="*/ 2377821 h 3495675"/>
                <a:gd name="connsiteX78" fmla="*/ 3192304 w 11363325"/>
                <a:gd name="connsiteY78" fmla="*/ 2410873 h 3495675"/>
                <a:gd name="connsiteX79" fmla="*/ 3257264 w 11363325"/>
                <a:gd name="connsiteY79" fmla="*/ 2440496 h 3495675"/>
                <a:gd name="connsiteX80" fmla="*/ 3289173 w 11363325"/>
                <a:gd name="connsiteY80" fmla="*/ 2366772 h 3495675"/>
                <a:gd name="connsiteX81" fmla="*/ 3355181 w 11363325"/>
                <a:gd name="connsiteY81" fmla="*/ 2377535 h 3495675"/>
                <a:gd name="connsiteX82" fmla="*/ 3412141 w 11363325"/>
                <a:gd name="connsiteY82" fmla="*/ 2373249 h 3495675"/>
                <a:gd name="connsiteX83" fmla="*/ 3476244 w 11363325"/>
                <a:gd name="connsiteY83" fmla="*/ 2477643 h 3495675"/>
                <a:gd name="connsiteX84" fmla="*/ 3508153 w 11363325"/>
                <a:gd name="connsiteY84" fmla="*/ 2424208 h 3495675"/>
                <a:gd name="connsiteX85" fmla="*/ 3585115 w 11363325"/>
                <a:gd name="connsiteY85" fmla="*/ 2405539 h 3495675"/>
                <a:gd name="connsiteX86" fmla="*/ 3557207 w 11363325"/>
                <a:gd name="connsiteY86" fmla="*/ 2539937 h 3495675"/>
                <a:gd name="connsiteX87" fmla="*/ 3666839 w 11363325"/>
                <a:gd name="connsiteY87" fmla="*/ 2508980 h 3495675"/>
                <a:gd name="connsiteX88" fmla="*/ 3724466 w 11363325"/>
                <a:gd name="connsiteY88" fmla="*/ 2408777 h 3495675"/>
                <a:gd name="connsiteX89" fmla="*/ 3774948 w 11363325"/>
                <a:gd name="connsiteY89" fmla="*/ 2464308 h 3495675"/>
                <a:gd name="connsiteX90" fmla="*/ 3826859 w 11363325"/>
                <a:gd name="connsiteY90" fmla="*/ 2478215 h 3495675"/>
                <a:gd name="connsiteX91" fmla="*/ 3947351 w 11363325"/>
                <a:gd name="connsiteY91" fmla="*/ 2479358 h 3495675"/>
                <a:gd name="connsiteX92" fmla="*/ 3789998 w 11363325"/>
                <a:gd name="connsiteY92" fmla="*/ 2525745 h 3495675"/>
                <a:gd name="connsiteX93" fmla="*/ 3752945 w 11363325"/>
                <a:gd name="connsiteY93" fmla="*/ 2572417 h 3495675"/>
                <a:gd name="connsiteX94" fmla="*/ 3806190 w 11363325"/>
                <a:gd name="connsiteY94" fmla="*/ 2666048 h 3495675"/>
                <a:gd name="connsiteX95" fmla="*/ 3809714 w 11363325"/>
                <a:gd name="connsiteY95" fmla="*/ 2662714 h 3495675"/>
                <a:gd name="connsiteX96" fmla="*/ 3865340 w 11363325"/>
                <a:gd name="connsiteY96" fmla="*/ 2649379 h 3495675"/>
                <a:gd name="connsiteX97" fmla="*/ 3939826 w 11363325"/>
                <a:gd name="connsiteY97" fmla="*/ 2774537 h 3495675"/>
                <a:gd name="connsiteX98" fmla="*/ 3989165 w 11363325"/>
                <a:gd name="connsiteY98" fmla="*/ 2772632 h 3495675"/>
                <a:gd name="connsiteX99" fmla="*/ 4054126 w 11363325"/>
                <a:gd name="connsiteY99" fmla="*/ 2664333 h 3495675"/>
                <a:gd name="connsiteX100" fmla="*/ 4105942 w 11363325"/>
                <a:gd name="connsiteY100" fmla="*/ 2733866 h 3495675"/>
                <a:gd name="connsiteX101" fmla="*/ 4232720 w 11363325"/>
                <a:gd name="connsiteY101" fmla="*/ 2643949 h 3495675"/>
                <a:gd name="connsiteX102" fmla="*/ 4207002 w 11363325"/>
                <a:gd name="connsiteY102" fmla="*/ 2763203 h 3495675"/>
                <a:gd name="connsiteX103" fmla="*/ 4325112 w 11363325"/>
                <a:gd name="connsiteY103" fmla="*/ 2712339 h 3495675"/>
                <a:gd name="connsiteX104" fmla="*/ 4293394 w 11363325"/>
                <a:gd name="connsiteY104" fmla="*/ 2770441 h 3495675"/>
                <a:gd name="connsiteX105" fmla="*/ 4329780 w 11363325"/>
                <a:gd name="connsiteY105" fmla="*/ 2794540 h 3495675"/>
                <a:gd name="connsiteX106" fmla="*/ 4331018 w 11363325"/>
                <a:gd name="connsiteY106" fmla="*/ 2734532 h 3495675"/>
                <a:gd name="connsiteX107" fmla="*/ 4397121 w 11363325"/>
                <a:gd name="connsiteY107" fmla="*/ 2718149 h 3495675"/>
                <a:gd name="connsiteX108" fmla="*/ 4338923 w 11363325"/>
                <a:gd name="connsiteY108" fmla="*/ 2617946 h 3495675"/>
                <a:gd name="connsiteX109" fmla="*/ 4433507 w 11363325"/>
                <a:gd name="connsiteY109" fmla="*/ 2586419 h 3495675"/>
                <a:gd name="connsiteX110" fmla="*/ 4473321 w 11363325"/>
                <a:gd name="connsiteY110" fmla="*/ 2668143 h 3495675"/>
                <a:gd name="connsiteX111" fmla="*/ 4467987 w 11363325"/>
                <a:gd name="connsiteY111" fmla="*/ 2766155 h 3495675"/>
                <a:gd name="connsiteX112" fmla="*/ 4549521 w 11363325"/>
                <a:gd name="connsiteY112" fmla="*/ 2746058 h 3495675"/>
                <a:gd name="connsiteX113" fmla="*/ 4628293 w 11363325"/>
                <a:gd name="connsiteY113" fmla="*/ 2674144 h 3495675"/>
                <a:gd name="connsiteX114" fmla="*/ 4675347 w 11363325"/>
                <a:gd name="connsiteY114" fmla="*/ 2786824 h 3495675"/>
                <a:gd name="connsiteX115" fmla="*/ 4728020 w 11363325"/>
                <a:gd name="connsiteY115" fmla="*/ 2775299 h 3495675"/>
                <a:gd name="connsiteX116" fmla="*/ 4784598 w 11363325"/>
                <a:gd name="connsiteY116" fmla="*/ 2799683 h 3495675"/>
                <a:gd name="connsiteX117" fmla="*/ 4829937 w 11363325"/>
                <a:gd name="connsiteY117" fmla="*/ 2765298 h 3495675"/>
                <a:gd name="connsiteX118" fmla="*/ 4878229 w 11363325"/>
                <a:gd name="connsiteY118" fmla="*/ 2720626 h 3495675"/>
                <a:gd name="connsiteX119" fmla="*/ 4904804 w 11363325"/>
                <a:gd name="connsiteY119" fmla="*/ 2598611 h 3495675"/>
                <a:gd name="connsiteX120" fmla="*/ 5019771 w 11363325"/>
                <a:gd name="connsiteY120" fmla="*/ 2779966 h 3495675"/>
                <a:gd name="connsiteX121" fmla="*/ 5027962 w 11363325"/>
                <a:gd name="connsiteY121" fmla="*/ 2644140 h 3495675"/>
                <a:gd name="connsiteX122" fmla="*/ 5083874 w 11363325"/>
                <a:gd name="connsiteY122" fmla="*/ 2629757 h 3495675"/>
                <a:gd name="connsiteX123" fmla="*/ 5119497 w 11363325"/>
                <a:gd name="connsiteY123" fmla="*/ 2744915 h 3495675"/>
                <a:gd name="connsiteX124" fmla="*/ 5197317 w 11363325"/>
                <a:gd name="connsiteY124" fmla="*/ 2591276 h 3495675"/>
                <a:gd name="connsiteX125" fmla="*/ 5202841 w 11363325"/>
                <a:gd name="connsiteY125" fmla="*/ 2732437 h 3495675"/>
                <a:gd name="connsiteX126" fmla="*/ 5277231 w 11363325"/>
                <a:gd name="connsiteY126" fmla="*/ 2699576 h 3495675"/>
                <a:gd name="connsiteX127" fmla="*/ 5273802 w 11363325"/>
                <a:gd name="connsiteY127" fmla="*/ 2781110 h 3495675"/>
                <a:gd name="connsiteX128" fmla="*/ 5398389 w 11363325"/>
                <a:gd name="connsiteY128" fmla="*/ 2727865 h 3495675"/>
                <a:gd name="connsiteX129" fmla="*/ 5428203 w 11363325"/>
                <a:gd name="connsiteY129" fmla="*/ 2786348 h 3495675"/>
                <a:gd name="connsiteX130" fmla="*/ 5460969 w 11363325"/>
                <a:gd name="connsiteY130" fmla="*/ 2842546 h 3495675"/>
                <a:gd name="connsiteX131" fmla="*/ 5500688 w 11363325"/>
                <a:gd name="connsiteY131" fmla="*/ 2872740 h 3495675"/>
                <a:gd name="connsiteX132" fmla="*/ 5535740 w 11363325"/>
                <a:gd name="connsiteY132" fmla="*/ 2865691 h 3495675"/>
                <a:gd name="connsiteX133" fmla="*/ 5566982 w 11363325"/>
                <a:gd name="connsiteY133" fmla="*/ 2777204 h 3495675"/>
                <a:gd name="connsiteX134" fmla="*/ 5644134 w 11363325"/>
                <a:gd name="connsiteY134" fmla="*/ 2910459 h 3495675"/>
                <a:gd name="connsiteX135" fmla="*/ 5638610 w 11363325"/>
                <a:gd name="connsiteY135" fmla="*/ 2917889 h 3495675"/>
                <a:gd name="connsiteX136" fmla="*/ 5649659 w 11363325"/>
                <a:gd name="connsiteY136" fmla="*/ 2919984 h 3495675"/>
                <a:gd name="connsiteX137" fmla="*/ 5657088 w 11363325"/>
                <a:gd name="connsiteY137" fmla="*/ 2932748 h 3495675"/>
                <a:gd name="connsiteX138" fmla="*/ 5662517 w 11363325"/>
                <a:gd name="connsiteY138" fmla="*/ 2922461 h 3495675"/>
                <a:gd name="connsiteX139" fmla="*/ 5778723 w 11363325"/>
                <a:gd name="connsiteY139" fmla="*/ 2944845 h 3495675"/>
                <a:gd name="connsiteX140" fmla="*/ 5660612 w 11363325"/>
                <a:gd name="connsiteY140" fmla="*/ 3022854 h 3495675"/>
                <a:gd name="connsiteX141" fmla="*/ 5781675 w 11363325"/>
                <a:gd name="connsiteY141" fmla="*/ 3000851 h 3495675"/>
                <a:gd name="connsiteX142" fmla="*/ 5779389 w 11363325"/>
                <a:gd name="connsiteY142" fmla="*/ 2953131 h 3495675"/>
                <a:gd name="connsiteX143" fmla="*/ 5835586 w 11363325"/>
                <a:gd name="connsiteY143" fmla="*/ 3020473 h 3495675"/>
                <a:gd name="connsiteX144" fmla="*/ 5890260 w 11363325"/>
                <a:gd name="connsiteY144" fmla="*/ 3056001 h 3495675"/>
                <a:gd name="connsiteX145" fmla="*/ 5937980 w 11363325"/>
                <a:gd name="connsiteY145" fmla="*/ 2973896 h 3495675"/>
                <a:gd name="connsiteX146" fmla="*/ 5989796 w 11363325"/>
                <a:gd name="connsiteY146" fmla="*/ 2964466 h 3495675"/>
                <a:gd name="connsiteX147" fmla="*/ 6043422 w 11363325"/>
                <a:gd name="connsiteY147" fmla="*/ 2964085 h 3495675"/>
                <a:gd name="connsiteX148" fmla="*/ 6100667 w 11363325"/>
                <a:gd name="connsiteY148" fmla="*/ 3137249 h 3495675"/>
                <a:gd name="connsiteX149" fmla="*/ 6154865 w 11363325"/>
                <a:gd name="connsiteY149" fmla="*/ 3053239 h 3495675"/>
                <a:gd name="connsiteX150" fmla="*/ 6206585 w 11363325"/>
                <a:gd name="connsiteY150" fmla="*/ 3067812 h 3495675"/>
                <a:gd name="connsiteX151" fmla="*/ 6266021 w 11363325"/>
                <a:gd name="connsiteY151" fmla="*/ 3155156 h 3495675"/>
                <a:gd name="connsiteX152" fmla="*/ 6308122 w 11363325"/>
                <a:gd name="connsiteY152" fmla="*/ 3008757 h 3495675"/>
                <a:gd name="connsiteX153" fmla="*/ 6352604 w 11363325"/>
                <a:gd name="connsiteY153" fmla="*/ 2945225 h 3495675"/>
                <a:gd name="connsiteX154" fmla="*/ 6431852 w 11363325"/>
                <a:gd name="connsiteY154" fmla="*/ 2983802 h 3495675"/>
                <a:gd name="connsiteX155" fmla="*/ 6442805 w 11363325"/>
                <a:gd name="connsiteY155" fmla="*/ 3129153 h 3495675"/>
                <a:gd name="connsiteX156" fmla="*/ 6550343 w 11363325"/>
                <a:gd name="connsiteY156" fmla="*/ 3018949 h 3495675"/>
                <a:gd name="connsiteX157" fmla="*/ 6579394 w 11363325"/>
                <a:gd name="connsiteY157" fmla="*/ 3141059 h 3495675"/>
                <a:gd name="connsiteX158" fmla="*/ 6610446 w 11363325"/>
                <a:gd name="connsiteY158" fmla="*/ 3038094 h 3495675"/>
                <a:gd name="connsiteX159" fmla="*/ 6685217 w 11363325"/>
                <a:gd name="connsiteY159" fmla="*/ 3083338 h 3495675"/>
                <a:gd name="connsiteX160" fmla="*/ 6709124 w 11363325"/>
                <a:gd name="connsiteY160" fmla="*/ 3018187 h 3495675"/>
                <a:gd name="connsiteX161" fmla="*/ 6730365 w 11363325"/>
                <a:gd name="connsiteY161" fmla="*/ 3103912 h 3495675"/>
                <a:gd name="connsiteX162" fmla="*/ 6825139 w 11363325"/>
                <a:gd name="connsiteY162" fmla="*/ 3023140 h 3495675"/>
                <a:gd name="connsiteX163" fmla="*/ 6762941 w 11363325"/>
                <a:gd name="connsiteY163" fmla="*/ 3139821 h 3495675"/>
                <a:gd name="connsiteX164" fmla="*/ 6843522 w 11363325"/>
                <a:gd name="connsiteY164" fmla="*/ 3145822 h 3495675"/>
                <a:gd name="connsiteX165" fmla="*/ 6879812 w 11363325"/>
                <a:gd name="connsiteY165" fmla="*/ 3212592 h 3495675"/>
                <a:gd name="connsiteX166" fmla="*/ 6966680 w 11363325"/>
                <a:gd name="connsiteY166" fmla="*/ 3236405 h 3495675"/>
                <a:gd name="connsiteX167" fmla="*/ 6997732 w 11363325"/>
                <a:gd name="connsiteY167" fmla="*/ 3128963 h 3495675"/>
                <a:gd name="connsiteX168" fmla="*/ 7064693 w 11363325"/>
                <a:gd name="connsiteY168" fmla="*/ 3150013 h 3495675"/>
                <a:gd name="connsiteX169" fmla="*/ 7140035 w 11363325"/>
                <a:gd name="connsiteY169" fmla="*/ 3183350 h 3495675"/>
                <a:gd name="connsiteX170" fmla="*/ 7155847 w 11363325"/>
                <a:gd name="connsiteY170" fmla="*/ 3057144 h 3495675"/>
                <a:gd name="connsiteX171" fmla="*/ 7217569 w 11363325"/>
                <a:gd name="connsiteY171" fmla="*/ 3106007 h 3495675"/>
                <a:gd name="connsiteX172" fmla="*/ 7228523 w 11363325"/>
                <a:gd name="connsiteY172" fmla="*/ 3169539 h 3495675"/>
                <a:gd name="connsiteX173" fmla="*/ 7318724 w 11363325"/>
                <a:gd name="connsiteY173" fmla="*/ 3154395 h 3495675"/>
                <a:gd name="connsiteX174" fmla="*/ 7378636 w 11363325"/>
                <a:gd name="connsiteY174" fmla="*/ 3157252 h 3495675"/>
                <a:gd name="connsiteX175" fmla="*/ 7376541 w 11363325"/>
                <a:gd name="connsiteY175" fmla="*/ 3102007 h 3495675"/>
                <a:gd name="connsiteX176" fmla="*/ 7427881 w 11363325"/>
                <a:gd name="connsiteY176" fmla="*/ 3095435 h 3495675"/>
                <a:gd name="connsiteX177" fmla="*/ 7499414 w 11363325"/>
                <a:gd name="connsiteY177" fmla="*/ 3116771 h 3495675"/>
                <a:gd name="connsiteX178" fmla="*/ 7593616 w 11363325"/>
                <a:gd name="connsiteY178" fmla="*/ 3121247 h 3495675"/>
                <a:gd name="connsiteX179" fmla="*/ 7505319 w 11363325"/>
                <a:gd name="connsiteY179" fmla="*/ 2943701 h 3495675"/>
                <a:gd name="connsiteX180" fmla="*/ 7592283 w 11363325"/>
                <a:gd name="connsiteY180" fmla="*/ 2956465 h 3495675"/>
                <a:gd name="connsiteX181" fmla="*/ 7650576 w 11363325"/>
                <a:gd name="connsiteY181" fmla="*/ 2972467 h 3495675"/>
                <a:gd name="connsiteX182" fmla="*/ 7683627 w 11363325"/>
                <a:gd name="connsiteY182" fmla="*/ 2913126 h 3495675"/>
                <a:gd name="connsiteX183" fmla="*/ 7722394 w 11363325"/>
                <a:gd name="connsiteY183" fmla="*/ 2943511 h 3495675"/>
                <a:gd name="connsiteX184" fmla="*/ 7827169 w 11363325"/>
                <a:gd name="connsiteY184" fmla="*/ 2891409 h 3495675"/>
                <a:gd name="connsiteX185" fmla="*/ 7635907 w 11363325"/>
                <a:gd name="connsiteY185" fmla="*/ 2838545 h 3495675"/>
                <a:gd name="connsiteX186" fmla="*/ 7828121 w 11363325"/>
                <a:gd name="connsiteY186" fmla="*/ 2805779 h 3495675"/>
                <a:gd name="connsiteX187" fmla="*/ 7762494 w 11363325"/>
                <a:gd name="connsiteY187" fmla="*/ 2701671 h 3495675"/>
                <a:gd name="connsiteX188" fmla="*/ 7867936 w 11363325"/>
                <a:gd name="connsiteY188" fmla="*/ 2752725 h 3495675"/>
                <a:gd name="connsiteX189" fmla="*/ 7875556 w 11363325"/>
                <a:gd name="connsiteY189" fmla="*/ 2668810 h 3495675"/>
                <a:gd name="connsiteX190" fmla="*/ 7986999 w 11363325"/>
                <a:gd name="connsiteY190" fmla="*/ 2623185 h 3495675"/>
                <a:gd name="connsiteX191" fmla="*/ 7884605 w 11363325"/>
                <a:gd name="connsiteY191" fmla="*/ 2554129 h 3495675"/>
                <a:gd name="connsiteX192" fmla="*/ 7876699 w 11363325"/>
                <a:gd name="connsiteY192" fmla="*/ 2488787 h 3495675"/>
                <a:gd name="connsiteX193" fmla="*/ 7953280 w 11363325"/>
                <a:gd name="connsiteY193" fmla="*/ 2466975 h 3495675"/>
                <a:gd name="connsiteX194" fmla="*/ 7977569 w 11363325"/>
                <a:gd name="connsiteY194" fmla="*/ 2409825 h 3495675"/>
                <a:gd name="connsiteX195" fmla="*/ 8022622 w 11363325"/>
                <a:gd name="connsiteY195" fmla="*/ 2384393 h 3495675"/>
                <a:gd name="connsiteX196" fmla="*/ 8080344 w 11363325"/>
                <a:gd name="connsiteY196" fmla="*/ 2448020 h 3495675"/>
                <a:gd name="connsiteX197" fmla="*/ 8132636 w 11363325"/>
                <a:gd name="connsiteY197" fmla="*/ 2333816 h 3495675"/>
                <a:gd name="connsiteX198" fmla="*/ 8196167 w 11363325"/>
                <a:gd name="connsiteY198" fmla="*/ 2343055 h 3495675"/>
                <a:gd name="connsiteX199" fmla="*/ 8258556 w 11363325"/>
                <a:gd name="connsiteY199" fmla="*/ 2300288 h 3495675"/>
                <a:gd name="connsiteX200" fmla="*/ 8308181 w 11363325"/>
                <a:gd name="connsiteY200" fmla="*/ 2355723 h 3495675"/>
                <a:gd name="connsiteX201" fmla="*/ 8366760 w 11363325"/>
                <a:gd name="connsiteY201" fmla="*/ 2337626 h 3495675"/>
                <a:gd name="connsiteX202" fmla="*/ 8412670 w 11363325"/>
                <a:gd name="connsiteY202" fmla="*/ 2463165 h 3495675"/>
                <a:gd name="connsiteX203" fmla="*/ 8475059 w 11363325"/>
                <a:gd name="connsiteY203" fmla="*/ 2357533 h 3495675"/>
                <a:gd name="connsiteX204" fmla="*/ 8535638 w 11363325"/>
                <a:gd name="connsiteY204" fmla="*/ 2278952 h 3495675"/>
                <a:gd name="connsiteX205" fmla="*/ 8584216 w 11363325"/>
                <a:gd name="connsiteY205" fmla="*/ 2373249 h 3495675"/>
                <a:gd name="connsiteX206" fmla="*/ 8644985 w 11363325"/>
                <a:gd name="connsiteY206" fmla="*/ 2288096 h 3495675"/>
                <a:gd name="connsiteX207" fmla="*/ 8691372 w 11363325"/>
                <a:gd name="connsiteY207" fmla="*/ 2334863 h 3495675"/>
                <a:gd name="connsiteX208" fmla="*/ 8765000 w 11363325"/>
                <a:gd name="connsiteY208" fmla="*/ 2487359 h 3495675"/>
                <a:gd name="connsiteX209" fmla="*/ 8790623 w 11363325"/>
                <a:gd name="connsiteY209" fmla="*/ 2265712 h 3495675"/>
                <a:gd name="connsiteX210" fmla="*/ 8843010 w 11363325"/>
                <a:gd name="connsiteY210" fmla="*/ 2436876 h 3495675"/>
                <a:gd name="connsiteX211" fmla="*/ 8906446 w 11363325"/>
                <a:gd name="connsiteY211" fmla="*/ 2404396 h 3495675"/>
                <a:gd name="connsiteX212" fmla="*/ 8903303 w 11363325"/>
                <a:gd name="connsiteY212" fmla="*/ 2516981 h 3495675"/>
                <a:gd name="connsiteX213" fmla="*/ 9019413 w 11363325"/>
                <a:gd name="connsiteY213" fmla="*/ 2434400 h 3495675"/>
                <a:gd name="connsiteX214" fmla="*/ 9086564 w 11363325"/>
                <a:gd name="connsiteY214" fmla="*/ 2541270 h 3495675"/>
                <a:gd name="connsiteX215" fmla="*/ 9122759 w 11363325"/>
                <a:gd name="connsiteY215" fmla="*/ 2414016 h 3495675"/>
                <a:gd name="connsiteX216" fmla="*/ 9184100 w 11363325"/>
                <a:gd name="connsiteY216" fmla="*/ 2409063 h 3495675"/>
                <a:gd name="connsiteX217" fmla="*/ 9242393 w 11363325"/>
                <a:gd name="connsiteY217" fmla="*/ 2520410 h 3495675"/>
                <a:gd name="connsiteX218" fmla="*/ 9300972 w 11363325"/>
                <a:gd name="connsiteY218" fmla="*/ 2389537 h 3495675"/>
                <a:gd name="connsiteX219" fmla="*/ 9385268 w 11363325"/>
                <a:gd name="connsiteY219" fmla="*/ 2362772 h 3495675"/>
                <a:gd name="connsiteX220" fmla="*/ 9360027 w 11363325"/>
                <a:gd name="connsiteY220" fmla="*/ 2527268 h 3495675"/>
                <a:gd name="connsiteX221" fmla="*/ 9484805 w 11363325"/>
                <a:gd name="connsiteY221" fmla="*/ 2473833 h 3495675"/>
                <a:gd name="connsiteX222" fmla="*/ 9536430 w 11363325"/>
                <a:gd name="connsiteY222" fmla="*/ 2477453 h 3495675"/>
                <a:gd name="connsiteX223" fmla="*/ 9564148 w 11363325"/>
                <a:gd name="connsiteY223" fmla="*/ 2533269 h 3495675"/>
                <a:gd name="connsiteX224" fmla="*/ 9616726 w 11363325"/>
                <a:gd name="connsiteY224" fmla="*/ 2570798 h 3495675"/>
                <a:gd name="connsiteX225" fmla="*/ 9686258 w 11363325"/>
                <a:gd name="connsiteY225" fmla="*/ 2645759 h 3495675"/>
                <a:gd name="connsiteX226" fmla="*/ 9744646 w 11363325"/>
                <a:gd name="connsiteY226" fmla="*/ 2589943 h 3495675"/>
                <a:gd name="connsiteX227" fmla="*/ 9790462 w 11363325"/>
                <a:gd name="connsiteY227" fmla="*/ 2561463 h 3495675"/>
                <a:gd name="connsiteX228" fmla="*/ 9787985 w 11363325"/>
                <a:gd name="connsiteY228" fmla="*/ 2486025 h 3495675"/>
                <a:gd name="connsiteX229" fmla="*/ 9823418 w 11363325"/>
                <a:gd name="connsiteY229" fmla="*/ 2454212 h 3495675"/>
                <a:gd name="connsiteX230" fmla="*/ 9873805 w 11363325"/>
                <a:gd name="connsiteY230" fmla="*/ 2365724 h 3495675"/>
                <a:gd name="connsiteX231" fmla="*/ 9928956 w 11363325"/>
                <a:gd name="connsiteY231" fmla="*/ 2379726 h 3495675"/>
                <a:gd name="connsiteX232" fmla="*/ 9994202 w 11363325"/>
                <a:gd name="connsiteY232" fmla="*/ 2399348 h 3495675"/>
                <a:gd name="connsiteX233" fmla="*/ 10029634 w 11363325"/>
                <a:gd name="connsiteY233" fmla="*/ 2462498 h 3495675"/>
                <a:gd name="connsiteX234" fmla="*/ 10074212 w 11363325"/>
                <a:gd name="connsiteY234" fmla="*/ 2483930 h 3495675"/>
                <a:gd name="connsiteX235" fmla="*/ 10165461 w 11363325"/>
                <a:gd name="connsiteY235" fmla="*/ 2416397 h 3495675"/>
                <a:gd name="connsiteX236" fmla="*/ 10164699 w 11363325"/>
                <a:gd name="connsiteY236" fmla="*/ 2471547 h 3495675"/>
                <a:gd name="connsiteX237" fmla="*/ 10189178 w 11363325"/>
                <a:gd name="connsiteY237" fmla="*/ 2433828 h 3495675"/>
                <a:gd name="connsiteX238" fmla="*/ 10224897 w 11363325"/>
                <a:gd name="connsiteY238" fmla="*/ 2398109 h 3495675"/>
                <a:gd name="connsiteX239" fmla="*/ 10310051 w 11363325"/>
                <a:gd name="connsiteY239" fmla="*/ 2404015 h 3495675"/>
                <a:gd name="connsiteX240" fmla="*/ 10311765 w 11363325"/>
                <a:gd name="connsiteY240" fmla="*/ 2411349 h 3495675"/>
                <a:gd name="connsiteX241" fmla="*/ 10438734 w 11363325"/>
                <a:gd name="connsiteY241" fmla="*/ 2362391 h 3495675"/>
                <a:gd name="connsiteX242" fmla="*/ 10370820 w 11363325"/>
                <a:gd name="connsiteY242" fmla="*/ 2528888 h 3495675"/>
                <a:gd name="connsiteX243" fmla="*/ 10491883 w 11363325"/>
                <a:gd name="connsiteY243" fmla="*/ 2405539 h 3495675"/>
                <a:gd name="connsiteX244" fmla="*/ 10486359 w 11363325"/>
                <a:gd name="connsiteY244" fmla="*/ 2384774 h 3495675"/>
                <a:gd name="connsiteX245" fmla="*/ 10622852 w 11363325"/>
                <a:gd name="connsiteY245" fmla="*/ 2485263 h 3495675"/>
                <a:gd name="connsiteX246" fmla="*/ 10613897 w 11363325"/>
                <a:gd name="connsiteY246" fmla="*/ 2343055 h 3495675"/>
                <a:gd name="connsiteX247" fmla="*/ 10724769 w 11363325"/>
                <a:gd name="connsiteY247" fmla="*/ 2486692 h 3495675"/>
                <a:gd name="connsiteX248" fmla="*/ 10763250 w 11363325"/>
                <a:gd name="connsiteY248" fmla="*/ 2421350 h 3495675"/>
                <a:gd name="connsiteX249" fmla="*/ 10827830 w 11363325"/>
                <a:gd name="connsiteY249" fmla="*/ 2432018 h 3495675"/>
                <a:gd name="connsiteX250" fmla="*/ 10874026 w 11363325"/>
                <a:gd name="connsiteY250" fmla="*/ 2385536 h 3495675"/>
                <a:gd name="connsiteX251" fmla="*/ 10932795 w 11363325"/>
                <a:gd name="connsiteY251" fmla="*/ 2380202 h 3495675"/>
                <a:gd name="connsiteX252" fmla="*/ 10960228 w 11363325"/>
                <a:gd name="connsiteY252" fmla="*/ 2225421 h 3495675"/>
                <a:gd name="connsiteX253" fmla="*/ 10986992 w 11363325"/>
                <a:gd name="connsiteY253" fmla="*/ 2382869 h 3495675"/>
                <a:gd name="connsiteX254" fmla="*/ 11046809 w 11363325"/>
                <a:gd name="connsiteY254" fmla="*/ 2397062 h 3495675"/>
                <a:gd name="connsiteX255" fmla="*/ 11124534 w 11363325"/>
                <a:gd name="connsiteY255" fmla="*/ 2365534 h 3495675"/>
                <a:gd name="connsiteX256" fmla="*/ 11182445 w 11363325"/>
                <a:gd name="connsiteY256" fmla="*/ 2383155 h 3495675"/>
                <a:gd name="connsiteX257" fmla="*/ 11250454 w 11363325"/>
                <a:gd name="connsiteY257" fmla="*/ 2375249 h 3495675"/>
                <a:gd name="connsiteX258" fmla="*/ 11303508 w 11363325"/>
                <a:gd name="connsiteY258" fmla="*/ 2327243 h 3495675"/>
                <a:gd name="connsiteX259" fmla="*/ 11356467 w 11363325"/>
                <a:gd name="connsiteY259" fmla="*/ 2424494 h 3495675"/>
                <a:gd name="connsiteX260" fmla="*/ 11372564 w 11363325"/>
                <a:gd name="connsiteY260" fmla="*/ 2435924 h 3495675"/>
                <a:gd name="connsiteX261" fmla="*/ 11372564 w 11363325"/>
                <a:gd name="connsiteY261" fmla="*/ 0 h 3495675"/>
                <a:gd name="connsiteX262" fmla="*/ 0 w 11363325"/>
                <a:gd name="connsiteY262" fmla="*/ 0 h 3495675"/>
                <a:gd name="connsiteX263" fmla="*/ 7624191 w 11363325"/>
                <a:gd name="connsiteY263" fmla="*/ 2067973 h 3495675"/>
                <a:gd name="connsiteX264" fmla="*/ 7586187 w 11363325"/>
                <a:gd name="connsiteY264" fmla="*/ 1943672 h 3495675"/>
                <a:gd name="connsiteX265" fmla="*/ 7601522 w 11363325"/>
                <a:gd name="connsiteY265" fmla="*/ 1930813 h 3495675"/>
                <a:gd name="connsiteX266" fmla="*/ 7634669 w 11363325"/>
                <a:gd name="connsiteY266" fmla="*/ 1941100 h 3495675"/>
                <a:gd name="connsiteX267" fmla="*/ 7624191 w 11363325"/>
                <a:gd name="connsiteY267" fmla="*/ 2067973 h 3495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</a:cxnLst>
              <a:rect l="l" t="t" r="r" b="b"/>
              <a:pathLst>
                <a:path w="11363325" h="3495675">
                  <a:moveTo>
                    <a:pt x="0" y="0"/>
                  </a:moveTo>
                  <a:lnTo>
                    <a:pt x="0" y="2568226"/>
                  </a:lnTo>
                  <a:lnTo>
                    <a:pt x="19336" y="2547080"/>
                  </a:lnTo>
                  <a:lnTo>
                    <a:pt x="91535" y="2541841"/>
                  </a:lnTo>
                  <a:lnTo>
                    <a:pt x="102775" y="2636520"/>
                  </a:lnTo>
                  <a:lnTo>
                    <a:pt x="78772" y="2749677"/>
                  </a:lnTo>
                  <a:lnTo>
                    <a:pt x="210312" y="2682907"/>
                  </a:lnTo>
                  <a:lnTo>
                    <a:pt x="278511" y="2680145"/>
                  </a:lnTo>
                  <a:lnTo>
                    <a:pt x="299847" y="2746153"/>
                  </a:lnTo>
                  <a:lnTo>
                    <a:pt x="268700" y="2873407"/>
                  </a:lnTo>
                  <a:lnTo>
                    <a:pt x="378619" y="2834164"/>
                  </a:lnTo>
                  <a:lnTo>
                    <a:pt x="383381" y="2910840"/>
                  </a:lnTo>
                  <a:lnTo>
                    <a:pt x="404241" y="2994470"/>
                  </a:lnTo>
                  <a:lnTo>
                    <a:pt x="479108" y="3001995"/>
                  </a:lnTo>
                  <a:lnTo>
                    <a:pt x="559308" y="2948559"/>
                  </a:lnTo>
                  <a:lnTo>
                    <a:pt x="590169" y="3082671"/>
                  </a:lnTo>
                  <a:lnTo>
                    <a:pt x="659035" y="3032570"/>
                  </a:lnTo>
                  <a:lnTo>
                    <a:pt x="714089" y="3084005"/>
                  </a:lnTo>
                  <a:lnTo>
                    <a:pt x="758285" y="3006757"/>
                  </a:lnTo>
                  <a:lnTo>
                    <a:pt x="775811" y="3059621"/>
                  </a:lnTo>
                  <a:lnTo>
                    <a:pt x="819722" y="3041714"/>
                  </a:lnTo>
                  <a:lnTo>
                    <a:pt x="893350" y="3040952"/>
                  </a:lnTo>
                  <a:lnTo>
                    <a:pt x="892112" y="3111532"/>
                  </a:lnTo>
                  <a:lnTo>
                    <a:pt x="1005364" y="3103721"/>
                  </a:lnTo>
                  <a:lnTo>
                    <a:pt x="976027" y="3173063"/>
                  </a:lnTo>
                  <a:lnTo>
                    <a:pt x="1054703" y="3175159"/>
                  </a:lnTo>
                  <a:lnTo>
                    <a:pt x="1054703" y="3175064"/>
                  </a:lnTo>
                  <a:lnTo>
                    <a:pt x="1111472" y="3158490"/>
                  </a:lnTo>
                  <a:lnTo>
                    <a:pt x="1200245" y="3255550"/>
                  </a:lnTo>
                  <a:lnTo>
                    <a:pt x="1274255" y="3154775"/>
                  </a:lnTo>
                  <a:lnTo>
                    <a:pt x="1294067" y="3253073"/>
                  </a:lnTo>
                  <a:lnTo>
                    <a:pt x="1185577" y="3354800"/>
                  </a:lnTo>
                  <a:lnTo>
                    <a:pt x="1302639" y="3385947"/>
                  </a:lnTo>
                  <a:lnTo>
                    <a:pt x="1340072" y="3302127"/>
                  </a:lnTo>
                  <a:lnTo>
                    <a:pt x="1414367" y="3363087"/>
                  </a:lnTo>
                  <a:lnTo>
                    <a:pt x="1432274" y="3434048"/>
                  </a:lnTo>
                  <a:lnTo>
                    <a:pt x="1498759" y="3388043"/>
                  </a:lnTo>
                  <a:lnTo>
                    <a:pt x="1507712" y="3467386"/>
                  </a:lnTo>
                  <a:lnTo>
                    <a:pt x="1620488" y="3370803"/>
                  </a:lnTo>
                  <a:lnTo>
                    <a:pt x="1609725" y="3390233"/>
                  </a:lnTo>
                  <a:lnTo>
                    <a:pt x="1657922" y="3376041"/>
                  </a:lnTo>
                  <a:lnTo>
                    <a:pt x="1776032" y="3499295"/>
                  </a:lnTo>
                  <a:lnTo>
                    <a:pt x="1755553" y="3349657"/>
                  </a:lnTo>
                  <a:lnTo>
                    <a:pt x="1822990" y="3340227"/>
                  </a:lnTo>
                  <a:lnTo>
                    <a:pt x="1915192" y="3379661"/>
                  </a:lnTo>
                  <a:lnTo>
                    <a:pt x="2007680" y="3332703"/>
                  </a:lnTo>
                  <a:lnTo>
                    <a:pt x="2005870" y="3231261"/>
                  </a:lnTo>
                  <a:lnTo>
                    <a:pt x="1929193" y="3188684"/>
                  </a:lnTo>
                  <a:lnTo>
                    <a:pt x="1961960" y="3130677"/>
                  </a:lnTo>
                  <a:lnTo>
                    <a:pt x="1847850" y="3093625"/>
                  </a:lnTo>
                  <a:lnTo>
                    <a:pt x="1863281" y="2997137"/>
                  </a:lnTo>
                  <a:lnTo>
                    <a:pt x="1957673" y="3006471"/>
                  </a:lnTo>
                  <a:lnTo>
                    <a:pt x="2019776" y="3112484"/>
                  </a:lnTo>
                  <a:lnTo>
                    <a:pt x="2068830" y="3065526"/>
                  </a:lnTo>
                  <a:lnTo>
                    <a:pt x="2061020" y="2944559"/>
                  </a:lnTo>
                  <a:lnTo>
                    <a:pt x="2064639" y="2930938"/>
                  </a:lnTo>
                  <a:lnTo>
                    <a:pt x="2164461" y="2904935"/>
                  </a:lnTo>
                  <a:lnTo>
                    <a:pt x="2174462" y="2844737"/>
                  </a:lnTo>
                  <a:lnTo>
                    <a:pt x="2144363" y="2754535"/>
                  </a:lnTo>
                  <a:lnTo>
                    <a:pt x="2286476" y="2780538"/>
                  </a:lnTo>
                  <a:lnTo>
                    <a:pt x="2292858" y="2739485"/>
                  </a:lnTo>
                  <a:lnTo>
                    <a:pt x="2337340" y="2786729"/>
                  </a:lnTo>
                  <a:lnTo>
                    <a:pt x="2405253" y="2622518"/>
                  </a:lnTo>
                  <a:lnTo>
                    <a:pt x="2478405" y="2735390"/>
                  </a:lnTo>
                  <a:lnTo>
                    <a:pt x="2416683" y="2594324"/>
                  </a:lnTo>
                  <a:lnTo>
                    <a:pt x="2517743" y="2600516"/>
                  </a:lnTo>
                  <a:lnTo>
                    <a:pt x="2563273" y="2546033"/>
                  </a:lnTo>
                  <a:lnTo>
                    <a:pt x="2633948" y="2504980"/>
                  </a:lnTo>
                  <a:lnTo>
                    <a:pt x="2691194" y="2545271"/>
                  </a:lnTo>
                  <a:lnTo>
                    <a:pt x="2742724" y="2633186"/>
                  </a:lnTo>
                  <a:lnTo>
                    <a:pt x="2794635" y="2642045"/>
                  </a:lnTo>
                  <a:lnTo>
                    <a:pt x="2876931" y="2517077"/>
                  </a:lnTo>
                  <a:lnTo>
                    <a:pt x="2886551" y="2505170"/>
                  </a:lnTo>
                  <a:lnTo>
                    <a:pt x="2947226" y="2548033"/>
                  </a:lnTo>
                  <a:lnTo>
                    <a:pt x="2941034" y="2456593"/>
                  </a:lnTo>
                  <a:lnTo>
                    <a:pt x="3068670" y="2516600"/>
                  </a:lnTo>
                  <a:lnTo>
                    <a:pt x="3110674" y="2553272"/>
                  </a:lnTo>
                  <a:lnTo>
                    <a:pt x="3139916" y="2377821"/>
                  </a:lnTo>
                  <a:lnTo>
                    <a:pt x="3192304" y="2410873"/>
                  </a:lnTo>
                  <a:lnTo>
                    <a:pt x="3257264" y="2440496"/>
                  </a:lnTo>
                  <a:lnTo>
                    <a:pt x="3289173" y="2366772"/>
                  </a:lnTo>
                  <a:lnTo>
                    <a:pt x="3355181" y="2377535"/>
                  </a:lnTo>
                  <a:lnTo>
                    <a:pt x="3412141" y="2373249"/>
                  </a:lnTo>
                  <a:lnTo>
                    <a:pt x="3476244" y="2477643"/>
                  </a:lnTo>
                  <a:lnTo>
                    <a:pt x="3508153" y="2424208"/>
                  </a:lnTo>
                  <a:lnTo>
                    <a:pt x="3585115" y="2405539"/>
                  </a:lnTo>
                  <a:lnTo>
                    <a:pt x="3557207" y="2539937"/>
                  </a:lnTo>
                  <a:lnTo>
                    <a:pt x="3666839" y="2508980"/>
                  </a:lnTo>
                  <a:lnTo>
                    <a:pt x="3724466" y="2408777"/>
                  </a:lnTo>
                  <a:lnTo>
                    <a:pt x="3774948" y="2464308"/>
                  </a:lnTo>
                  <a:lnTo>
                    <a:pt x="3826859" y="2478215"/>
                  </a:lnTo>
                  <a:lnTo>
                    <a:pt x="3947351" y="2479358"/>
                  </a:lnTo>
                  <a:lnTo>
                    <a:pt x="3789998" y="2525745"/>
                  </a:lnTo>
                  <a:lnTo>
                    <a:pt x="3752945" y="2572417"/>
                  </a:lnTo>
                  <a:lnTo>
                    <a:pt x="3806190" y="2666048"/>
                  </a:lnTo>
                  <a:lnTo>
                    <a:pt x="3809714" y="2662714"/>
                  </a:lnTo>
                  <a:lnTo>
                    <a:pt x="3865340" y="2649379"/>
                  </a:lnTo>
                  <a:lnTo>
                    <a:pt x="3939826" y="2774537"/>
                  </a:lnTo>
                  <a:lnTo>
                    <a:pt x="3989165" y="2772632"/>
                  </a:lnTo>
                  <a:lnTo>
                    <a:pt x="4054126" y="2664333"/>
                  </a:lnTo>
                  <a:lnTo>
                    <a:pt x="4105942" y="2733866"/>
                  </a:lnTo>
                  <a:lnTo>
                    <a:pt x="4232720" y="2643949"/>
                  </a:lnTo>
                  <a:lnTo>
                    <a:pt x="4207002" y="2763203"/>
                  </a:lnTo>
                  <a:lnTo>
                    <a:pt x="4325112" y="2712339"/>
                  </a:lnTo>
                  <a:lnTo>
                    <a:pt x="4293394" y="2770441"/>
                  </a:lnTo>
                  <a:lnTo>
                    <a:pt x="4329780" y="2794540"/>
                  </a:lnTo>
                  <a:lnTo>
                    <a:pt x="4331018" y="2734532"/>
                  </a:lnTo>
                  <a:lnTo>
                    <a:pt x="4397121" y="2718149"/>
                  </a:lnTo>
                  <a:lnTo>
                    <a:pt x="4338923" y="2617946"/>
                  </a:lnTo>
                  <a:lnTo>
                    <a:pt x="4433507" y="2586419"/>
                  </a:lnTo>
                  <a:lnTo>
                    <a:pt x="4473321" y="2668143"/>
                  </a:lnTo>
                  <a:lnTo>
                    <a:pt x="4467987" y="2766155"/>
                  </a:lnTo>
                  <a:lnTo>
                    <a:pt x="4549521" y="2746058"/>
                  </a:lnTo>
                  <a:lnTo>
                    <a:pt x="4628293" y="2674144"/>
                  </a:lnTo>
                  <a:lnTo>
                    <a:pt x="4675347" y="2786824"/>
                  </a:lnTo>
                  <a:lnTo>
                    <a:pt x="4728020" y="2775299"/>
                  </a:lnTo>
                  <a:lnTo>
                    <a:pt x="4784598" y="2799683"/>
                  </a:lnTo>
                  <a:lnTo>
                    <a:pt x="4829937" y="2765298"/>
                  </a:lnTo>
                  <a:lnTo>
                    <a:pt x="4878229" y="2720626"/>
                  </a:lnTo>
                  <a:lnTo>
                    <a:pt x="4904804" y="2598611"/>
                  </a:lnTo>
                  <a:lnTo>
                    <a:pt x="5019771" y="2779966"/>
                  </a:lnTo>
                  <a:lnTo>
                    <a:pt x="5027962" y="2644140"/>
                  </a:lnTo>
                  <a:lnTo>
                    <a:pt x="5083874" y="2629757"/>
                  </a:lnTo>
                  <a:lnTo>
                    <a:pt x="5119497" y="2744915"/>
                  </a:lnTo>
                  <a:lnTo>
                    <a:pt x="5197317" y="2591276"/>
                  </a:lnTo>
                  <a:lnTo>
                    <a:pt x="5202841" y="2732437"/>
                  </a:lnTo>
                  <a:lnTo>
                    <a:pt x="5277231" y="2699576"/>
                  </a:lnTo>
                  <a:lnTo>
                    <a:pt x="5273802" y="2781110"/>
                  </a:lnTo>
                  <a:lnTo>
                    <a:pt x="5398389" y="2727865"/>
                  </a:lnTo>
                  <a:lnTo>
                    <a:pt x="5428203" y="2786348"/>
                  </a:lnTo>
                  <a:lnTo>
                    <a:pt x="5460969" y="2842546"/>
                  </a:lnTo>
                  <a:lnTo>
                    <a:pt x="5500688" y="2872740"/>
                  </a:lnTo>
                  <a:lnTo>
                    <a:pt x="5535740" y="2865691"/>
                  </a:lnTo>
                  <a:lnTo>
                    <a:pt x="5566982" y="2777204"/>
                  </a:lnTo>
                  <a:lnTo>
                    <a:pt x="5644134" y="2910459"/>
                  </a:lnTo>
                  <a:lnTo>
                    <a:pt x="5638610" y="2917889"/>
                  </a:lnTo>
                  <a:lnTo>
                    <a:pt x="5649659" y="2919984"/>
                  </a:lnTo>
                  <a:lnTo>
                    <a:pt x="5657088" y="2932748"/>
                  </a:lnTo>
                  <a:lnTo>
                    <a:pt x="5662517" y="2922461"/>
                  </a:lnTo>
                  <a:lnTo>
                    <a:pt x="5778723" y="2944845"/>
                  </a:lnTo>
                  <a:lnTo>
                    <a:pt x="5660612" y="3022854"/>
                  </a:lnTo>
                  <a:lnTo>
                    <a:pt x="5781675" y="3000851"/>
                  </a:lnTo>
                  <a:lnTo>
                    <a:pt x="5779389" y="2953131"/>
                  </a:lnTo>
                  <a:lnTo>
                    <a:pt x="5835586" y="3020473"/>
                  </a:lnTo>
                  <a:lnTo>
                    <a:pt x="5890260" y="3056001"/>
                  </a:lnTo>
                  <a:lnTo>
                    <a:pt x="5937980" y="2973896"/>
                  </a:lnTo>
                  <a:lnTo>
                    <a:pt x="5989796" y="2964466"/>
                  </a:lnTo>
                  <a:lnTo>
                    <a:pt x="6043422" y="2964085"/>
                  </a:lnTo>
                  <a:lnTo>
                    <a:pt x="6100667" y="3137249"/>
                  </a:lnTo>
                  <a:lnTo>
                    <a:pt x="6154865" y="3053239"/>
                  </a:lnTo>
                  <a:lnTo>
                    <a:pt x="6206585" y="3067812"/>
                  </a:lnTo>
                  <a:lnTo>
                    <a:pt x="6266021" y="3155156"/>
                  </a:lnTo>
                  <a:lnTo>
                    <a:pt x="6308122" y="3008757"/>
                  </a:lnTo>
                  <a:lnTo>
                    <a:pt x="6352604" y="2945225"/>
                  </a:lnTo>
                  <a:lnTo>
                    <a:pt x="6431852" y="2983802"/>
                  </a:lnTo>
                  <a:lnTo>
                    <a:pt x="6442805" y="3129153"/>
                  </a:lnTo>
                  <a:lnTo>
                    <a:pt x="6550343" y="3018949"/>
                  </a:lnTo>
                  <a:lnTo>
                    <a:pt x="6579394" y="3141059"/>
                  </a:lnTo>
                  <a:lnTo>
                    <a:pt x="6610446" y="3038094"/>
                  </a:lnTo>
                  <a:lnTo>
                    <a:pt x="6685217" y="3083338"/>
                  </a:lnTo>
                  <a:lnTo>
                    <a:pt x="6709124" y="3018187"/>
                  </a:lnTo>
                  <a:lnTo>
                    <a:pt x="6730365" y="3103912"/>
                  </a:lnTo>
                  <a:lnTo>
                    <a:pt x="6825139" y="3023140"/>
                  </a:lnTo>
                  <a:lnTo>
                    <a:pt x="6762941" y="3139821"/>
                  </a:lnTo>
                  <a:lnTo>
                    <a:pt x="6843522" y="3145822"/>
                  </a:lnTo>
                  <a:lnTo>
                    <a:pt x="6879812" y="3212592"/>
                  </a:lnTo>
                  <a:lnTo>
                    <a:pt x="6966680" y="3236405"/>
                  </a:lnTo>
                  <a:lnTo>
                    <a:pt x="6997732" y="3128963"/>
                  </a:lnTo>
                  <a:lnTo>
                    <a:pt x="7064693" y="3150013"/>
                  </a:lnTo>
                  <a:lnTo>
                    <a:pt x="7140035" y="3183350"/>
                  </a:lnTo>
                  <a:lnTo>
                    <a:pt x="7155847" y="3057144"/>
                  </a:lnTo>
                  <a:lnTo>
                    <a:pt x="7217569" y="3106007"/>
                  </a:lnTo>
                  <a:lnTo>
                    <a:pt x="7228523" y="3169539"/>
                  </a:lnTo>
                  <a:lnTo>
                    <a:pt x="7318724" y="3154395"/>
                  </a:lnTo>
                  <a:lnTo>
                    <a:pt x="7378636" y="3157252"/>
                  </a:lnTo>
                  <a:lnTo>
                    <a:pt x="7376541" y="3102007"/>
                  </a:lnTo>
                  <a:lnTo>
                    <a:pt x="7427881" y="3095435"/>
                  </a:lnTo>
                  <a:lnTo>
                    <a:pt x="7499414" y="3116771"/>
                  </a:lnTo>
                  <a:lnTo>
                    <a:pt x="7593616" y="3121247"/>
                  </a:lnTo>
                  <a:lnTo>
                    <a:pt x="7505319" y="2943701"/>
                  </a:lnTo>
                  <a:lnTo>
                    <a:pt x="7592283" y="2956465"/>
                  </a:lnTo>
                  <a:lnTo>
                    <a:pt x="7650576" y="2972467"/>
                  </a:lnTo>
                  <a:lnTo>
                    <a:pt x="7683627" y="2913126"/>
                  </a:lnTo>
                  <a:lnTo>
                    <a:pt x="7722394" y="2943511"/>
                  </a:lnTo>
                  <a:lnTo>
                    <a:pt x="7827169" y="2891409"/>
                  </a:lnTo>
                  <a:lnTo>
                    <a:pt x="7635907" y="2838545"/>
                  </a:lnTo>
                  <a:lnTo>
                    <a:pt x="7828121" y="2805779"/>
                  </a:lnTo>
                  <a:lnTo>
                    <a:pt x="7762494" y="2701671"/>
                  </a:lnTo>
                  <a:lnTo>
                    <a:pt x="7867936" y="2752725"/>
                  </a:lnTo>
                  <a:lnTo>
                    <a:pt x="7875556" y="2668810"/>
                  </a:lnTo>
                  <a:lnTo>
                    <a:pt x="7986999" y="2623185"/>
                  </a:lnTo>
                  <a:lnTo>
                    <a:pt x="7884605" y="2554129"/>
                  </a:lnTo>
                  <a:lnTo>
                    <a:pt x="7876699" y="2488787"/>
                  </a:lnTo>
                  <a:lnTo>
                    <a:pt x="7953280" y="2466975"/>
                  </a:lnTo>
                  <a:lnTo>
                    <a:pt x="7977569" y="2409825"/>
                  </a:lnTo>
                  <a:lnTo>
                    <a:pt x="8022622" y="2384393"/>
                  </a:lnTo>
                  <a:lnTo>
                    <a:pt x="8080344" y="2448020"/>
                  </a:lnTo>
                  <a:lnTo>
                    <a:pt x="8132636" y="2333816"/>
                  </a:lnTo>
                  <a:lnTo>
                    <a:pt x="8196167" y="2343055"/>
                  </a:lnTo>
                  <a:lnTo>
                    <a:pt x="8258556" y="2300288"/>
                  </a:lnTo>
                  <a:lnTo>
                    <a:pt x="8308181" y="2355723"/>
                  </a:lnTo>
                  <a:lnTo>
                    <a:pt x="8366760" y="2337626"/>
                  </a:lnTo>
                  <a:lnTo>
                    <a:pt x="8412670" y="2463165"/>
                  </a:lnTo>
                  <a:lnTo>
                    <a:pt x="8475059" y="2357533"/>
                  </a:lnTo>
                  <a:lnTo>
                    <a:pt x="8535638" y="2278952"/>
                  </a:lnTo>
                  <a:lnTo>
                    <a:pt x="8584216" y="2373249"/>
                  </a:lnTo>
                  <a:lnTo>
                    <a:pt x="8644985" y="2288096"/>
                  </a:lnTo>
                  <a:lnTo>
                    <a:pt x="8691372" y="2334863"/>
                  </a:lnTo>
                  <a:lnTo>
                    <a:pt x="8765000" y="2487359"/>
                  </a:lnTo>
                  <a:lnTo>
                    <a:pt x="8790623" y="2265712"/>
                  </a:lnTo>
                  <a:lnTo>
                    <a:pt x="8843010" y="2436876"/>
                  </a:lnTo>
                  <a:lnTo>
                    <a:pt x="8906446" y="2404396"/>
                  </a:lnTo>
                  <a:lnTo>
                    <a:pt x="8903303" y="2516981"/>
                  </a:lnTo>
                  <a:lnTo>
                    <a:pt x="9019413" y="2434400"/>
                  </a:lnTo>
                  <a:lnTo>
                    <a:pt x="9086564" y="2541270"/>
                  </a:lnTo>
                  <a:lnTo>
                    <a:pt x="9122759" y="2414016"/>
                  </a:lnTo>
                  <a:lnTo>
                    <a:pt x="9184100" y="2409063"/>
                  </a:lnTo>
                  <a:lnTo>
                    <a:pt x="9242393" y="2520410"/>
                  </a:lnTo>
                  <a:lnTo>
                    <a:pt x="9300972" y="2389537"/>
                  </a:lnTo>
                  <a:lnTo>
                    <a:pt x="9385268" y="2362772"/>
                  </a:lnTo>
                  <a:lnTo>
                    <a:pt x="9360027" y="2527268"/>
                  </a:lnTo>
                  <a:lnTo>
                    <a:pt x="9484805" y="2473833"/>
                  </a:lnTo>
                  <a:lnTo>
                    <a:pt x="9536430" y="2477453"/>
                  </a:lnTo>
                  <a:lnTo>
                    <a:pt x="9564148" y="2533269"/>
                  </a:lnTo>
                  <a:lnTo>
                    <a:pt x="9616726" y="2570798"/>
                  </a:lnTo>
                  <a:lnTo>
                    <a:pt x="9686258" y="2645759"/>
                  </a:lnTo>
                  <a:lnTo>
                    <a:pt x="9744646" y="2589943"/>
                  </a:lnTo>
                  <a:lnTo>
                    <a:pt x="9790462" y="2561463"/>
                  </a:lnTo>
                  <a:lnTo>
                    <a:pt x="9787985" y="2486025"/>
                  </a:lnTo>
                  <a:lnTo>
                    <a:pt x="9823418" y="2454212"/>
                  </a:lnTo>
                  <a:lnTo>
                    <a:pt x="9873805" y="2365724"/>
                  </a:lnTo>
                  <a:lnTo>
                    <a:pt x="9928956" y="2379726"/>
                  </a:lnTo>
                  <a:lnTo>
                    <a:pt x="9994202" y="2399348"/>
                  </a:lnTo>
                  <a:lnTo>
                    <a:pt x="10029634" y="2462498"/>
                  </a:lnTo>
                  <a:lnTo>
                    <a:pt x="10074212" y="2483930"/>
                  </a:lnTo>
                  <a:lnTo>
                    <a:pt x="10165461" y="2416397"/>
                  </a:lnTo>
                  <a:lnTo>
                    <a:pt x="10164699" y="2471547"/>
                  </a:lnTo>
                  <a:lnTo>
                    <a:pt x="10189178" y="2433828"/>
                  </a:lnTo>
                  <a:lnTo>
                    <a:pt x="10224897" y="2398109"/>
                  </a:lnTo>
                  <a:lnTo>
                    <a:pt x="10310051" y="2404015"/>
                  </a:lnTo>
                  <a:lnTo>
                    <a:pt x="10311765" y="2411349"/>
                  </a:lnTo>
                  <a:lnTo>
                    <a:pt x="10438734" y="2362391"/>
                  </a:lnTo>
                  <a:lnTo>
                    <a:pt x="10370820" y="2528888"/>
                  </a:lnTo>
                  <a:lnTo>
                    <a:pt x="10491883" y="2405539"/>
                  </a:lnTo>
                  <a:lnTo>
                    <a:pt x="10486359" y="2384774"/>
                  </a:lnTo>
                  <a:lnTo>
                    <a:pt x="10622852" y="2485263"/>
                  </a:lnTo>
                  <a:lnTo>
                    <a:pt x="10613897" y="2343055"/>
                  </a:lnTo>
                  <a:lnTo>
                    <a:pt x="10724769" y="2486692"/>
                  </a:lnTo>
                  <a:lnTo>
                    <a:pt x="10763250" y="2421350"/>
                  </a:lnTo>
                  <a:lnTo>
                    <a:pt x="10827830" y="2432018"/>
                  </a:lnTo>
                  <a:lnTo>
                    <a:pt x="10874026" y="2385536"/>
                  </a:lnTo>
                  <a:lnTo>
                    <a:pt x="10932795" y="2380202"/>
                  </a:lnTo>
                  <a:lnTo>
                    <a:pt x="10960228" y="2225421"/>
                  </a:lnTo>
                  <a:lnTo>
                    <a:pt x="10986992" y="2382869"/>
                  </a:lnTo>
                  <a:lnTo>
                    <a:pt x="11046809" y="2397062"/>
                  </a:lnTo>
                  <a:lnTo>
                    <a:pt x="11124534" y="2365534"/>
                  </a:lnTo>
                  <a:lnTo>
                    <a:pt x="11182445" y="2383155"/>
                  </a:lnTo>
                  <a:lnTo>
                    <a:pt x="11250454" y="2375249"/>
                  </a:lnTo>
                  <a:lnTo>
                    <a:pt x="11303508" y="2327243"/>
                  </a:lnTo>
                  <a:lnTo>
                    <a:pt x="11356467" y="2424494"/>
                  </a:lnTo>
                  <a:lnTo>
                    <a:pt x="11372564" y="2435924"/>
                  </a:lnTo>
                  <a:lnTo>
                    <a:pt x="11372564" y="0"/>
                  </a:lnTo>
                  <a:lnTo>
                    <a:pt x="0" y="0"/>
                  </a:lnTo>
                  <a:close/>
                  <a:moveTo>
                    <a:pt x="7624191" y="2067973"/>
                  </a:moveTo>
                  <a:lnTo>
                    <a:pt x="7586187" y="1943672"/>
                  </a:lnTo>
                  <a:lnTo>
                    <a:pt x="7601522" y="1930813"/>
                  </a:lnTo>
                  <a:lnTo>
                    <a:pt x="7634669" y="1941100"/>
                  </a:lnTo>
                  <a:lnTo>
                    <a:pt x="7624191" y="2067973"/>
                  </a:lnTo>
                  <a:close/>
                </a:path>
              </a:pathLst>
            </a:custGeom>
            <a:solidFill>
              <a:srgbClr val="F5F5F0"/>
            </a:solidFill>
            <a:ln w="9525" cap="flat">
              <a:noFill/>
              <a:prstDash val="solid"/>
              <a:miter/>
            </a:ln>
            <a:effectLst>
              <a:outerShdw blurRad="88900" dist="50800" dir="5400000" algn="ctr" rotWithShape="0">
                <a:srgbClr val="000000">
                  <a:alpha val="75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05" name="Rechteck 104">
              <a:extLst>
                <a:ext uri="{FF2B5EF4-FFF2-40B4-BE49-F238E27FC236}">
                  <a16:creationId xmlns:a16="http://schemas.microsoft.com/office/drawing/2014/main" id="{E6B86257-FF62-4AE9-88B3-C4EF68A3A85D}"/>
                </a:ext>
              </a:extLst>
            </p:cNvPr>
            <p:cNvSpPr/>
            <p:nvPr/>
          </p:nvSpPr>
          <p:spPr bwMode="auto">
            <a:xfrm>
              <a:off x="1160115" y="3431774"/>
              <a:ext cx="3198525" cy="51906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400" b="1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atenleck der deutschen </a:t>
              </a:r>
              <a:br>
                <a:rPr lang="de-DE" sz="1400" b="1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</a:br>
              <a:r>
                <a:rPr lang="de-DE" sz="1400" b="1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IoT-Bank bedroht Maschinenbau </a:t>
              </a:r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28E252D-F43C-461A-826D-B9A2F2FB4A08}"/>
              </a:ext>
            </a:extLst>
          </p:cNvPr>
          <p:cNvGrpSpPr/>
          <p:nvPr/>
        </p:nvGrpSpPr>
        <p:grpSpPr>
          <a:xfrm>
            <a:off x="6697009" y="4640128"/>
            <a:ext cx="4355457" cy="1765044"/>
            <a:chOff x="6697009" y="4640128"/>
            <a:chExt cx="4355457" cy="1765044"/>
          </a:xfrm>
        </p:grpSpPr>
        <p:sp>
          <p:nvSpPr>
            <p:cNvPr id="95" name="Freeform 79">
              <a:extLst>
                <a:ext uri="{FF2B5EF4-FFF2-40B4-BE49-F238E27FC236}">
                  <a16:creationId xmlns:a16="http://schemas.microsoft.com/office/drawing/2014/main" id="{5B385204-F5A7-4AF8-86C7-EA2B5071EE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97009" y="4640128"/>
              <a:ext cx="4355457" cy="1765044"/>
            </a:xfrm>
            <a:custGeom>
              <a:avLst/>
              <a:gdLst>
                <a:gd name="T0" fmla="*/ 283 w 7680"/>
                <a:gd name="T1" fmla="*/ 2552 h 3188"/>
                <a:gd name="T2" fmla="*/ 397 w 7680"/>
                <a:gd name="T3" fmla="*/ 2764 h 3188"/>
                <a:gd name="T4" fmla="*/ 539 w 7680"/>
                <a:gd name="T5" fmla="*/ 2797 h 3188"/>
                <a:gd name="T6" fmla="*/ 722 w 7680"/>
                <a:gd name="T7" fmla="*/ 2771 h 3188"/>
                <a:gd name="T8" fmla="*/ 950 w 7680"/>
                <a:gd name="T9" fmla="*/ 2803 h 3188"/>
                <a:gd name="T10" fmla="*/ 1187 w 7680"/>
                <a:gd name="T11" fmla="*/ 2713 h 3188"/>
                <a:gd name="T12" fmla="*/ 1344 w 7680"/>
                <a:gd name="T13" fmla="*/ 2797 h 3188"/>
                <a:gd name="T14" fmla="*/ 1455 w 7680"/>
                <a:gd name="T15" fmla="*/ 2724 h 3188"/>
                <a:gd name="T16" fmla="*/ 1685 w 7680"/>
                <a:gd name="T17" fmla="*/ 2867 h 3188"/>
                <a:gd name="T18" fmla="*/ 1885 w 7680"/>
                <a:gd name="T19" fmla="*/ 2948 h 3188"/>
                <a:gd name="T20" fmla="*/ 2078 w 7680"/>
                <a:gd name="T21" fmla="*/ 2940 h 3188"/>
                <a:gd name="T22" fmla="*/ 2337 w 7680"/>
                <a:gd name="T23" fmla="*/ 3067 h 3188"/>
                <a:gd name="T24" fmla="*/ 2575 w 7680"/>
                <a:gd name="T25" fmla="*/ 3148 h 3188"/>
                <a:gd name="T26" fmla="*/ 2764 w 7680"/>
                <a:gd name="T27" fmla="*/ 3062 h 3188"/>
                <a:gd name="T28" fmla="*/ 3001 w 7680"/>
                <a:gd name="T29" fmla="*/ 2900 h 3188"/>
                <a:gd name="T30" fmla="*/ 3306 w 7680"/>
                <a:gd name="T31" fmla="*/ 2892 h 3188"/>
                <a:gd name="T32" fmla="*/ 3459 w 7680"/>
                <a:gd name="T33" fmla="*/ 2946 h 3188"/>
                <a:gd name="T34" fmla="*/ 3734 w 7680"/>
                <a:gd name="T35" fmla="*/ 2980 h 3188"/>
                <a:gd name="T36" fmla="*/ 3959 w 7680"/>
                <a:gd name="T37" fmla="*/ 3062 h 3188"/>
                <a:gd name="T38" fmla="*/ 4229 w 7680"/>
                <a:gd name="T39" fmla="*/ 3096 h 3188"/>
                <a:gd name="T40" fmla="*/ 4438 w 7680"/>
                <a:gd name="T41" fmla="*/ 2972 h 3188"/>
                <a:gd name="T42" fmla="*/ 4676 w 7680"/>
                <a:gd name="T43" fmla="*/ 2850 h 3188"/>
                <a:gd name="T44" fmla="*/ 4982 w 7680"/>
                <a:gd name="T45" fmla="*/ 2924 h 3188"/>
                <a:gd name="T46" fmla="*/ 5162 w 7680"/>
                <a:gd name="T47" fmla="*/ 2906 h 3188"/>
                <a:gd name="T48" fmla="*/ 5471 w 7680"/>
                <a:gd name="T49" fmla="*/ 2850 h 3188"/>
                <a:gd name="T50" fmla="*/ 5773 w 7680"/>
                <a:gd name="T51" fmla="*/ 2856 h 3188"/>
                <a:gd name="T52" fmla="*/ 6046 w 7680"/>
                <a:gd name="T53" fmla="*/ 2925 h 3188"/>
                <a:gd name="T54" fmla="*/ 6291 w 7680"/>
                <a:gd name="T55" fmla="*/ 3004 h 3188"/>
                <a:gd name="T56" fmla="*/ 6583 w 7680"/>
                <a:gd name="T57" fmla="*/ 3035 h 3188"/>
                <a:gd name="T58" fmla="*/ 6794 w 7680"/>
                <a:gd name="T59" fmla="*/ 2938 h 3188"/>
                <a:gd name="T60" fmla="*/ 7040 w 7680"/>
                <a:gd name="T61" fmla="*/ 2971 h 3188"/>
                <a:gd name="T62" fmla="*/ 7315 w 7680"/>
                <a:gd name="T63" fmla="*/ 2983 h 3188"/>
                <a:gd name="T64" fmla="*/ 7587 w 7680"/>
                <a:gd name="T65" fmla="*/ 2925 h 3188"/>
                <a:gd name="T66" fmla="*/ 7526 w 7680"/>
                <a:gd name="T67" fmla="*/ 417 h 3188"/>
                <a:gd name="T68" fmla="*/ 7246 w 7680"/>
                <a:gd name="T69" fmla="*/ 472 h 3188"/>
                <a:gd name="T70" fmla="*/ 6958 w 7680"/>
                <a:gd name="T71" fmla="*/ 467 h 3188"/>
                <a:gd name="T72" fmla="*/ 6741 w 7680"/>
                <a:gd name="T73" fmla="*/ 502 h 3188"/>
                <a:gd name="T74" fmla="*/ 6535 w 7680"/>
                <a:gd name="T75" fmla="*/ 535 h 3188"/>
                <a:gd name="T76" fmla="*/ 6271 w 7680"/>
                <a:gd name="T77" fmla="*/ 486 h 3188"/>
                <a:gd name="T78" fmla="*/ 5963 w 7680"/>
                <a:gd name="T79" fmla="*/ 504 h 3188"/>
                <a:gd name="T80" fmla="*/ 5713 w 7680"/>
                <a:gd name="T81" fmla="*/ 486 h 3188"/>
                <a:gd name="T82" fmla="*/ 5427 w 7680"/>
                <a:gd name="T83" fmla="*/ 504 h 3188"/>
                <a:gd name="T84" fmla="*/ 5147 w 7680"/>
                <a:gd name="T85" fmla="*/ 459 h 3188"/>
                <a:gd name="T86" fmla="*/ 4845 w 7680"/>
                <a:gd name="T87" fmla="*/ 469 h 3188"/>
                <a:gd name="T88" fmla="*/ 4613 w 7680"/>
                <a:gd name="T89" fmla="*/ 425 h 3188"/>
                <a:gd name="T90" fmla="*/ 4358 w 7680"/>
                <a:gd name="T91" fmla="*/ 440 h 3188"/>
                <a:gd name="T92" fmla="*/ 4115 w 7680"/>
                <a:gd name="T93" fmla="*/ 420 h 3188"/>
                <a:gd name="T94" fmla="*/ 3832 w 7680"/>
                <a:gd name="T95" fmla="*/ 467 h 3188"/>
                <a:gd name="T96" fmla="*/ 3554 w 7680"/>
                <a:gd name="T97" fmla="*/ 469 h 3188"/>
                <a:gd name="T98" fmla="*/ 3300 w 7680"/>
                <a:gd name="T99" fmla="*/ 462 h 3188"/>
                <a:gd name="T100" fmla="*/ 3022 w 7680"/>
                <a:gd name="T101" fmla="*/ 428 h 3188"/>
                <a:gd name="T102" fmla="*/ 2747 w 7680"/>
                <a:gd name="T103" fmla="*/ 417 h 3188"/>
                <a:gd name="T104" fmla="*/ 2465 w 7680"/>
                <a:gd name="T105" fmla="*/ 396 h 3188"/>
                <a:gd name="T106" fmla="*/ 2184 w 7680"/>
                <a:gd name="T107" fmla="*/ 377 h 3188"/>
                <a:gd name="T108" fmla="*/ 1923 w 7680"/>
                <a:gd name="T109" fmla="*/ 301 h 3188"/>
                <a:gd name="T110" fmla="*/ 1648 w 7680"/>
                <a:gd name="T111" fmla="*/ 285 h 3188"/>
                <a:gd name="T112" fmla="*/ 1439 w 7680"/>
                <a:gd name="T113" fmla="*/ 206 h 3188"/>
                <a:gd name="T114" fmla="*/ 1235 w 7680"/>
                <a:gd name="T115" fmla="*/ 195 h 3188"/>
                <a:gd name="T116" fmla="*/ 975 w 7680"/>
                <a:gd name="T117" fmla="*/ 106 h 3188"/>
                <a:gd name="T118" fmla="*/ 727 w 7680"/>
                <a:gd name="T119" fmla="*/ 90 h 3188"/>
                <a:gd name="T120" fmla="*/ 434 w 7680"/>
                <a:gd name="T121" fmla="*/ 75 h 3188"/>
                <a:gd name="T122" fmla="*/ 151 w 7680"/>
                <a:gd name="T123" fmla="*/ 50 h 3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680" h="3188">
                  <a:moveTo>
                    <a:pt x="10" y="2518"/>
                  </a:moveTo>
                  <a:lnTo>
                    <a:pt x="40" y="2505"/>
                  </a:lnTo>
                  <a:lnTo>
                    <a:pt x="19" y="2565"/>
                  </a:lnTo>
                  <a:lnTo>
                    <a:pt x="55" y="2524"/>
                  </a:lnTo>
                  <a:lnTo>
                    <a:pt x="68" y="2552"/>
                  </a:lnTo>
                  <a:lnTo>
                    <a:pt x="80" y="2532"/>
                  </a:lnTo>
                  <a:lnTo>
                    <a:pt x="98" y="2529"/>
                  </a:lnTo>
                  <a:lnTo>
                    <a:pt x="114" y="2540"/>
                  </a:lnTo>
                  <a:lnTo>
                    <a:pt x="129" y="2553"/>
                  </a:lnTo>
                  <a:lnTo>
                    <a:pt x="145" y="2524"/>
                  </a:lnTo>
                  <a:lnTo>
                    <a:pt x="166" y="2560"/>
                  </a:lnTo>
                  <a:lnTo>
                    <a:pt x="172" y="2505"/>
                  </a:lnTo>
                  <a:lnTo>
                    <a:pt x="190" y="2510"/>
                  </a:lnTo>
                  <a:lnTo>
                    <a:pt x="212" y="2548"/>
                  </a:lnTo>
                  <a:lnTo>
                    <a:pt x="228" y="2558"/>
                  </a:lnTo>
                  <a:lnTo>
                    <a:pt x="240" y="2528"/>
                  </a:lnTo>
                  <a:lnTo>
                    <a:pt x="262" y="2528"/>
                  </a:lnTo>
                  <a:lnTo>
                    <a:pt x="235" y="2569"/>
                  </a:lnTo>
                  <a:lnTo>
                    <a:pt x="283" y="2552"/>
                  </a:lnTo>
                  <a:lnTo>
                    <a:pt x="285" y="2560"/>
                  </a:lnTo>
                  <a:lnTo>
                    <a:pt x="296" y="2568"/>
                  </a:lnTo>
                  <a:lnTo>
                    <a:pt x="294" y="2595"/>
                  </a:lnTo>
                  <a:lnTo>
                    <a:pt x="314" y="2582"/>
                  </a:lnTo>
                  <a:lnTo>
                    <a:pt x="327" y="2579"/>
                  </a:lnTo>
                  <a:lnTo>
                    <a:pt x="330" y="2595"/>
                  </a:lnTo>
                  <a:lnTo>
                    <a:pt x="344" y="2611"/>
                  </a:lnTo>
                  <a:lnTo>
                    <a:pt x="359" y="2624"/>
                  </a:lnTo>
                  <a:lnTo>
                    <a:pt x="315" y="2644"/>
                  </a:lnTo>
                  <a:lnTo>
                    <a:pt x="304" y="2660"/>
                  </a:lnTo>
                  <a:lnTo>
                    <a:pt x="306" y="2676"/>
                  </a:lnTo>
                  <a:lnTo>
                    <a:pt x="354" y="2689"/>
                  </a:lnTo>
                  <a:lnTo>
                    <a:pt x="330" y="2706"/>
                  </a:lnTo>
                  <a:lnTo>
                    <a:pt x="338" y="2722"/>
                  </a:lnTo>
                  <a:lnTo>
                    <a:pt x="336" y="2739"/>
                  </a:lnTo>
                  <a:lnTo>
                    <a:pt x="352" y="2748"/>
                  </a:lnTo>
                  <a:lnTo>
                    <a:pt x="357" y="2760"/>
                  </a:lnTo>
                  <a:lnTo>
                    <a:pt x="380" y="2760"/>
                  </a:lnTo>
                  <a:lnTo>
                    <a:pt x="397" y="2764"/>
                  </a:lnTo>
                  <a:lnTo>
                    <a:pt x="392" y="2801"/>
                  </a:lnTo>
                  <a:lnTo>
                    <a:pt x="426" y="2793"/>
                  </a:lnTo>
                  <a:lnTo>
                    <a:pt x="396" y="2834"/>
                  </a:lnTo>
                  <a:lnTo>
                    <a:pt x="404" y="2848"/>
                  </a:lnTo>
                  <a:lnTo>
                    <a:pt x="425" y="2872"/>
                  </a:lnTo>
                  <a:lnTo>
                    <a:pt x="437" y="2840"/>
                  </a:lnTo>
                  <a:lnTo>
                    <a:pt x="462" y="2847"/>
                  </a:lnTo>
                  <a:lnTo>
                    <a:pt x="474" y="2838"/>
                  </a:lnTo>
                  <a:lnTo>
                    <a:pt x="476" y="2805"/>
                  </a:lnTo>
                  <a:lnTo>
                    <a:pt x="478" y="2835"/>
                  </a:lnTo>
                  <a:lnTo>
                    <a:pt x="500" y="2835"/>
                  </a:lnTo>
                  <a:lnTo>
                    <a:pt x="481" y="2871"/>
                  </a:lnTo>
                  <a:lnTo>
                    <a:pt x="518" y="2859"/>
                  </a:lnTo>
                  <a:lnTo>
                    <a:pt x="521" y="2869"/>
                  </a:lnTo>
                  <a:lnTo>
                    <a:pt x="553" y="2856"/>
                  </a:lnTo>
                  <a:lnTo>
                    <a:pt x="516" y="2842"/>
                  </a:lnTo>
                  <a:lnTo>
                    <a:pt x="550" y="2822"/>
                  </a:lnTo>
                  <a:lnTo>
                    <a:pt x="495" y="2805"/>
                  </a:lnTo>
                  <a:lnTo>
                    <a:pt x="539" y="2797"/>
                  </a:lnTo>
                  <a:lnTo>
                    <a:pt x="540" y="2780"/>
                  </a:lnTo>
                  <a:lnTo>
                    <a:pt x="534" y="2761"/>
                  </a:lnTo>
                  <a:lnTo>
                    <a:pt x="555" y="2763"/>
                  </a:lnTo>
                  <a:lnTo>
                    <a:pt x="545" y="2808"/>
                  </a:lnTo>
                  <a:lnTo>
                    <a:pt x="581" y="2785"/>
                  </a:lnTo>
                  <a:lnTo>
                    <a:pt x="590" y="2780"/>
                  </a:lnTo>
                  <a:lnTo>
                    <a:pt x="610" y="2809"/>
                  </a:lnTo>
                  <a:lnTo>
                    <a:pt x="630" y="2805"/>
                  </a:lnTo>
                  <a:lnTo>
                    <a:pt x="629" y="2771"/>
                  </a:lnTo>
                  <a:lnTo>
                    <a:pt x="663" y="2780"/>
                  </a:lnTo>
                  <a:lnTo>
                    <a:pt x="638" y="2727"/>
                  </a:lnTo>
                  <a:lnTo>
                    <a:pt x="656" y="2722"/>
                  </a:lnTo>
                  <a:lnTo>
                    <a:pt x="663" y="2703"/>
                  </a:lnTo>
                  <a:lnTo>
                    <a:pt x="692" y="2739"/>
                  </a:lnTo>
                  <a:lnTo>
                    <a:pt x="729" y="2721"/>
                  </a:lnTo>
                  <a:lnTo>
                    <a:pt x="675" y="2748"/>
                  </a:lnTo>
                  <a:lnTo>
                    <a:pt x="725" y="2751"/>
                  </a:lnTo>
                  <a:lnTo>
                    <a:pt x="735" y="2766"/>
                  </a:lnTo>
                  <a:lnTo>
                    <a:pt x="722" y="2771"/>
                  </a:lnTo>
                  <a:lnTo>
                    <a:pt x="746" y="2800"/>
                  </a:lnTo>
                  <a:lnTo>
                    <a:pt x="751" y="2764"/>
                  </a:lnTo>
                  <a:lnTo>
                    <a:pt x="777" y="2798"/>
                  </a:lnTo>
                  <a:lnTo>
                    <a:pt x="793" y="2793"/>
                  </a:lnTo>
                  <a:lnTo>
                    <a:pt x="804" y="2763"/>
                  </a:lnTo>
                  <a:lnTo>
                    <a:pt x="825" y="2758"/>
                  </a:lnTo>
                  <a:lnTo>
                    <a:pt x="825" y="2792"/>
                  </a:lnTo>
                  <a:lnTo>
                    <a:pt x="859" y="2774"/>
                  </a:lnTo>
                  <a:lnTo>
                    <a:pt x="872" y="2782"/>
                  </a:lnTo>
                  <a:lnTo>
                    <a:pt x="880" y="2800"/>
                  </a:lnTo>
                  <a:lnTo>
                    <a:pt x="888" y="2814"/>
                  </a:lnTo>
                  <a:lnTo>
                    <a:pt x="886" y="2832"/>
                  </a:lnTo>
                  <a:lnTo>
                    <a:pt x="865" y="2861"/>
                  </a:lnTo>
                  <a:lnTo>
                    <a:pt x="896" y="2853"/>
                  </a:lnTo>
                  <a:lnTo>
                    <a:pt x="899" y="2842"/>
                  </a:lnTo>
                  <a:lnTo>
                    <a:pt x="894" y="2816"/>
                  </a:lnTo>
                  <a:lnTo>
                    <a:pt x="912" y="2801"/>
                  </a:lnTo>
                  <a:lnTo>
                    <a:pt x="931" y="2800"/>
                  </a:lnTo>
                  <a:lnTo>
                    <a:pt x="950" y="2803"/>
                  </a:lnTo>
                  <a:lnTo>
                    <a:pt x="965" y="2771"/>
                  </a:lnTo>
                  <a:lnTo>
                    <a:pt x="984" y="2785"/>
                  </a:lnTo>
                  <a:lnTo>
                    <a:pt x="1007" y="2805"/>
                  </a:lnTo>
                  <a:lnTo>
                    <a:pt x="1007" y="2766"/>
                  </a:lnTo>
                  <a:lnTo>
                    <a:pt x="1039" y="2795"/>
                  </a:lnTo>
                  <a:lnTo>
                    <a:pt x="1052" y="2790"/>
                  </a:lnTo>
                  <a:lnTo>
                    <a:pt x="1052" y="2739"/>
                  </a:lnTo>
                  <a:lnTo>
                    <a:pt x="1068" y="2742"/>
                  </a:lnTo>
                  <a:lnTo>
                    <a:pt x="1090" y="2745"/>
                  </a:lnTo>
                  <a:lnTo>
                    <a:pt x="1105" y="2766"/>
                  </a:lnTo>
                  <a:lnTo>
                    <a:pt x="1118" y="2797"/>
                  </a:lnTo>
                  <a:lnTo>
                    <a:pt x="1140" y="2787"/>
                  </a:lnTo>
                  <a:lnTo>
                    <a:pt x="1163" y="2771"/>
                  </a:lnTo>
                  <a:lnTo>
                    <a:pt x="1143" y="2745"/>
                  </a:lnTo>
                  <a:lnTo>
                    <a:pt x="1177" y="2740"/>
                  </a:lnTo>
                  <a:lnTo>
                    <a:pt x="1188" y="2735"/>
                  </a:lnTo>
                  <a:lnTo>
                    <a:pt x="1145" y="2708"/>
                  </a:lnTo>
                  <a:lnTo>
                    <a:pt x="1179" y="2703"/>
                  </a:lnTo>
                  <a:lnTo>
                    <a:pt x="1187" y="2713"/>
                  </a:lnTo>
                  <a:lnTo>
                    <a:pt x="1211" y="2724"/>
                  </a:lnTo>
                  <a:lnTo>
                    <a:pt x="1188" y="2735"/>
                  </a:lnTo>
                  <a:lnTo>
                    <a:pt x="1193" y="2739"/>
                  </a:lnTo>
                  <a:lnTo>
                    <a:pt x="1177" y="2740"/>
                  </a:lnTo>
                  <a:lnTo>
                    <a:pt x="1158" y="2750"/>
                  </a:lnTo>
                  <a:lnTo>
                    <a:pt x="1203" y="2758"/>
                  </a:lnTo>
                  <a:lnTo>
                    <a:pt x="1182" y="2784"/>
                  </a:lnTo>
                  <a:lnTo>
                    <a:pt x="1195" y="2811"/>
                  </a:lnTo>
                  <a:lnTo>
                    <a:pt x="1219" y="2798"/>
                  </a:lnTo>
                  <a:lnTo>
                    <a:pt x="1253" y="2772"/>
                  </a:lnTo>
                  <a:lnTo>
                    <a:pt x="1248" y="2809"/>
                  </a:lnTo>
                  <a:lnTo>
                    <a:pt x="1262" y="2816"/>
                  </a:lnTo>
                  <a:lnTo>
                    <a:pt x="1267" y="2834"/>
                  </a:lnTo>
                  <a:lnTo>
                    <a:pt x="1286" y="2832"/>
                  </a:lnTo>
                  <a:lnTo>
                    <a:pt x="1309" y="2834"/>
                  </a:lnTo>
                  <a:lnTo>
                    <a:pt x="1312" y="2818"/>
                  </a:lnTo>
                  <a:lnTo>
                    <a:pt x="1299" y="2787"/>
                  </a:lnTo>
                  <a:lnTo>
                    <a:pt x="1317" y="2780"/>
                  </a:lnTo>
                  <a:lnTo>
                    <a:pt x="1344" y="2797"/>
                  </a:lnTo>
                  <a:lnTo>
                    <a:pt x="1351" y="2776"/>
                  </a:lnTo>
                  <a:lnTo>
                    <a:pt x="1365" y="2785"/>
                  </a:lnTo>
                  <a:lnTo>
                    <a:pt x="1375" y="2784"/>
                  </a:lnTo>
                  <a:lnTo>
                    <a:pt x="1377" y="2760"/>
                  </a:lnTo>
                  <a:lnTo>
                    <a:pt x="1393" y="2760"/>
                  </a:lnTo>
                  <a:lnTo>
                    <a:pt x="1415" y="2776"/>
                  </a:lnTo>
                  <a:lnTo>
                    <a:pt x="1375" y="2784"/>
                  </a:lnTo>
                  <a:lnTo>
                    <a:pt x="1375" y="2792"/>
                  </a:lnTo>
                  <a:lnTo>
                    <a:pt x="1407" y="2806"/>
                  </a:lnTo>
                  <a:lnTo>
                    <a:pt x="1394" y="2806"/>
                  </a:lnTo>
                  <a:lnTo>
                    <a:pt x="1414" y="2832"/>
                  </a:lnTo>
                  <a:lnTo>
                    <a:pt x="1418" y="2813"/>
                  </a:lnTo>
                  <a:lnTo>
                    <a:pt x="1423" y="2790"/>
                  </a:lnTo>
                  <a:lnTo>
                    <a:pt x="1426" y="2771"/>
                  </a:lnTo>
                  <a:lnTo>
                    <a:pt x="1468" y="2795"/>
                  </a:lnTo>
                  <a:lnTo>
                    <a:pt x="1442" y="2748"/>
                  </a:lnTo>
                  <a:lnTo>
                    <a:pt x="1452" y="2747"/>
                  </a:lnTo>
                  <a:lnTo>
                    <a:pt x="1442" y="2735"/>
                  </a:lnTo>
                  <a:lnTo>
                    <a:pt x="1455" y="2724"/>
                  </a:lnTo>
                  <a:lnTo>
                    <a:pt x="1479" y="2713"/>
                  </a:lnTo>
                  <a:lnTo>
                    <a:pt x="1494" y="2724"/>
                  </a:lnTo>
                  <a:lnTo>
                    <a:pt x="1487" y="2748"/>
                  </a:lnTo>
                  <a:lnTo>
                    <a:pt x="1523" y="2734"/>
                  </a:lnTo>
                  <a:lnTo>
                    <a:pt x="1516" y="2782"/>
                  </a:lnTo>
                  <a:lnTo>
                    <a:pt x="1533" y="2779"/>
                  </a:lnTo>
                  <a:lnTo>
                    <a:pt x="1553" y="2734"/>
                  </a:lnTo>
                  <a:lnTo>
                    <a:pt x="1579" y="2748"/>
                  </a:lnTo>
                  <a:lnTo>
                    <a:pt x="1578" y="2776"/>
                  </a:lnTo>
                  <a:lnTo>
                    <a:pt x="1578" y="2792"/>
                  </a:lnTo>
                  <a:lnTo>
                    <a:pt x="1561" y="2813"/>
                  </a:lnTo>
                  <a:lnTo>
                    <a:pt x="1592" y="2814"/>
                  </a:lnTo>
                  <a:lnTo>
                    <a:pt x="1573" y="2851"/>
                  </a:lnTo>
                  <a:lnTo>
                    <a:pt x="1589" y="2859"/>
                  </a:lnTo>
                  <a:lnTo>
                    <a:pt x="1606" y="2872"/>
                  </a:lnTo>
                  <a:lnTo>
                    <a:pt x="1635" y="2856"/>
                  </a:lnTo>
                  <a:lnTo>
                    <a:pt x="1650" y="2866"/>
                  </a:lnTo>
                  <a:lnTo>
                    <a:pt x="1664" y="2877"/>
                  </a:lnTo>
                  <a:lnTo>
                    <a:pt x="1685" y="2867"/>
                  </a:lnTo>
                  <a:lnTo>
                    <a:pt x="1701" y="2877"/>
                  </a:lnTo>
                  <a:lnTo>
                    <a:pt x="1727" y="2877"/>
                  </a:lnTo>
                  <a:lnTo>
                    <a:pt x="1709" y="2908"/>
                  </a:lnTo>
                  <a:lnTo>
                    <a:pt x="1717" y="2922"/>
                  </a:lnTo>
                  <a:lnTo>
                    <a:pt x="1759" y="2924"/>
                  </a:lnTo>
                  <a:lnTo>
                    <a:pt x="1738" y="2945"/>
                  </a:lnTo>
                  <a:lnTo>
                    <a:pt x="1754" y="2929"/>
                  </a:lnTo>
                  <a:lnTo>
                    <a:pt x="1772" y="2934"/>
                  </a:lnTo>
                  <a:lnTo>
                    <a:pt x="1788" y="2956"/>
                  </a:lnTo>
                  <a:lnTo>
                    <a:pt x="1798" y="2969"/>
                  </a:lnTo>
                  <a:lnTo>
                    <a:pt x="1822" y="2954"/>
                  </a:lnTo>
                  <a:lnTo>
                    <a:pt x="1840" y="2963"/>
                  </a:lnTo>
                  <a:lnTo>
                    <a:pt x="1865" y="2975"/>
                  </a:lnTo>
                  <a:lnTo>
                    <a:pt x="1825" y="3001"/>
                  </a:lnTo>
                  <a:lnTo>
                    <a:pt x="1862" y="3003"/>
                  </a:lnTo>
                  <a:lnTo>
                    <a:pt x="1853" y="2990"/>
                  </a:lnTo>
                  <a:lnTo>
                    <a:pt x="1865" y="2983"/>
                  </a:lnTo>
                  <a:lnTo>
                    <a:pt x="1896" y="2990"/>
                  </a:lnTo>
                  <a:lnTo>
                    <a:pt x="1885" y="2948"/>
                  </a:lnTo>
                  <a:lnTo>
                    <a:pt x="1904" y="2964"/>
                  </a:lnTo>
                  <a:lnTo>
                    <a:pt x="1928" y="2953"/>
                  </a:lnTo>
                  <a:lnTo>
                    <a:pt x="1923" y="2977"/>
                  </a:lnTo>
                  <a:lnTo>
                    <a:pt x="1949" y="2996"/>
                  </a:lnTo>
                  <a:lnTo>
                    <a:pt x="1984" y="2983"/>
                  </a:lnTo>
                  <a:lnTo>
                    <a:pt x="1939" y="2959"/>
                  </a:lnTo>
                  <a:lnTo>
                    <a:pt x="1923" y="2948"/>
                  </a:lnTo>
                  <a:lnTo>
                    <a:pt x="1938" y="2925"/>
                  </a:lnTo>
                  <a:lnTo>
                    <a:pt x="1939" y="2895"/>
                  </a:lnTo>
                  <a:lnTo>
                    <a:pt x="1959" y="2890"/>
                  </a:lnTo>
                  <a:lnTo>
                    <a:pt x="1991" y="2903"/>
                  </a:lnTo>
                  <a:lnTo>
                    <a:pt x="2015" y="2900"/>
                  </a:lnTo>
                  <a:lnTo>
                    <a:pt x="2007" y="2859"/>
                  </a:lnTo>
                  <a:lnTo>
                    <a:pt x="2037" y="2874"/>
                  </a:lnTo>
                  <a:lnTo>
                    <a:pt x="2037" y="2874"/>
                  </a:lnTo>
                  <a:lnTo>
                    <a:pt x="2060" y="2885"/>
                  </a:lnTo>
                  <a:lnTo>
                    <a:pt x="2062" y="2898"/>
                  </a:lnTo>
                  <a:lnTo>
                    <a:pt x="2065" y="2925"/>
                  </a:lnTo>
                  <a:lnTo>
                    <a:pt x="2078" y="2940"/>
                  </a:lnTo>
                  <a:lnTo>
                    <a:pt x="2097" y="2922"/>
                  </a:lnTo>
                  <a:lnTo>
                    <a:pt x="2111" y="2903"/>
                  </a:lnTo>
                  <a:lnTo>
                    <a:pt x="2126" y="2942"/>
                  </a:lnTo>
                  <a:lnTo>
                    <a:pt x="2136" y="2937"/>
                  </a:lnTo>
                  <a:lnTo>
                    <a:pt x="2150" y="2937"/>
                  </a:lnTo>
                  <a:lnTo>
                    <a:pt x="2173" y="2913"/>
                  </a:lnTo>
                  <a:lnTo>
                    <a:pt x="2193" y="2911"/>
                  </a:lnTo>
                  <a:lnTo>
                    <a:pt x="2197" y="2938"/>
                  </a:lnTo>
                  <a:lnTo>
                    <a:pt x="2189" y="2971"/>
                  </a:lnTo>
                  <a:lnTo>
                    <a:pt x="2227" y="2951"/>
                  </a:lnTo>
                  <a:lnTo>
                    <a:pt x="2246" y="2951"/>
                  </a:lnTo>
                  <a:lnTo>
                    <a:pt x="2253" y="2969"/>
                  </a:lnTo>
                  <a:lnTo>
                    <a:pt x="2243" y="3006"/>
                  </a:lnTo>
                  <a:lnTo>
                    <a:pt x="2275" y="2995"/>
                  </a:lnTo>
                  <a:lnTo>
                    <a:pt x="2277" y="3017"/>
                  </a:lnTo>
                  <a:lnTo>
                    <a:pt x="2283" y="3041"/>
                  </a:lnTo>
                  <a:lnTo>
                    <a:pt x="2304" y="3043"/>
                  </a:lnTo>
                  <a:lnTo>
                    <a:pt x="2328" y="3029"/>
                  </a:lnTo>
                  <a:lnTo>
                    <a:pt x="2337" y="3067"/>
                  </a:lnTo>
                  <a:lnTo>
                    <a:pt x="2357" y="3053"/>
                  </a:lnTo>
                  <a:lnTo>
                    <a:pt x="2372" y="3067"/>
                  </a:lnTo>
                  <a:lnTo>
                    <a:pt x="2385" y="3045"/>
                  </a:lnTo>
                  <a:lnTo>
                    <a:pt x="2390" y="3061"/>
                  </a:lnTo>
                  <a:lnTo>
                    <a:pt x="2402" y="3054"/>
                  </a:lnTo>
                  <a:lnTo>
                    <a:pt x="2425" y="3054"/>
                  </a:lnTo>
                  <a:lnTo>
                    <a:pt x="2423" y="3075"/>
                  </a:lnTo>
                  <a:lnTo>
                    <a:pt x="2457" y="3074"/>
                  </a:lnTo>
                  <a:lnTo>
                    <a:pt x="2447" y="3093"/>
                  </a:lnTo>
                  <a:lnTo>
                    <a:pt x="2472" y="3093"/>
                  </a:lnTo>
                  <a:lnTo>
                    <a:pt x="2472" y="3093"/>
                  </a:lnTo>
                  <a:lnTo>
                    <a:pt x="2488" y="3088"/>
                  </a:lnTo>
                  <a:lnTo>
                    <a:pt x="2513" y="3117"/>
                  </a:lnTo>
                  <a:lnTo>
                    <a:pt x="2534" y="3088"/>
                  </a:lnTo>
                  <a:lnTo>
                    <a:pt x="2541" y="3116"/>
                  </a:lnTo>
                  <a:lnTo>
                    <a:pt x="2509" y="3146"/>
                  </a:lnTo>
                  <a:lnTo>
                    <a:pt x="2542" y="3154"/>
                  </a:lnTo>
                  <a:lnTo>
                    <a:pt x="2554" y="3130"/>
                  </a:lnTo>
                  <a:lnTo>
                    <a:pt x="2575" y="3148"/>
                  </a:lnTo>
                  <a:lnTo>
                    <a:pt x="2579" y="3169"/>
                  </a:lnTo>
                  <a:lnTo>
                    <a:pt x="2599" y="3156"/>
                  </a:lnTo>
                  <a:lnTo>
                    <a:pt x="2602" y="3178"/>
                  </a:lnTo>
                  <a:lnTo>
                    <a:pt x="2634" y="3151"/>
                  </a:lnTo>
                  <a:lnTo>
                    <a:pt x="2631" y="3156"/>
                  </a:lnTo>
                  <a:lnTo>
                    <a:pt x="2645" y="3153"/>
                  </a:lnTo>
                  <a:lnTo>
                    <a:pt x="2679" y="3188"/>
                  </a:lnTo>
                  <a:lnTo>
                    <a:pt x="2674" y="3145"/>
                  </a:lnTo>
                  <a:lnTo>
                    <a:pt x="2694" y="3141"/>
                  </a:lnTo>
                  <a:lnTo>
                    <a:pt x="2719" y="3153"/>
                  </a:lnTo>
                  <a:lnTo>
                    <a:pt x="2747" y="3140"/>
                  </a:lnTo>
                  <a:lnTo>
                    <a:pt x="2745" y="3111"/>
                  </a:lnTo>
                  <a:lnTo>
                    <a:pt x="2724" y="3098"/>
                  </a:lnTo>
                  <a:lnTo>
                    <a:pt x="2734" y="3080"/>
                  </a:lnTo>
                  <a:lnTo>
                    <a:pt x="2700" y="3070"/>
                  </a:lnTo>
                  <a:lnTo>
                    <a:pt x="2705" y="3041"/>
                  </a:lnTo>
                  <a:lnTo>
                    <a:pt x="2732" y="3045"/>
                  </a:lnTo>
                  <a:lnTo>
                    <a:pt x="2750" y="3075"/>
                  </a:lnTo>
                  <a:lnTo>
                    <a:pt x="2764" y="3062"/>
                  </a:lnTo>
                  <a:lnTo>
                    <a:pt x="2761" y="3027"/>
                  </a:lnTo>
                  <a:lnTo>
                    <a:pt x="2763" y="3024"/>
                  </a:lnTo>
                  <a:lnTo>
                    <a:pt x="2792" y="3016"/>
                  </a:lnTo>
                  <a:lnTo>
                    <a:pt x="2795" y="2998"/>
                  </a:lnTo>
                  <a:lnTo>
                    <a:pt x="2785" y="2972"/>
                  </a:lnTo>
                  <a:lnTo>
                    <a:pt x="2827" y="2980"/>
                  </a:lnTo>
                  <a:lnTo>
                    <a:pt x="2829" y="2967"/>
                  </a:lnTo>
                  <a:lnTo>
                    <a:pt x="2841" y="2982"/>
                  </a:lnTo>
                  <a:lnTo>
                    <a:pt x="2861" y="2934"/>
                  </a:lnTo>
                  <a:lnTo>
                    <a:pt x="2882" y="2966"/>
                  </a:lnTo>
                  <a:lnTo>
                    <a:pt x="2864" y="2925"/>
                  </a:lnTo>
                  <a:lnTo>
                    <a:pt x="2893" y="2927"/>
                  </a:lnTo>
                  <a:lnTo>
                    <a:pt x="2907" y="2911"/>
                  </a:lnTo>
                  <a:lnTo>
                    <a:pt x="2927" y="2900"/>
                  </a:lnTo>
                  <a:lnTo>
                    <a:pt x="2944" y="2911"/>
                  </a:lnTo>
                  <a:lnTo>
                    <a:pt x="2959" y="2937"/>
                  </a:lnTo>
                  <a:lnTo>
                    <a:pt x="2973" y="2940"/>
                  </a:lnTo>
                  <a:lnTo>
                    <a:pt x="2997" y="2903"/>
                  </a:lnTo>
                  <a:lnTo>
                    <a:pt x="3001" y="2900"/>
                  </a:lnTo>
                  <a:lnTo>
                    <a:pt x="3018" y="2913"/>
                  </a:lnTo>
                  <a:lnTo>
                    <a:pt x="3015" y="2885"/>
                  </a:lnTo>
                  <a:lnTo>
                    <a:pt x="3052" y="2903"/>
                  </a:lnTo>
                  <a:lnTo>
                    <a:pt x="3065" y="2914"/>
                  </a:lnTo>
                  <a:lnTo>
                    <a:pt x="3073" y="2863"/>
                  </a:lnTo>
                  <a:lnTo>
                    <a:pt x="3089" y="2872"/>
                  </a:lnTo>
                  <a:lnTo>
                    <a:pt x="3107" y="2880"/>
                  </a:lnTo>
                  <a:lnTo>
                    <a:pt x="3116" y="2859"/>
                  </a:lnTo>
                  <a:lnTo>
                    <a:pt x="3136" y="2863"/>
                  </a:lnTo>
                  <a:lnTo>
                    <a:pt x="3152" y="2861"/>
                  </a:lnTo>
                  <a:lnTo>
                    <a:pt x="3171" y="2892"/>
                  </a:lnTo>
                  <a:lnTo>
                    <a:pt x="3179" y="2877"/>
                  </a:lnTo>
                  <a:lnTo>
                    <a:pt x="3202" y="2871"/>
                  </a:lnTo>
                  <a:lnTo>
                    <a:pt x="3194" y="2909"/>
                  </a:lnTo>
                  <a:lnTo>
                    <a:pt x="3226" y="2901"/>
                  </a:lnTo>
                  <a:lnTo>
                    <a:pt x="3242" y="2872"/>
                  </a:lnTo>
                  <a:lnTo>
                    <a:pt x="3256" y="2888"/>
                  </a:lnTo>
                  <a:lnTo>
                    <a:pt x="3272" y="2892"/>
                  </a:lnTo>
                  <a:lnTo>
                    <a:pt x="3306" y="2892"/>
                  </a:lnTo>
                  <a:lnTo>
                    <a:pt x="3261" y="2906"/>
                  </a:lnTo>
                  <a:lnTo>
                    <a:pt x="3250" y="2919"/>
                  </a:lnTo>
                  <a:lnTo>
                    <a:pt x="3266" y="2946"/>
                  </a:lnTo>
                  <a:lnTo>
                    <a:pt x="3266" y="2945"/>
                  </a:lnTo>
                  <a:lnTo>
                    <a:pt x="3282" y="2942"/>
                  </a:lnTo>
                  <a:lnTo>
                    <a:pt x="3305" y="2977"/>
                  </a:lnTo>
                  <a:lnTo>
                    <a:pt x="3319" y="2977"/>
                  </a:lnTo>
                  <a:lnTo>
                    <a:pt x="3337" y="2946"/>
                  </a:lnTo>
                  <a:lnTo>
                    <a:pt x="3353" y="2966"/>
                  </a:lnTo>
                  <a:lnTo>
                    <a:pt x="3388" y="2940"/>
                  </a:lnTo>
                  <a:lnTo>
                    <a:pt x="3382" y="2974"/>
                  </a:lnTo>
                  <a:lnTo>
                    <a:pt x="3415" y="2959"/>
                  </a:lnTo>
                  <a:lnTo>
                    <a:pt x="3406" y="2977"/>
                  </a:lnTo>
                  <a:lnTo>
                    <a:pt x="3417" y="2983"/>
                  </a:lnTo>
                  <a:lnTo>
                    <a:pt x="3417" y="2966"/>
                  </a:lnTo>
                  <a:lnTo>
                    <a:pt x="3436" y="2961"/>
                  </a:lnTo>
                  <a:lnTo>
                    <a:pt x="3420" y="2932"/>
                  </a:lnTo>
                  <a:lnTo>
                    <a:pt x="3448" y="2924"/>
                  </a:lnTo>
                  <a:lnTo>
                    <a:pt x="3459" y="2946"/>
                  </a:lnTo>
                  <a:lnTo>
                    <a:pt x="3457" y="2975"/>
                  </a:lnTo>
                  <a:lnTo>
                    <a:pt x="3480" y="2969"/>
                  </a:lnTo>
                  <a:lnTo>
                    <a:pt x="3502" y="2948"/>
                  </a:lnTo>
                  <a:lnTo>
                    <a:pt x="3517" y="2982"/>
                  </a:lnTo>
                  <a:lnTo>
                    <a:pt x="3531" y="2979"/>
                  </a:lnTo>
                  <a:lnTo>
                    <a:pt x="3549" y="2985"/>
                  </a:lnTo>
                  <a:lnTo>
                    <a:pt x="3562" y="2975"/>
                  </a:lnTo>
                  <a:lnTo>
                    <a:pt x="3575" y="2963"/>
                  </a:lnTo>
                  <a:lnTo>
                    <a:pt x="3583" y="2927"/>
                  </a:lnTo>
                  <a:lnTo>
                    <a:pt x="3616" y="2979"/>
                  </a:lnTo>
                  <a:lnTo>
                    <a:pt x="3618" y="2940"/>
                  </a:lnTo>
                  <a:lnTo>
                    <a:pt x="3634" y="2935"/>
                  </a:lnTo>
                  <a:lnTo>
                    <a:pt x="3645" y="2969"/>
                  </a:lnTo>
                  <a:lnTo>
                    <a:pt x="3668" y="2924"/>
                  </a:lnTo>
                  <a:lnTo>
                    <a:pt x="3670" y="2966"/>
                  </a:lnTo>
                  <a:lnTo>
                    <a:pt x="3690" y="2956"/>
                  </a:lnTo>
                  <a:lnTo>
                    <a:pt x="3689" y="2980"/>
                  </a:lnTo>
                  <a:lnTo>
                    <a:pt x="3726" y="2964"/>
                  </a:lnTo>
                  <a:lnTo>
                    <a:pt x="3734" y="2980"/>
                  </a:lnTo>
                  <a:lnTo>
                    <a:pt x="3744" y="2998"/>
                  </a:lnTo>
                  <a:lnTo>
                    <a:pt x="3755" y="3006"/>
                  </a:lnTo>
                  <a:lnTo>
                    <a:pt x="3766" y="3004"/>
                  </a:lnTo>
                  <a:lnTo>
                    <a:pt x="3774" y="2979"/>
                  </a:lnTo>
                  <a:lnTo>
                    <a:pt x="3797" y="3017"/>
                  </a:lnTo>
                  <a:lnTo>
                    <a:pt x="3821" y="2985"/>
                  </a:lnTo>
                  <a:lnTo>
                    <a:pt x="3801" y="3021"/>
                  </a:lnTo>
                  <a:lnTo>
                    <a:pt x="3835" y="3027"/>
                  </a:lnTo>
                  <a:lnTo>
                    <a:pt x="3801" y="3050"/>
                  </a:lnTo>
                  <a:lnTo>
                    <a:pt x="3837" y="3043"/>
                  </a:lnTo>
                  <a:lnTo>
                    <a:pt x="3835" y="3029"/>
                  </a:lnTo>
                  <a:lnTo>
                    <a:pt x="3851" y="3050"/>
                  </a:lnTo>
                  <a:lnTo>
                    <a:pt x="3867" y="3059"/>
                  </a:lnTo>
                  <a:lnTo>
                    <a:pt x="3882" y="3035"/>
                  </a:lnTo>
                  <a:lnTo>
                    <a:pt x="3896" y="3032"/>
                  </a:lnTo>
                  <a:lnTo>
                    <a:pt x="3912" y="3032"/>
                  </a:lnTo>
                  <a:lnTo>
                    <a:pt x="3928" y="3083"/>
                  </a:lnTo>
                  <a:lnTo>
                    <a:pt x="3945" y="3058"/>
                  </a:lnTo>
                  <a:lnTo>
                    <a:pt x="3959" y="3062"/>
                  </a:lnTo>
                  <a:lnTo>
                    <a:pt x="3977" y="3088"/>
                  </a:lnTo>
                  <a:lnTo>
                    <a:pt x="3988" y="3045"/>
                  </a:lnTo>
                  <a:lnTo>
                    <a:pt x="4001" y="3027"/>
                  </a:lnTo>
                  <a:lnTo>
                    <a:pt x="4023" y="3038"/>
                  </a:lnTo>
                  <a:lnTo>
                    <a:pt x="4027" y="3080"/>
                  </a:lnTo>
                  <a:lnTo>
                    <a:pt x="4059" y="3048"/>
                  </a:lnTo>
                  <a:lnTo>
                    <a:pt x="4067" y="3083"/>
                  </a:lnTo>
                  <a:lnTo>
                    <a:pt x="4076" y="3054"/>
                  </a:lnTo>
                  <a:lnTo>
                    <a:pt x="4097" y="3067"/>
                  </a:lnTo>
                  <a:lnTo>
                    <a:pt x="4104" y="3048"/>
                  </a:lnTo>
                  <a:lnTo>
                    <a:pt x="4110" y="3074"/>
                  </a:lnTo>
                  <a:lnTo>
                    <a:pt x="4137" y="3050"/>
                  </a:lnTo>
                  <a:lnTo>
                    <a:pt x="4120" y="3083"/>
                  </a:lnTo>
                  <a:lnTo>
                    <a:pt x="4142" y="3085"/>
                  </a:lnTo>
                  <a:lnTo>
                    <a:pt x="4154" y="3104"/>
                  </a:lnTo>
                  <a:lnTo>
                    <a:pt x="4179" y="3111"/>
                  </a:lnTo>
                  <a:lnTo>
                    <a:pt x="4187" y="3080"/>
                  </a:lnTo>
                  <a:lnTo>
                    <a:pt x="4207" y="3087"/>
                  </a:lnTo>
                  <a:lnTo>
                    <a:pt x="4229" y="3096"/>
                  </a:lnTo>
                  <a:lnTo>
                    <a:pt x="4234" y="3059"/>
                  </a:lnTo>
                  <a:lnTo>
                    <a:pt x="4252" y="3074"/>
                  </a:lnTo>
                  <a:lnTo>
                    <a:pt x="4255" y="3091"/>
                  </a:lnTo>
                  <a:lnTo>
                    <a:pt x="4281" y="3088"/>
                  </a:lnTo>
                  <a:lnTo>
                    <a:pt x="4298" y="3088"/>
                  </a:lnTo>
                  <a:lnTo>
                    <a:pt x="4297" y="3072"/>
                  </a:lnTo>
                  <a:lnTo>
                    <a:pt x="4311" y="3070"/>
                  </a:lnTo>
                  <a:lnTo>
                    <a:pt x="4332" y="3077"/>
                  </a:lnTo>
                  <a:lnTo>
                    <a:pt x="4359" y="3079"/>
                  </a:lnTo>
                  <a:lnTo>
                    <a:pt x="4334" y="3027"/>
                  </a:lnTo>
                  <a:lnTo>
                    <a:pt x="4359" y="3030"/>
                  </a:lnTo>
                  <a:lnTo>
                    <a:pt x="4375" y="3035"/>
                  </a:lnTo>
                  <a:lnTo>
                    <a:pt x="4385" y="3017"/>
                  </a:lnTo>
                  <a:lnTo>
                    <a:pt x="4396" y="3027"/>
                  </a:lnTo>
                  <a:lnTo>
                    <a:pt x="4427" y="3011"/>
                  </a:lnTo>
                  <a:lnTo>
                    <a:pt x="4372" y="2996"/>
                  </a:lnTo>
                  <a:lnTo>
                    <a:pt x="4427" y="2987"/>
                  </a:lnTo>
                  <a:lnTo>
                    <a:pt x="4408" y="2956"/>
                  </a:lnTo>
                  <a:lnTo>
                    <a:pt x="4438" y="2972"/>
                  </a:lnTo>
                  <a:lnTo>
                    <a:pt x="4441" y="2946"/>
                  </a:lnTo>
                  <a:lnTo>
                    <a:pt x="4474" y="2934"/>
                  </a:lnTo>
                  <a:lnTo>
                    <a:pt x="4443" y="2914"/>
                  </a:lnTo>
                  <a:lnTo>
                    <a:pt x="4441" y="2895"/>
                  </a:lnTo>
                  <a:lnTo>
                    <a:pt x="4464" y="2888"/>
                  </a:lnTo>
                  <a:lnTo>
                    <a:pt x="4470" y="2872"/>
                  </a:lnTo>
                  <a:lnTo>
                    <a:pt x="4483" y="2864"/>
                  </a:lnTo>
                  <a:lnTo>
                    <a:pt x="4501" y="2884"/>
                  </a:lnTo>
                  <a:lnTo>
                    <a:pt x="4515" y="2850"/>
                  </a:lnTo>
                  <a:lnTo>
                    <a:pt x="4533" y="2853"/>
                  </a:lnTo>
                  <a:lnTo>
                    <a:pt x="4552" y="2840"/>
                  </a:lnTo>
                  <a:lnTo>
                    <a:pt x="4565" y="2856"/>
                  </a:lnTo>
                  <a:lnTo>
                    <a:pt x="4583" y="2851"/>
                  </a:lnTo>
                  <a:lnTo>
                    <a:pt x="4596" y="2888"/>
                  </a:lnTo>
                  <a:lnTo>
                    <a:pt x="4613" y="2858"/>
                  </a:lnTo>
                  <a:lnTo>
                    <a:pt x="4631" y="2834"/>
                  </a:lnTo>
                  <a:lnTo>
                    <a:pt x="4646" y="2861"/>
                  </a:lnTo>
                  <a:lnTo>
                    <a:pt x="4663" y="2837"/>
                  </a:lnTo>
                  <a:lnTo>
                    <a:pt x="4676" y="2850"/>
                  </a:lnTo>
                  <a:lnTo>
                    <a:pt x="4699" y="2895"/>
                  </a:lnTo>
                  <a:lnTo>
                    <a:pt x="4705" y="2830"/>
                  </a:lnTo>
                  <a:lnTo>
                    <a:pt x="4721" y="2880"/>
                  </a:lnTo>
                  <a:lnTo>
                    <a:pt x="4739" y="2871"/>
                  </a:lnTo>
                  <a:lnTo>
                    <a:pt x="4737" y="2903"/>
                  </a:lnTo>
                  <a:lnTo>
                    <a:pt x="4771" y="2879"/>
                  </a:lnTo>
                  <a:lnTo>
                    <a:pt x="4790" y="2911"/>
                  </a:lnTo>
                  <a:lnTo>
                    <a:pt x="4802" y="2874"/>
                  </a:lnTo>
                  <a:lnTo>
                    <a:pt x="4819" y="2872"/>
                  </a:lnTo>
                  <a:lnTo>
                    <a:pt x="4835" y="2905"/>
                  </a:lnTo>
                  <a:lnTo>
                    <a:pt x="4853" y="2866"/>
                  </a:lnTo>
                  <a:lnTo>
                    <a:pt x="4877" y="2859"/>
                  </a:lnTo>
                  <a:lnTo>
                    <a:pt x="4869" y="2906"/>
                  </a:lnTo>
                  <a:lnTo>
                    <a:pt x="4906" y="2890"/>
                  </a:lnTo>
                  <a:lnTo>
                    <a:pt x="4921" y="2892"/>
                  </a:lnTo>
                  <a:lnTo>
                    <a:pt x="4929" y="2908"/>
                  </a:lnTo>
                  <a:lnTo>
                    <a:pt x="4945" y="2919"/>
                  </a:lnTo>
                  <a:lnTo>
                    <a:pt x="4964" y="2940"/>
                  </a:lnTo>
                  <a:lnTo>
                    <a:pt x="4982" y="2924"/>
                  </a:lnTo>
                  <a:lnTo>
                    <a:pt x="4995" y="2916"/>
                  </a:lnTo>
                  <a:lnTo>
                    <a:pt x="4993" y="2895"/>
                  </a:lnTo>
                  <a:lnTo>
                    <a:pt x="5004" y="2885"/>
                  </a:lnTo>
                  <a:lnTo>
                    <a:pt x="5019" y="2859"/>
                  </a:lnTo>
                  <a:lnTo>
                    <a:pt x="5035" y="2864"/>
                  </a:lnTo>
                  <a:lnTo>
                    <a:pt x="5052" y="2869"/>
                  </a:lnTo>
                  <a:lnTo>
                    <a:pt x="5064" y="2887"/>
                  </a:lnTo>
                  <a:lnTo>
                    <a:pt x="5077" y="2893"/>
                  </a:lnTo>
                  <a:lnTo>
                    <a:pt x="5102" y="2874"/>
                  </a:lnTo>
                  <a:lnTo>
                    <a:pt x="5102" y="2890"/>
                  </a:lnTo>
                  <a:lnTo>
                    <a:pt x="5109" y="2879"/>
                  </a:lnTo>
                  <a:lnTo>
                    <a:pt x="5120" y="2869"/>
                  </a:lnTo>
                  <a:lnTo>
                    <a:pt x="5144" y="2871"/>
                  </a:lnTo>
                  <a:lnTo>
                    <a:pt x="5142" y="2861"/>
                  </a:lnTo>
                  <a:lnTo>
                    <a:pt x="5147" y="2871"/>
                  </a:lnTo>
                  <a:lnTo>
                    <a:pt x="5144" y="2871"/>
                  </a:lnTo>
                  <a:lnTo>
                    <a:pt x="5144" y="2872"/>
                  </a:lnTo>
                  <a:lnTo>
                    <a:pt x="5181" y="2858"/>
                  </a:lnTo>
                  <a:lnTo>
                    <a:pt x="5162" y="2906"/>
                  </a:lnTo>
                  <a:lnTo>
                    <a:pt x="5197" y="2871"/>
                  </a:lnTo>
                  <a:lnTo>
                    <a:pt x="5196" y="2864"/>
                  </a:lnTo>
                  <a:lnTo>
                    <a:pt x="5234" y="2895"/>
                  </a:lnTo>
                  <a:lnTo>
                    <a:pt x="5233" y="2853"/>
                  </a:lnTo>
                  <a:lnTo>
                    <a:pt x="5265" y="2895"/>
                  </a:lnTo>
                  <a:lnTo>
                    <a:pt x="5274" y="2876"/>
                  </a:lnTo>
                  <a:lnTo>
                    <a:pt x="5294" y="2879"/>
                  </a:lnTo>
                  <a:lnTo>
                    <a:pt x="5307" y="2866"/>
                  </a:lnTo>
                  <a:lnTo>
                    <a:pt x="5324" y="2864"/>
                  </a:lnTo>
                  <a:lnTo>
                    <a:pt x="5332" y="2819"/>
                  </a:lnTo>
                  <a:lnTo>
                    <a:pt x="5340" y="2864"/>
                  </a:lnTo>
                  <a:lnTo>
                    <a:pt x="5356" y="2869"/>
                  </a:lnTo>
                  <a:lnTo>
                    <a:pt x="5379" y="2859"/>
                  </a:lnTo>
                  <a:lnTo>
                    <a:pt x="5397" y="2864"/>
                  </a:lnTo>
                  <a:lnTo>
                    <a:pt x="5416" y="2863"/>
                  </a:lnTo>
                  <a:lnTo>
                    <a:pt x="5432" y="2848"/>
                  </a:lnTo>
                  <a:lnTo>
                    <a:pt x="5446" y="2877"/>
                  </a:lnTo>
                  <a:lnTo>
                    <a:pt x="5467" y="2892"/>
                  </a:lnTo>
                  <a:lnTo>
                    <a:pt x="5471" y="2850"/>
                  </a:lnTo>
                  <a:lnTo>
                    <a:pt x="5501" y="2874"/>
                  </a:lnTo>
                  <a:lnTo>
                    <a:pt x="5493" y="2821"/>
                  </a:lnTo>
                  <a:lnTo>
                    <a:pt x="5525" y="2853"/>
                  </a:lnTo>
                  <a:lnTo>
                    <a:pt x="5538" y="2861"/>
                  </a:lnTo>
                  <a:lnTo>
                    <a:pt x="5553" y="2809"/>
                  </a:lnTo>
                  <a:lnTo>
                    <a:pt x="5569" y="2827"/>
                  </a:lnTo>
                  <a:lnTo>
                    <a:pt x="5590" y="2851"/>
                  </a:lnTo>
                  <a:lnTo>
                    <a:pt x="5606" y="2853"/>
                  </a:lnTo>
                  <a:lnTo>
                    <a:pt x="5618" y="2848"/>
                  </a:lnTo>
                  <a:lnTo>
                    <a:pt x="5631" y="2847"/>
                  </a:lnTo>
                  <a:lnTo>
                    <a:pt x="5647" y="2805"/>
                  </a:lnTo>
                  <a:lnTo>
                    <a:pt x="5662" y="2832"/>
                  </a:lnTo>
                  <a:lnTo>
                    <a:pt x="5675" y="2845"/>
                  </a:lnTo>
                  <a:lnTo>
                    <a:pt x="5709" y="2818"/>
                  </a:lnTo>
                  <a:lnTo>
                    <a:pt x="5712" y="2855"/>
                  </a:lnTo>
                  <a:lnTo>
                    <a:pt x="5728" y="2877"/>
                  </a:lnTo>
                  <a:lnTo>
                    <a:pt x="5744" y="2867"/>
                  </a:lnTo>
                  <a:lnTo>
                    <a:pt x="5754" y="2871"/>
                  </a:lnTo>
                  <a:lnTo>
                    <a:pt x="5773" y="2856"/>
                  </a:lnTo>
                  <a:lnTo>
                    <a:pt x="5774" y="2892"/>
                  </a:lnTo>
                  <a:lnTo>
                    <a:pt x="5802" y="2880"/>
                  </a:lnTo>
                  <a:lnTo>
                    <a:pt x="5821" y="2880"/>
                  </a:lnTo>
                  <a:lnTo>
                    <a:pt x="5831" y="2832"/>
                  </a:lnTo>
                  <a:lnTo>
                    <a:pt x="5847" y="2830"/>
                  </a:lnTo>
                  <a:lnTo>
                    <a:pt x="5873" y="2874"/>
                  </a:lnTo>
                  <a:lnTo>
                    <a:pt x="5887" y="2853"/>
                  </a:lnTo>
                  <a:lnTo>
                    <a:pt x="5905" y="2850"/>
                  </a:lnTo>
                  <a:lnTo>
                    <a:pt x="5918" y="2863"/>
                  </a:lnTo>
                  <a:lnTo>
                    <a:pt x="5918" y="2890"/>
                  </a:lnTo>
                  <a:lnTo>
                    <a:pt x="5938" y="2906"/>
                  </a:lnTo>
                  <a:lnTo>
                    <a:pt x="5961" y="2863"/>
                  </a:lnTo>
                  <a:lnTo>
                    <a:pt x="5985" y="2911"/>
                  </a:lnTo>
                  <a:lnTo>
                    <a:pt x="6012" y="2853"/>
                  </a:lnTo>
                  <a:lnTo>
                    <a:pt x="6027" y="2884"/>
                  </a:lnTo>
                  <a:lnTo>
                    <a:pt x="6027" y="2901"/>
                  </a:lnTo>
                  <a:lnTo>
                    <a:pt x="6027" y="2919"/>
                  </a:lnTo>
                  <a:lnTo>
                    <a:pt x="6011" y="2953"/>
                  </a:lnTo>
                  <a:lnTo>
                    <a:pt x="6046" y="2925"/>
                  </a:lnTo>
                  <a:lnTo>
                    <a:pt x="6061" y="2934"/>
                  </a:lnTo>
                  <a:lnTo>
                    <a:pt x="6072" y="2946"/>
                  </a:lnTo>
                  <a:lnTo>
                    <a:pt x="6085" y="2956"/>
                  </a:lnTo>
                  <a:lnTo>
                    <a:pt x="6098" y="2983"/>
                  </a:lnTo>
                  <a:lnTo>
                    <a:pt x="6114" y="2954"/>
                  </a:lnTo>
                  <a:lnTo>
                    <a:pt x="6136" y="2940"/>
                  </a:lnTo>
                  <a:lnTo>
                    <a:pt x="6151" y="2959"/>
                  </a:lnTo>
                  <a:lnTo>
                    <a:pt x="6151" y="2980"/>
                  </a:lnTo>
                  <a:lnTo>
                    <a:pt x="6159" y="2995"/>
                  </a:lnTo>
                  <a:lnTo>
                    <a:pt x="6165" y="3008"/>
                  </a:lnTo>
                  <a:lnTo>
                    <a:pt x="6178" y="3016"/>
                  </a:lnTo>
                  <a:lnTo>
                    <a:pt x="6204" y="3006"/>
                  </a:lnTo>
                  <a:lnTo>
                    <a:pt x="6199" y="3037"/>
                  </a:lnTo>
                  <a:lnTo>
                    <a:pt x="6223" y="3046"/>
                  </a:lnTo>
                  <a:lnTo>
                    <a:pt x="6218" y="2995"/>
                  </a:lnTo>
                  <a:lnTo>
                    <a:pt x="6234" y="2988"/>
                  </a:lnTo>
                  <a:lnTo>
                    <a:pt x="6262" y="3011"/>
                  </a:lnTo>
                  <a:lnTo>
                    <a:pt x="6270" y="2990"/>
                  </a:lnTo>
                  <a:lnTo>
                    <a:pt x="6291" y="3004"/>
                  </a:lnTo>
                  <a:lnTo>
                    <a:pt x="6297" y="2967"/>
                  </a:lnTo>
                  <a:lnTo>
                    <a:pt x="6320" y="3014"/>
                  </a:lnTo>
                  <a:lnTo>
                    <a:pt x="6328" y="2966"/>
                  </a:lnTo>
                  <a:lnTo>
                    <a:pt x="6349" y="2995"/>
                  </a:lnTo>
                  <a:lnTo>
                    <a:pt x="6368" y="2972"/>
                  </a:lnTo>
                  <a:lnTo>
                    <a:pt x="6379" y="3009"/>
                  </a:lnTo>
                  <a:lnTo>
                    <a:pt x="6402" y="2979"/>
                  </a:lnTo>
                  <a:lnTo>
                    <a:pt x="6410" y="3024"/>
                  </a:lnTo>
                  <a:lnTo>
                    <a:pt x="6437" y="2974"/>
                  </a:lnTo>
                  <a:lnTo>
                    <a:pt x="6447" y="3004"/>
                  </a:lnTo>
                  <a:lnTo>
                    <a:pt x="6453" y="3032"/>
                  </a:lnTo>
                  <a:lnTo>
                    <a:pt x="6471" y="3027"/>
                  </a:lnTo>
                  <a:lnTo>
                    <a:pt x="6488" y="3025"/>
                  </a:lnTo>
                  <a:lnTo>
                    <a:pt x="6508" y="3000"/>
                  </a:lnTo>
                  <a:lnTo>
                    <a:pt x="6519" y="3008"/>
                  </a:lnTo>
                  <a:lnTo>
                    <a:pt x="6538" y="3006"/>
                  </a:lnTo>
                  <a:lnTo>
                    <a:pt x="6559" y="3035"/>
                  </a:lnTo>
                  <a:lnTo>
                    <a:pt x="6583" y="2993"/>
                  </a:lnTo>
                  <a:lnTo>
                    <a:pt x="6583" y="3035"/>
                  </a:lnTo>
                  <a:lnTo>
                    <a:pt x="6601" y="3014"/>
                  </a:lnTo>
                  <a:lnTo>
                    <a:pt x="6591" y="2995"/>
                  </a:lnTo>
                  <a:lnTo>
                    <a:pt x="6612" y="2995"/>
                  </a:lnTo>
                  <a:lnTo>
                    <a:pt x="6648" y="3011"/>
                  </a:lnTo>
                  <a:lnTo>
                    <a:pt x="6667" y="3012"/>
                  </a:lnTo>
                  <a:lnTo>
                    <a:pt x="6677" y="2987"/>
                  </a:lnTo>
                  <a:lnTo>
                    <a:pt x="6680" y="2966"/>
                  </a:lnTo>
                  <a:lnTo>
                    <a:pt x="6691" y="2954"/>
                  </a:lnTo>
                  <a:lnTo>
                    <a:pt x="6657" y="2930"/>
                  </a:lnTo>
                  <a:lnTo>
                    <a:pt x="6685" y="2946"/>
                  </a:lnTo>
                  <a:lnTo>
                    <a:pt x="6699" y="2925"/>
                  </a:lnTo>
                  <a:lnTo>
                    <a:pt x="6694" y="2956"/>
                  </a:lnTo>
                  <a:lnTo>
                    <a:pt x="6738" y="2932"/>
                  </a:lnTo>
                  <a:lnTo>
                    <a:pt x="6736" y="2959"/>
                  </a:lnTo>
                  <a:lnTo>
                    <a:pt x="6755" y="2946"/>
                  </a:lnTo>
                  <a:lnTo>
                    <a:pt x="6760" y="2966"/>
                  </a:lnTo>
                  <a:lnTo>
                    <a:pt x="6775" y="2943"/>
                  </a:lnTo>
                  <a:lnTo>
                    <a:pt x="6796" y="2990"/>
                  </a:lnTo>
                  <a:lnTo>
                    <a:pt x="6794" y="2938"/>
                  </a:lnTo>
                  <a:lnTo>
                    <a:pt x="6831" y="2975"/>
                  </a:lnTo>
                  <a:lnTo>
                    <a:pt x="6847" y="2967"/>
                  </a:lnTo>
                  <a:lnTo>
                    <a:pt x="6852" y="2946"/>
                  </a:lnTo>
                  <a:lnTo>
                    <a:pt x="6876" y="2953"/>
                  </a:lnTo>
                  <a:lnTo>
                    <a:pt x="6892" y="2950"/>
                  </a:lnTo>
                  <a:lnTo>
                    <a:pt x="6886" y="2905"/>
                  </a:lnTo>
                  <a:lnTo>
                    <a:pt x="6892" y="2942"/>
                  </a:lnTo>
                  <a:lnTo>
                    <a:pt x="6906" y="2951"/>
                  </a:lnTo>
                  <a:lnTo>
                    <a:pt x="6940" y="2925"/>
                  </a:lnTo>
                  <a:lnTo>
                    <a:pt x="6937" y="2966"/>
                  </a:lnTo>
                  <a:lnTo>
                    <a:pt x="6958" y="2966"/>
                  </a:lnTo>
                  <a:lnTo>
                    <a:pt x="6974" y="2942"/>
                  </a:lnTo>
                  <a:lnTo>
                    <a:pt x="6985" y="2954"/>
                  </a:lnTo>
                  <a:lnTo>
                    <a:pt x="6977" y="2924"/>
                  </a:lnTo>
                  <a:lnTo>
                    <a:pt x="7011" y="2930"/>
                  </a:lnTo>
                  <a:lnTo>
                    <a:pt x="7025" y="2932"/>
                  </a:lnTo>
                  <a:lnTo>
                    <a:pt x="7037" y="2927"/>
                  </a:lnTo>
                  <a:lnTo>
                    <a:pt x="7029" y="2959"/>
                  </a:lnTo>
                  <a:lnTo>
                    <a:pt x="7040" y="2971"/>
                  </a:lnTo>
                  <a:lnTo>
                    <a:pt x="7069" y="2972"/>
                  </a:lnTo>
                  <a:lnTo>
                    <a:pt x="7077" y="2935"/>
                  </a:lnTo>
                  <a:lnTo>
                    <a:pt x="7111" y="2956"/>
                  </a:lnTo>
                  <a:lnTo>
                    <a:pt x="7122" y="2945"/>
                  </a:lnTo>
                  <a:lnTo>
                    <a:pt x="7127" y="2903"/>
                  </a:lnTo>
                  <a:lnTo>
                    <a:pt x="7149" y="2942"/>
                  </a:lnTo>
                  <a:lnTo>
                    <a:pt x="7164" y="2917"/>
                  </a:lnTo>
                  <a:lnTo>
                    <a:pt x="7180" y="2927"/>
                  </a:lnTo>
                  <a:lnTo>
                    <a:pt x="7164" y="2958"/>
                  </a:lnTo>
                  <a:lnTo>
                    <a:pt x="7214" y="2938"/>
                  </a:lnTo>
                  <a:lnTo>
                    <a:pt x="7175" y="2987"/>
                  </a:lnTo>
                  <a:lnTo>
                    <a:pt x="7207" y="2988"/>
                  </a:lnTo>
                  <a:lnTo>
                    <a:pt x="7217" y="2954"/>
                  </a:lnTo>
                  <a:lnTo>
                    <a:pt x="7233" y="2954"/>
                  </a:lnTo>
                  <a:lnTo>
                    <a:pt x="7255" y="2971"/>
                  </a:lnTo>
                  <a:lnTo>
                    <a:pt x="7275" y="2945"/>
                  </a:lnTo>
                  <a:lnTo>
                    <a:pt x="7288" y="2956"/>
                  </a:lnTo>
                  <a:lnTo>
                    <a:pt x="7299" y="2988"/>
                  </a:lnTo>
                  <a:lnTo>
                    <a:pt x="7315" y="2983"/>
                  </a:lnTo>
                  <a:lnTo>
                    <a:pt x="7329" y="2996"/>
                  </a:lnTo>
                  <a:lnTo>
                    <a:pt x="7347" y="2979"/>
                  </a:lnTo>
                  <a:lnTo>
                    <a:pt x="7362" y="2969"/>
                  </a:lnTo>
                  <a:lnTo>
                    <a:pt x="7378" y="2972"/>
                  </a:lnTo>
                  <a:lnTo>
                    <a:pt x="7387" y="2961"/>
                  </a:lnTo>
                  <a:lnTo>
                    <a:pt x="7402" y="2958"/>
                  </a:lnTo>
                  <a:lnTo>
                    <a:pt x="7437" y="2977"/>
                  </a:lnTo>
                  <a:lnTo>
                    <a:pt x="7436" y="2940"/>
                  </a:lnTo>
                  <a:lnTo>
                    <a:pt x="7447" y="2917"/>
                  </a:lnTo>
                  <a:lnTo>
                    <a:pt x="7461" y="2909"/>
                  </a:lnTo>
                  <a:lnTo>
                    <a:pt x="7484" y="2943"/>
                  </a:lnTo>
                  <a:lnTo>
                    <a:pt x="7518" y="2924"/>
                  </a:lnTo>
                  <a:lnTo>
                    <a:pt x="7530" y="2932"/>
                  </a:lnTo>
                  <a:lnTo>
                    <a:pt x="7537" y="2950"/>
                  </a:lnTo>
                  <a:lnTo>
                    <a:pt x="7532" y="2979"/>
                  </a:lnTo>
                  <a:lnTo>
                    <a:pt x="7540" y="2956"/>
                  </a:lnTo>
                  <a:lnTo>
                    <a:pt x="7548" y="2937"/>
                  </a:lnTo>
                  <a:lnTo>
                    <a:pt x="7563" y="2921"/>
                  </a:lnTo>
                  <a:lnTo>
                    <a:pt x="7587" y="2925"/>
                  </a:lnTo>
                  <a:lnTo>
                    <a:pt x="7609" y="2935"/>
                  </a:lnTo>
                  <a:lnTo>
                    <a:pt x="7624" y="2913"/>
                  </a:lnTo>
                  <a:lnTo>
                    <a:pt x="7645" y="2921"/>
                  </a:lnTo>
                  <a:lnTo>
                    <a:pt x="7661" y="2922"/>
                  </a:lnTo>
                  <a:lnTo>
                    <a:pt x="7667" y="2927"/>
                  </a:lnTo>
                  <a:lnTo>
                    <a:pt x="7675" y="2917"/>
                  </a:lnTo>
                  <a:lnTo>
                    <a:pt x="7680" y="2919"/>
                  </a:lnTo>
                  <a:lnTo>
                    <a:pt x="7680" y="414"/>
                  </a:lnTo>
                  <a:lnTo>
                    <a:pt x="7670" y="409"/>
                  </a:lnTo>
                  <a:lnTo>
                    <a:pt x="7638" y="448"/>
                  </a:lnTo>
                  <a:lnTo>
                    <a:pt x="7656" y="393"/>
                  </a:lnTo>
                  <a:lnTo>
                    <a:pt x="7614" y="422"/>
                  </a:lnTo>
                  <a:lnTo>
                    <a:pt x="7609" y="417"/>
                  </a:lnTo>
                  <a:lnTo>
                    <a:pt x="7598" y="390"/>
                  </a:lnTo>
                  <a:lnTo>
                    <a:pt x="7580" y="380"/>
                  </a:lnTo>
                  <a:lnTo>
                    <a:pt x="7569" y="404"/>
                  </a:lnTo>
                  <a:lnTo>
                    <a:pt x="7553" y="402"/>
                  </a:lnTo>
                  <a:lnTo>
                    <a:pt x="7535" y="380"/>
                  </a:lnTo>
                  <a:lnTo>
                    <a:pt x="7526" y="417"/>
                  </a:lnTo>
                  <a:lnTo>
                    <a:pt x="7514" y="430"/>
                  </a:lnTo>
                  <a:lnTo>
                    <a:pt x="7487" y="401"/>
                  </a:lnTo>
                  <a:lnTo>
                    <a:pt x="7479" y="423"/>
                  </a:lnTo>
                  <a:lnTo>
                    <a:pt x="7477" y="452"/>
                  </a:lnTo>
                  <a:lnTo>
                    <a:pt x="7456" y="451"/>
                  </a:lnTo>
                  <a:lnTo>
                    <a:pt x="7439" y="480"/>
                  </a:lnTo>
                  <a:lnTo>
                    <a:pt x="7419" y="441"/>
                  </a:lnTo>
                  <a:lnTo>
                    <a:pt x="7392" y="460"/>
                  </a:lnTo>
                  <a:lnTo>
                    <a:pt x="7386" y="423"/>
                  </a:lnTo>
                  <a:lnTo>
                    <a:pt x="7376" y="457"/>
                  </a:lnTo>
                  <a:lnTo>
                    <a:pt x="7350" y="409"/>
                  </a:lnTo>
                  <a:lnTo>
                    <a:pt x="7336" y="423"/>
                  </a:lnTo>
                  <a:lnTo>
                    <a:pt x="7318" y="423"/>
                  </a:lnTo>
                  <a:lnTo>
                    <a:pt x="7313" y="459"/>
                  </a:lnTo>
                  <a:lnTo>
                    <a:pt x="7294" y="443"/>
                  </a:lnTo>
                  <a:lnTo>
                    <a:pt x="7281" y="436"/>
                  </a:lnTo>
                  <a:lnTo>
                    <a:pt x="7263" y="460"/>
                  </a:lnTo>
                  <a:lnTo>
                    <a:pt x="7247" y="451"/>
                  </a:lnTo>
                  <a:lnTo>
                    <a:pt x="7246" y="472"/>
                  </a:lnTo>
                  <a:lnTo>
                    <a:pt x="7209" y="452"/>
                  </a:lnTo>
                  <a:lnTo>
                    <a:pt x="7209" y="475"/>
                  </a:lnTo>
                  <a:lnTo>
                    <a:pt x="7198" y="477"/>
                  </a:lnTo>
                  <a:lnTo>
                    <a:pt x="7185" y="467"/>
                  </a:lnTo>
                  <a:lnTo>
                    <a:pt x="7181" y="525"/>
                  </a:lnTo>
                  <a:lnTo>
                    <a:pt x="7154" y="483"/>
                  </a:lnTo>
                  <a:lnTo>
                    <a:pt x="7146" y="510"/>
                  </a:lnTo>
                  <a:lnTo>
                    <a:pt x="7128" y="512"/>
                  </a:lnTo>
                  <a:lnTo>
                    <a:pt x="7117" y="538"/>
                  </a:lnTo>
                  <a:lnTo>
                    <a:pt x="7103" y="506"/>
                  </a:lnTo>
                  <a:lnTo>
                    <a:pt x="7079" y="546"/>
                  </a:lnTo>
                  <a:lnTo>
                    <a:pt x="7059" y="538"/>
                  </a:lnTo>
                  <a:lnTo>
                    <a:pt x="7038" y="533"/>
                  </a:lnTo>
                  <a:lnTo>
                    <a:pt x="7045" y="496"/>
                  </a:lnTo>
                  <a:lnTo>
                    <a:pt x="7014" y="512"/>
                  </a:lnTo>
                  <a:lnTo>
                    <a:pt x="7016" y="494"/>
                  </a:lnTo>
                  <a:lnTo>
                    <a:pt x="7005" y="489"/>
                  </a:lnTo>
                  <a:lnTo>
                    <a:pt x="6997" y="520"/>
                  </a:lnTo>
                  <a:lnTo>
                    <a:pt x="6958" y="467"/>
                  </a:lnTo>
                  <a:lnTo>
                    <a:pt x="6968" y="512"/>
                  </a:lnTo>
                  <a:lnTo>
                    <a:pt x="6966" y="531"/>
                  </a:lnTo>
                  <a:lnTo>
                    <a:pt x="6924" y="509"/>
                  </a:lnTo>
                  <a:lnTo>
                    <a:pt x="6931" y="554"/>
                  </a:lnTo>
                  <a:lnTo>
                    <a:pt x="6923" y="517"/>
                  </a:lnTo>
                  <a:lnTo>
                    <a:pt x="6894" y="535"/>
                  </a:lnTo>
                  <a:lnTo>
                    <a:pt x="6884" y="523"/>
                  </a:lnTo>
                  <a:lnTo>
                    <a:pt x="6882" y="525"/>
                  </a:lnTo>
                  <a:lnTo>
                    <a:pt x="6886" y="530"/>
                  </a:lnTo>
                  <a:lnTo>
                    <a:pt x="6844" y="507"/>
                  </a:lnTo>
                  <a:lnTo>
                    <a:pt x="6829" y="514"/>
                  </a:lnTo>
                  <a:lnTo>
                    <a:pt x="6837" y="551"/>
                  </a:lnTo>
                  <a:lnTo>
                    <a:pt x="6820" y="518"/>
                  </a:lnTo>
                  <a:lnTo>
                    <a:pt x="6804" y="556"/>
                  </a:lnTo>
                  <a:lnTo>
                    <a:pt x="6789" y="539"/>
                  </a:lnTo>
                  <a:lnTo>
                    <a:pt x="6775" y="538"/>
                  </a:lnTo>
                  <a:lnTo>
                    <a:pt x="6760" y="536"/>
                  </a:lnTo>
                  <a:lnTo>
                    <a:pt x="6739" y="543"/>
                  </a:lnTo>
                  <a:lnTo>
                    <a:pt x="6741" y="502"/>
                  </a:lnTo>
                  <a:lnTo>
                    <a:pt x="6723" y="515"/>
                  </a:lnTo>
                  <a:lnTo>
                    <a:pt x="6709" y="525"/>
                  </a:lnTo>
                  <a:lnTo>
                    <a:pt x="6694" y="554"/>
                  </a:lnTo>
                  <a:lnTo>
                    <a:pt x="6697" y="504"/>
                  </a:lnTo>
                  <a:lnTo>
                    <a:pt x="6677" y="509"/>
                  </a:lnTo>
                  <a:lnTo>
                    <a:pt x="6651" y="528"/>
                  </a:lnTo>
                  <a:lnTo>
                    <a:pt x="6652" y="535"/>
                  </a:lnTo>
                  <a:lnTo>
                    <a:pt x="6648" y="531"/>
                  </a:lnTo>
                  <a:lnTo>
                    <a:pt x="6643" y="533"/>
                  </a:lnTo>
                  <a:lnTo>
                    <a:pt x="6644" y="528"/>
                  </a:lnTo>
                  <a:lnTo>
                    <a:pt x="6617" y="509"/>
                  </a:lnTo>
                  <a:lnTo>
                    <a:pt x="6601" y="510"/>
                  </a:lnTo>
                  <a:lnTo>
                    <a:pt x="6601" y="543"/>
                  </a:lnTo>
                  <a:lnTo>
                    <a:pt x="6588" y="527"/>
                  </a:lnTo>
                  <a:lnTo>
                    <a:pt x="6575" y="518"/>
                  </a:lnTo>
                  <a:lnTo>
                    <a:pt x="6551" y="522"/>
                  </a:lnTo>
                  <a:lnTo>
                    <a:pt x="6556" y="477"/>
                  </a:lnTo>
                  <a:lnTo>
                    <a:pt x="6543" y="512"/>
                  </a:lnTo>
                  <a:lnTo>
                    <a:pt x="6535" y="535"/>
                  </a:lnTo>
                  <a:lnTo>
                    <a:pt x="6503" y="499"/>
                  </a:lnTo>
                  <a:lnTo>
                    <a:pt x="6493" y="535"/>
                  </a:lnTo>
                  <a:lnTo>
                    <a:pt x="6476" y="502"/>
                  </a:lnTo>
                  <a:lnTo>
                    <a:pt x="6463" y="501"/>
                  </a:lnTo>
                  <a:lnTo>
                    <a:pt x="6451" y="489"/>
                  </a:lnTo>
                  <a:lnTo>
                    <a:pt x="6429" y="512"/>
                  </a:lnTo>
                  <a:lnTo>
                    <a:pt x="6414" y="533"/>
                  </a:lnTo>
                  <a:lnTo>
                    <a:pt x="6394" y="485"/>
                  </a:lnTo>
                  <a:lnTo>
                    <a:pt x="6390" y="541"/>
                  </a:lnTo>
                  <a:lnTo>
                    <a:pt x="6371" y="488"/>
                  </a:lnTo>
                  <a:lnTo>
                    <a:pt x="6358" y="496"/>
                  </a:lnTo>
                  <a:lnTo>
                    <a:pt x="6345" y="481"/>
                  </a:lnTo>
                  <a:lnTo>
                    <a:pt x="6321" y="506"/>
                  </a:lnTo>
                  <a:lnTo>
                    <a:pt x="6313" y="509"/>
                  </a:lnTo>
                  <a:lnTo>
                    <a:pt x="6295" y="509"/>
                  </a:lnTo>
                  <a:lnTo>
                    <a:pt x="6289" y="525"/>
                  </a:lnTo>
                  <a:lnTo>
                    <a:pt x="6271" y="554"/>
                  </a:lnTo>
                  <a:lnTo>
                    <a:pt x="6244" y="539"/>
                  </a:lnTo>
                  <a:lnTo>
                    <a:pt x="6271" y="486"/>
                  </a:lnTo>
                  <a:lnTo>
                    <a:pt x="6225" y="515"/>
                  </a:lnTo>
                  <a:lnTo>
                    <a:pt x="6236" y="469"/>
                  </a:lnTo>
                  <a:lnTo>
                    <a:pt x="6213" y="499"/>
                  </a:lnTo>
                  <a:lnTo>
                    <a:pt x="6197" y="504"/>
                  </a:lnTo>
                  <a:lnTo>
                    <a:pt x="6181" y="457"/>
                  </a:lnTo>
                  <a:lnTo>
                    <a:pt x="6167" y="485"/>
                  </a:lnTo>
                  <a:lnTo>
                    <a:pt x="6152" y="506"/>
                  </a:lnTo>
                  <a:lnTo>
                    <a:pt x="6135" y="514"/>
                  </a:lnTo>
                  <a:lnTo>
                    <a:pt x="6123" y="464"/>
                  </a:lnTo>
                  <a:lnTo>
                    <a:pt x="6107" y="469"/>
                  </a:lnTo>
                  <a:lnTo>
                    <a:pt x="6090" y="457"/>
                  </a:lnTo>
                  <a:lnTo>
                    <a:pt x="6070" y="460"/>
                  </a:lnTo>
                  <a:lnTo>
                    <a:pt x="6061" y="514"/>
                  </a:lnTo>
                  <a:lnTo>
                    <a:pt x="6048" y="506"/>
                  </a:lnTo>
                  <a:lnTo>
                    <a:pt x="6027" y="498"/>
                  </a:lnTo>
                  <a:lnTo>
                    <a:pt x="6025" y="533"/>
                  </a:lnTo>
                  <a:lnTo>
                    <a:pt x="5996" y="536"/>
                  </a:lnTo>
                  <a:lnTo>
                    <a:pt x="5974" y="525"/>
                  </a:lnTo>
                  <a:lnTo>
                    <a:pt x="5963" y="504"/>
                  </a:lnTo>
                  <a:lnTo>
                    <a:pt x="5950" y="469"/>
                  </a:lnTo>
                  <a:lnTo>
                    <a:pt x="5938" y="518"/>
                  </a:lnTo>
                  <a:lnTo>
                    <a:pt x="5922" y="525"/>
                  </a:lnTo>
                  <a:lnTo>
                    <a:pt x="5903" y="496"/>
                  </a:lnTo>
                  <a:lnTo>
                    <a:pt x="5908" y="481"/>
                  </a:lnTo>
                  <a:lnTo>
                    <a:pt x="5861" y="515"/>
                  </a:lnTo>
                  <a:lnTo>
                    <a:pt x="5864" y="489"/>
                  </a:lnTo>
                  <a:lnTo>
                    <a:pt x="5855" y="483"/>
                  </a:lnTo>
                  <a:lnTo>
                    <a:pt x="5842" y="486"/>
                  </a:lnTo>
                  <a:lnTo>
                    <a:pt x="5824" y="465"/>
                  </a:lnTo>
                  <a:lnTo>
                    <a:pt x="5805" y="465"/>
                  </a:lnTo>
                  <a:lnTo>
                    <a:pt x="5784" y="472"/>
                  </a:lnTo>
                  <a:lnTo>
                    <a:pt x="5792" y="506"/>
                  </a:lnTo>
                  <a:lnTo>
                    <a:pt x="5774" y="509"/>
                  </a:lnTo>
                  <a:lnTo>
                    <a:pt x="5758" y="506"/>
                  </a:lnTo>
                  <a:lnTo>
                    <a:pt x="5744" y="517"/>
                  </a:lnTo>
                  <a:lnTo>
                    <a:pt x="5731" y="506"/>
                  </a:lnTo>
                  <a:lnTo>
                    <a:pt x="5725" y="485"/>
                  </a:lnTo>
                  <a:lnTo>
                    <a:pt x="5713" y="486"/>
                  </a:lnTo>
                  <a:lnTo>
                    <a:pt x="5699" y="480"/>
                  </a:lnTo>
                  <a:lnTo>
                    <a:pt x="5700" y="456"/>
                  </a:lnTo>
                  <a:lnTo>
                    <a:pt x="5676" y="443"/>
                  </a:lnTo>
                  <a:lnTo>
                    <a:pt x="5657" y="489"/>
                  </a:lnTo>
                  <a:lnTo>
                    <a:pt x="5641" y="488"/>
                  </a:lnTo>
                  <a:lnTo>
                    <a:pt x="5623" y="486"/>
                  </a:lnTo>
                  <a:lnTo>
                    <a:pt x="5610" y="501"/>
                  </a:lnTo>
                  <a:lnTo>
                    <a:pt x="5586" y="469"/>
                  </a:lnTo>
                  <a:lnTo>
                    <a:pt x="5573" y="515"/>
                  </a:lnTo>
                  <a:lnTo>
                    <a:pt x="5554" y="499"/>
                  </a:lnTo>
                  <a:lnTo>
                    <a:pt x="5540" y="491"/>
                  </a:lnTo>
                  <a:lnTo>
                    <a:pt x="5532" y="464"/>
                  </a:lnTo>
                  <a:lnTo>
                    <a:pt x="5516" y="478"/>
                  </a:lnTo>
                  <a:lnTo>
                    <a:pt x="5498" y="478"/>
                  </a:lnTo>
                  <a:lnTo>
                    <a:pt x="5485" y="501"/>
                  </a:lnTo>
                  <a:lnTo>
                    <a:pt x="5467" y="481"/>
                  </a:lnTo>
                  <a:lnTo>
                    <a:pt x="5453" y="506"/>
                  </a:lnTo>
                  <a:lnTo>
                    <a:pt x="5438" y="489"/>
                  </a:lnTo>
                  <a:lnTo>
                    <a:pt x="5427" y="504"/>
                  </a:lnTo>
                  <a:lnTo>
                    <a:pt x="5413" y="517"/>
                  </a:lnTo>
                  <a:lnTo>
                    <a:pt x="5387" y="525"/>
                  </a:lnTo>
                  <a:lnTo>
                    <a:pt x="5392" y="478"/>
                  </a:lnTo>
                  <a:lnTo>
                    <a:pt x="5372" y="480"/>
                  </a:lnTo>
                  <a:lnTo>
                    <a:pt x="5355" y="478"/>
                  </a:lnTo>
                  <a:lnTo>
                    <a:pt x="5352" y="451"/>
                  </a:lnTo>
                  <a:lnTo>
                    <a:pt x="5335" y="435"/>
                  </a:lnTo>
                  <a:lnTo>
                    <a:pt x="5316" y="446"/>
                  </a:lnTo>
                  <a:lnTo>
                    <a:pt x="5295" y="469"/>
                  </a:lnTo>
                  <a:lnTo>
                    <a:pt x="5284" y="443"/>
                  </a:lnTo>
                  <a:lnTo>
                    <a:pt x="5268" y="446"/>
                  </a:lnTo>
                  <a:lnTo>
                    <a:pt x="5255" y="481"/>
                  </a:lnTo>
                  <a:lnTo>
                    <a:pt x="5239" y="465"/>
                  </a:lnTo>
                  <a:lnTo>
                    <a:pt x="5215" y="452"/>
                  </a:lnTo>
                  <a:lnTo>
                    <a:pt x="5204" y="472"/>
                  </a:lnTo>
                  <a:lnTo>
                    <a:pt x="5189" y="480"/>
                  </a:lnTo>
                  <a:lnTo>
                    <a:pt x="5167" y="456"/>
                  </a:lnTo>
                  <a:lnTo>
                    <a:pt x="5157" y="470"/>
                  </a:lnTo>
                  <a:lnTo>
                    <a:pt x="5147" y="459"/>
                  </a:lnTo>
                  <a:lnTo>
                    <a:pt x="5114" y="488"/>
                  </a:lnTo>
                  <a:lnTo>
                    <a:pt x="5101" y="478"/>
                  </a:lnTo>
                  <a:lnTo>
                    <a:pt x="5099" y="441"/>
                  </a:lnTo>
                  <a:lnTo>
                    <a:pt x="5073" y="460"/>
                  </a:lnTo>
                  <a:lnTo>
                    <a:pt x="5065" y="449"/>
                  </a:lnTo>
                  <a:lnTo>
                    <a:pt x="5041" y="428"/>
                  </a:lnTo>
                  <a:lnTo>
                    <a:pt x="5024" y="430"/>
                  </a:lnTo>
                  <a:lnTo>
                    <a:pt x="5017" y="449"/>
                  </a:lnTo>
                  <a:lnTo>
                    <a:pt x="4990" y="475"/>
                  </a:lnTo>
                  <a:lnTo>
                    <a:pt x="4991" y="433"/>
                  </a:lnTo>
                  <a:lnTo>
                    <a:pt x="4972" y="423"/>
                  </a:lnTo>
                  <a:lnTo>
                    <a:pt x="4951" y="431"/>
                  </a:lnTo>
                  <a:lnTo>
                    <a:pt x="4935" y="435"/>
                  </a:lnTo>
                  <a:lnTo>
                    <a:pt x="4922" y="451"/>
                  </a:lnTo>
                  <a:lnTo>
                    <a:pt x="4896" y="433"/>
                  </a:lnTo>
                  <a:lnTo>
                    <a:pt x="4879" y="438"/>
                  </a:lnTo>
                  <a:lnTo>
                    <a:pt x="4880" y="489"/>
                  </a:lnTo>
                  <a:lnTo>
                    <a:pt x="4861" y="481"/>
                  </a:lnTo>
                  <a:lnTo>
                    <a:pt x="4845" y="469"/>
                  </a:lnTo>
                  <a:lnTo>
                    <a:pt x="4827" y="485"/>
                  </a:lnTo>
                  <a:lnTo>
                    <a:pt x="4805" y="486"/>
                  </a:lnTo>
                  <a:lnTo>
                    <a:pt x="4800" y="457"/>
                  </a:lnTo>
                  <a:lnTo>
                    <a:pt x="4782" y="456"/>
                  </a:lnTo>
                  <a:lnTo>
                    <a:pt x="4782" y="431"/>
                  </a:lnTo>
                  <a:lnTo>
                    <a:pt x="4760" y="433"/>
                  </a:lnTo>
                  <a:lnTo>
                    <a:pt x="4729" y="441"/>
                  </a:lnTo>
                  <a:lnTo>
                    <a:pt x="4739" y="404"/>
                  </a:lnTo>
                  <a:lnTo>
                    <a:pt x="4732" y="423"/>
                  </a:lnTo>
                  <a:lnTo>
                    <a:pt x="4695" y="411"/>
                  </a:lnTo>
                  <a:lnTo>
                    <a:pt x="4732" y="462"/>
                  </a:lnTo>
                  <a:lnTo>
                    <a:pt x="4707" y="459"/>
                  </a:lnTo>
                  <a:lnTo>
                    <a:pt x="4687" y="456"/>
                  </a:lnTo>
                  <a:lnTo>
                    <a:pt x="4676" y="443"/>
                  </a:lnTo>
                  <a:lnTo>
                    <a:pt x="4658" y="477"/>
                  </a:lnTo>
                  <a:lnTo>
                    <a:pt x="4650" y="444"/>
                  </a:lnTo>
                  <a:lnTo>
                    <a:pt x="4654" y="428"/>
                  </a:lnTo>
                  <a:lnTo>
                    <a:pt x="4620" y="441"/>
                  </a:lnTo>
                  <a:lnTo>
                    <a:pt x="4613" y="425"/>
                  </a:lnTo>
                  <a:lnTo>
                    <a:pt x="4589" y="448"/>
                  </a:lnTo>
                  <a:lnTo>
                    <a:pt x="4585" y="433"/>
                  </a:lnTo>
                  <a:lnTo>
                    <a:pt x="4564" y="402"/>
                  </a:lnTo>
                  <a:lnTo>
                    <a:pt x="4556" y="440"/>
                  </a:lnTo>
                  <a:lnTo>
                    <a:pt x="4538" y="438"/>
                  </a:lnTo>
                  <a:lnTo>
                    <a:pt x="4509" y="412"/>
                  </a:lnTo>
                  <a:lnTo>
                    <a:pt x="4507" y="430"/>
                  </a:lnTo>
                  <a:lnTo>
                    <a:pt x="4491" y="433"/>
                  </a:lnTo>
                  <a:lnTo>
                    <a:pt x="4474" y="427"/>
                  </a:lnTo>
                  <a:lnTo>
                    <a:pt x="4457" y="419"/>
                  </a:lnTo>
                  <a:lnTo>
                    <a:pt x="4451" y="388"/>
                  </a:lnTo>
                  <a:lnTo>
                    <a:pt x="4435" y="382"/>
                  </a:lnTo>
                  <a:lnTo>
                    <a:pt x="4419" y="423"/>
                  </a:lnTo>
                  <a:lnTo>
                    <a:pt x="4417" y="425"/>
                  </a:lnTo>
                  <a:lnTo>
                    <a:pt x="4372" y="407"/>
                  </a:lnTo>
                  <a:lnTo>
                    <a:pt x="4395" y="446"/>
                  </a:lnTo>
                  <a:lnTo>
                    <a:pt x="4372" y="438"/>
                  </a:lnTo>
                  <a:lnTo>
                    <a:pt x="4369" y="475"/>
                  </a:lnTo>
                  <a:lnTo>
                    <a:pt x="4358" y="440"/>
                  </a:lnTo>
                  <a:lnTo>
                    <a:pt x="4332" y="460"/>
                  </a:lnTo>
                  <a:lnTo>
                    <a:pt x="4316" y="459"/>
                  </a:lnTo>
                  <a:lnTo>
                    <a:pt x="4313" y="441"/>
                  </a:lnTo>
                  <a:lnTo>
                    <a:pt x="4308" y="414"/>
                  </a:lnTo>
                  <a:lnTo>
                    <a:pt x="4289" y="419"/>
                  </a:lnTo>
                  <a:lnTo>
                    <a:pt x="4271" y="401"/>
                  </a:lnTo>
                  <a:lnTo>
                    <a:pt x="4247" y="402"/>
                  </a:lnTo>
                  <a:lnTo>
                    <a:pt x="4261" y="448"/>
                  </a:lnTo>
                  <a:lnTo>
                    <a:pt x="4245" y="449"/>
                  </a:lnTo>
                  <a:lnTo>
                    <a:pt x="4226" y="435"/>
                  </a:lnTo>
                  <a:lnTo>
                    <a:pt x="4202" y="460"/>
                  </a:lnTo>
                  <a:lnTo>
                    <a:pt x="4184" y="460"/>
                  </a:lnTo>
                  <a:lnTo>
                    <a:pt x="4183" y="454"/>
                  </a:lnTo>
                  <a:lnTo>
                    <a:pt x="4160" y="449"/>
                  </a:lnTo>
                  <a:lnTo>
                    <a:pt x="4165" y="478"/>
                  </a:lnTo>
                  <a:lnTo>
                    <a:pt x="4134" y="460"/>
                  </a:lnTo>
                  <a:lnTo>
                    <a:pt x="4131" y="446"/>
                  </a:lnTo>
                  <a:lnTo>
                    <a:pt x="4126" y="428"/>
                  </a:lnTo>
                  <a:lnTo>
                    <a:pt x="4115" y="420"/>
                  </a:lnTo>
                  <a:lnTo>
                    <a:pt x="4088" y="428"/>
                  </a:lnTo>
                  <a:lnTo>
                    <a:pt x="4072" y="428"/>
                  </a:lnTo>
                  <a:lnTo>
                    <a:pt x="4059" y="465"/>
                  </a:lnTo>
                  <a:lnTo>
                    <a:pt x="4043" y="425"/>
                  </a:lnTo>
                  <a:lnTo>
                    <a:pt x="4023" y="433"/>
                  </a:lnTo>
                  <a:lnTo>
                    <a:pt x="4019" y="402"/>
                  </a:lnTo>
                  <a:lnTo>
                    <a:pt x="4004" y="383"/>
                  </a:lnTo>
                  <a:lnTo>
                    <a:pt x="3978" y="414"/>
                  </a:lnTo>
                  <a:lnTo>
                    <a:pt x="3969" y="383"/>
                  </a:lnTo>
                  <a:lnTo>
                    <a:pt x="3956" y="427"/>
                  </a:lnTo>
                  <a:lnTo>
                    <a:pt x="3928" y="409"/>
                  </a:lnTo>
                  <a:lnTo>
                    <a:pt x="3908" y="411"/>
                  </a:lnTo>
                  <a:lnTo>
                    <a:pt x="3898" y="422"/>
                  </a:lnTo>
                  <a:lnTo>
                    <a:pt x="3930" y="465"/>
                  </a:lnTo>
                  <a:lnTo>
                    <a:pt x="3893" y="444"/>
                  </a:lnTo>
                  <a:lnTo>
                    <a:pt x="3887" y="467"/>
                  </a:lnTo>
                  <a:lnTo>
                    <a:pt x="3871" y="481"/>
                  </a:lnTo>
                  <a:lnTo>
                    <a:pt x="3866" y="435"/>
                  </a:lnTo>
                  <a:lnTo>
                    <a:pt x="3832" y="467"/>
                  </a:lnTo>
                  <a:lnTo>
                    <a:pt x="3827" y="440"/>
                  </a:lnTo>
                  <a:lnTo>
                    <a:pt x="3821" y="414"/>
                  </a:lnTo>
                  <a:lnTo>
                    <a:pt x="3803" y="406"/>
                  </a:lnTo>
                  <a:lnTo>
                    <a:pt x="3787" y="399"/>
                  </a:lnTo>
                  <a:lnTo>
                    <a:pt x="3763" y="415"/>
                  </a:lnTo>
                  <a:lnTo>
                    <a:pt x="3734" y="394"/>
                  </a:lnTo>
                  <a:lnTo>
                    <a:pt x="3745" y="452"/>
                  </a:lnTo>
                  <a:lnTo>
                    <a:pt x="3710" y="417"/>
                  </a:lnTo>
                  <a:lnTo>
                    <a:pt x="3697" y="420"/>
                  </a:lnTo>
                  <a:lnTo>
                    <a:pt x="3686" y="438"/>
                  </a:lnTo>
                  <a:lnTo>
                    <a:pt x="3668" y="462"/>
                  </a:lnTo>
                  <a:lnTo>
                    <a:pt x="3653" y="440"/>
                  </a:lnTo>
                  <a:lnTo>
                    <a:pt x="3642" y="425"/>
                  </a:lnTo>
                  <a:lnTo>
                    <a:pt x="3626" y="456"/>
                  </a:lnTo>
                  <a:lnTo>
                    <a:pt x="3604" y="422"/>
                  </a:lnTo>
                  <a:lnTo>
                    <a:pt x="3605" y="449"/>
                  </a:lnTo>
                  <a:lnTo>
                    <a:pt x="3602" y="469"/>
                  </a:lnTo>
                  <a:lnTo>
                    <a:pt x="3576" y="435"/>
                  </a:lnTo>
                  <a:lnTo>
                    <a:pt x="3554" y="469"/>
                  </a:lnTo>
                  <a:lnTo>
                    <a:pt x="3546" y="448"/>
                  </a:lnTo>
                  <a:lnTo>
                    <a:pt x="3533" y="462"/>
                  </a:lnTo>
                  <a:lnTo>
                    <a:pt x="3510" y="436"/>
                  </a:lnTo>
                  <a:lnTo>
                    <a:pt x="3525" y="477"/>
                  </a:lnTo>
                  <a:lnTo>
                    <a:pt x="3504" y="475"/>
                  </a:lnTo>
                  <a:lnTo>
                    <a:pt x="3483" y="489"/>
                  </a:lnTo>
                  <a:lnTo>
                    <a:pt x="3457" y="481"/>
                  </a:lnTo>
                  <a:lnTo>
                    <a:pt x="3448" y="469"/>
                  </a:lnTo>
                  <a:lnTo>
                    <a:pt x="3446" y="448"/>
                  </a:lnTo>
                  <a:lnTo>
                    <a:pt x="3438" y="440"/>
                  </a:lnTo>
                  <a:lnTo>
                    <a:pt x="3430" y="452"/>
                  </a:lnTo>
                  <a:lnTo>
                    <a:pt x="3422" y="477"/>
                  </a:lnTo>
                  <a:lnTo>
                    <a:pt x="3395" y="464"/>
                  </a:lnTo>
                  <a:lnTo>
                    <a:pt x="3372" y="435"/>
                  </a:lnTo>
                  <a:lnTo>
                    <a:pt x="3364" y="478"/>
                  </a:lnTo>
                  <a:lnTo>
                    <a:pt x="3343" y="494"/>
                  </a:lnTo>
                  <a:lnTo>
                    <a:pt x="3330" y="460"/>
                  </a:lnTo>
                  <a:lnTo>
                    <a:pt x="3308" y="481"/>
                  </a:lnTo>
                  <a:lnTo>
                    <a:pt x="3300" y="462"/>
                  </a:lnTo>
                  <a:lnTo>
                    <a:pt x="3277" y="443"/>
                  </a:lnTo>
                  <a:lnTo>
                    <a:pt x="3272" y="477"/>
                  </a:lnTo>
                  <a:lnTo>
                    <a:pt x="3256" y="448"/>
                  </a:lnTo>
                  <a:lnTo>
                    <a:pt x="3258" y="441"/>
                  </a:lnTo>
                  <a:lnTo>
                    <a:pt x="3206" y="469"/>
                  </a:lnTo>
                  <a:lnTo>
                    <a:pt x="3208" y="446"/>
                  </a:lnTo>
                  <a:lnTo>
                    <a:pt x="3208" y="415"/>
                  </a:lnTo>
                  <a:lnTo>
                    <a:pt x="3182" y="414"/>
                  </a:lnTo>
                  <a:lnTo>
                    <a:pt x="3176" y="440"/>
                  </a:lnTo>
                  <a:lnTo>
                    <a:pt x="3160" y="459"/>
                  </a:lnTo>
                  <a:lnTo>
                    <a:pt x="3152" y="423"/>
                  </a:lnTo>
                  <a:lnTo>
                    <a:pt x="3116" y="452"/>
                  </a:lnTo>
                  <a:lnTo>
                    <a:pt x="3112" y="428"/>
                  </a:lnTo>
                  <a:lnTo>
                    <a:pt x="3099" y="391"/>
                  </a:lnTo>
                  <a:lnTo>
                    <a:pt x="3083" y="417"/>
                  </a:lnTo>
                  <a:lnTo>
                    <a:pt x="3068" y="419"/>
                  </a:lnTo>
                  <a:lnTo>
                    <a:pt x="3052" y="420"/>
                  </a:lnTo>
                  <a:lnTo>
                    <a:pt x="3038" y="428"/>
                  </a:lnTo>
                  <a:lnTo>
                    <a:pt x="3022" y="428"/>
                  </a:lnTo>
                  <a:lnTo>
                    <a:pt x="3005" y="440"/>
                  </a:lnTo>
                  <a:lnTo>
                    <a:pt x="2991" y="399"/>
                  </a:lnTo>
                  <a:lnTo>
                    <a:pt x="2970" y="407"/>
                  </a:lnTo>
                  <a:lnTo>
                    <a:pt x="2952" y="420"/>
                  </a:lnTo>
                  <a:lnTo>
                    <a:pt x="2959" y="467"/>
                  </a:lnTo>
                  <a:lnTo>
                    <a:pt x="2925" y="431"/>
                  </a:lnTo>
                  <a:lnTo>
                    <a:pt x="2901" y="473"/>
                  </a:lnTo>
                  <a:lnTo>
                    <a:pt x="2901" y="427"/>
                  </a:lnTo>
                  <a:lnTo>
                    <a:pt x="2886" y="423"/>
                  </a:lnTo>
                  <a:lnTo>
                    <a:pt x="2867" y="422"/>
                  </a:lnTo>
                  <a:lnTo>
                    <a:pt x="2841" y="425"/>
                  </a:lnTo>
                  <a:lnTo>
                    <a:pt x="2838" y="388"/>
                  </a:lnTo>
                  <a:lnTo>
                    <a:pt x="2833" y="422"/>
                  </a:lnTo>
                  <a:lnTo>
                    <a:pt x="2800" y="401"/>
                  </a:lnTo>
                  <a:lnTo>
                    <a:pt x="2795" y="420"/>
                  </a:lnTo>
                  <a:lnTo>
                    <a:pt x="2788" y="438"/>
                  </a:lnTo>
                  <a:lnTo>
                    <a:pt x="2795" y="406"/>
                  </a:lnTo>
                  <a:lnTo>
                    <a:pt x="2764" y="419"/>
                  </a:lnTo>
                  <a:lnTo>
                    <a:pt x="2747" y="417"/>
                  </a:lnTo>
                  <a:lnTo>
                    <a:pt x="2745" y="388"/>
                  </a:lnTo>
                  <a:lnTo>
                    <a:pt x="2722" y="386"/>
                  </a:lnTo>
                  <a:lnTo>
                    <a:pt x="2703" y="377"/>
                  </a:lnTo>
                  <a:lnTo>
                    <a:pt x="2698" y="422"/>
                  </a:lnTo>
                  <a:lnTo>
                    <a:pt x="2684" y="436"/>
                  </a:lnTo>
                  <a:lnTo>
                    <a:pt x="2666" y="419"/>
                  </a:lnTo>
                  <a:lnTo>
                    <a:pt x="2648" y="412"/>
                  </a:lnTo>
                  <a:lnTo>
                    <a:pt x="2644" y="446"/>
                  </a:lnTo>
                  <a:lnTo>
                    <a:pt x="2623" y="443"/>
                  </a:lnTo>
                  <a:lnTo>
                    <a:pt x="2603" y="462"/>
                  </a:lnTo>
                  <a:lnTo>
                    <a:pt x="2595" y="404"/>
                  </a:lnTo>
                  <a:lnTo>
                    <a:pt x="2566" y="444"/>
                  </a:lnTo>
                  <a:lnTo>
                    <a:pt x="2557" y="420"/>
                  </a:lnTo>
                  <a:lnTo>
                    <a:pt x="2539" y="422"/>
                  </a:lnTo>
                  <a:lnTo>
                    <a:pt x="2528" y="446"/>
                  </a:lnTo>
                  <a:lnTo>
                    <a:pt x="2509" y="462"/>
                  </a:lnTo>
                  <a:lnTo>
                    <a:pt x="2497" y="422"/>
                  </a:lnTo>
                  <a:lnTo>
                    <a:pt x="2470" y="454"/>
                  </a:lnTo>
                  <a:lnTo>
                    <a:pt x="2465" y="396"/>
                  </a:lnTo>
                  <a:lnTo>
                    <a:pt x="2446" y="409"/>
                  </a:lnTo>
                  <a:lnTo>
                    <a:pt x="2435" y="448"/>
                  </a:lnTo>
                  <a:lnTo>
                    <a:pt x="2420" y="406"/>
                  </a:lnTo>
                  <a:lnTo>
                    <a:pt x="2407" y="409"/>
                  </a:lnTo>
                  <a:lnTo>
                    <a:pt x="2386" y="412"/>
                  </a:lnTo>
                  <a:lnTo>
                    <a:pt x="2374" y="382"/>
                  </a:lnTo>
                  <a:lnTo>
                    <a:pt x="2353" y="399"/>
                  </a:lnTo>
                  <a:lnTo>
                    <a:pt x="2333" y="391"/>
                  </a:lnTo>
                  <a:lnTo>
                    <a:pt x="2324" y="411"/>
                  </a:lnTo>
                  <a:lnTo>
                    <a:pt x="2312" y="402"/>
                  </a:lnTo>
                  <a:lnTo>
                    <a:pt x="2308" y="380"/>
                  </a:lnTo>
                  <a:lnTo>
                    <a:pt x="2272" y="402"/>
                  </a:lnTo>
                  <a:lnTo>
                    <a:pt x="2274" y="353"/>
                  </a:lnTo>
                  <a:lnTo>
                    <a:pt x="2250" y="382"/>
                  </a:lnTo>
                  <a:lnTo>
                    <a:pt x="2226" y="398"/>
                  </a:lnTo>
                  <a:lnTo>
                    <a:pt x="2219" y="370"/>
                  </a:lnTo>
                  <a:lnTo>
                    <a:pt x="2197" y="375"/>
                  </a:lnTo>
                  <a:lnTo>
                    <a:pt x="2193" y="325"/>
                  </a:lnTo>
                  <a:lnTo>
                    <a:pt x="2184" y="377"/>
                  </a:lnTo>
                  <a:lnTo>
                    <a:pt x="2158" y="362"/>
                  </a:lnTo>
                  <a:lnTo>
                    <a:pt x="2140" y="388"/>
                  </a:lnTo>
                  <a:lnTo>
                    <a:pt x="2115" y="377"/>
                  </a:lnTo>
                  <a:lnTo>
                    <a:pt x="2131" y="343"/>
                  </a:lnTo>
                  <a:lnTo>
                    <a:pt x="2134" y="320"/>
                  </a:lnTo>
                  <a:lnTo>
                    <a:pt x="2099" y="353"/>
                  </a:lnTo>
                  <a:lnTo>
                    <a:pt x="2094" y="341"/>
                  </a:lnTo>
                  <a:lnTo>
                    <a:pt x="2087" y="361"/>
                  </a:lnTo>
                  <a:lnTo>
                    <a:pt x="2057" y="328"/>
                  </a:lnTo>
                  <a:lnTo>
                    <a:pt x="2052" y="370"/>
                  </a:lnTo>
                  <a:lnTo>
                    <a:pt x="2041" y="338"/>
                  </a:lnTo>
                  <a:lnTo>
                    <a:pt x="2015" y="361"/>
                  </a:lnTo>
                  <a:lnTo>
                    <a:pt x="2017" y="307"/>
                  </a:lnTo>
                  <a:lnTo>
                    <a:pt x="1989" y="353"/>
                  </a:lnTo>
                  <a:lnTo>
                    <a:pt x="1984" y="299"/>
                  </a:lnTo>
                  <a:lnTo>
                    <a:pt x="1960" y="332"/>
                  </a:lnTo>
                  <a:lnTo>
                    <a:pt x="1951" y="314"/>
                  </a:lnTo>
                  <a:lnTo>
                    <a:pt x="1926" y="317"/>
                  </a:lnTo>
                  <a:lnTo>
                    <a:pt x="1923" y="301"/>
                  </a:lnTo>
                  <a:lnTo>
                    <a:pt x="1898" y="290"/>
                  </a:lnTo>
                  <a:lnTo>
                    <a:pt x="1907" y="330"/>
                  </a:lnTo>
                  <a:lnTo>
                    <a:pt x="1862" y="301"/>
                  </a:lnTo>
                  <a:lnTo>
                    <a:pt x="1867" y="319"/>
                  </a:lnTo>
                  <a:lnTo>
                    <a:pt x="1859" y="325"/>
                  </a:lnTo>
                  <a:lnTo>
                    <a:pt x="1848" y="317"/>
                  </a:lnTo>
                  <a:lnTo>
                    <a:pt x="1832" y="312"/>
                  </a:lnTo>
                  <a:lnTo>
                    <a:pt x="1819" y="324"/>
                  </a:lnTo>
                  <a:lnTo>
                    <a:pt x="1814" y="309"/>
                  </a:lnTo>
                  <a:lnTo>
                    <a:pt x="1796" y="283"/>
                  </a:lnTo>
                  <a:lnTo>
                    <a:pt x="1780" y="303"/>
                  </a:lnTo>
                  <a:lnTo>
                    <a:pt x="1775" y="267"/>
                  </a:lnTo>
                  <a:lnTo>
                    <a:pt x="1745" y="309"/>
                  </a:lnTo>
                  <a:lnTo>
                    <a:pt x="1737" y="296"/>
                  </a:lnTo>
                  <a:lnTo>
                    <a:pt x="1727" y="317"/>
                  </a:lnTo>
                  <a:lnTo>
                    <a:pt x="1698" y="269"/>
                  </a:lnTo>
                  <a:lnTo>
                    <a:pt x="1688" y="296"/>
                  </a:lnTo>
                  <a:lnTo>
                    <a:pt x="1684" y="274"/>
                  </a:lnTo>
                  <a:lnTo>
                    <a:pt x="1648" y="285"/>
                  </a:lnTo>
                  <a:lnTo>
                    <a:pt x="1643" y="277"/>
                  </a:lnTo>
                  <a:lnTo>
                    <a:pt x="1632" y="259"/>
                  </a:lnTo>
                  <a:lnTo>
                    <a:pt x="1631" y="288"/>
                  </a:lnTo>
                  <a:lnTo>
                    <a:pt x="1616" y="293"/>
                  </a:lnTo>
                  <a:lnTo>
                    <a:pt x="1590" y="304"/>
                  </a:lnTo>
                  <a:lnTo>
                    <a:pt x="1581" y="275"/>
                  </a:lnTo>
                  <a:lnTo>
                    <a:pt x="1566" y="266"/>
                  </a:lnTo>
                  <a:lnTo>
                    <a:pt x="1590" y="228"/>
                  </a:lnTo>
                  <a:lnTo>
                    <a:pt x="1560" y="235"/>
                  </a:lnTo>
                  <a:lnTo>
                    <a:pt x="1544" y="237"/>
                  </a:lnTo>
                  <a:lnTo>
                    <a:pt x="1544" y="267"/>
                  </a:lnTo>
                  <a:lnTo>
                    <a:pt x="1508" y="232"/>
                  </a:lnTo>
                  <a:lnTo>
                    <a:pt x="1508" y="283"/>
                  </a:lnTo>
                  <a:lnTo>
                    <a:pt x="1484" y="283"/>
                  </a:lnTo>
                  <a:lnTo>
                    <a:pt x="1468" y="282"/>
                  </a:lnTo>
                  <a:lnTo>
                    <a:pt x="1460" y="251"/>
                  </a:lnTo>
                  <a:lnTo>
                    <a:pt x="1431" y="251"/>
                  </a:lnTo>
                  <a:lnTo>
                    <a:pt x="1442" y="224"/>
                  </a:lnTo>
                  <a:lnTo>
                    <a:pt x="1439" y="206"/>
                  </a:lnTo>
                  <a:lnTo>
                    <a:pt x="1430" y="183"/>
                  </a:lnTo>
                  <a:lnTo>
                    <a:pt x="1415" y="211"/>
                  </a:lnTo>
                  <a:lnTo>
                    <a:pt x="1388" y="190"/>
                  </a:lnTo>
                  <a:lnTo>
                    <a:pt x="1385" y="199"/>
                  </a:lnTo>
                  <a:lnTo>
                    <a:pt x="1388" y="198"/>
                  </a:lnTo>
                  <a:lnTo>
                    <a:pt x="1375" y="217"/>
                  </a:lnTo>
                  <a:lnTo>
                    <a:pt x="1380" y="208"/>
                  </a:lnTo>
                  <a:lnTo>
                    <a:pt x="1385" y="199"/>
                  </a:lnTo>
                  <a:lnTo>
                    <a:pt x="1332" y="214"/>
                  </a:lnTo>
                  <a:lnTo>
                    <a:pt x="1333" y="193"/>
                  </a:lnTo>
                  <a:lnTo>
                    <a:pt x="1341" y="166"/>
                  </a:lnTo>
                  <a:lnTo>
                    <a:pt x="1322" y="172"/>
                  </a:lnTo>
                  <a:lnTo>
                    <a:pt x="1304" y="185"/>
                  </a:lnTo>
                  <a:lnTo>
                    <a:pt x="1293" y="167"/>
                  </a:lnTo>
                  <a:lnTo>
                    <a:pt x="1272" y="162"/>
                  </a:lnTo>
                  <a:lnTo>
                    <a:pt x="1250" y="161"/>
                  </a:lnTo>
                  <a:lnTo>
                    <a:pt x="1262" y="198"/>
                  </a:lnTo>
                  <a:lnTo>
                    <a:pt x="1246" y="201"/>
                  </a:lnTo>
                  <a:lnTo>
                    <a:pt x="1235" y="195"/>
                  </a:lnTo>
                  <a:lnTo>
                    <a:pt x="1229" y="193"/>
                  </a:lnTo>
                  <a:lnTo>
                    <a:pt x="1221" y="174"/>
                  </a:lnTo>
                  <a:lnTo>
                    <a:pt x="1180" y="206"/>
                  </a:lnTo>
                  <a:lnTo>
                    <a:pt x="1180" y="175"/>
                  </a:lnTo>
                  <a:lnTo>
                    <a:pt x="1168" y="164"/>
                  </a:lnTo>
                  <a:lnTo>
                    <a:pt x="1147" y="175"/>
                  </a:lnTo>
                  <a:lnTo>
                    <a:pt x="1129" y="182"/>
                  </a:lnTo>
                  <a:lnTo>
                    <a:pt x="1118" y="166"/>
                  </a:lnTo>
                  <a:lnTo>
                    <a:pt x="1108" y="177"/>
                  </a:lnTo>
                  <a:lnTo>
                    <a:pt x="1103" y="179"/>
                  </a:lnTo>
                  <a:lnTo>
                    <a:pt x="1082" y="167"/>
                  </a:lnTo>
                  <a:lnTo>
                    <a:pt x="1066" y="162"/>
                  </a:lnTo>
                  <a:lnTo>
                    <a:pt x="1049" y="193"/>
                  </a:lnTo>
                  <a:lnTo>
                    <a:pt x="1069" y="143"/>
                  </a:lnTo>
                  <a:lnTo>
                    <a:pt x="1026" y="156"/>
                  </a:lnTo>
                  <a:lnTo>
                    <a:pt x="1003" y="153"/>
                  </a:lnTo>
                  <a:lnTo>
                    <a:pt x="1020" y="114"/>
                  </a:lnTo>
                  <a:lnTo>
                    <a:pt x="995" y="114"/>
                  </a:lnTo>
                  <a:lnTo>
                    <a:pt x="975" y="106"/>
                  </a:lnTo>
                  <a:lnTo>
                    <a:pt x="967" y="151"/>
                  </a:lnTo>
                  <a:lnTo>
                    <a:pt x="941" y="151"/>
                  </a:lnTo>
                  <a:lnTo>
                    <a:pt x="928" y="140"/>
                  </a:lnTo>
                  <a:lnTo>
                    <a:pt x="925" y="140"/>
                  </a:lnTo>
                  <a:lnTo>
                    <a:pt x="909" y="116"/>
                  </a:lnTo>
                  <a:lnTo>
                    <a:pt x="884" y="108"/>
                  </a:lnTo>
                  <a:lnTo>
                    <a:pt x="875" y="137"/>
                  </a:lnTo>
                  <a:lnTo>
                    <a:pt x="843" y="137"/>
                  </a:lnTo>
                  <a:lnTo>
                    <a:pt x="872" y="96"/>
                  </a:lnTo>
                  <a:lnTo>
                    <a:pt x="825" y="108"/>
                  </a:lnTo>
                  <a:lnTo>
                    <a:pt x="844" y="69"/>
                  </a:lnTo>
                  <a:lnTo>
                    <a:pt x="822" y="98"/>
                  </a:lnTo>
                  <a:lnTo>
                    <a:pt x="806" y="109"/>
                  </a:lnTo>
                  <a:lnTo>
                    <a:pt x="796" y="46"/>
                  </a:lnTo>
                  <a:lnTo>
                    <a:pt x="770" y="93"/>
                  </a:lnTo>
                  <a:lnTo>
                    <a:pt x="762" y="67"/>
                  </a:lnTo>
                  <a:lnTo>
                    <a:pt x="746" y="63"/>
                  </a:lnTo>
                  <a:lnTo>
                    <a:pt x="720" y="53"/>
                  </a:lnTo>
                  <a:lnTo>
                    <a:pt x="727" y="90"/>
                  </a:lnTo>
                  <a:lnTo>
                    <a:pt x="714" y="100"/>
                  </a:lnTo>
                  <a:lnTo>
                    <a:pt x="695" y="75"/>
                  </a:lnTo>
                  <a:lnTo>
                    <a:pt x="672" y="103"/>
                  </a:lnTo>
                  <a:lnTo>
                    <a:pt x="682" y="59"/>
                  </a:lnTo>
                  <a:lnTo>
                    <a:pt x="648" y="85"/>
                  </a:lnTo>
                  <a:lnTo>
                    <a:pt x="635" y="95"/>
                  </a:lnTo>
                  <a:lnTo>
                    <a:pt x="621" y="77"/>
                  </a:lnTo>
                  <a:lnTo>
                    <a:pt x="608" y="98"/>
                  </a:lnTo>
                  <a:lnTo>
                    <a:pt x="589" y="58"/>
                  </a:lnTo>
                  <a:lnTo>
                    <a:pt x="574" y="63"/>
                  </a:lnTo>
                  <a:lnTo>
                    <a:pt x="555" y="45"/>
                  </a:lnTo>
                  <a:lnTo>
                    <a:pt x="539" y="51"/>
                  </a:lnTo>
                  <a:lnTo>
                    <a:pt x="534" y="109"/>
                  </a:lnTo>
                  <a:lnTo>
                    <a:pt x="507" y="114"/>
                  </a:lnTo>
                  <a:lnTo>
                    <a:pt x="492" y="87"/>
                  </a:lnTo>
                  <a:lnTo>
                    <a:pt x="484" y="67"/>
                  </a:lnTo>
                  <a:lnTo>
                    <a:pt x="476" y="40"/>
                  </a:lnTo>
                  <a:lnTo>
                    <a:pt x="447" y="87"/>
                  </a:lnTo>
                  <a:lnTo>
                    <a:pt x="434" y="75"/>
                  </a:lnTo>
                  <a:lnTo>
                    <a:pt x="420" y="63"/>
                  </a:lnTo>
                  <a:lnTo>
                    <a:pt x="407" y="50"/>
                  </a:lnTo>
                  <a:lnTo>
                    <a:pt x="394" y="38"/>
                  </a:lnTo>
                  <a:lnTo>
                    <a:pt x="381" y="22"/>
                  </a:lnTo>
                  <a:lnTo>
                    <a:pt x="365" y="48"/>
                  </a:lnTo>
                  <a:lnTo>
                    <a:pt x="346" y="1"/>
                  </a:lnTo>
                  <a:lnTo>
                    <a:pt x="333" y="35"/>
                  </a:lnTo>
                  <a:lnTo>
                    <a:pt x="325" y="13"/>
                  </a:lnTo>
                  <a:lnTo>
                    <a:pt x="314" y="0"/>
                  </a:lnTo>
                  <a:lnTo>
                    <a:pt x="288" y="19"/>
                  </a:lnTo>
                  <a:lnTo>
                    <a:pt x="275" y="24"/>
                  </a:lnTo>
                  <a:lnTo>
                    <a:pt x="259" y="24"/>
                  </a:lnTo>
                  <a:lnTo>
                    <a:pt x="251" y="45"/>
                  </a:lnTo>
                  <a:lnTo>
                    <a:pt x="240" y="51"/>
                  </a:lnTo>
                  <a:lnTo>
                    <a:pt x="214" y="34"/>
                  </a:lnTo>
                  <a:lnTo>
                    <a:pt x="187" y="16"/>
                  </a:lnTo>
                  <a:lnTo>
                    <a:pt x="182" y="46"/>
                  </a:lnTo>
                  <a:lnTo>
                    <a:pt x="169" y="59"/>
                  </a:lnTo>
                  <a:lnTo>
                    <a:pt x="151" y="50"/>
                  </a:lnTo>
                  <a:lnTo>
                    <a:pt x="142" y="43"/>
                  </a:lnTo>
                  <a:lnTo>
                    <a:pt x="121" y="38"/>
                  </a:lnTo>
                  <a:lnTo>
                    <a:pt x="106" y="30"/>
                  </a:lnTo>
                  <a:lnTo>
                    <a:pt x="106" y="17"/>
                  </a:lnTo>
                  <a:lnTo>
                    <a:pt x="85" y="5"/>
                  </a:lnTo>
                  <a:lnTo>
                    <a:pt x="71" y="14"/>
                  </a:lnTo>
                  <a:lnTo>
                    <a:pt x="68" y="48"/>
                  </a:lnTo>
                  <a:lnTo>
                    <a:pt x="53" y="59"/>
                  </a:lnTo>
                  <a:lnTo>
                    <a:pt x="19" y="25"/>
                  </a:lnTo>
                  <a:lnTo>
                    <a:pt x="10" y="29"/>
                  </a:lnTo>
                  <a:lnTo>
                    <a:pt x="3" y="25"/>
                  </a:lnTo>
                  <a:lnTo>
                    <a:pt x="0" y="29"/>
                  </a:lnTo>
                  <a:lnTo>
                    <a:pt x="0" y="2518"/>
                  </a:lnTo>
                  <a:lnTo>
                    <a:pt x="10" y="2518"/>
                  </a:lnTo>
                  <a:close/>
                </a:path>
              </a:pathLst>
            </a:custGeom>
            <a:solidFill>
              <a:srgbClr val="F5F5F0"/>
            </a:solidFill>
            <a:ln w="9525" cap="flat">
              <a:noFill/>
              <a:prstDash val="solid"/>
              <a:miter/>
            </a:ln>
            <a:effectLst>
              <a:outerShdw blurRad="88900" dist="50800" dir="5400000" algn="ctr" rotWithShape="0">
                <a:srgbClr val="000000">
                  <a:alpha val="75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F465AFEA-4245-44B4-8DB8-D3363AF8F0AE}"/>
                </a:ext>
              </a:extLst>
            </p:cNvPr>
            <p:cNvSpPr/>
            <p:nvPr/>
          </p:nvSpPr>
          <p:spPr bwMode="auto">
            <a:xfrm>
              <a:off x="7183766" y="5224822"/>
              <a:ext cx="3559106" cy="77287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400" b="1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treit in der EZB „wer legt das </a:t>
              </a:r>
            </a:p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400" b="1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Konvertierungsreferenz (Goldstandard) </a:t>
              </a:r>
              <a:br>
                <a:rPr lang="de-DE" sz="1400" b="1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</a:br>
              <a:r>
                <a:rPr lang="de-DE" sz="1400" b="1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von Daten fest ?“</a:t>
              </a:r>
            </a:p>
          </p:txBody>
        </p:sp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C742823A-A4E1-4F09-802F-F25D26E6E7F1}"/>
              </a:ext>
            </a:extLst>
          </p:cNvPr>
          <p:cNvGrpSpPr/>
          <p:nvPr/>
        </p:nvGrpSpPr>
        <p:grpSpPr>
          <a:xfrm>
            <a:off x="1913430" y="1458976"/>
            <a:ext cx="3786117" cy="1571633"/>
            <a:chOff x="1913430" y="1458976"/>
            <a:chExt cx="3786117" cy="1571633"/>
          </a:xfrm>
        </p:grpSpPr>
        <p:sp>
          <p:nvSpPr>
            <p:cNvPr id="40" name="Freeform 79">
              <a:extLst>
                <a:ext uri="{FF2B5EF4-FFF2-40B4-BE49-F238E27FC236}">
                  <a16:creationId xmlns:a16="http://schemas.microsoft.com/office/drawing/2014/main" id="{982E3465-2CC3-4ECE-9274-ED8D481395D7}"/>
                </a:ext>
              </a:extLst>
            </p:cNvPr>
            <p:cNvSpPr>
              <a:spLocks/>
            </p:cNvSpPr>
            <p:nvPr/>
          </p:nvSpPr>
          <p:spPr bwMode="auto">
            <a:xfrm rot="10800000" flipH="1">
              <a:off x="1913430" y="1458976"/>
              <a:ext cx="3786117" cy="1571633"/>
            </a:xfrm>
            <a:custGeom>
              <a:avLst/>
              <a:gdLst>
                <a:gd name="T0" fmla="*/ 283 w 7680"/>
                <a:gd name="T1" fmla="*/ 2552 h 3188"/>
                <a:gd name="T2" fmla="*/ 397 w 7680"/>
                <a:gd name="T3" fmla="*/ 2764 h 3188"/>
                <a:gd name="T4" fmla="*/ 539 w 7680"/>
                <a:gd name="T5" fmla="*/ 2797 h 3188"/>
                <a:gd name="T6" fmla="*/ 722 w 7680"/>
                <a:gd name="T7" fmla="*/ 2771 h 3188"/>
                <a:gd name="T8" fmla="*/ 950 w 7680"/>
                <a:gd name="T9" fmla="*/ 2803 h 3188"/>
                <a:gd name="T10" fmla="*/ 1187 w 7680"/>
                <a:gd name="T11" fmla="*/ 2713 h 3188"/>
                <a:gd name="T12" fmla="*/ 1344 w 7680"/>
                <a:gd name="T13" fmla="*/ 2797 h 3188"/>
                <a:gd name="T14" fmla="*/ 1455 w 7680"/>
                <a:gd name="T15" fmla="*/ 2724 h 3188"/>
                <a:gd name="T16" fmla="*/ 1685 w 7680"/>
                <a:gd name="T17" fmla="*/ 2867 h 3188"/>
                <a:gd name="T18" fmla="*/ 1885 w 7680"/>
                <a:gd name="T19" fmla="*/ 2948 h 3188"/>
                <a:gd name="T20" fmla="*/ 2078 w 7680"/>
                <a:gd name="T21" fmla="*/ 2940 h 3188"/>
                <a:gd name="T22" fmla="*/ 2337 w 7680"/>
                <a:gd name="T23" fmla="*/ 3067 h 3188"/>
                <a:gd name="T24" fmla="*/ 2575 w 7680"/>
                <a:gd name="T25" fmla="*/ 3148 h 3188"/>
                <a:gd name="T26" fmla="*/ 2764 w 7680"/>
                <a:gd name="T27" fmla="*/ 3062 h 3188"/>
                <a:gd name="T28" fmla="*/ 3001 w 7680"/>
                <a:gd name="T29" fmla="*/ 2900 h 3188"/>
                <a:gd name="T30" fmla="*/ 3306 w 7680"/>
                <a:gd name="T31" fmla="*/ 2892 h 3188"/>
                <a:gd name="T32" fmla="*/ 3459 w 7680"/>
                <a:gd name="T33" fmla="*/ 2946 h 3188"/>
                <a:gd name="T34" fmla="*/ 3734 w 7680"/>
                <a:gd name="T35" fmla="*/ 2980 h 3188"/>
                <a:gd name="T36" fmla="*/ 3959 w 7680"/>
                <a:gd name="T37" fmla="*/ 3062 h 3188"/>
                <a:gd name="T38" fmla="*/ 4229 w 7680"/>
                <a:gd name="T39" fmla="*/ 3096 h 3188"/>
                <a:gd name="T40" fmla="*/ 4438 w 7680"/>
                <a:gd name="T41" fmla="*/ 2972 h 3188"/>
                <a:gd name="T42" fmla="*/ 4676 w 7680"/>
                <a:gd name="T43" fmla="*/ 2850 h 3188"/>
                <a:gd name="T44" fmla="*/ 4982 w 7680"/>
                <a:gd name="T45" fmla="*/ 2924 h 3188"/>
                <a:gd name="T46" fmla="*/ 5162 w 7680"/>
                <a:gd name="T47" fmla="*/ 2906 h 3188"/>
                <a:gd name="T48" fmla="*/ 5471 w 7680"/>
                <a:gd name="T49" fmla="*/ 2850 h 3188"/>
                <a:gd name="T50" fmla="*/ 5773 w 7680"/>
                <a:gd name="T51" fmla="*/ 2856 h 3188"/>
                <a:gd name="T52" fmla="*/ 6046 w 7680"/>
                <a:gd name="T53" fmla="*/ 2925 h 3188"/>
                <a:gd name="T54" fmla="*/ 6291 w 7680"/>
                <a:gd name="T55" fmla="*/ 3004 h 3188"/>
                <a:gd name="T56" fmla="*/ 6583 w 7680"/>
                <a:gd name="T57" fmla="*/ 3035 h 3188"/>
                <a:gd name="T58" fmla="*/ 6794 w 7680"/>
                <a:gd name="T59" fmla="*/ 2938 h 3188"/>
                <a:gd name="T60" fmla="*/ 7040 w 7680"/>
                <a:gd name="T61" fmla="*/ 2971 h 3188"/>
                <a:gd name="T62" fmla="*/ 7315 w 7680"/>
                <a:gd name="T63" fmla="*/ 2983 h 3188"/>
                <a:gd name="T64" fmla="*/ 7587 w 7680"/>
                <a:gd name="T65" fmla="*/ 2925 h 3188"/>
                <a:gd name="T66" fmla="*/ 7526 w 7680"/>
                <a:gd name="T67" fmla="*/ 417 h 3188"/>
                <a:gd name="T68" fmla="*/ 7246 w 7680"/>
                <a:gd name="T69" fmla="*/ 472 h 3188"/>
                <a:gd name="T70" fmla="*/ 6958 w 7680"/>
                <a:gd name="T71" fmla="*/ 467 h 3188"/>
                <a:gd name="T72" fmla="*/ 6741 w 7680"/>
                <a:gd name="T73" fmla="*/ 502 h 3188"/>
                <a:gd name="T74" fmla="*/ 6535 w 7680"/>
                <a:gd name="T75" fmla="*/ 535 h 3188"/>
                <a:gd name="T76" fmla="*/ 6271 w 7680"/>
                <a:gd name="T77" fmla="*/ 486 h 3188"/>
                <a:gd name="T78" fmla="*/ 5963 w 7680"/>
                <a:gd name="T79" fmla="*/ 504 h 3188"/>
                <a:gd name="T80" fmla="*/ 5713 w 7680"/>
                <a:gd name="T81" fmla="*/ 486 h 3188"/>
                <a:gd name="T82" fmla="*/ 5427 w 7680"/>
                <a:gd name="T83" fmla="*/ 504 h 3188"/>
                <a:gd name="T84" fmla="*/ 5147 w 7680"/>
                <a:gd name="T85" fmla="*/ 459 h 3188"/>
                <a:gd name="T86" fmla="*/ 4845 w 7680"/>
                <a:gd name="T87" fmla="*/ 469 h 3188"/>
                <a:gd name="T88" fmla="*/ 4613 w 7680"/>
                <a:gd name="T89" fmla="*/ 425 h 3188"/>
                <a:gd name="T90" fmla="*/ 4358 w 7680"/>
                <a:gd name="T91" fmla="*/ 440 h 3188"/>
                <a:gd name="T92" fmla="*/ 4115 w 7680"/>
                <a:gd name="T93" fmla="*/ 420 h 3188"/>
                <a:gd name="T94" fmla="*/ 3832 w 7680"/>
                <a:gd name="T95" fmla="*/ 467 h 3188"/>
                <a:gd name="T96" fmla="*/ 3554 w 7680"/>
                <a:gd name="T97" fmla="*/ 469 h 3188"/>
                <a:gd name="T98" fmla="*/ 3300 w 7680"/>
                <a:gd name="T99" fmla="*/ 462 h 3188"/>
                <a:gd name="T100" fmla="*/ 3022 w 7680"/>
                <a:gd name="T101" fmla="*/ 428 h 3188"/>
                <a:gd name="T102" fmla="*/ 2747 w 7680"/>
                <a:gd name="T103" fmla="*/ 417 h 3188"/>
                <a:gd name="T104" fmla="*/ 2465 w 7680"/>
                <a:gd name="T105" fmla="*/ 396 h 3188"/>
                <a:gd name="T106" fmla="*/ 2184 w 7680"/>
                <a:gd name="T107" fmla="*/ 377 h 3188"/>
                <a:gd name="T108" fmla="*/ 1923 w 7680"/>
                <a:gd name="T109" fmla="*/ 301 h 3188"/>
                <a:gd name="T110" fmla="*/ 1648 w 7680"/>
                <a:gd name="T111" fmla="*/ 285 h 3188"/>
                <a:gd name="T112" fmla="*/ 1439 w 7680"/>
                <a:gd name="T113" fmla="*/ 206 h 3188"/>
                <a:gd name="T114" fmla="*/ 1235 w 7680"/>
                <a:gd name="T115" fmla="*/ 195 h 3188"/>
                <a:gd name="T116" fmla="*/ 975 w 7680"/>
                <a:gd name="T117" fmla="*/ 106 h 3188"/>
                <a:gd name="T118" fmla="*/ 727 w 7680"/>
                <a:gd name="T119" fmla="*/ 90 h 3188"/>
                <a:gd name="T120" fmla="*/ 434 w 7680"/>
                <a:gd name="T121" fmla="*/ 75 h 3188"/>
                <a:gd name="T122" fmla="*/ 151 w 7680"/>
                <a:gd name="T123" fmla="*/ 50 h 3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680" h="3188">
                  <a:moveTo>
                    <a:pt x="10" y="2518"/>
                  </a:moveTo>
                  <a:lnTo>
                    <a:pt x="40" y="2505"/>
                  </a:lnTo>
                  <a:lnTo>
                    <a:pt x="19" y="2565"/>
                  </a:lnTo>
                  <a:lnTo>
                    <a:pt x="55" y="2524"/>
                  </a:lnTo>
                  <a:lnTo>
                    <a:pt x="68" y="2552"/>
                  </a:lnTo>
                  <a:lnTo>
                    <a:pt x="80" y="2532"/>
                  </a:lnTo>
                  <a:lnTo>
                    <a:pt x="98" y="2529"/>
                  </a:lnTo>
                  <a:lnTo>
                    <a:pt x="114" y="2540"/>
                  </a:lnTo>
                  <a:lnTo>
                    <a:pt x="129" y="2553"/>
                  </a:lnTo>
                  <a:lnTo>
                    <a:pt x="145" y="2524"/>
                  </a:lnTo>
                  <a:lnTo>
                    <a:pt x="166" y="2560"/>
                  </a:lnTo>
                  <a:lnTo>
                    <a:pt x="172" y="2505"/>
                  </a:lnTo>
                  <a:lnTo>
                    <a:pt x="190" y="2510"/>
                  </a:lnTo>
                  <a:lnTo>
                    <a:pt x="212" y="2548"/>
                  </a:lnTo>
                  <a:lnTo>
                    <a:pt x="228" y="2558"/>
                  </a:lnTo>
                  <a:lnTo>
                    <a:pt x="240" y="2528"/>
                  </a:lnTo>
                  <a:lnTo>
                    <a:pt x="262" y="2528"/>
                  </a:lnTo>
                  <a:lnTo>
                    <a:pt x="235" y="2569"/>
                  </a:lnTo>
                  <a:lnTo>
                    <a:pt x="283" y="2552"/>
                  </a:lnTo>
                  <a:lnTo>
                    <a:pt x="285" y="2560"/>
                  </a:lnTo>
                  <a:lnTo>
                    <a:pt x="296" y="2568"/>
                  </a:lnTo>
                  <a:lnTo>
                    <a:pt x="294" y="2595"/>
                  </a:lnTo>
                  <a:lnTo>
                    <a:pt x="314" y="2582"/>
                  </a:lnTo>
                  <a:lnTo>
                    <a:pt x="327" y="2579"/>
                  </a:lnTo>
                  <a:lnTo>
                    <a:pt x="330" y="2595"/>
                  </a:lnTo>
                  <a:lnTo>
                    <a:pt x="344" y="2611"/>
                  </a:lnTo>
                  <a:lnTo>
                    <a:pt x="359" y="2624"/>
                  </a:lnTo>
                  <a:lnTo>
                    <a:pt x="315" y="2644"/>
                  </a:lnTo>
                  <a:lnTo>
                    <a:pt x="304" y="2660"/>
                  </a:lnTo>
                  <a:lnTo>
                    <a:pt x="306" y="2676"/>
                  </a:lnTo>
                  <a:lnTo>
                    <a:pt x="354" y="2689"/>
                  </a:lnTo>
                  <a:lnTo>
                    <a:pt x="330" y="2706"/>
                  </a:lnTo>
                  <a:lnTo>
                    <a:pt x="338" y="2722"/>
                  </a:lnTo>
                  <a:lnTo>
                    <a:pt x="336" y="2739"/>
                  </a:lnTo>
                  <a:lnTo>
                    <a:pt x="352" y="2748"/>
                  </a:lnTo>
                  <a:lnTo>
                    <a:pt x="357" y="2760"/>
                  </a:lnTo>
                  <a:lnTo>
                    <a:pt x="380" y="2760"/>
                  </a:lnTo>
                  <a:lnTo>
                    <a:pt x="397" y="2764"/>
                  </a:lnTo>
                  <a:lnTo>
                    <a:pt x="392" y="2801"/>
                  </a:lnTo>
                  <a:lnTo>
                    <a:pt x="426" y="2793"/>
                  </a:lnTo>
                  <a:lnTo>
                    <a:pt x="396" y="2834"/>
                  </a:lnTo>
                  <a:lnTo>
                    <a:pt x="404" y="2848"/>
                  </a:lnTo>
                  <a:lnTo>
                    <a:pt x="425" y="2872"/>
                  </a:lnTo>
                  <a:lnTo>
                    <a:pt x="437" y="2840"/>
                  </a:lnTo>
                  <a:lnTo>
                    <a:pt x="462" y="2847"/>
                  </a:lnTo>
                  <a:lnTo>
                    <a:pt x="474" y="2838"/>
                  </a:lnTo>
                  <a:lnTo>
                    <a:pt x="476" y="2805"/>
                  </a:lnTo>
                  <a:lnTo>
                    <a:pt x="478" y="2835"/>
                  </a:lnTo>
                  <a:lnTo>
                    <a:pt x="500" y="2835"/>
                  </a:lnTo>
                  <a:lnTo>
                    <a:pt x="481" y="2871"/>
                  </a:lnTo>
                  <a:lnTo>
                    <a:pt x="518" y="2859"/>
                  </a:lnTo>
                  <a:lnTo>
                    <a:pt x="521" y="2869"/>
                  </a:lnTo>
                  <a:lnTo>
                    <a:pt x="553" y="2856"/>
                  </a:lnTo>
                  <a:lnTo>
                    <a:pt x="516" y="2842"/>
                  </a:lnTo>
                  <a:lnTo>
                    <a:pt x="550" y="2822"/>
                  </a:lnTo>
                  <a:lnTo>
                    <a:pt x="495" y="2805"/>
                  </a:lnTo>
                  <a:lnTo>
                    <a:pt x="539" y="2797"/>
                  </a:lnTo>
                  <a:lnTo>
                    <a:pt x="540" y="2780"/>
                  </a:lnTo>
                  <a:lnTo>
                    <a:pt x="534" y="2761"/>
                  </a:lnTo>
                  <a:lnTo>
                    <a:pt x="555" y="2763"/>
                  </a:lnTo>
                  <a:lnTo>
                    <a:pt x="545" y="2808"/>
                  </a:lnTo>
                  <a:lnTo>
                    <a:pt x="581" y="2785"/>
                  </a:lnTo>
                  <a:lnTo>
                    <a:pt x="590" y="2780"/>
                  </a:lnTo>
                  <a:lnTo>
                    <a:pt x="610" y="2809"/>
                  </a:lnTo>
                  <a:lnTo>
                    <a:pt x="630" y="2805"/>
                  </a:lnTo>
                  <a:lnTo>
                    <a:pt x="629" y="2771"/>
                  </a:lnTo>
                  <a:lnTo>
                    <a:pt x="663" y="2780"/>
                  </a:lnTo>
                  <a:lnTo>
                    <a:pt x="638" y="2727"/>
                  </a:lnTo>
                  <a:lnTo>
                    <a:pt x="656" y="2722"/>
                  </a:lnTo>
                  <a:lnTo>
                    <a:pt x="663" y="2703"/>
                  </a:lnTo>
                  <a:lnTo>
                    <a:pt x="692" y="2739"/>
                  </a:lnTo>
                  <a:lnTo>
                    <a:pt x="729" y="2721"/>
                  </a:lnTo>
                  <a:lnTo>
                    <a:pt x="675" y="2748"/>
                  </a:lnTo>
                  <a:lnTo>
                    <a:pt x="725" y="2751"/>
                  </a:lnTo>
                  <a:lnTo>
                    <a:pt x="735" y="2766"/>
                  </a:lnTo>
                  <a:lnTo>
                    <a:pt x="722" y="2771"/>
                  </a:lnTo>
                  <a:lnTo>
                    <a:pt x="746" y="2800"/>
                  </a:lnTo>
                  <a:lnTo>
                    <a:pt x="751" y="2764"/>
                  </a:lnTo>
                  <a:lnTo>
                    <a:pt x="777" y="2798"/>
                  </a:lnTo>
                  <a:lnTo>
                    <a:pt x="793" y="2793"/>
                  </a:lnTo>
                  <a:lnTo>
                    <a:pt x="804" y="2763"/>
                  </a:lnTo>
                  <a:lnTo>
                    <a:pt x="825" y="2758"/>
                  </a:lnTo>
                  <a:lnTo>
                    <a:pt x="825" y="2792"/>
                  </a:lnTo>
                  <a:lnTo>
                    <a:pt x="859" y="2774"/>
                  </a:lnTo>
                  <a:lnTo>
                    <a:pt x="872" y="2782"/>
                  </a:lnTo>
                  <a:lnTo>
                    <a:pt x="880" y="2800"/>
                  </a:lnTo>
                  <a:lnTo>
                    <a:pt x="888" y="2814"/>
                  </a:lnTo>
                  <a:lnTo>
                    <a:pt x="886" y="2832"/>
                  </a:lnTo>
                  <a:lnTo>
                    <a:pt x="865" y="2861"/>
                  </a:lnTo>
                  <a:lnTo>
                    <a:pt x="896" y="2853"/>
                  </a:lnTo>
                  <a:lnTo>
                    <a:pt x="899" y="2842"/>
                  </a:lnTo>
                  <a:lnTo>
                    <a:pt x="894" y="2816"/>
                  </a:lnTo>
                  <a:lnTo>
                    <a:pt x="912" y="2801"/>
                  </a:lnTo>
                  <a:lnTo>
                    <a:pt x="931" y="2800"/>
                  </a:lnTo>
                  <a:lnTo>
                    <a:pt x="950" y="2803"/>
                  </a:lnTo>
                  <a:lnTo>
                    <a:pt x="965" y="2771"/>
                  </a:lnTo>
                  <a:lnTo>
                    <a:pt x="984" y="2785"/>
                  </a:lnTo>
                  <a:lnTo>
                    <a:pt x="1007" y="2805"/>
                  </a:lnTo>
                  <a:lnTo>
                    <a:pt x="1007" y="2766"/>
                  </a:lnTo>
                  <a:lnTo>
                    <a:pt x="1039" y="2795"/>
                  </a:lnTo>
                  <a:lnTo>
                    <a:pt x="1052" y="2790"/>
                  </a:lnTo>
                  <a:lnTo>
                    <a:pt x="1052" y="2739"/>
                  </a:lnTo>
                  <a:lnTo>
                    <a:pt x="1068" y="2742"/>
                  </a:lnTo>
                  <a:lnTo>
                    <a:pt x="1090" y="2745"/>
                  </a:lnTo>
                  <a:lnTo>
                    <a:pt x="1105" y="2766"/>
                  </a:lnTo>
                  <a:lnTo>
                    <a:pt x="1118" y="2797"/>
                  </a:lnTo>
                  <a:lnTo>
                    <a:pt x="1140" y="2787"/>
                  </a:lnTo>
                  <a:lnTo>
                    <a:pt x="1163" y="2771"/>
                  </a:lnTo>
                  <a:lnTo>
                    <a:pt x="1143" y="2745"/>
                  </a:lnTo>
                  <a:lnTo>
                    <a:pt x="1177" y="2740"/>
                  </a:lnTo>
                  <a:lnTo>
                    <a:pt x="1188" y="2735"/>
                  </a:lnTo>
                  <a:lnTo>
                    <a:pt x="1145" y="2708"/>
                  </a:lnTo>
                  <a:lnTo>
                    <a:pt x="1179" y="2703"/>
                  </a:lnTo>
                  <a:lnTo>
                    <a:pt x="1187" y="2713"/>
                  </a:lnTo>
                  <a:lnTo>
                    <a:pt x="1211" y="2724"/>
                  </a:lnTo>
                  <a:lnTo>
                    <a:pt x="1188" y="2735"/>
                  </a:lnTo>
                  <a:lnTo>
                    <a:pt x="1193" y="2739"/>
                  </a:lnTo>
                  <a:lnTo>
                    <a:pt x="1177" y="2740"/>
                  </a:lnTo>
                  <a:lnTo>
                    <a:pt x="1158" y="2750"/>
                  </a:lnTo>
                  <a:lnTo>
                    <a:pt x="1203" y="2758"/>
                  </a:lnTo>
                  <a:lnTo>
                    <a:pt x="1182" y="2784"/>
                  </a:lnTo>
                  <a:lnTo>
                    <a:pt x="1195" y="2811"/>
                  </a:lnTo>
                  <a:lnTo>
                    <a:pt x="1219" y="2798"/>
                  </a:lnTo>
                  <a:lnTo>
                    <a:pt x="1253" y="2772"/>
                  </a:lnTo>
                  <a:lnTo>
                    <a:pt x="1248" y="2809"/>
                  </a:lnTo>
                  <a:lnTo>
                    <a:pt x="1262" y="2816"/>
                  </a:lnTo>
                  <a:lnTo>
                    <a:pt x="1267" y="2834"/>
                  </a:lnTo>
                  <a:lnTo>
                    <a:pt x="1286" y="2832"/>
                  </a:lnTo>
                  <a:lnTo>
                    <a:pt x="1309" y="2834"/>
                  </a:lnTo>
                  <a:lnTo>
                    <a:pt x="1312" y="2818"/>
                  </a:lnTo>
                  <a:lnTo>
                    <a:pt x="1299" y="2787"/>
                  </a:lnTo>
                  <a:lnTo>
                    <a:pt x="1317" y="2780"/>
                  </a:lnTo>
                  <a:lnTo>
                    <a:pt x="1344" y="2797"/>
                  </a:lnTo>
                  <a:lnTo>
                    <a:pt x="1351" y="2776"/>
                  </a:lnTo>
                  <a:lnTo>
                    <a:pt x="1365" y="2785"/>
                  </a:lnTo>
                  <a:lnTo>
                    <a:pt x="1375" y="2784"/>
                  </a:lnTo>
                  <a:lnTo>
                    <a:pt x="1377" y="2760"/>
                  </a:lnTo>
                  <a:lnTo>
                    <a:pt x="1393" y="2760"/>
                  </a:lnTo>
                  <a:lnTo>
                    <a:pt x="1415" y="2776"/>
                  </a:lnTo>
                  <a:lnTo>
                    <a:pt x="1375" y="2784"/>
                  </a:lnTo>
                  <a:lnTo>
                    <a:pt x="1375" y="2792"/>
                  </a:lnTo>
                  <a:lnTo>
                    <a:pt x="1407" y="2806"/>
                  </a:lnTo>
                  <a:lnTo>
                    <a:pt x="1394" y="2806"/>
                  </a:lnTo>
                  <a:lnTo>
                    <a:pt x="1414" y="2832"/>
                  </a:lnTo>
                  <a:lnTo>
                    <a:pt x="1418" y="2813"/>
                  </a:lnTo>
                  <a:lnTo>
                    <a:pt x="1423" y="2790"/>
                  </a:lnTo>
                  <a:lnTo>
                    <a:pt x="1426" y="2771"/>
                  </a:lnTo>
                  <a:lnTo>
                    <a:pt x="1468" y="2795"/>
                  </a:lnTo>
                  <a:lnTo>
                    <a:pt x="1442" y="2748"/>
                  </a:lnTo>
                  <a:lnTo>
                    <a:pt x="1452" y="2747"/>
                  </a:lnTo>
                  <a:lnTo>
                    <a:pt x="1442" y="2735"/>
                  </a:lnTo>
                  <a:lnTo>
                    <a:pt x="1455" y="2724"/>
                  </a:lnTo>
                  <a:lnTo>
                    <a:pt x="1479" y="2713"/>
                  </a:lnTo>
                  <a:lnTo>
                    <a:pt x="1494" y="2724"/>
                  </a:lnTo>
                  <a:lnTo>
                    <a:pt x="1487" y="2748"/>
                  </a:lnTo>
                  <a:lnTo>
                    <a:pt x="1523" y="2734"/>
                  </a:lnTo>
                  <a:lnTo>
                    <a:pt x="1516" y="2782"/>
                  </a:lnTo>
                  <a:lnTo>
                    <a:pt x="1533" y="2779"/>
                  </a:lnTo>
                  <a:lnTo>
                    <a:pt x="1553" y="2734"/>
                  </a:lnTo>
                  <a:lnTo>
                    <a:pt x="1579" y="2748"/>
                  </a:lnTo>
                  <a:lnTo>
                    <a:pt x="1578" y="2776"/>
                  </a:lnTo>
                  <a:lnTo>
                    <a:pt x="1578" y="2792"/>
                  </a:lnTo>
                  <a:lnTo>
                    <a:pt x="1561" y="2813"/>
                  </a:lnTo>
                  <a:lnTo>
                    <a:pt x="1592" y="2814"/>
                  </a:lnTo>
                  <a:lnTo>
                    <a:pt x="1573" y="2851"/>
                  </a:lnTo>
                  <a:lnTo>
                    <a:pt x="1589" y="2859"/>
                  </a:lnTo>
                  <a:lnTo>
                    <a:pt x="1606" y="2872"/>
                  </a:lnTo>
                  <a:lnTo>
                    <a:pt x="1635" y="2856"/>
                  </a:lnTo>
                  <a:lnTo>
                    <a:pt x="1650" y="2866"/>
                  </a:lnTo>
                  <a:lnTo>
                    <a:pt x="1664" y="2877"/>
                  </a:lnTo>
                  <a:lnTo>
                    <a:pt x="1685" y="2867"/>
                  </a:lnTo>
                  <a:lnTo>
                    <a:pt x="1701" y="2877"/>
                  </a:lnTo>
                  <a:lnTo>
                    <a:pt x="1727" y="2877"/>
                  </a:lnTo>
                  <a:lnTo>
                    <a:pt x="1709" y="2908"/>
                  </a:lnTo>
                  <a:lnTo>
                    <a:pt x="1717" y="2922"/>
                  </a:lnTo>
                  <a:lnTo>
                    <a:pt x="1759" y="2924"/>
                  </a:lnTo>
                  <a:lnTo>
                    <a:pt x="1738" y="2945"/>
                  </a:lnTo>
                  <a:lnTo>
                    <a:pt x="1754" y="2929"/>
                  </a:lnTo>
                  <a:lnTo>
                    <a:pt x="1772" y="2934"/>
                  </a:lnTo>
                  <a:lnTo>
                    <a:pt x="1788" y="2956"/>
                  </a:lnTo>
                  <a:lnTo>
                    <a:pt x="1798" y="2969"/>
                  </a:lnTo>
                  <a:lnTo>
                    <a:pt x="1822" y="2954"/>
                  </a:lnTo>
                  <a:lnTo>
                    <a:pt x="1840" y="2963"/>
                  </a:lnTo>
                  <a:lnTo>
                    <a:pt x="1865" y="2975"/>
                  </a:lnTo>
                  <a:lnTo>
                    <a:pt x="1825" y="3001"/>
                  </a:lnTo>
                  <a:lnTo>
                    <a:pt x="1862" y="3003"/>
                  </a:lnTo>
                  <a:lnTo>
                    <a:pt x="1853" y="2990"/>
                  </a:lnTo>
                  <a:lnTo>
                    <a:pt x="1865" y="2983"/>
                  </a:lnTo>
                  <a:lnTo>
                    <a:pt x="1896" y="2990"/>
                  </a:lnTo>
                  <a:lnTo>
                    <a:pt x="1885" y="2948"/>
                  </a:lnTo>
                  <a:lnTo>
                    <a:pt x="1904" y="2964"/>
                  </a:lnTo>
                  <a:lnTo>
                    <a:pt x="1928" y="2953"/>
                  </a:lnTo>
                  <a:lnTo>
                    <a:pt x="1923" y="2977"/>
                  </a:lnTo>
                  <a:lnTo>
                    <a:pt x="1949" y="2996"/>
                  </a:lnTo>
                  <a:lnTo>
                    <a:pt x="1984" y="2983"/>
                  </a:lnTo>
                  <a:lnTo>
                    <a:pt x="1939" y="2959"/>
                  </a:lnTo>
                  <a:lnTo>
                    <a:pt x="1923" y="2948"/>
                  </a:lnTo>
                  <a:lnTo>
                    <a:pt x="1938" y="2925"/>
                  </a:lnTo>
                  <a:lnTo>
                    <a:pt x="1939" y="2895"/>
                  </a:lnTo>
                  <a:lnTo>
                    <a:pt x="1959" y="2890"/>
                  </a:lnTo>
                  <a:lnTo>
                    <a:pt x="1991" y="2903"/>
                  </a:lnTo>
                  <a:lnTo>
                    <a:pt x="2015" y="2900"/>
                  </a:lnTo>
                  <a:lnTo>
                    <a:pt x="2007" y="2859"/>
                  </a:lnTo>
                  <a:lnTo>
                    <a:pt x="2037" y="2874"/>
                  </a:lnTo>
                  <a:lnTo>
                    <a:pt x="2037" y="2874"/>
                  </a:lnTo>
                  <a:lnTo>
                    <a:pt x="2060" y="2885"/>
                  </a:lnTo>
                  <a:lnTo>
                    <a:pt x="2062" y="2898"/>
                  </a:lnTo>
                  <a:lnTo>
                    <a:pt x="2065" y="2925"/>
                  </a:lnTo>
                  <a:lnTo>
                    <a:pt x="2078" y="2940"/>
                  </a:lnTo>
                  <a:lnTo>
                    <a:pt x="2097" y="2922"/>
                  </a:lnTo>
                  <a:lnTo>
                    <a:pt x="2111" y="2903"/>
                  </a:lnTo>
                  <a:lnTo>
                    <a:pt x="2126" y="2942"/>
                  </a:lnTo>
                  <a:lnTo>
                    <a:pt x="2136" y="2937"/>
                  </a:lnTo>
                  <a:lnTo>
                    <a:pt x="2150" y="2937"/>
                  </a:lnTo>
                  <a:lnTo>
                    <a:pt x="2173" y="2913"/>
                  </a:lnTo>
                  <a:lnTo>
                    <a:pt x="2193" y="2911"/>
                  </a:lnTo>
                  <a:lnTo>
                    <a:pt x="2197" y="2938"/>
                  </a:lnTo>
                  <a:lnTo>
                    <a:pt x="2189" y="2971"/>
                  </a:lnTo>
                  <a:lnTo>
                    <a:pt x="2227" y="2951"/>
                  </a:lnTo>
                  <a:lnTo>
                    <a:pt x="2246" y="2951"/>
                  </a:lnTo>
                  <a:lnTo>
                    <a:pt x="2253" y="2969"/>
                  </a:lnTo>
                  <a:lnTo>
                    <a:pt x="2243" y="3006"/>
                  </a:lnTo>
                  <a:lnTo>
                    <a:pt x="2275" y="2995"/>
                  </a:lnTo>
                  <a:lnTo>
                    <a:pt x="2277" y="3017"/>
                  </a:lnTo>
                  <a:lnTo>
                    <a:pt x="2283" y="3041"/>
                  </a:lnTo>
                  <a:lnTo>
                    <a:pt x="2304" y="3043"/>
                  </a:lnTo>
                  <a:lnTo>
                    <a:pt x="2328" y="3029"/>
                  </a:lnTo>
                  <a:lnTo>
                    <a:pt x="2337" y="3067"/>
                  </a:lnTo>
                  <a:lnTo>
                    <a:pt x="2357" y="3053"/>
                  </a:lnTo>
                  <a:lnTo>
                    <a:pt x="2372" y="3067"/>
                  </a:lnTo>
                  <a:lnTo>
                    <a:pt x="2385" y="3045"/>
                  </a:lnTo>
                  <a:lnTo>
                    <a:pt x="2390" y="3061"/>
                  </a:lnTo>
                  <a:lnTo>
                    <a:pt x="2402" y="3054"/>
                  </a:lnTo>
                  <a:lnTo>
                    <a:pt x="2425" y="3054"/>
                  </a:lnTo>
                  <a:lnTo>
                    <a:pt x="2423" y="3075"/>
                  </a:lnTo>
                  <a:lnTo>
                    <a:pt x="2457" y="3074"/>
                  </a:lnTo>
                  <a:lnTo>
                    <a:pt x="2447" y="3093"/>
                  </a:lnTo>
                  <a:lnTo>
                    <a:pt x="2472" y="3093"/>
                  </a:lnTo>
                  <a:lnTo>
                    <a:pt x="2472" y="3093"/>
                  </a:lnTo>
                  <a:lnTo>
                    <a:pt x="2488" y="3088"/>
                  </a:lnTo>
                  <a:lnTo>
                    <a:pt x="2513" y="3117"/>
                  </a:lnTo>
                  <a:lnTo>
                    <a:pt x="2534" y="3088"/>
                  </a:lnTo>
                  <a:lnTo>
                    <a:pt x="2541" y="3116"/>
                  </a:lnTo>
                  <a:lnTo>
                    <a:pt x="2509" y="3146"/>
                  </a:lnTo>
                  <a:lnTo>
                    <a:pt x="2542" y="3154"/>
                  </a:lnTo>
                  <a:lnTo>
                    <a:pt x="2554" y="3130"/>
                  </a:lnTo>
                  <a:lnTo>
                    <a:pt x="2575" y="3148"/>
                  </a:lnTo>
                  <a:lnTo>
                    <a:pt x="2579" y="3169"/>
                  </a:lnTo>
                  <a:lnTo>
                    <a:pt x="2599" y="3156"/>
                  </a:lnTo>
                  <a:lnTo>
                    <a:pt x="2602" y="3178"/>
                  </a:lnTo>
                  <a:lnTo>
                    <a:pt x="2634" y="3151"/>
                  </a:lnTo>
                  <a:lnTo>
                    <a:pt x="2631" y="3156"/>
                  </a:lnTo>
                  <a:lnTo>
                    <a:pt x="2645" y="3153"/>
                  </a:lnTo>
                  <a:lnTo>
                    <a:pt x="2679" y="3188"/>
                  </a:lnTo>
                  <a:lnTo>
                    <a:pt x="2674" y="3145"/>
                  </a:lnTo>
                  <a:lnTo>
                    <a:pt x="2694" y="3141"/>
                  </a:lnTo>
                  <a:lnTo>
                    <a:pt x="2719" y="3153"/>
                  </a:lnTo>
                  <a:lnTo>
                    <a:pt x="2747" y="3140"/>
                  </a:lnTo>
                  <a:lnTo>
                    <a:pt x="2745" y="3111"/>
                  </a:lnTo>
                  <a:lnTo>
                    <a:pt x="2724" y="3098"/>
                  </a:lnTo>
                  <a:lnTo>
                    <a:pt x="2734" y="3080"/>
                  </a:lnTo>
                  <a:lnTo>
                    <a:pt x="2700" y="3070"/>
                  </a:lnTo>
                  <a:lnTo>
                    <a:pt x="2705" y="3041"/>
                  </a:lnTo>
                  <a:lnTo>
                    <a:pt x="2732" y="3045"/>
                  </a:lnTo>
                  <a:lnTo>
                    <a:pt x="2750" y="3075"/>
                  </a:lnTo>
                  <a:lnTo>
                    <a:pt x="2764" y="3062"/>
                  </a:lnTo>
                  <a:lnTo>
                    <a:pt x="2761" y="3027"/>
                  </a:lnTo>
                  <a:lnTo>
                    <a:pt x="2763" y="3024"/>
                  </a:lnTo>
                  <a:lnTo>
                    <a:pt x="2792" y="3016"/>
                  </a:lnTo>
                  <a:lnTo>
                    <a:pt x="2795" y="2998"/>
                  </a:lnTo>
                  <a:lnTo>
                    <a:pt x="2785" y="2972"/>
                  </a:lnTo>
                  <a:lnTo>
                    <a:pt x="2827" y="2980"/>
                  </a:lnTo>
                  <a:lnTo>
                    <a:pt x="2829" y="2967"/>
                  </a:lnTo>
                  <a:lnTo>
                    <a:pt x="2841" y="2982"/>
                  </a:lnTo>
                  <a:lnTo>
                    <a:pt x="2861" y="2934"/>
                  </a:lnTo>
                  <a:lnTo>
                    <a:pt x="2882" y="2966"/>
                  </a:lnTo>
                  <a:lnTo>
                    <a:pt x="2864" y="2925"/>
                  </a:lnTo>
                  <a:lnTo>
                    <a:pt x="2893" y="2927"/>
                  </a:lnTo>
                  <a:lnTo>
                    <a:pt x="2907" y="2911"/>
                  </a:lnTo>
                  <a:lnTo>
                    <a:pt x="2927" y="2900"/>
                  </a:lnTo>
                  <a:lnTo>
                    <a:pt x="2944" y="2911"/>
                  </a:lnTo>
                  <a:lnTo>
                    <a:pt x="2959" y="2937"/>
                  </a:lnTo>
                  <a:lnTo>
                    <a:pt x="2973" y="2940"/>
                  </a:lnTo>
                  <a:lnTo>
                    <a:pt x="2997" y="2903"/>
                  </a:lnTo>
                  <a:lnTo>
                    <a:pt x="3001" y="2900"/>
                  </a:lnTo>
                  <a:lnTo>
                    <a:pt x="3018" y="2913"/>
                  </a:lnTo>
                  <a:lnTo>
                    <a:pt x="3015" y="2885"/>
                  </a:lnTo>
                  <a:lnTo>
                    <a:pt x="3052" y="2903"/>
                  </a:lnTo>
                  <a:lnTo>
                    <a:pt x="3065" y="2914"/>
                  </a:lnTo>
                  <a:lnTo>
                    <a:pt x="3073" y="2863"/>
                  </a:lnTo>
                  <a:lnTo>
                    <a:pt x="3089" y="2872"/>
                  </a:lnTo>
                  <a:lnTo>
                    <a:pt x="3107" y="2880"/>
                  </a:lnTo>
                  <a:lnTo>
                    <a:pt x="3116" y="2859"/>
                  </a:lnTo>
                  <a:lnTo>
                    <a:pt x="3136" y="2863"/>
                  </a:lnTo>
                  <a:lnTo>
                    <a:pt x="3152" y="2861"/>
                  </a:lnTo>
                  <a:lnTo>
                    <a:pt x="3171" y="2892"/>
                  </a:lnTo>
                  <a:lnTo>
                    <a:pt x="3179" y="2877"/>
                  </a:lnTo>
                  <a:lnTo>
                    <a:pt x="3202" y="2871"/>
                  </a:lnTo>
                  <a:lnTo>
                    <a:pt x="3194" y="2909"/>
                  </a:lnTo>
                  <a:lnTo>
                    <a:pt x="3226" y="2901"/>
                  </a:lnTo>
                  <a:lnTo>
                    <a:pt x="3242" y="2872"/>
                  </a:lnTo>
                  <a:lnTo>
                    <a:pt x="3256" y="2888"/>
                  </a:lnTo>
                  <a:lnTo>
                    <a:pt x="3272" y="2892"/>
                  </a:lnTo>
                  <a:lnTo>
                    <a:pt x="3306" y="2892"/>
                  </a:lnTo>
                  <a:lnTo>
                    <a:pt x="3261" y="2906"/>
                  </a:lnTo>
                  <a:lnTo>
                    <a:pt x="3250" y="2919"/>
                  </a:lnTo>
                  <a:lnTo>
                    <a:pt x="3266" y="2946"/>
                  </a:lnTo>
                  <a:lnTo>
                    <a:pt x="3266" y="2945"/>
                  </a:lnTo>
                  <a:lnTo>
                    <a:pt x="3282" y="2942"/>
                  </a:lnTo>
                  <a:lnTo>
                    <a:pt x="3305" y="2977"/>
                  </a:lnTo>
                  <a:lnTo>
                    <a:pt x="3319" y="2977"/>
                  </a:lnTo>
                  <a:lnTo>
                    <a:pt x="3337" y="2946"/>
                  </a:lnTo>
                  <a:lnTo>
                    <a:pt x="3353" y="2966"/>
                  </a:lnTo>
                  <a:lnTo>
                    <a:pt x="3388" y="2940"/>
                  </a:lnTo>
                  <a:lnTo>
                    <a:pt x="3382" y="2974"/>
                  </a:lnTo>
                  <a:lnTo>
                    <a:pt x="3415" y="2959"/>
                  </a:lnTo>
                  <a:lnTo>
                    <a:pt x="3406" y="2977"/>
                  </a:lnTo>
                  <a:lnTo>
                    <a:pt x="3417" y="2983"/>
                  </a:lnTo>
                  <a:lnTo>
                    <a:pt x="3417" y="2966"/>
                  </a:lnTo>
                  <a:lnTo>
                    <a:pt x="3436" y="2961"/>
                  </a:lnTo>
                  <a:lnTo>
                    <a:pt x="3420" y="2932"/>
                  </a:lnTo>
                  <a:lnTo>
                    <a:pt x="3448" y="2924"/>
                  </a:lnTo>
                  <a:lnTo>
                    <a:pt x="3459" y="2946"/>
                  </a:lnTo>
                  <a:lnTo>
                    <a:pt x="3457" y="2975"/>
                  </a:lnTo>
                  <a:lnTo>
                    <a:pt x="3480" y="2969"/>
                  </a:lnTo>
                  <a:lnTo>
                    <a:pt x="3502" y="2948"/>
                  </a:lnTo>
                  <a:lnTo>
                    <a:pt x="3517" y="2982"/>
                  </a:lnTo>
                  <a:lnTo>
                    <a:pt x="3531" y="2979"/>
                  </a:lnTo>
                  <a:lnTo>
                    <a:pt x="3549" y="2985"/>
                  </a:lnTo>
                  <a:lnTo>
                    <a:pt x="3562" y="2975"/>
                  </a:lnTo>
                  <a:lnTo>
                    <a:pt x="3575" y="2963"/>
                  </a:lnTo>
                  <a:lnTo>
                    <a:pt x="3583" y="2927"/>
                  </a:lnTo>
                  <a:lnTo>
                    <a:pt x="3616" y="2979"/>
                  </a:lnTo>
                  <a:lnTo>
                    <a:pt x="3618" y="2940"/>
                  </a:lnTo>
                  <a:lnTo>
                    <a:pt x="3634" y="2935"/>
                  </a:lnTo>
                  <a:lnTo>
                    <a:pt x="3645" y="2969"/>
                  </a:lnTo>
                  <a:lnTo>
                    <a:pt x="3668" y="2924"/>
                  </a:lnTo>
                  <a:lnTo>
                    <a:pt x="3670" y="2966"/>
                  </a:lnTo>
                  <a:lnTo>
                    <a:pt x="3690" y="2956"/>
                  </a:lnTo>
                  <a:lnTo>
                    <a:pt x="3689" y="2980"/>
                  </a:lnTo>
                  <a:lnTo>
                    <a:pt x="3726" y="2964"/>
                  </a:lnTo>
                  <a:lnTo>
                    <a:pt x="3734" y="2980"/>
                  </a:lnTo>
                  <a:lnTo>
                    <a:pt x="3744" y="2998"/>
                  </a:lnTo>
                  <a:lnTo>
                    <a:pt x="3755" y="3006"/>
                  </a:lnTo>
                  <a:lnTo>
                    <a:pt x="3766" y="3004"/>
                  </a:lnTo>
                  <a:lnTo>
                    <a:pt x="3774" y="2979"/>
                  </a:lnTo>
                  <a:lnTo>
                    <a:pt x="3797" y="3017"/>
                  </a:lnTo>
                  <a:lnTo>
                    <a:pt x="3821" y="2985"/>
                  </a:lnTo>
                  <a:lnTo>
                    <a:pt x="3801" y="3021"/>
                  </a:lnTo>
                  <a:lnTo>
                    <a:pt x="3835" y="3027"/>
                  </a:lnTo>
                  <a:lnTo>
                    <a:pt x="3801" y="3050"/>
                  </a:lnTo>
                  <a:lnTo>
                    <a:pt x="3837" y="3043"/>
                  </a:lnTo>
                  <a:lnTo>
                    <a:pt x="3835" y="3029"/>
                  </a:lnTo>
                  <a:lnTo>
                    <a:pt x="3851" y="3050"/>
                  </a:lnTo>
                  <a:lnTo>
                    <a:pt x="3867" y="3059"/>
                  </a:lnTo>
                  <a:lnTo>
                    <a:pt x="3882" y="3035"/>
                  </a:lnTo>
                  <a:lnTo>
                    <a:pt x="3896" y="3032"/>
                  </a:lnTo>
                  <a:lnTo>
                    <a:pt x="3912" y="3032"/>
                  </a:lnTo>
                  <a:lnTo>
                    <a:pt x="3928" y="3083"/>
                  </a:lnTo>
                  <a:lnTo>
                    <a:pt x="3945" y="3058"/>
                  </a:lnTo>
                  <a:lnTo>
                    <a:pt x="3959" y="3062"/>
                  </a:lnTo>
                  <a:lnTo>
                    <a:pt x="3977" y="3088"/>
                  </a:lnTo>
                  <a:lnTo>
                    <a:pt x="3988" y="3045"/>
                  </a:lnTo>
                  <a:lnTo>
                    <a:pt x="4001" y="3027"/>
                  </a:lnTo>
                  <a:lnTo>
                    <a:pt x="4023" y="3038"/>
                  </a:lnTo>
                  <a:lnTo>
                    <a:pt x="4027" y="3080"/>
                  </a:lnTo>
                  <a:lnTo>
                    <a:pt x="4059" y="3048"/>
                  </a:lnTo>
                  <a:lnTo>
                    <a:pt x="4067" y="3083"/>
                  </a:lnTo>
                  <a:lnTo>
                    <a:pt x="4076" y="3054"/>
                  </a:lnTo>
                  <a:lnTo>
                    <a:pt x="4097" y="3067"/>
                  </a:lnTo>
                  <a:lnTo>
                    <a:pt x="4104" y="3048"/>
                  </a:lnTo>
                  <a:lnTo>
                    <a:pt x="4110" y="3074"/>
                  </a:lnTo>
                  <a:lnTo>
                    <a:pt x="4137" y="3050"/>
                  </a:lnTo>
                  <a:lnTo>
                    <a:pt x="4120" y="3083"/>
                  </a:lnTo>
                  <a:lnTo>
                    <a:pt x="4142" y="3085"/>
                  </a:lnTo>
                  <a:lnTo>
                    <a:pt x="4154" y="3104"/>
                  </a:lnTo>
                  <a:lnTo>
                    <a:pt x="4179" y="3111"/>
                  </a:lnTo>
                  <a:lnTo>
                    <a:pt x="4187" y="3080"/>
                  </a:lnTo>
                  <a:lnTo>
                    <a:pt x="4207" y="3087"/>
                  </a:lnTo>
                  <a:lnTo>
                    <a:pt x="4229" y="3096"/>
                  </a:lnTo>
                  <a:lnTo>
                    <a:pt x="4234" y="3059"/>
                  </a:lnTo>
                  <a:lnTo>
                    <a:pt x="4252" y="3074"/>
                  </a:lnTo>
                  <a:lnTo>
                    <a:pt x="4255" y="3091"/>
                  </a:lnTo>
                  <a:lnTo>
                    <a:pt x="4281" y="3088"/>
                  </a:lnTo>
                  <a:lnTo>
                    <a:pt x="4298" y="3088"/>
                  </a:lnTo>
                  <a:lnTo>
                    <a:pt x="4297" y="3072"/>
                  </a:lnTo>
                  <a:lnTo>
                    <a:pt x="4311" y="3070"/>
                  </a:lnTo>
                  <a:lnTo>
                    <a:pt x="4332" y="3077"/>
                  </a:lnTo>
                  <a:lnTo>
                    <a:pt x="4359" y="3079"/>
                  </a:lnTo>
                  <a:lnTo>
                    <a:pt x="4334" y="3027"/>
                  </a:lnTo>
                  <a:lnTo>
                    <a:pt x="4359" y="3030"/>
                  </a:lnTo>
                  <a:lnTo>
                    <a:pt x="4375" y="3035"/>
                  </a:lnTo>
                  <a:lnTo>
                    <a:pt x="4385" y="3017"/>
                  </a:lnTo>
                  <a:lnTo>
                    <a:pt x="4396" y="3027"/>
                  </a:lnTo>
                  <a:lnTo>
                    <a:pt x="4427" y="3011"/>
                  </a:lnTo>
                  <a:lnTo>
                    <a:pt x="4372" y="2996"/>
                  </a:lnTo>
                  <a:lnTo>
                    <a:pt x="4427" y="2987"/>
                  </a:lnTo>
                  <a:lnTo>
                    <a:pt x="4408" y="2956"/>
                  </a:lnTo>
                  <a:lnTo>
                    <a:pt x="4438" y="2972"/>
                  </a:lnTo>
                  <a:lnTo>
                    <a:pt x="4441" y="2946"/>
                  </a:lnTo>
                  <a:lnTo>
                    <a:pt x="4474" y="2934"/>
                  </a:lnTo>
                  <a:lnTo>
                    <a:pt x="4443" y="2914"/>
                  </a:lnTo>
                  <a:lnTo>
                    <a:pt x="4441" y="2895"/>
                  </a:lnTo>
                  <a:lnTo>
                    <a:pt x="4464" y="2888"/>
                  </a:lnTo>
                  <a:lnTo>
                    <a:pt x="4470" y="2872"/>
                  </a:lnTo>
                  <a:lnTo>
                    <a:pt x="4483" y="2864"/>
                  </a:lnTo>
                  <a:lnTo>
                    <a:pt x="4501" y="2884"/>
                  </a:lnTo>
                  <a:lnTo>
                    <a:pt x="4515" y="2850"/>
                  </a:lnTo>
                  <a:lnTo>
                    <a:pt x="4533" y="2853"/>
                  </a:lnTo>
                  <a:lnTo>
                    <a:pt x="4552" y="2840"/>
                  </a:lnTo>
                  <a:lnTo>
                    <a:pt x="4565" y="2856"/>
                  </a:lnTo>
                  <a:lnTo>
                    <a:pt x="4583" y="2851"/>
                  </a:lnTo>
                  <a:lnTo>
                    <a:pt x="4596" y="2888"/>
                  </a:lnTo>
                  <a:lnTo>
                    <a:pt x="4613" y="2858"/>
                  </a:lnTo>
                  <a:lnTo>
                    <a:pt x="4631" y="2834"/>
                  </a:lnTo>
                  <a:lnTo>
                    <a:pt x="4646" y="2861"/>
                  </a:lnTo>
                  <a:lnTo>
                    <a:pt x="4663" y="2837"/>
                  </a:lnTo>
                  <a:lnTo>
                    <a:pt x="4676" y="2850"/>
                  </a:lnTo>
                  <a:lnTo>
                    <a:pt x="4699" y="2895"/>
                  </a:lnTo>
                  <a:lnTo>
                    <a:pt x="4705" y="2830"/>
                  </a:lnTo>
                  <a:lnTo>
                    <a:pt x="4721" y="2880"/>
                  </a:lnTo>
                  <a:lnTo>
                    <a:pt x="4739" y="2871"/>
                  </a:lnTo>
                  <a:lnTo>
                    <a:pt x="4737" y="2903"/>
                  </a:lnTo>
                  <a:lnTo>
                    <a:pt x="4771" y="2879"/>
                  </a:lnTo>
                  <a:lnTo>
                    <a:pt x="4790" y="2911"/>
                  </a:lnTo>
                  <a:lnTo>
                    <a:pt x="4802" y="2874"/>
                  </a:lnTo>
                  <a:lnTo>
                    <a:pt x="4819" y="2872"/>
                  </a:lnTo>
                  <a:lnTo>
                    <a:pt x="4835" y="2905"/>
                  </a:lnTo>
                  <a:lnTo>
                    <a:pt x="4853" y="2866"/>
                  </a:lnTo>
                  <a:lnTo>
                    <a:pt x="4877" y="2859"/>
                  </a:lnTo>
                  <a:lnTo>
                    <a:pt x="4869" y="2906"/>
                  </a:lnTo>
                  <a:lnTo>
                    <a:pt x="4906" y="2890"/>
                  </a:lnTo>
                  <a:lnTo>
                    <a:pt x="4921" y="2892"/>
                  </a:lnTo>
                  <a:lnTo>
                    <a:pt x="4929" y="2908"/>
                  </a:lnTo>
                  <a:lnTo>
                    <a:pt x="4945" y="2919"/>
                  </a:lnTo>
                  <a:lnTo>
                    <a:pt x="4964" y="2940"/>
                  </a:lnTo>
                  <a:lnTo>
                    <a:pt x="4982" y="2924"/>
                  </a:lnTo>
                  <a:lnTo>
                    <a:pt x="4995" y="2916"/>
                  </a:lnTo>
                  <a:lnTo>
                    <a:pt x="4993" y="2895"/>
                  </a:lnTo>
                  <a:lnTo>
                    <a:pt x="5004" y="2885"/>
                  </a:lnTo>
                  <a:lnTo>
                    <a:pt x="5019" y="2859"/>
                  </a:lnTo>
                  <a:lnTo>
                    <a:pt x="5035" y="2864"/>
                  </a:lnTo>
                  <a:lnTo>
                    <a:pt x="5052" y="2869"/>
                  </a:lnTo>
                  <a:lnTo>
                    <a:pt x="5064" y="2887"/>
                  </a:lnTo>
                  <a:lnTo>
                    <a:pt x="5077" y="2893"/>
                  </a:lnTo>
                  <a:lnTo>
                    <a:pt x="5102" y="2874"/>
                  </a:lnTo>
                  <a:lnTo>
                    <a:pt x="5102" y="2890"/>
                  </a:lnTo>
                  <a:lnTo>
                    <a:pt x="5109" y="2879"/>
                  </a:lnTo>
                  <a:lnTo>
                    <a:pt x="5120" y="2869"/>
                  </a:lnTo>
                  <a:lnTo>
                    <a:pt x="5144" y="2871"/>
                  </a:lnTo>
                  <a:lnTo>
                    <a:pt x="5142" y="2861"/>
                  </a:lnTo>
                  <a:lnTo>
                    <a:pt x="5147" y="2871"/>
                  </a:lnTo>
                  <a:lnTo>
                    <a:pt x="5144" y="2871"/>
                  </a:lnTo>
                  <a:lnTo>
                    <a:pt x="5144" y="2872"/>
                  </a:lnTo>
                  <a:lnTo>
                    <a:pt x="5181" y="2858"/>
                  </a:lnTo>
                  <a:lnTo>
                    <a:pt x="5162" y="2906"/>
                  </a:lnTo>
                  <a:lnTo>
                    <a:pt x="5197" y="2871"/>
                  </a:lnTo>
                  <a:lnTo>
                    <a:pt x="5196" y="2864"/>
                  </a:lnTo>
                  <a:lnTo>
                    <a:pt x="5234" y="2895"/>
                  </a:lnTo>
                  <a:lnTo>
                    <a:pt x="5233" y="2853"/>
                  </a:lnTo>
                  <a:lnTo>
                    <a:pt x="5265" y="2895"/>
                  </a:lnTo>
                  <a:lnTo>
                    <a:pt x="5274" y="2876"/>
                  </a:lnTo>
                  <a:lnTo>
                    <a:pt x="5294" y="2879"/>
                  </a:lnTo>
                  <a:lnTo>
                    <a:pt x="5307" y="2866"/>
                  </a:lnTo>
                  <a:lnTo>
                    <a:pt x="5324" y="2864"/>
                  </a:lnTo>
                  <a:lnTo>
                    <a:pt x="5332" y="2819"/>
                  </a:lnTo>
                  <a:lnTo>
                    <a:pt x="5340" y="2864"/>
                  </a:lnTo>
                  <a:lnTo>
                    <a:pt x="5356" y="2869"/>
                  </a:lnTo>
                  <a:lnTo>
                    <a:pt x="5379" y="2859"/>
                  </a:lnTo>
                  <a:lnTo>
                    <a:pt x="5397" y="2864"/>
                  </a:lnTo>
                  <a:lnTo>
                    <a:pt x="5416" y="2863"/>
                  </a:lnTo>
                  <a:lnTo>
                    <a:pt x="5432" y="2848"/>
                  </a:lnTo>
                  <a:lnTo>
                    <a:pt x="5446" y="2877"/>
                  </a:lnTo>
                  <a:lnTo>
                    <a:pt x="5467" y="2892"/>
                  </a:lnTo>
                  <a:lnTo>
                    <a:pt x="5471" y="2850"/>
                  </a:lnTo>
                  <a:lnTo>
                    <a:pt x="5501" y="2874"/>
                  </a:lnTo>
                  <a:lnTo>
                    <a:pt x="5493" y="2821"/>
                  </a:lnTo>
                  <a:lnTo>
                    <a:pt x="5525" y="2853"/>
                  </a:lnTo>
                  <a:lnTo>
                    <a:pt x="5538" y="2861"/>
                  </a:lnTo>
                  <a:lnTo>
                    <a:pt x="5553" y="2809"/>
                  </a:lnTo>
                  <a:lnTo>
                    <a:pt x="5569" y="2827"/>
                  </a:lnTo>
                  <a:lnTo>
                    <a:pt x="5590" y="2851"/>
                  </a:lnTo>
                  <a:lnTo>
                    <a:pt x="5606" y="2853"/>
                  </a:lnTo>
                  <a:lnTo>
                    <a:pt x="5618" y="2848"/>
                  </a:lnTo>
                  <a:lnTo>
                    <a:pt x="5631" y="2847"/>
                  </a:lnTo>
                  <a:lnTo>
                    <a:pt x="5647" y="2805"/>
                  </a:lnTo>
                  <a:lnTo>
                    <a:pt x="5662" y="2832"/>
                  </a:lnTo>
                  <a:lnTo>
                    <a:pt x="5675" y="2845"/>
                  </a:lnTo>
                  <a:lnTo>
                    <a:pt x="5709" y="2818"/>
                  </a:lnTo>
                  <a:lnTo>
                    <a:pt x="5712" y="2855"/>
                  </a:lnTo>
                  <a:lnTo>
                    <a:pt x="5728" y="2877"/>
                  </a:lnTo>
                  <a:lnTo>
                    <a:pt x="5744" y="2867"/>
                  </a:lnTo>
                  <a:lnTo>
                    <a:pt x="5754" y="2871"/>
                  </a:lnTo>
                  <a:lnTo>
                    <a:pt x="5773" y="2856"/>
                  </a:lnTo>
                  <a:lnTo>
                    <a:pt x="5774" y="2892"/>
                  </a:lnTo>
                  <a:lnTo>
                    <a:pt x="5802" y="2880"/>
                  </a:lnTo>
                  <a:lnTo>
                    <a:pt x="5821" y="2880"/>
                  </a:lnTo>
                  <a:lnTo>
                    <a:pt x="5831" y="2832"/>
                  </a:lnTo>
                  <a:lnTo>
                    <a:pt x="5847" y="2830"/>
                  </a:lnTo>
                  <a:lnTo>
                    <a:pt x="5873" y="2874"/>
                  </a:lnTo>
                  <a:lnTo>
                    <a:pt x="5887" y="2853"/>
                  </a:lnTo>
                  <a:lnTo>
                    <a:pt x="5905" y="2850"/>
                  </a:lnTo>
                  <a:lnTo>
                    <a:pt x="5918" y="2863"/>
                  </a:lnTo>
                  <a:lnTo>
                    <a:pt x="5918" y="2890"/>
                  </a:lnTo>
                  <a:lnTo>
                    <a:pt x="5938" y="2906"/>
                  </a:lnTo>
                  <a:lnTo>
                    <a:pt x="5961" y="2863"/>
                  </a:lnTo>
                  <a:lnTo>
                    <a:pt x="5985" y="2911"/>
                  </a:lnTo>
                  <a:lnTo>
                    <a:pt x="6012" y="2853"/>
                  </a:lnTo>
                  <a:lnTo>
                    <a:pt x="6027" y="2884"/>
                  </a:lnTo>
                  <a:lnTo>
                    <a:pt x="6027" y="2901"/>
                  </a:lnTo>
                  <a:lnTo>
                    <a:pt x="6027" y="2919"/>
                  </a:lnTo>
                  <a:lnTo>
                    <a:pt x="6011" y="2953"/>
                  </a:lnTo>
                  <a:lnTo>
                    <a:pt x="6046" y="2925"/>
                  </a:lnTo>
                  <a:lnTo>
                    <a:pt x="6061" y="2934"/>
                  </a:lnTo>
                  <a:lnTo>
                    <a:pt x="6072" y="2946"/>
                  </a:lnTo>
                  <a:lnTo>
                    <a:pt x="6085" y="2956"/>
                  </a:lnTo>
                  <a:lnTo>
                    <a:pt x="6098" y="2983"/>
                  </a:lnTo>
                  <a:lnTo>
                    <a:pt x="6114" y="2954"/>
                  </a:lnTo>
                  <a:lnTo>
                    <a:pt x="6136" y="2940"/>
                  </a:lnTo>
                  <a:lnTo>
                    <a:pt x="6151" y="2959"/>
                  </a:lnTo>
                  <a:lnTo>
                    <a:pt x="6151" y="2980"/>
                  </a:lnTo>
                  <a:lnTo>
                    <a:pt x="6159" y="2995"/>
                  </a:lnTo>
                  <a:lnTo>
                    <a:pt x="6165" y="3008"/>
                  </a:lnTo>
                  <a:lnTo>
                    <a:pt x="6178" y="3016"/>
                  </a:lnTo>
                  <a:lnTo>
                    <a:pt x="6204" y="3006"/>
                  </a:lnTo>
                  <a:lnTo>
                    <a:pt x="6199" y="3037"/>
                  </a:lnTo>
                  <a:lnTo>
                    <a:pt x="6223" y="3046"/>
                  </a:lnTo>
                  <a:lnTo>
                    <a:pt x="6218" y="2995"/>
                  </a:lnTo>
                  <a:lnTo>
                    <a:pt x="6234" y="2988"/>
                  </a:lnTo>
                  <a:lnTo>
                    <a:pt x="6262" y="3011"/>
                  </a:lnTo>
                  <a:lnTo>
                    <a:pt x="6270" y="2990"/>
                  </a:lnTo>
                  <a:lnTo>
                    <a:pt x="6291" y="3004"/>
                  </a:lnTo>
                  <a:lnTo>
                    <a:pt x="6297" y="2967"/>
                  </a:lnTo>
                  <a:lnTo>
                    <a:pt x="6320" y="3014"/>
                  </a:lnTo>
                  <a:lnTo>
                    <a:pt x="6328" y="2966"/>
                  </a:lnTo>
                  <a:lnTo>
                    <a:pt x="6349" y="2995"/>
                  </a:lnTo>
                  <a:lnTo>
                    <a:pt x="6368" y="2972"/>
                  </a:lnTo>
                  <a:lnTo>
                    <a:pt x="6379" y="3009"/>
                  </a:lnTo>
                  <a:lnTo>
                    <a:pt x="6402" y="2979"/>
                  </a:lnTo>
                  <a:lnTo>
                    <a:pt x="6410" y="3024"/>
                  </a:lnTo>
                  <a:lnTo>
                    <a:pt x="6437" y="2974"/>
                  </a:lnTo>
                  <a:lnTo>
                    <a:pt x="6447" y="3004"/>
                  </a:lnTo>
                  <a:lnTo>
                    <a:pt x="6453" y="3032"/>
                  </a:lnTo>
                  <a:lnTo>
                    <a:pt x="6471" y="3027"/>
                  </a:lnTo>
                  <a:lnTo>
                    <a:pt x="6488" y="3025"/>
                  </a:lnTo>
                  <a:lnTo>
                    <a:pt x="6508" y="3000"/>
                  </a:lnTo>
                  <a:lnTo>
                    <a:pt x="6519" y="3008"/>
                  </a:lnTo>
                  <a:lnTo>
                    <a:pt x="6538" y="3006"/>
                  </a:lnTo>
                  <a:lnTo>
                    <a:pt x="6559" y="3035"/>
                  </a:lnTo>
                  <a:lnTo>
                    <a:pt x="6583" y="2993"/>
                  </a:lnTo>
                  <a:lnTo>
                    <a:pt x="6583" y="3035"/>
                  </a:lnTo>
                  <a:lnTo>
                    <a:pt x="6601" y="3014"/>
                  </a:lnTo>
                  <a:lnTo>
                    <a:pt x="6591" y="2995"/>
                  </a:lnTo>
                  <a:lnTo>
                    <a:pt x="6612" y="2995"/>
                  </a:lnTo>
                  <a:lnTo>
                    <a:pt x="6648" y="3011"/>
                  </a:lnTo>
                  <a:lnTo>
                    <a:pt x="6667" y="3012"/>
                  </a:lnTo>
                  <a:lnTo>
                    <a:pt x="6677" y="2987"/>
                  </a:lnTo>
                  <a:lnTo>
                    <a:pt x="6680" y="2966"/>
                  </a:lnTo>
                  <a:lnTo>
                    <a:pt x="6691" y="2954"/>
                  </a:lnTo>
                  <a:lnTo>
                    <a:pt x="6657" y="2930"/>
                  </a:lnTo>
                  <a:lnTo>
                    <a:pt x="6685" y="2946"/>
                  </a:lnTo>
                  <a:lnTo>
                    <a:pt x="6699" y="2925"/>
                  </a:lnTo>
                  <a:lnTo>
                    <a:pt x="6694" y="2956"/>
                  </a:lnTo>
                  <a:lnTo>
                    <a:pt x="6738" y="2932"/>
                  </a:lnTo>
                  <a:lnTo>
                    <a:pt x="6736" y="2959"/>
                  </a:lnTo>
                  <a:lnTo>
                    <a:pt x="6755" y="2946"/>
                  </a:lnTo>
                  <a:lnTo>
                    <a:pt x="6760" y="2966"/>
                  </a:lnTo>
                  <a:lnTo>
                    <a:pt x="6775" y="2943"/>
                  </a:lnTo>
                  <a:lnTo>
                    <a:pt x="6796" y="2990"/>
                  </a:lnTo>
                  <a:lnTo>
                    <a:pt x="6794" y="2938"/>
                  </a:lnTo>
                  <a:lnTo>
                    <a:pt x="6831" y="2975"/>
                  </a:lnTo>
                  <a:lnTo>
                    <a:pt x="6847" y="2967"/>
                  </a:lnTo>
                  <a:lnTo>
                    <a:pt x="6852" y="2946"/>
                  </a:lnTo>
                  <a:lnTo>
                    <a:pt x="6876" y="2953"/>
                  </a:lnTo>
                  <a:lnTo>
                    <a:pt x="6892" y="2950"/>
                  </a:lnTo>
                  <a:lnTo>
                    <a:pt x="6886" y="2905"/>
                  </a:lnTo>
                  <a:lnTo>
                    <a:pt x="6892" y="2942"/>
                  </a:lnTo>
                  <a:lnTo>
                    <a:pt x="6906" y="2951"/>
                  </a:lnTo>
                  <a:lnTo>
                    <a:pt x="6940" y="2925"/>
                  </a:lnTo>
                  <a:lnTo>
                    <a:pt x="6937" y="2966"/>
                  </a:lnTo>
                  <a:lnTo>
                    <a:pt x="6958" y="2966"/>
                  </a:lnTo>
                  <a:lnTo>
                    <a:pt x="6974" y="2942"/>
                  </a:lnTo>
                  <a:lnTo>
                    <a:pt x="6985" y="2954"/>
                  </a:lnTo>
                  <a:lnTo>
                    <a:pt x="6977" y="2924"/>
                  </a:lnTo>
                  <a:lnTo>
                    <a:pt x="7011" y="2930"/>
                  </a:lnTo>
                  <a:lnTo>
                    <a:pt x="7025" y="2932"/>
                  </a:lnTo>
                  <a:lnTo>
                    <a:pt x="7037" y="2927"/>
                  </a:lnTo>
                  <a:lnTo>
                    <a:pt x="7029" y="2959"/>
                  </a:lnTo>
                  <a:lnTo>
                    <a:pt x="7040" y="2971"/>
                  </a:lnTo>
                  <a:lnTo>
                    <a:pt x="7069" y="2972"/>
                  </a:lnTo>
                  <a:lnTo>
                    <a:pt x="7077" y="2935"/>
                  </a:lnTo>
                  <a:lnTo>
                    <a:pt x="7111" y="2956"/>
                  </a:lnTo>
                  <a:lnTo>
                    <a:pt x="7122" y="2945"/>
                  </a:lnTo>
                  <a:lnTo>
                    <a:pt x="7127" y="2903"/>
                  </a:lnTo>
                  <a:lnTo>
                    <a:pt x="7149" y="2942"/>
                  </a:lnTo>
                  <a:lnTo>
                    <a:pt x="7164" y="2917"/>
                  </a:lnTo>
                  <a:lnTo>
                    <a:pt x="7180" y="2927"/>
                  </a:lnTo>
                  <a:lnTo>
                    <a:pt x="7164" y="2958"/>
                  </a:lnTo>
                  <a:lnTo>
                    <a:pt x="7214" y="2938"/>
                  </a:lnTo>
                  <a:lnTo>
                    <a:pt x="7175" y="2987"/>
                  </a:lnTo>
                  <a:lnTo>
                    <a:pt x="7207" y="2988"/>
                  </a:lnTo>
                  <a:lnTo>
                    <a:pt x="7217" y="2954"/>
                  </a:lnTo>
                  <a:lnTo>
                    <a:pt x="7233" y="2954"/>
                  </a:lnTo>
                  <a:lnTo>
                    <a:pt x="7255" y="2971"/>
                  </a:lnTo>
                  <a:lnTo>
                    <a:pt x="7275" y="2945"/>
                  </a:lnTo>
                  <a:lnTo>
                    <a:pt x="7288" y="2956"/>
                  </a:lnTo>
                  <a:lnTo>
                    <a:pt x="7299" y="2988"/>
                  </a:lnTo>
                  <a:lnTo>
                    <a:pt x="7315" y="2983"/>
                  </a:lnTo>
                  <a:lnTo>
                    <a:pt x="7329" y="2996"/>
                  </a:lnTo>
                  <a:lnTo>
                    <a:pt x="7347" y="2979"/>
                  </a:lnTo>
                  <a:lnTo>
                    <a:pt x="7362" y="2969"/>
                  </a:lnTo>
                  <a:lnTo>
                    <a:pt x="7378" y="2972"/>
                  </a:lnTo>
                  <a:lnTo>
                    <a:pt x="7387" y="2961"/>
                  </a:lnTo>
                  <a:lnTo>
                    <a:pt x="7402" y="2958"/>
                  </a:lnTo>
                  <a:lnTo>
                    <a:pt x="7437" y="2977"/>
                  </a:lnTo>
                  <a:lnTo>
                    <a:pt x="7436" y="2940"/>
                  </a:lnTo>
                  <a:lnTo>
                    <a:pt x="7447" y="2917"/>
                  </a:lnTo>
                  <a:lnTo>
                    <a:pt x="7461" y="2909"/>
                  </a:lnTo>
                  <a:lnTo>
                    <a:pt x="7484" y="2943"/>
                  </a:lnTo>
                  <a:lnTo>
                    <a:pt x="7518" y="2924"/>
                  </a:lnTo>
                  <a:lnTo>
                    <a:pt x="7530" y="2932"/>
                  </a:lnTo>
                  <a:lnTo>
                    <a:pt x="7537" y="2950"/>
                  </a:lnTo>
                  <a:lnTo>
                    <a:pt x="7532" y="2979"/>
                  </a:lnTo>
                  <a:lnTo>
                    <a:pt x="7540" y="2956"/>
                  </a:lnTo>
                  <a:lnTo>
                    <a:pt x="7548" y="2937"/>
                  </a:lnTo>
                  <a:lnTo>
                    <a:pt x="7563" y="2921"/>
                  </a:lnTo>
                  <a:lnTo>
                    <a:pt x="7587" y="2925"/>
                  </a:lnTo>
                  <a:lnTo>
                    <a:pt x="7609" y="2935"/>
                  </a:lnTo>
                  <a:lnTo>
                    <a:pt x="7624" y="2913"/>
                  </a:lnTo>
                  <a:lnTo>
                    <a:pt x="7645" y="2921"/>
                  </a:lnTo>
                  <a:lnTo>
                    <a:pt x="7661" y="2922"/>
                  </a:lnTo>
                  <a:lnTo>
                    <a:pt x="7667" y="2927"/>
                  </a:lnTo>
                  <a:lnTo>
                    <a:pt x="7675" y="2917"/>
                  </a:lnTo>
                  <a:lnTo>
                    <a:pt x="7680" y="2919"/>
                  </a:lnTo>
                  <a:lnTo>
                    <a:pt x="7680" y="414"/>
                  </a:lnTo>
                  <a:lnTo>
                    <a:pt x="7670" y="409"/>
                  </a:lnTo>
                  <a:lnTo>
                    <a:pt x="7638" y="448"/>
                  </a:lnTo>
                  <a:lnTo>
                    <a:pt x="7656" y="393"/>
                  </a:lnTo>
                  <a:lnTo>
                    <a:pt x="7614" y="422"/>
                  </a:lnTo>
                  <a:lnTo>
                    <a:pt x="7609" y="417"/>
                  </a:lnTo>
                  <a:lnTo>
                    <a:pt x="7598" y="390"/>
                  </a:lnTo>
                  <a:lnTo>
                    <a:pt x="7580" y="380"/>
                  </a:lnTo>
                  <a:lnTo>
                    <a:pt x="7569" y="404"/>
                  </a:lnTo>
                  <a:lnTo>
                    <a:pt x="7553" y="402"/>
                  </a:lnTo>
                  <a:lnTo>
                    <a:pt x="7535" y="380"/>
                  </a:lnTo>
                  <a:lnTo>
                    <a:pt x="7526" y="417"/>
                  </a:lnTo>
                  <a:lnTo>
                    <a:pt x="7514" y="430"/>
                  </a:lnTo>
                  <a:lnTo>
                    <a:pt x="7487" y="401"/>
                  </a:lnTo>
                  <a:lnTo>
                    <a:pt x="7479" y="423"/>
                  </a:lnTo>
                  <a:lnTo>
                    <a:pt x="7477" y="452"/>
                  </a:lnTo>
                  <a:lnTo>
                    <a:pt x="7456" y="451"/>
                  </a:lnTo>
                  <a:lnTo>
                    <a:pt x="7439" y="480"/>
                  </a:lnTo>
                  <a:lnTo>
                    <a:pt x="7419" y="441"/>
                  </a:lnTo>
                  <a:lnTo>
                    <a:pt x="7392" y="460"/>
                  </a:lnTo>
                  <a:lnTo>
                    <a:pt x="7386" y="423"/>
                  </a:lnTo>
                  <a:lnTo>
                    <a:pt x="7376" y="457"/>
                  </a:lnTo>
                  <a:lnTo>
                    <a:pt x="7350" y="409"/>
                  </a:lnTo>
                  <a:lnTo>
                    <a:pt x="7336" y="423"/>
                  </a:lnTo>
                  <a:lnTo>
                    <a:pt x="7318" y="423"/>
                  </a:lnTo>
                  <a:lnTo>
                    <a:pt x="7313" y="459"/>
                  </a:lnTo>
                  <a:lnTo>
                    <a:pt x="7294" y="443"/>
                  </a:lnTo>
                  <a:lnTo>
                    <a:pt x="7281" y="436"/>
                  </a:lnTo>
                  <a:lnTo>
                    <a:pt x="7263" y="460"/>
                  </a:lnTo>
                  <a:lnTo>
                    <a:pt x="7247" y="451"/>
                  </a:lnTo>
                  <a:lnTo>
                    <a:pt x="7246" y="472"/>
                  </a:lnTo>
                  <a:lnTo>
                    <a:pt x="7209" y="452"/>
                  </a:lnTo>
                  <a:lnTo>
                    <a:pt x="7209" y="475"/>
                  </a:lnTo>
                  <a:lnTo>
                    <a:pt x="7198" y="477"/>
                  </a:lnTo>
                  <a:lnTo>
                    <a:pt x="7185" y="467"/>
                  </a:lnTo>
                  <a:lnTo>
                    <a:pt x="7181" y="525"/>
                  </a:lnTo>
                  <a:lnTo>
                    <a:pt x="7154" y="483"/>
                  </a:lnTo>
                  <a:lnTo>
                    <a:pt x="7146" y="510"/>
                  </a:lnTo>
                  <a:lnTo>
                    <a:pt x="7128" y="512"/>
                  </a:lnTo>
                  <a:lnTo>
                    <a:pt x="7117" y="538"/>
                  </a:lnTo>
                  <a:lnTo>
                    <a:pt x="7103" y="506"/>
                  </a:lnTo>
                  <a:lnTo>
                    <a:pt x="7079" y="546"/>
                  </a:lnTo>
                  <a:lnTo>
                    <a:pt x="7059" y="538"/>
                  </a:lnTo>
                  <a:lnTo>
                    <a:pt x="7038" y="533"/>
                  </a:lnTo>
                  <a:lnTo>
                    <a:pt x="7045" y="496"/>
                  </a:lnTo>
                  <a:lnTo>
                    <a:pt x="7014" y="512"/>
                  </a:lnTo>
                  <a:lnTo>
                    <a:pt x="7016" y="494"/>
                  </a:lnTo>
                  <a:lnTo>
                    <a:pt x="7005" y="489"/>
                  </a:lnTo>
                  <a:lnTo>
                    <a:pt x="6997" y="520"/>
                  </a:lnTo>
                  <a:lnTo>
                    <a:pt x="6958" y="467"/>
                  </a:lnTo>
                  <a:lnTo>
                    <a:pt x="6968" y="512"/>
                  </a:lnTo>
                  <a:lnTo>
                    <a:pt x="6966" y="531"/>
                  </a:lnTo>
                  <a:lnTo>
                    <a:pt x="6924" y="509"/>
                  </a:lnTo>
                  <a:lnTo>
                    <a:pt x="6931" y="554"/>
                  </a:lnTo>
                  <a:lnTo>
                    <a:pt x="6923" y="517"/>
                  </a:lnTo>
                  <a:lnTo>
                    <a:pt x="6894" y="535"/>
                  </a:lnTo>
                  <a:lnTo>
                    <a:pt x="6884" y="523"/>
                  </a:lnTo>
                  <a:lnTo>
                    <a:pt x="6882" y="525"/>
                  </a:lnTo>
                  <a:lnTo>
                    <a:pt x="6886" y="530"/>
                  </a:lnTo>
                  <a:lnTo>
                    <a:pt x="6844" y="507"/>
                  </a:lnTo>
                  <a:lnTo>
                    <a:pt x="6829" y="514"/>
                  </a:lnTo>
                  <a:lnTo>
                    <a:pt x="6837" y="551"/>
                  </a:lnTo>
                  <a:lnTo>
                    <a:pt x="6820" y="518"/>
                  </a:lnTo>
                  <a:lnTo>
                    <a:pt x="6804" y="556"/>
                  </a:lnTo>
                  <a:lnTo>
                    <a:pt x="6789" y="539"/>
                  </a:lnTo>
                  <a:lnTo>
                    <a:pt x="6775" y="538"/>
                  </a:lnTo>
                  <a:lnTo>
                    <a:pt x="6760" y="536"/>
                  </a:lnTo>
                  <a:lnTo>
                    <a:pt x="6739" y="543"/>
                  </a:lnTo>
                  <a:lnTo>
                    <a:pt x="6741" y="502"/>
                  </a:lnTo>
                  <a:lnTo>
                    <a:pt x="6723" y="515"/>
                  </a:lnTo>
                  <a:lnTo>
                    <a:pt x="6709" y="525"/>
                  </a:lnTo>
                  <a:lnTo>
                    <a:pt x="6694" y="554"/>
                  </a:lnTo>
                  <a:lnTo>
                    <a:pt x="6697" y="504"/>
                  </a:lnTo>
                  <a:lnTo>
                    <a:pt x="6677" y="509"/>
                  </a:lnTo>
                  <a:lnTo>
                    <a:pt x="6651" y="528"/>
                  </a:lnTo>
                  <a:lnTo>
                    <a:pt x="6652" y="535"/>
                  </a:lnTo>
                  <a:lnTo>
                    <a:pt x="6648" y="531"/>
                  </a:lnTo>
                  <a:lnTo>
                    <a:pt x="6643" y="533"/>
                  </a:lnTo>
                  <a:lnTo>
                    <a:pt x="6644" y="528"/>
                  </a:lnTo>
                  <a:lnTo>
                    <a:pt x="6617" y="509"/>
                  </a:lnTo>
                  <a:lnTo>
                    <a:pt x="6601" y="510"/>
                  </a:lnTo>
                  <a:lnTo>
                    <a:pt x="6601" y="543"/>
                  </a:lnTo>
                  <a:lnTo>
                    <a:pt x="6588" y="527"/>
                  </a:lnTo>
                  <a:lnTo>
                    <a:pt x="6575" y="518"/>
                  </a:lnTo>
                  <a:lnTo>
                    <a:pt x="6551" y="522"/>
                  </a:lnTo>
                  <a:lnTo>
                    <a:pt x="6556" y="477"/>
                  </a:lnTo>
                  <a:lnTo>
                    <a:pt x="6543" y="512"/>
                  </a:lnTo>
                  <a:lnTo>
                    <a:pt x="6535" y="535"/>
                  </a:lnTo>
                  <a:lnTo>
                    <a:pt x="6503" y="499"/>
                  </a:lnTo>
                  <a:lnTo>
                    <a:pt x="6493" y="535"/>
                  </a:lnTo>
                  <a:lnTo>
                    <a:pt x="6476" y="502"/>
                  </a:lnTo>
                  <a:lnTo>
                    <a:pt x="6463" y="501"/>
                  </a:lnTo>
                  <a:lnTo>
                    <a:pt x="6451" y="489"/>
                  </a:lnTo>
                  <a:lnTo>
                    <a:pt x="6429" y="512"/>
                  </a:lnTo>
                  <a:lnTo>
                    <a:pt x="6414" y="533"/>
                  </a:lnTo>
                  <a:lnTo>
                    <a:pt x="6394" y="485"/>
                  </a:lnTo>
                  <a:lnTo>
                    <a:pt x="6390" y="541"/>
                  </a:lnTo>
                  <a:lnTo>
                    <a:pt x="6371" y="488"/>
                  </a:lnTo>
                  <a:lnTo>
                    <a:pt x="6358" y="496"/>
                  </a:lnTo>
                  <a:lnTo>
                    <a:pt x="6345" y="481"/>
                  </a:lnTo>
                  <a:lnTo>
                    <a:pt x="6321" y="506"/>
                  </a:lnTo>
                  <a:lnTo>
                    <a:pt x="6313" y="509"/>
                  </a:lnTo>
                  <a:lnTo>
                    <a:pt x="6295" y="509"/>
                  </a:lnTo>
                  <a:lnTo>
                    <a:pt x="6289" y="525"/>
                  </a:lnTo>
                  <a:lnTo>
                    <a:pt x="6271" y="554"/>
                  </a:lnTo>
                  <a:lnTo>
                    <a:pt x="6244" y="539"/>
                  </a:lnTo>
                  <a:lnTo>
                    <a:pt x="6271" y="486"/>
                  </a:lnTo>
                  <a:lnTo>
                    <a:pt x="6225" y="515"/>
                  </a:lnTo>
                  <a:lnTo>
                    <a:pt x="6236" y="469"/>
                  </a:lnTo>
                  <a:lnTo>
                    <a:pt x="6213" y="499"/>
                  </a:lnTo>
                  <a:lnTo>
                    <a:pt x="6197" y="504"/>
                  </a:lnTo>
                  <a:lnTo>
                    <a:pt x="6181" y="457"/>
                  </a:lnTo>
                  <a:lnTo>
                    <a:pt x="6167" y="485"/>
                  </a:lnTo>
                  <a:lnTo>
                    <a:pt x="6152" y="506"/>
                  </a:lnTo>
                  <a:lnTo>
                    <a:pt x="6135" y="514"/>
                  </a:lnTo>
                  <a:lnTo>
                    <a:pt x="6123" y="464"/>
                  </a:lnTo>
                  <a:lnTo>
                    <a:pt x="6107" y="469"/>
                  </a:lnTo>
                  <a:lnTo>
                    <a:pt x="6090" y="457"/>
                  </a:lnTo>
                  <a:lnTo>
                    <a:pt x="6070" y="460"/>
                  </a:lnTo>
                  <a:lnTo>
                    <a:pt x="6061" y="514"/>
                  </a:lnTo>
                  <a:lnTo>
                    <a:pt x="6048" y="506"/>
                  </a:lnTo>
                  <a:lnTo>
                    <a:pt x="6027" y="498"/>
                  </a:lnTo>
                  <a:lnTo>
                    <a:pt x="6025" y="533"/>
                  </a:lnTo>
                  <a:lnTo>
                    <a:pt x="5996" y="536"/>
                  </a:lnTo>
                  <a:lnTo>
                    <a:pt x="5974" y="525"/>
                  </a:lnTo>
                  <a:lnTo>
                    <a:pt x="5963" y="504"/>
                  </a:lnTo>
                  <a:lnTo>
                    <a:pt x="5950" y="469"/>
                  </a:lnTo>
                  <a:lnTo>
                    <a:pt x="5938" y="518"/>
                  </a:lnTo>
                  <a:lnTo>
                    <a:pt x="5922" y="525"/>
                  </a:lnTo>
                  <a:lnTo>
                    <a:pt x="5903" y="496"/>
                  </a:lnTo>
                  <a:lnTo>
                    <a:pt x="5908" y="481"/>
                  </a:lnTo>
                  <a:lnTo>
                    <a:pt x="5861" y="515"/>
                  </a:lnTo>
                  <a:lnTo>
                    <a:pt x="5864" y="489"/>
                  </a:lnTo>
                  <a:lnTo>
                    <a:pt x="5855" y="483"/>
                  </a:lnTo>
                  <a:lnTo>
                    <a:pt x="5842" y="486"/>
                  </a:lnTo>
                  <a:lnTo>
                    <a:pt x="5824" y="465"/>
                  </a:lnTo>
                  <a:lnTo>
                    <a:pt x="5805" y="465"/>
                  </a:lnTo>
                  <a:lnTo>
                    <a:pt x="5784" y="472"/>
                  </a:lnTo>
                  <a:lnTo>
                    <a:pt x="5792" y="506"/>
                  </a:lnTo>
                  <a:lnTo>
                    <a:pt x="5774" y="509"/>
                  </a:lnTo>
                  <a:lnTo>
                    <a:pt x="5758" y="506"/>
                  </a:lnTo>
                  <a:lnTo>
                    <a:pt x="5744" y="517"/>
                  </a:lnTo>
                  <a:lnTo>
                    <a:pt x="5731" y="506"/>
                  </a:lnTo>
                  <a:lnTo>
                    <a:pt x="5725" y="485"/>
                  </a:lnTo>
                  <a:lnTo>
                    <a:pt x="5713" y="486"/>
                  </a:lnTo>
                  <a:lnTo>
                    <a:pt x="5699" y="480"/>
                  </a:lnTo>
                  <a:lnTo>
                    <a:pt x="5700" y="456"/>
                  </a:lnTo>
                  <a:lnTo>
                    <a:pt x="5676" y="443"/>
                  </a:lnTo>
                  <a:lnTo>
                    <a:pt x="5657" y="489"/>
                  </a:lnTo>
                  <a:lnTo>
                    <a:pt x="5641" y="488"/>
                  </a:lnTo>
                  <a:lnTo>
                    <a:pt x="5623" y="486"/>
                  </a:lnTo>
                  <a:lnTo>
                    <a:pt x="5610" y="501"/>
                  </a:lnTo>
                  <a:lnTo>
                    <a:pt x="5586" y="469"/>
                  </a:lnTo>
                  <a:lnTo>
                    <a:pt x="5573" y="515"/>
                  </a:lnTo>
                  <a:lnTo>
                    <a:pt x="5554" y="499"/>
                  </a:lnTo>
                  <a:lnTo>
                    <a:pt x="5540" y="491"/>
                  </a:lnTo>
                  <a:lnTo>
                    <a:pt x="5532" y="464"/>
                  </a:lnTo>
                  <a:lnTo>
                    <a:pt x="5516" y="478"/>
                  </a:lnTo>
                  <a:lnTo>
                    <a:pt x="5498" y="478"/>
                  </a:lnTo>
                  <a:lnTo>
                    <a:pt x="5485" y="501"/>
                  </a:lnTo>
                  <a:lnTo>
                    <a:pt x="5467" y="481"/>
                  </a:lnTo>
                  <a:lnTo>
                    <a:pt x="5453" y="506"/>
                  </a:lnTo>
                  <a:lnTo>
                    <a:pt x="5438" y="489"/>
                  </a:lnTo>
                  <a:lnTo>
                    <a:pt x="5427" y="504"/>
                  </a:lnTo>
                  <a:lnTo>
                    <a:pt x="5413" y="517"/>
                  </a:lnTo>
                  <a:lnTo>
                    <a:pt x="5387" y="525"/>
                  </a:lnTo>
                  <a:lnTo>
                    <a:pt x="5392" y="478"/>
                  </a:lnTo>
                  <a:lnTo>
                    <a:pt x="5372" y="480"/>
                  </a:lnTo>
                  <a:lnTo>
                    <a:pt x="5355" y="478"/>
                  </a:lnTo>
                  <a:lnTo>
                    <a:pt x="5352" y="451"/>
                  </a:lnTo>
                  <a:lnTo>
                    <a:pt x="5335" y="435"/>
                  </a:lnTo>
                  <a:lnTo>
                    <a:pt x="5316" y="446"/>
                  </a:lnTo>
                  <a:lnTo>
                    <a:pt x="5295" y="469"/>
                  </a:lnTo>
                  <a:lnTo>
                    <a:pt x="5284" y="443"/>
                  </a:lnTo>
                  <a:lnTo>
                    <a:pt x="5268" y="446"/>
                  </a:lnTo>
                  <a:lnTo>
                    <a:pt x="5255" y="481"/>
                  </a:lnTo>
                  <a:lnTo>
                    <a:pt x="5239" y="465"/>
                  </a:lnTo>
                  <a:lnTo>
                    <a:pt x="5215" y="452"/>
                  </a:lnTo>
                  <a:lnTo>
                    <a:pt x="5204" y="472"/>
                  </a:lnTo>
                  <a:lnTo>
                    <a:pt x="5189" y="480"/>
                  </a:lnTo>
                  <a:lnTo>
                    <a:pt x="5167" y="456"/>
                  </a:lnTo>
                  <a:lnTo>
                    <a:pt x="5157" y="470"/>
                  </a:lnTo>
                  <a:lnTo>
                    <a:pt x="5147" y="459"/>
                  </a:lnTo>
                  <a:lnTo>
                    <a:pt x="5114" y="488"/>
                  </a:lnTo>
                  <a:lnTo>
                    <a:pt x="5101" y="478"/>
                  </a:lnTo>
                  <a:lnTo>
                    <a:pt x="5099" y="441"/>
                  </a:lnTo>
                  <a:lnTo>
                    <a:pt x="5073" y="460"/>
                  </a:lnTo>
                  <a:lnTo>
                    <a:pt x="5065" y="449"/>
                  </a:lnTo>
                  <a:lnTo>
                    <a:pt x="5041" y="428"/>
                  </a:lnTo>
                  <a:lnTo>
                    <a:pt x="5024" y="430"/>
                  </a:lnTo>
                  <a:lnTo>
                    <a:pt x="5017" y="449"/>
                  </a:lnTo>
                  <a:lnTo>
                    <a:pt x="4990" y="475"/>
                  </a:lnTo>
                  <a:lnTo>
                    <a:pt x="4991" y="433"/>
                  </a:lnTo>
                  <a:lnTo>
                    <a:pt x="4972" y="423"/>
                  </a:lnTo>
                  <a:lnTo>
                    <a:pt x="4951" y="431"/>
                  </a:lnTo>
                  <a:lnTo>
                    <a:pt x="4935" y="435"/>
                  </a:lnTo>
                  <a:lnTo>
                    <a:pt x="4922" y="451"/>
                  </a:lnTo>
                  <a:lnTo>
                    <a:pt x="4896" y="433"/>
                  </a:lnTo>
                  <a:lnTo>
                    <a:pt x="4879" y="438"/>
                  </a:lnTo>
                  <a:lnTo>
                    <a:pt x="4880" y="489"/>
                  </a:lnTo>
                  <a:lnTo>
                    <a:pt x="4861" y="481"/>
                  </a:lnTo>
                  <a:lnTo>
                    <a:pt x="4845" y="469"/>
                  </a:lnTo>
                  <a:lnTo>
                    <a:pt x="4827" y="485"/>
                  </a:lnTo>
                  <a:lnTo>
                    <a:pt x="4805" y="486"/>
                  </a:lnTo>
                  <a:lnTo>
                    <a:pt x="4800" y="457"/>
                  </a:lnTo>
                  <a:lnTo>
                    <a:pt x="4782" y="456"/>
                  </a:lnTo>
                  <a:lnTo>
                    <a:pt x="4782" y="431"/>
                  </a:lnTo>
                  <a:lnTo>
                    <a:pt x="4760" y="433"/>
                  </a:lnTo>
                  <a:lnTo>
                    <a:pt x="4729" y="441"/>
                  </a:lnTo>
                  <a:lnTo>
                    <a:pt x="4739" y="404"/>
                  </a:lnTo>
                  <a:lnTo>
                    <a:pt x="4732" y="423"/>
                  </a:lnTo>
                  <a:lnTo>
                    <a:pt x="4695" y="411"/>
                  </a:lnTo>
                  <a:lnTo>
                    <a:pt x="4732" y="462"/>
                  </a:lnTo>
                  <a:lnTo>
                    <a:pt x="4707" y="459"/>
                  </a:lnTo>
                  <a:lnTo>
                    <a:pt x="4687" y="456"/>
                  </a:lnTo>
                  <a:lnTo>
                    <a:pt x="4676" y="443"/>
                  </a:lnTo>
                  <a:lnTo>
                    <a:pt x="4658" y="477"/>
                  </a:lnTo>
                  <a:lnTo>
                    <a:pt x="4650" y="444"/>
                  </a:lnTo>
                  <a:lnTo>
                    <a:pt x="4654" y="428"/>
                  </a:lnTo>
                  <a:lnTo>
                    <a:pt x="4620" y="441"/>
                  </a:lnTo>
                  <a:lnTo>
                    <a:pt x="4613" y="425"/>
                  </a:lnTo>
                  <a:lnTo>
                    <a:pt x="4589" y="448"/>
                  </a:lnTo>
                  <a:lnTo>
                    <a:pt x="4585" y="433"/>
                  </a:lnTo>
                  <a:lnTo>
                    <a:pt x="4564" y="402"/>
                  </a:lnTo>
                  <a:lnTo>
                    <a:pt x="4556" y="440"/>
                  </a:lnTo>
                  <a:lnTo>
                    <a:pt x="4538" y="438"/>
                  </a:lnTo>
                  <a:lnTo>
                    <a:pt x="4509" y="412"/>
                  </a:lnTo>
                  <a:lnTo>
                    <a:pt x="4507" y="430"/>
                  </a:lnTo>
                  <a:lnTo>
                    <a:pt x="4491" y="433"/>
                  </a:lnTo>
                  <a:lnTo>
                    <a:pt x="4474" y="427"/>
                  </a:lnTo>
                  <a:lnTo>
                    <a:pt x="4457" y="419"/>
                  </a:lnTo>
                  <a:lnTo>
                    <a:pt x="4451" y="388"/>
                  </a:lnTo>
                  <a:lnTo>
                    <a:pt x="4435" y="382"/>
                  </a:lnTo>
                  <a:lnTo>
                    <a:pt x="4419" y="423"/>
                  </a:lnTo>
                  <a:lnTo>
                    <a:pt x="4417" y="425"/>
                  </a:lnTo>
                  <a:lnTo>
                    <a:pt x="4372" y="407"/>
                  </a:lnTo>
                  <a:lnTo>
                    <a:pt x="4395" y="446"/>
                  </a:lnTo>
                  <a:lnTo>
                    <a:pt x="4372" y="438"/>
                  </a:lnTo>
                  <a:lnTo>
                    <a:pt x="4369" y="475"/>
                  </a:lnTo>
                  <a:lnTo>
                    <a:pt x="4358" y="440"/>
                  </a:lnTo>
                  <a:lnTo>
                    <a:pt x="4332" y="460"/>
                  </a:lnTo>
                  <a:lnTo>
                    <a:pt x="4316" y="459"/>
                  </a:lnTo>
                  <a:lnTo>
                    <a:pt x="4313" y="441"/>
                  </a:lnTo>
                  <a:lnTo>
                    <a:pt x="4308" y="414"/>
                  </a:lnTo>
                  <a:lnTo>
                    <a:pt x="4289" y="419"/>
                  </a:lnTo>
                  <a:lnTo>
                    <a:pt x="4271" y="401"/>
                  </a:lnTo>
                  <a:lnTo>
                    <a:pt x="4247" y="402"/>
                  </a:lnTo>
                  <a:lnTo>
                    <a:pt x="4261" y="448"/>
                  </a:lnTo>
                  <a:lnTo>
                    <a:pt x="4245" y="449"/>
                  </a:lnTo>
                  <a:lnTo>
                    <a:pt x="4226" y="435"/>
                  </a:lnTo>
                  <a:lnTo>
                    <a:pt x="4202" y="460"/>
                  </a:lnTo>
                  <a:lnTo>
                    <a:pt x="4184" y="460"/>
                  </a:lnTo>
                  <a:lnTo>
                    <a:pt x="4183" y="454"/>
                  </a:lnTo>
                  <a:lnTo>
                    <a:pt x="4160" y="449"/>
                  </a:lnTo>
                  <a:lnTo>
                    <a:pt x="4165" y="478"/>
                  </a:lnTo>
                  <a:lnTo>
                    <a:pt x="4134" y="460"/>
                  </a:lnTo>
                  <a:lnTo>
                    <a:pt x="4131" y="446"/>
                  </a:lnTo>
                  <a:lnTo>
                    <a:pt x="4126" y="428"/>
                  </a:lnTo>
                  <a:lnTo>
                    <a:pt x="4115" y="420"/>
                  </a:lnTo>
                  <a:lnTo>
                    <a:pt x="4088" y="428"/>
                  </a:lnTo>
                  <a:lnTo>
                    <a:pt x="4072" y="428"/>
                  </a:lnTo>
                  <a:lnTo>
                    <a:pt x="4059" y="465"/>
                  </a:lnTo>
                  <a:lnTo>
                    <a:pt x="4043" y="425"/>
                  </a:lnTo>
                  <a:lnTo>
                    <a:pt x="4023" y="433"/>
                  </a:lnTo>
                  <a:lnTo>
                    <a:pt x="4019" y="402"/>
                  </a:lnTo>
                  <a:lnTo>
                    <a:pt x="4004" y="383"/>
                  </a:lnTo>
                  <a:lnTo>
                    <a:pt x="3978" y="414"/>
                  </a:lnTo>
                  <a:lnTo>
                    <a:pt x="3969" y="383"/>
                  </a:lnTo>
                  <a:lnTo>
                    <a:pt x="3956" y="427"/>
                  </a:lnTo>
                  <a:lnTo>
                    <a:pt x="3928" y="409"/>
                  </a:lnTo>
                  <a:lnTo>
                    <a:pt x="3908" y="411"/>
                  </a:lnTo>
                  <a:lnTo>
                    <a:pt x="3898" y="422"/>
                  </a:lnTo>
                  <a:lnTo>
                    <a:pt x="3930" y="465"/>
                  </a:lnTo>
                  <a:lnTo>
                    <a:pt x="3893" y="444"/>
                  </a:lnTo>
                  <a:lnTo>
                    <a:pt x="3887" y="467"/>
                  </a:lnTo>
                  <a:lnTo>
                    <a:pt x="3871" y="481"/>
                  </a:lnTo>
                  <a:lnTo>
                    <a:pt x="3866" y="435"/>
                  </a:lnTo>
                  <a:lnTo>
                    <a:pt x="3832" y="467"/>
                  </a:lnTo>
                  <a:lnTo>
                    <a:pt x="3827" y="440"/>
                  </a:lnTo>
                  <a:lnTo>
                    <a:pt x="3821" y="414"/>
                  </a:lnTo>
                  <a:lnTo>
                    <a:pt x="3803" y="406"/>
                  </a:lnTo>
                  <a:lnTo>
                    <a:pt x="3787" y="399"/>
                  </a:lnTo>
                  <a:lnTo>
                    <a:pt x="3763" y="415"/>
                  </a:lnTo>
                  <a:lnTo>
                    <a:pt x="3734" y="394"/>
                  </a:lnTo>
                  <a:lnTo>
                    <a:pt x="3745" y="452"/>
                  </a:lnTo>
                  <a:lnTo>
                    <a:pt x="3710" y="417"/>
                  </a:lnTo>
                  <a:lnTo>
                    <a:pt x="3697" y="420"/>
                  </a:lnTo>
                  <a:lnTo>
                    <a:pt x="3686" y="438"/>
                  </a:lnTo>
                  <a:lnTo>
                    <a:pt x="3668" y="462"/>
                  </a:lnTo>
                  <a:lnTo>
                    <a:pt x="3653" y="440"/>
                  </a:lnTo>
                  <a:lnTo>
                    <a:pt x="3642" y="425"/>
                  </a:lnTo>
                  <a:lnTo>
                    <a:pt x="3626" y="456"/>
                  </a:lnTo>
                  <a:lnTo>
                    <a:pt x="3604" y="422"/>
                  </a:lnTo>
                  <a:lnTo>
                    <a:pt x="3605" y="449"/>
                  </a:lnTo>
                  <a:lnTo>
                    <a:pt x="3602" y="469"/>
                  </a:lnTo>
                  <a:lnTo>
                    <a:pt x="3576" y="435"/>
                  </a:lnTo>
                  <a:lnTo>
                    <a:pt x="3554" y="469"/>
                  </a:lnTo>
                  <a:lnTo>
                    <a:pt x="3546" y="448"/>
                  </a:lnTo>
                  <a:lnTo>
                    <a:pt x="3533" y="462"/>
                  </a:lnTo>
                  <a:lnTo>
                    <a:pt x="3510" y="436"/>
                  </a:lnTo>
                  <a:lnTo>
                    <a:pt x="3525" y="477"/>
                  </a:lnTo>
                  <a:lnTo>
                    <a:pt x="3504" y="475"/>
                  </a:lnTo>
                  <a:lnTo>
                    <a:pt x="3483" y="489"/>
                  </a:lnTo>
                  <a:lnTo>
                    <a:pt x="3457" y="481"/>
                  </a:lnTo>
                  <a:lnTo>
                    <a:pt x="3448" y="469"/>
                  </a:lnTo>
                  <a:lnTo>
                    <a:pt x="3446" y="448"/>
                  </a:lnTo>
                  <a:lnTo>
                    <a:pt x="3438" y="440"/>
                  </a:lnTo>
                  <a:lnTo>
                    <a:pt x="3430" y="452"/>
                  </a:lnTo>
                  <a:lnTo>
                    <a:pt x="3422" y="477"/>
                  </a:lnTo>
                  <a:lnTo>
                    <a:pt x="3395" y="464"/>
                  </a:lnTo>
                  <a:lnTo>
                    <a:pt x="3372" y="435"/>
                  </a:lnTo>
                  <a:lnTo>
                    <a:pt x="3364" y="478"/>
                  </a:lnTo>
                  <a:lnTo>
                    <a:pt x="3343" y="494"/>
                  </a:lnTo>
                  <a:lnTo>
                    <a:pt x="3330" y="460"/>
                  </a:lnTo>
                  <a:lnTo>
                    <a:pt x="3308" y="481"/>
                  </a:lnTo>
                  <a:lnTo>
                    <a:pt x="3300" y="462"/>
                  </a:lnTo>
                  <a:lnTo>
                    <a:pt x="3277" y="443"/>
                  </a:lnTo>
                  <a:lnTo>
                    <a:pt x="3272" y="477"/>
                  </a:lnTo>
                  <a:lnTo>
                    <a:pt x="3256" y="448"/>
                  </a:lnTo>
                  <a:lnTo>
                    <a:pt x="3258" y="441"/>
                  </a:lnTo>
                  <a:lnTo>
                    <a:pt x="3206" y="469"/>
                  </a:lnTo>
                  <a:lnTo>
                    <a:pt x="3208" y="446"/>
                  </a:lnTo>
                  <a:lnTo>
                    <a:pt x="3208" y="415"/>
                  </a:lnTo>
                  <a:lnTo>
                    <a:pt x="3182" y="414"/>
                  </a:lnTo>
                  <a:lnTo>
                    <a:pt x="3176" y="440"/>
                  </a:lnTo>
                  <a:lnTo>
                    <a:pt x="3160" y="459"/>
                  </a:lnTo>
                  <a:lnTo>
                    <a:pt x="3152" y="423"/>
                  </a:lnTo>
                  <a:lnTo>
                    <a:pt x="3116" y="452"/>
                  </a:lnTo>
                  <a:lnTo>
                    <a:pt x="3112" y="428"/>
                  </a:lnTo>
                  <a:lnTo>
                    <a:pt x="3099" y="391"/>
                  </a:lnTo>
                  <a:lnTo>
                    <a:pt x="3083" y="417"/>
                  </a:lnTo>
                  <a:lnTo>
                    <a:pt x="3068" y="419"/>
                  </a:lnTo>
                  <a:lnTo>
                    <a:pt x="3052" y="420"/>
                  </a:lnTo>
                  <a:lnTo>
                    <a:pt x="3038" y="428"/>
                  </a:lnTo>
                  <a:lnTo>
                    <a:pt x="3022" y="428"/>
                  </a:lnTo>
                  <a:lnTo>
                    <a:pt x="3005" y="440"/>
                  </a:lnTo>
                  <a:lnTo>
                    <a:pt x="2991" y="399"/>
                  </a:lnTo>
                  <a:lnTo>
                    <a:pt x="2970" y="407"/>
                  </a:lnTo>
                  <a:lnTo>
                    <a:pt x="2952" y="420"/>
                  </a:lnTo>
                  <a:lnTo>
                    <a:pt x="2959" y="467"/>
                  </a:lnTo>
                  <a:lnTo>
                    <a:pt x="2925" y="431"/>
                  </a:lnTo>
                  <a:lnTo>
                    <a:pt x="2901" y="473"/>
                  </a:lnTo>
                  <a:lnTo>
                    <a:pt x="2901" y="427"/>
                  </a:lnTo>
                  <a:lnTo>
                    <a:pt x="2886" y="423"/>
                  </a:lnTo>
                  <a:lnTo>
                    <a:pt x="2867" y="422"/>
                  </a:lnTo>
                  <a:lnTo>
                    <a:pt x="2841" y="425"/>
                  </a:lnTo>
                  <a:lnTo>
                    <a:pt x="2838" y="388"/>
                  </a:lnTo>
                  <a:lnTo>
                    <a:pt x="2833" y="422"/>
                  </a:lnTo>
                  <a:lnTo>
                    <a:pt x="2800" y="401"/>
                  </a:lnTo>
                  <a:lnTo>
                    <a:pt x="2795" y="420"/>
                  </a:lnTo>
                  <a:lnTo>
                    <a:pt x="2788" y="438"/>
                  </a:lnTo>
                  <a:lnTo>
                    <a:pt x="2795" y="406"/>
                  </a:lnTo>
                  <a:lnTo>
                    <a:pt x="2764" y="419"/>
                  </a:lnTo>
                  <a:lnTo>
                    <a:pt x="2747" y="417"/>
                  </a:lnTo>
                  <a:lnTo>
                    <a:pt x="2745" y="388"/>
                  </a:lnTo>
                  <a:lnTo>
                    <a:pt x="2722" y="386"/>
                  </a:lnTo>
                  <a:lnTo>
                    <a:pt x="2703" y="377"/>
                  </a:lnTo>
                  <a:lnTo>
                    <a:pt x="2698" y="422"/>
                  </a:lnTo>
                  <a:lnTo>
                    <a:pt x="2684" y="436"/>
                  </a:lnTo>
                  <a:lnTo>
                    <a:pt x="2666" y="419"/>
                  </a:lnTo>
                  <a:lnTo>
                    <a:pt x="2648" y="412"/>
                  </a:lnTo>
                  <a:lnTo>
                    <a:pt x="2644" y="446"/>
                  </a:lnTo>
                  <a:lnTo>
                    <a:pt x="2623" y="443"/>
                  </a:lnTo>
                  <a:lnTo>
                    <a:pt x="2603" y="462"/>
                  </a:lnTo>
                  <a:lnTo>
                    <a:pt x="2595" y="404"/>
                  </a:lnTo>
                  <a:lnTo>
                    <a:pt x="2566" y="444"/>
                  </a:lnTo>
                  <a:lnTo>
                    <a:pt x="2557" y="420"/>
                  </a:lnTo>
                  <a:lnTo>
                    <a:pt x="2539" y="422"/>
                  </a:lnTo>
                  <a:lnTo>
                    <a:pt x="2528" y="446"/>
                  </a:lnTo>
                  <a:lnTo>
                    <a:pt x="2509" y="462"/>
                  </a:lnTo>
                  <a:lnTo>
                    <a:pt x="2497" y="422"/>
                  </a:lnTo>
                  <a:lnTo>
                    <a:pt x="2470" y="454"/>
                  </a:lnTo>
                  <a:lnTo>
                    <a:pt x="2465" y="396"/>
                  </a:lnTo>
                  <a:lnTo>
                    <a:pt x="2446" y="409"/>
                  </a:lnTo>
                  <a:lnTo>
                    <a:pt x="2435" y="448"/>
                  </a:lnTo>
                  <a:lnTo>
                    <a:pt x="2420" y="406"/>
                  </a:lnTo>
                  <a:lnTo>
                    <a:pt x="2407" y="409"/>
                  </a:lnTo>
                  <a:lnTo>
                    <a:pt x="2386" y="412"/>
                  </a:lnTo>
                  <a:lnTo>
                    <a:pt x="2374" y="382"/>
                  </a:lnTo>
                  <a:lnTo>
                    <a:pt x="2353" y="399"/>
                  </a:lnTo>
                  <a:lnTo>
                    <a:pt x="2333" y="391"/>
                  </a:lnTo>
                  <a:lnTo>
                    <a:pt x="2324" y="411"/>
                  </a:lnTo>
                  <a:lnTo>
                    <a:pt x="2312" y="402"/>
                  </a:lnTo>
                  <a:lnTo>
                    <a:pt x="2308" y="380"/>
                  </a:lnTo>
                  <a:lnTo>
                    <a:pt x="2272" y="402"/>
                  </a:lnTo>
                  <a:lnTo>
                    <a:pt x="2274" y="353"/>
                  </a:lnTo>
                  <a:lnTo>
                    <a:pt x="2250" y="382"/>
                  </a:lnTo>
                  <a:lnTo>
                    <a:pt x="2226" y="398"/>
                  </a:lnTo>
                  <a:lnTo>
                    <a:pt x="2219" y="370"/>
                  </a:lnTo>
                  <a:lnTo>
                    <a:pt x="2197" y="375"/>
                  </a:lnTo>
                  <a:lnTo>
                    <a:pt x="2193" y="325"/>
                  </a:lnTo>
                  <a:lnTo>
                    <a:pt x="2184" y="377"/>
                  </a:lnTo>
                  <a:lnTo>
                    <a:pt x="2158" y="362"/>
                  </a:lnTo>
                  <a:lnTo>
                    <a:pt x="2140" y="388"/>
                  </a:lnTo>
                  <a:lnTo>
                    <a:pt x="2115" y="377"/>
                  </a:lnTo>
                  <a:lnTo>
                    <a:pt x="2131" y="343"/>
                  </a:lnTo>
                  <a:lnTo>
                    <a:pt x="2134" y="320"/>
                  </a:lnTo>
                  <a:lnTo>
                    <a:pt x="2099" y="353"/>
                  </a:lnTo>
                  <a:lnTo>
                    <a:pt x="2094" y="341"/>
                  </a:lnTo>
                  <a:lnTo>
                    <a:pt x="2087" y="361"/>
                  </a:lnTo>
                  <a:lnTo>
                    <a:pt x="2057" y="328"/>
                  </a:lnTo>
                  <a:lnTo>
                    <a:pt x="2052" y="370"/>
                  </a:lnTo>
                  <a:lnTo>
                    <a:pt x="2041" y="338"/>
                  </a:lnTo>
                  <a:lnTo>
                    <a:pt x="2015" y="361"/>
                  </a:lnTo>
                  <a:lnTo>
                    <a:pt x="2017" y="307"/>
                  </a:lnTo>
                  <a:lnTo>
                    <a:pt x="1989" y="353"/>
                  </a:lnTo>
                  <a:lnTo>
                    <a:pt x="1984" y="299"/>
                  </a:lnTo>
                  <a:lnTo>
                    <a:pt x="1960" y="332"/>
                  </a:lnTo>
                  <a:lnTo>
                    <a:pt x="1951" y="314"/>
                  </a:lnTo>
                  <a:lnTo>
                    <a:pt x="1926" y="317"/>
                  </a:lnTo>
                  <a:lnTo>
                    <a:pt x="1923" y="301"/>
                  </a:lnTo>
                  <a:lnTo>
                    <a:pt x="1898" y="290"/>
                  </a:lnTo>
                  <a:lnTo>
                    <a:pt x="1907" y="330"/>
                  </a:lnTo>
                  <a:lnTo>
                    <a:pt x="1862" y="301"/>
                  </a:lnTo>
                  <a:lnTo>
                    <a:pt x="1867" y="319"/>
                  </a:lnTo>
                  <a:lnTo>
                    <a:pt x="1859" y="325"/>
                  </a:lnTo>
                  <a:lnTo>
                    <a:pt x="1848" y="317"/>
                  </a:lnTo>
                  <a:lnTo>
                    <a:pt x="1832" y="312"/>
                  </a:lnTo>
                  <a:lnTo>
                    <a:pt x="1819" y="324"/>
                  </a:lnTo>
                  <a:lnTo>
                    <a:pt x="1814" y="309"/>
                  </a:lnTo>
                  <a:lnTo>
                    <a:pt x="1796" y="283"/>
                  </a:lnTo>
                  <a:lnTo>
                    <a:pt x="1780" y="303"/>
                  </a:lnTo>
                  <a:lnTo>
                    <a:pt x="1775" y="267"/>
                  </a:lnTo>
                  <a:lnTo>
                    <a:pt x="1745" y="309"/>
                  </a:lnTo>
                  <a:lnTo>
                    <a:pt x="1737" y="296"/>
                  </a:lnTo>
                  <a:lnTo>
                    <a:pt x="1727" y="317"/>
                  </a:lnTo>
                  <a:lnTo>
                    <a:pt x="1698" y="269"/>
                  </a:lnTo>
                  <a:lnTo>
                    <a:pt x="1688" y="296"/>
                  </a:lnTo>
                  <a:lnTo>
                    <a:pt x="1684" y="274"/>
                  </a:lnTo>
                  <a:lnTo>
                    <a:pt x="1648" y="285"/>
                  </a:lnTo>
                  <a:lnTo>
                    <a:pt x="1643" y="277"/>
                  </a:lnTo>
                  <a:lnTo>
                    <a:pt x="1632" y="259"/>
                  </a:lnTo>
                  <a:lnTo>
                    <a:pt x="1631" y="288"/>
                  </a:lnTo>
                  <a:lnTo>
                    <a:pt x="1616" y="293"/>
                  </a:lnTo>
                  <a:lnTo>
                    <a:pt x="1590" y="304"/>
                  </a:lnTo>
                  <a:lnTo>
                    <a:pt x="1581" y="275"/>
                  </a:lnTo>
                  <a:lnTo>
                    <a:pt x="1566" y="266"/>
                  </a:lnTo>
                  <a:lnTo>
                    <a:pt x="1590" y="228"/>
                  </a:lnTo>
                  <a:lnTo>
                    <a:pt x="1560" y="235"/>
                  </a:lnTo>
                  <a:lnTo>
                    <a:pt x="1544" y="237"/>
                  </a:lnTo>
                  <a:lnTo>
                    <a:pt x="1544" y="267"/>
                  </a:lnTo>
                  <a:lnTo>
                    <a:pt x="1508" y="232"/>
                  </a:lnTo>
                  <a:lnTo>
                    <a:pt x="1508" y="283"/>
                  </a:lnTo>
                  <a:lnTo>
                    <a:pt x="1484" y="283"/>
                  </a:lnTo>
                  <a:lnTo>
                    <a:pt x="1468" y="282"/>
                  </a:lnTo>
                  <a:lnTo>
                    <a:pt x="1460" y="251"/>
                  </a:lnTo>
                  <a:lnTo>
                    <a:pt x="1431" y="251"/>
                  </a:lnTo>
                  <a:lnTo>
                    <a:pt x="1442" y="224"/>
                  </a:lnTo>
                  <a:lnTo>
                    <a:pt x="1439" y="206"/>
                  </a:lnTo>
                  <a:lnTo>
                    <a:pt x="1430" y="183"/>
                  </a:lnTo>
                  <a:lnTo>
                    <a:pt x="1415" y="211"/>
                  </a:lnTo>
                  <a:lnTo>
                    <a:pt x="1388" y="190"/>
                  </a:lnTo>
                  <a:lnTo>
                    <a:pt x="1385" y="199"/>
                  </a:lnTo>
                  <a:lnTo>
                    <a:pt x="1388" y="198"/>
                  </a:lnTo>
                  <a:lnTo>
                    <a:pt x="1375" y="217"/>
                  </a:lnTo>
                  <a:lnTo>
                    <a:pt x="1380" y="208"/>
                  </a:lnTo>
                  <a:lnTo>
                    <a:pt x="1385" y="199"/>
                  </a:lnTo>
                  <a:lnTo>
                    <a:pt x="1332" y="214"/>
                  </a:lnTo>
                  <a:lnTo>
                    <a:pt x="1333" y="193"/>
                  </a:lnTo>
                  <a:lnTo>
                    <a:pt x="1341" y="166"/>
                  </a:lnTo>
                  <a:lnTo>
                    <a:pt x="1322" y="172"/>
                  </a:lnTo>
                  <a:lnTo>
                    <a:pt x="1304" y="185"/>
                  </a:lnTo>
                  <a:lnTo>
                    <a:pt x="1293" y="167"/>
                  </a:lnTo>
                  <a:lnTo>
                    <a:pt x="1272" y="162"/>
                  </a:lnTo>
                  <a:lnTo>
                    <a:pt x="1250" y="161"/>
                  </a:lnTo>
                  <a:lnTo>
                    <a:pt x="1262" y="198"/>
                  </a:lnTo>
                  <a:lnTo>
                    <a:pt x="1246" y="201"/>
                  </a:lnTo>
                  <a:lnTo>
                    <a:pt x="1235" y="195"/>
                  </a:lnTo>
                  <a:lnTo>
                    <a:pt x="1229" y="193"/>
                  </a:lnTo>
                  <a:lnTo>
                    <a:pt x="1221" y="174"/>
                  </a:lnTo>
                  <a:lnTo>
                    <a:pt x="1180" y="206"/>
                  </a:lnTo>
                  <a:lnTo>
                    <a:pt x="1180" y="175"/>
                  </a:lnTo>
                  <a:lnTo>
                    <a:pt x="1168" y="164"/>
                  </a:lnTo>
                  <a:lnTo>
                    <a:pt x="1147" y="175"/>
                  </a:lnTo>
                  <a:lnTo>
                    <a:pt x="1129" y="182"/>
                  </a:lnTo>
                  <a:lnTo>
                    <a:pt x="1118" y="166"/>
                  </a:lnTo>
                  <a:lnTo>
                    <a:pt x="1108" y="177"/>
                  </a:lnTo>
                  <a:lnTo>
                    <a:pt x="1103" y="179"/>
                  </a:lnTo>
                  <a:lnTo>
                    <a:pt x="1082" y="167"/>
                  </a:lnTo>
                  <a:lnTo>
                    <a:pt x="1066" y="162"/>
                  </a:lnTo>
                  <a:lnTo>
                    <a:pt x="1049" y="193"/>
                  </a:lnTo>
                  <a:lnTo>
                    <a:pt x="1069" y="143"/>
                  </a:lnTo>
                  <a:lnTo>
                    <a:pt x="1026" y="156"/>
                  </a:lnTo>
                  <a:lnTo>
                    <a:pt x="1003" y="153"/>
                  </a:lnTo>
                  <a:lnTo>
                    <a:pt x="1020" y="114"/>
                  </a:lnTo>
                  <a:lnTo>
                    <a:pt x="995" y="114"/>
                  </a:lnTo>
                  <a:lnTo>
                    <a:pt x="975" y="106"/>
                  </a:lnTo>
                  <a:lnTo>
                    <a:pt x="967" y="151"/>
                  </a:lnTo>
                  <a:lnTo>
                    <a:pt x="941" y="151"/>
                  </a:lnTo>
                  <a:lnTo>
                    <a:pt x="928" y="140"/>
                  </a:lnTo>
                  <a:lnTo>
                    <a:pt x="925" y="140"/>
                  </a:lnTo>
                  <a:lnTo>
                    <a:pt x="909" y="116"/>
                  </a:lnTo>
                  <a:lnTo>
                    <a:pt x="884" y="108"/>
                  </a:lnTo>
                  <a:lnTo>
                    <a:pt x="875" y="137"/>
                  </a:lnTo>
                  <a:lnTo>
                    <a:pt x="843" y="137"/>
                  </a:lnTo>
                  <a:lnTo>
                    <a:pt x="872" y="96"/>
                  </a:lnTo>
                  <a:lnTo>
                    <a:pt x="825" y="108"/>
                  </a:lnTo>
                  <a:lnTo>
                    <a:pt x="844" y="69"/>
                  </a:lnTo>
                  <a:lnTo>
                    <a:pt x="822" y="98"/>
                  </a:lnTo>
                  <a:lnTo>
                    <a:pt x="806" y="109"/>
                  </a:lnTo>
                  <a:lnTo>
                    <a:pt x="796" y="46"/>
                  </a:lnTo>
                  <a:lnTo>
                    <a:pt x="770" y="93"/>
                  </a:lnTo>
                  <a:lnTo>
                    <a:pt x="762" y="67"/>
                  </a:lnTo>
                  <a:lnTo>
                    <a:pt x="746" y="63"/>
                  </a:lnTo>
                  <a:lnTo>
                    <a:pt x="720" y="53"/>
                  </a:lnTo>
                  <a:lnTo>
                    <a:pt x="727" y="90"/>
                  </a:lnTo>
                  <a:lnTo>
                    <a:pt x="714" y="100"/>
                  </a:lnTo>
                  <a:lnTo>
                    <a:pt x="695" y="75"/>
                  </a:lnTo>
                  <a:lnTo>
                    <a:pt x="672" y="103"/>
                  </a:lnTo>
                  <a:lnTo>
                    <a:pt x="682" y="59"/>
                  </a:lnTo>
                  <a:lnTo>
                    <a:pt x="648" y="85"/>
                  </a:lnTo>
                  <a:lnTo>
                    <a:pt x="635" y="95"/>
                  </a:lnTo>
                  <a:lnTo>
                    <a:pt x="621" y="77"/>
                  </a:lnTo>
                  <a:lnTo>
                    <a:pt x="608" y="98"/>
                  </a:lnTo>
                  <a:lnTo>
                    <a:pt x="589" y="58"/>
                  </a:lnTo>
                  <a:lnTo>
                    <a:pt x="574" y="63"/>
                  </a:lnTo>
                  <a:lnTo>
                    <a:pt x="555" y="45"/>
                  </a:lnTo>
                  <a:lnTo>
                    <a:pt x="539" y="51"/>
                  </a:lnTo>
                  <a:lnTo>
                    <a:pt x="534" y="109"/>
                  </a:lnTo>
                  <a:lnTo>
                    <a:pt x="507" y="114"/>
                  </a:lnTo>
                  <a:lnTo>
                    <a:pt x="492" y="87"/>
                  </a:lnTo>
                  <a:lnTo>
                    <a:pt x="484" y="67"/>
                  </a:lnTo>
                  <a:lnTo>
                    <a:pt x="476" y="40"/>
                  </a:lnTo>
                  <a:lnTo>
                    <a:pt x="447" y="87"/>
                  </a:lnTo>
                  <a:lnTo>
                    <a:pt x="434" y="75"/>
                  </a:lnTo>
                  <a:lnTo>
                    <a:pt x="420" y="63"/>
                  </a:lnTo>
                  <a:lnTo>
                    <a:pt x="407" y="50"/>
                  </a:lnTo>
                  <a:lnTo>
                    <a:pt x="394" y="38"/>
                  </a:lnTo>
                  <a:lnTo>
                    <a:pt x="381" y="22"/>
                  </a:lnTo>
                  <a:lnTo>
                    <a:pt x="365" y="48"/>
                  </a:lnTo>
                  <a:lnTo>
                    <a:pt x="346" y="1"/>
                  </a:lnTo>
                  <a:lnTo>
                    <a:pt x="333" y="35"/>
                  </a:lnTo>
                  <a:lnTo>
                    <a:pt x="325" y="13"/>
                  </a:lnTo>
                  <a:lnTo>
                    <a:pt x="314" y="0"/>
                  </a:lnTo>
                  <a:lnTo>
                    <a:pt x="288" y="19"/>
                  </a:lnTo>
                  <a:lnTo>
                    <a:pt x="275" y="24"/>
                  </a:lnTo>
                  <a:lnTo>
                    <a:pt x="259" y="24"/>
                  </a:lnTo>
                  <a:lnTo>
                    <a:pt x="251" y="45"/>
                  </a:lnTo>
                  <a:lnTo>
                    <a:pt x="240" y="51"/>
                  </a:lnTo>
                  <a:lnTo>
                    <a:pt x="214" y="34"/>
                  </a:lnTo>
                  <a:lnTo>
                    <a:pt x="187" y="16"/>
                  </a:lnTo>
                  <a:lnTo>
                    <a:pt x="182" y="46"/>
                  </a:lnTo>
                  <a:lnTo>
                    <a:pt x="169" y="59"/>
                  </a:lnTo>
                  <a:lnTo>
                    <a:pt x="151" y="50"/>
                  </a:lnTo>
                  <a:lnTo>
                    <a:pt x="142" y="43"/>
                  </a:lnTo>
                  <a:lnTo>
                    <a:pt x="121" y="38"/>
                  </a:lnTo>
                  <a:lnTo>
                    <a:pt x="106" y="30"/>
                  </a:lnTo>
                  <a:lnTo>
                    <a:pt x="106" y="17"/>
                  </a:lnTo>
                  <a:lnTo>
                    <a:pt x="85" y="5"/>
                  </a:lnTo>
                  <a:lnTo>
                    <a:pt x="71" y="14"/>
                  </a:lnTo>
                  <a:lnTo>
                    <a:pt x="68" y="48"/>
                  </a:lnTo>
                  <a:lnTo>
                    <a:pt x="53" y="59"/>
                  </a:lnTo>
                  <a:lnTo>
                    <a:pt x="19" y="25"/>
                  </a:lnTo>
                  <a:lnTo>
                    <a:pt x="10" y="29"/>
                  </a:lnTo>
                  <a:lnTo>
                    <a:pt x="3" y="25"/>
                  </a:lnTo>
                  <a:lnTo>
                    <a:pt x="0" y="29"/>
                  </a:lnTo>
                  <a:lnTo>
                    <a:pt x="0" y="2518"/>
                  </a:lnTo>
                  <a:lnTo>
                    <a:pt x="10" y="2518"/>
                  </a:lnTo>
                  <a:close/>
                </a:path>
              </a:pathLst>
            </a:custGeom>
            <a:solidFill>
              <a:srgbClr val="F5F5F0"/>
            </a:solidFill>
            <a:ln w="9525" cap="flat">
              <a:noFill/>
              <a:prstDash val="solid"/>
              <a:miter/>
            </a:ln>
            <a:effectLst>
              <a:outerShdw blurRad="88900" dist="50800" dir="5400000" algn="ctr" rotWithShape="0">
                <a:srgbClr val="000000">
                  <a:alpha val="75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4C9A5272-D11E-4EE4-B158-12DA7DA143D7}"/>
                </a:ext>
              </a:extLst>
            </p:cNvPr>
            <p:cNvSpPr/>
            <p:nvPr/>
          </p:nvSpPr>
          <p:spPr bwMode="auto">
            <a:xfrm>
              <a:off x="2298619" y="1999750"/>
              <a:ext cx="3380141" cy="51906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400" b="1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hina erhöht die Zölle auf Daten!</a:t>
              </a:r>
            </a:p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400" b="1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USA ratlos!</a:t>
              </a: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C10D3A61-2EDF-4C12-AC58-D767F68A5EA2}"/>
              </a:ext>
            </a:extLst>
          </p:cNvPr>
          <p:cNvGrpSpPr/>
          <p:nvPr/>
        </p:nvGrpSpPr>
        <p:grpSpPr>
          <a:xfrm>
            <a:off x="1455479" y="4766503"/>
            <a:ext cx="4045863" cy="1665364"/>
            <a:chOff x="1455479" y="4766503"/>
            <a:chExt cx="4045863" cy="1665364"/>
          </a:xfrm>
        </p:grpSpPr>
        <p:sp>
          <p:nvSpPr>
            <p:cNvPr id="33" name="Grafik 5">
              <a:extLst>
                <a:ext uri="{FF2B5EF4-FFF2-40B4-BE49-F238E27FC236}">
                  <a16:creationId xmlns:a16="http://schemas.microsoft.com/office/drawing/2014/main" id="{1DCEDA7E-98D4-4C47-A33C-19B35F8A5468}"/>
                </a:ext>
              </a:extLst>
            </p:cNvPr>
            <p:cNvSpPr>
              <a:spLocks/>
            </p:cNvSpPr>
            <p:nvPr/>
          </p:nvSpPr>
          <p:spPr>
            <a:xfrm flipH="1">
              <a:off x="1455479" y="4766503"/>
              <a:ext cx="4045863" cy="1665364"/>
            </a:xfrm>
            <a:custGeom>
              <a:avLst/>
              <a:gdLst>
                <a:gd name="connsiteX0" fmla="*/ 0 w 11363325"/>
                <a:gd name="connsiteY0" fmla="*/ 0 h 3495675"/>
                <a:gd name="connsiteX1" fmla="*/ 0 w 11363325"/>
                <a:gd name="connsiteY1" fmla="*/ 2568226 h 3495675"/>
                <a:gd name="connsiteX2" fmla="*/ 19336 w 11363325"/>
                <a:gd name="connsiteY2" fmla="*/ 2547080 h 3495675"/>
                <a:gd name="connsiteX3" fmla="*/ 91535 w 11363325"/>
                <a:gd name="connsiteY3" fmla="*/ 2541841 h 3495675"/>
                <a:gd name="connsiteX4" fmla="*/ 102775 w 11363325"/>
                <a:gd name="connsiteY4" fmla="*/ 2636520 h 3495675"/>
                <a:gd name="connsiteX5" fmla="*/ 78772 w 11363325"/>
                <a:gd name="connsiteY5" fmla="*/ 2749677 h 3495675"/>
                <a:gd name="connsiteX6" fmla="*/ 210312 w 11363325"/>
                <a:gd name="connsiteY6" fmla="*/ 2682907 h 3495675"/>
                <a:gd name="connsiteX7" fmla="*/ 278511 w 11363325"/>
                <a:gd name="connsiteY7" fmla="*/ 2680145 h 3495675"/>
                <a:gd name="connsiteX8" fmla="*/ 299847 w 11363325"/>
                <a:gd name="connsiteY8" fmla="*/ 2746153 h 3495675"/>
                <a:gd name="connsiteX9" fmla="*/ 268700 w 11363325"/>
                <a:gd name="connsiteY9" fmla="*/ 2873407 h 3495675"/>
                <a:gd name="connsiteX10" fmla="*/ 378619 w 11363325"/>
                <a:gd name="connsiteY10" fmla="*/ 2834164 h 3495675"/>
                <a:gd name="connsiteX11" fmla="*/ 383381 w 11363325"/>
                <a:gd name="connsiteY11" fmla="*/ 2910840 h 3495675"/>
                <a:gd name="connsiteX12" fmla="*/ 404241 w 11363325"/>
                <a:gd name="connsiteY12" fmla="*/ 2994470 h 3495675"/>
                <a:gd name="connsiteX13" fmla="*/ 479108 w 11363325"/>
                <a:gd name="connsiteY13" fmla="*/ 3001995 h 3495675"/>
                <a:gd name="connsiteX14" fmla="*/ 559308 w 11363325"/>
                <a:gd name="connsiteY14" fmla="*/ 2948559 h 3495675"/>
                <a:gd name="connsiteX15" fmla="*/ 590169 w 11363325"/>
                <a:gd name="connsiteY15" fmla="*/ 3082671 h 3495675"/>
                <a:gd name="connsiteX16" fmla="*/ 659035 w 11363325"/>
                <a:gd name="connsiteY16" fmla="*/ 3032570 h 3495675"/>
                <a:gd name="connsiteX17" fmla="*/ 714089 w 11363325"/>
                <a:gd name="connsiteY17" fmla="*/ 3084005 h 3495675"/>
                <a:gd name="connsiteX18" fmla="*/ 758285 w 11363325"/>
                <a:gd name="connsiteY18" fmla="*/ 3006757 h 3495675"/>
                <a:gd name="connsiteX19" fmla="*/ 775811 w 11363325"/>
                <a:gd name="connsiteY19" fmla="*/ 3059621 h 3495675"/>
                <a:gd name="connsiteX20" fmla="*/ 819722 w 11363325"/>
                <a:gd name="connsiteY20" fmla="*/ 3041714 h 3495675"/>
                <a:gd name="connsiteX21" fmla="*/ 893350 w 11363325"/>
                <a:gd name="connsiteY21" fmla="*/ 3040952 h 3495675"/>
                <a:gd name="connsiteX22" fmla="*/ 892112 w 11363325"/>
                <a:gd name="connsiteY22" fmla="*/ 3111532 h 3495675"/>
                <a:gd name="connsiteX23" fmla="*/ 1005364 w 11363325"/>
                <a:gd name="connsiteY23" fmla="*/ 3103721 h 3495675"/>
                <a:gd name="connsiteX24" fmla="*/ 976027 w 11363325"/>
                <a:gd name="connsiteY24" fmla="*/ 3173063 h 3495675"/>
                <a:gd name="connsiteX25" fmla="*/ 1054703 w 11363325"/>
                <a:gd name="connsiteY25" fmla="*/ 3175159 h 3495675"/>
                <a:gd name="connsiteX26" fmla="*/ 1054703 w 11363325"/>
                <a:gd name="connsiteY26" fmla="*/ 3175064 h 3495675"/>
                <a:gd name="connsiteX27" fmla="*/ 1111472 w 11363325"/>
                <a:gd name="connsiteY27" fmla="*/ 3158490 h 3495675"/>
                <a:gd name="connsiteX28" fmla="*/ 1200245 w 11363325"/>
                <a:gd name="connsiteY28" fmla="*/ 3255550 h 3495675"/>
                <a:gd name="connsiteX29" fmla="*/ 1274255 w 11363325"/>
                <a:gd name="connsiteY29" fmla="*/ 3154775 h 3495675"/>
                <a:gd name="connsiteX30" fmla="*/ 1294067 w 11363325"/>
                <a:gd name="connsiteY30" fmla="*/ 3253073 h 3495675"/>
                <a:gd name="connsiteX31" fmla="*/ 1185577 w 11363325"/>
                <a:gd name="connsiteY31" fmla="*/ 3354800 h 3495675"/>
                <a:gd name="connsiteX32" fmla="*/ 1302639 w 11363325"/>
                <a:gd name="connsiteY32" fmla="*/ 3385947 h 3495675"/>
                <a:gd name="connsiteX33" fmla="*/ 1340072 w 11363325"/>
                <a:gd name="connsiteY33" fmla="*/ 3302127 h 3495675"/>
                <a:gd name="connsiteX34" fmla="*/ 1414367 w 11363325"/>
                <a:gd name="connsiteY34" fmla="*/ 3363087 h 3495675"/>
                <a:gd name="connsiteX35" fmla="*/ 1432274 w 11363325"/>
                <a:gd name="connsiteY35" fmla="*/ 3434048 h 3495675"/>
                <a:gd name="connsiteX36" fmla="*/ 1498759 w 11363325"/>
                <a:gd name="connsiteY36" fmla="*/ 3388043 h 3495675"/>
                <a:gd name="connsiteX37" fmla="*/ 1507712 w 11363325"/>
                <a:gd name="connsiteY37" fmla="*/ 3467386 h 3495675"/>
                <a:gd name="connsiteX38" fmla="*/ 1620488 w 11363325"/>
                <a:gd name="connsiteY38" fmla="*/ 3370803 h 3495675"/>
                <a:gd name="connsiteX39" fmla="*/ 1609725 w 11363325"/>
                <a:gd name="connsiteY39" fmla="*/ 3390233 h 3495675"/>
                <a:gd name="connsiteX40" fmla="*/ 1657922 w 11363325"/>
                <a:gd name="connsiteY40" fmla="*/ 3376041 h 3495675"/>
                <a:gd name="connsiteX41" fmla="*/ 1776032 w 11363325"/>
                <a:gd name="connsiteY41" fmla="*/ 3499295 h 3495675"/>
                <a:gd name="connsiteX42" fmla="*/ 1755553 w 11363325"/>
                <a:gd name="connsiteY42" fmla="*/ 3349657 h 3495675"/>
                <a:gd name="connsiteX43" fmla="*/ 1822990 w 11363325"/>
                <a:gd name="connsiteY43" fmla="*/ 3340227 h 3495675"/>
                <a:gd name="connsiteX44" fmla="*/ 1915192 w 11363325"/>
                <a:gd name="connsiteY44" fmla="*/ 3379661 h 3495675"/>
                <a:gd name="connsiteX45" fmla="*/ 2007680 w 11363325"/>
                <a:gd name="connsiteY45" fmla="*/ 3332703 h 3495675"/>
                <a:gd name="connsiteX46" fmla="*/ 2005870 w 11363325"/>
                <a:gd name="connsiteY46" fmla="*/ 3231261 h 3495675"/>
                <a:gd name="connsiteX47" fmla="*/ 1929193 w 11363325"/>
                <a:gd name="connsiteY47" fmla="*/ 3188684 h 3495675"/>
                <a:gd name="connsiteX48" fmla="*/ 1961960 w 11363325"/>
                <a:gd name="connsiteY48" fmla="*/ 3130677 h 3495675"/>
                <a:gd name="connsiteX49" fmla="*/ 1847850 w 11363325"/>
                <a:gd name="connsiteY49" fmla="*/ 3093625 h 3495675"/>
                <a:gd name="connsiteX50" fmla="*/ 1863281 w 11363325"/>
                <a:gd name="connsiteY50" fmla="*/ 2997137 h 3495675"/>
                <a:gd name="connsiteX51" fmla="*/ 1957673 w 11363325"/>
                <a:gd name="connsiteY51" fmla="*/ 3006471 h 3495675"/>
                <a:gd name="connsiteX52" fmla="*/ 2019776 w 11363325"/>
                <a:gd name="connsiteY52" fmla="*/ 3112484 h 3495675"/>
                <a:gd name="connsiteX53" fmla="*/ 2068830 w 11363325"/>
                <a:gd name="connsiteY53" fmla="*/ 3065526 h 3495675"/>
                <a:gd name="connsiteX54" fmla="*/ 2061020 w 11363325"/>
                <a:gd name="connsiteY54" fmla="*/ 2944559 h 3495675"/>
                <a:gd name="connsiteX55" fmla="*/ 2064639 w 11363325"/>
                <a:gd name="connsiteY55" fmla="*/ 2930938 h 3495675"/>
                <a:gd name="connsiteX56" fmla="*/ 2164461 w 11363325"/>
                <a:gd name="connsiteY56" fmla="*/ 2904935 h 3495675"/>
                <a:gd name="connsiteX57" fmla="*/ 2174462 w 11363325"/>
                <a:gd name="connsiteY57" fmla="*/ 2844737 h 3495675"/>
                <a:gd name="connsiteX58" fmla="*/ 2144363 w 11363325"/>
                <a:gd name="connsiteY58" fmla="*/ 2754535 h 3495675"/>
                <a:gd name="connsiteX59" fmla="*/ 2286476 w 11363325"/>
                <a:gd name="connsiteY59" fmla="*/ 2780538 h 3495675"/>
                <a:gd name="connsiteX60" fmla="*/ 2292858 w 11363325"/>
                <a:gd name="connsiteY60" fmla="*/ 2739485 h 3495675"/>
                <a:gd name="connsiteX61" fmla="*/ 2337340 w 11363325"/>
                <a:gd name="connsiteY61" fmla="*/ 2786729 h 3495675"/>
                <a:gd name="connsiteX62" fmla="*/ 2405253 w 11363325"/>
                <a:gd name="connsiteY62" fmla="*/ 2622518 h 3495675"/>
                <a:gd name="connsiteX63" fmla="*/ 2478405 w 11363325"/>
                <a:gd name="connsiteY63" fmla="*/ 2735390 h 3495675"/>
                <a:gd name="connsiteX64" fmla="*/ 2416683 w 11363325"/>
                <a:gd name="connsiteY64" fmla="*/ 2594324 h 3495675"/>
                <a:gd name="connsiteX65" fmla="*/ 2517743 w 11363325"/>
                <a:gd name="connsiteY65" fmla="*/ 2600516 h 3495675"/>
                <a:gd name="connsiteX66" fmla="*/ 2563273 w 11363325"/>
                <a:gd name="connsiteY66" fmla="*/ 2546033 h 3495675"/>
                <a:gd name="connsiteX67" fmla="*/ 2633948 w 11363325"/>
                <a:gd name="connsiteY67" fmla="*/ 2504980 h 3495675"/>
                <a:gd name="connsiteX68" fmla="*/ 2691194 w 11363325"/>
                <a:gd name="connsiteY68" fmla="*/ 2545271 h 3495675"/>
                <a:gd name="connsiteX69" fmla="*/ 2742724 w 11363325"/>
                <a:gd name="connsiteY69" fmla="*/ 2633186 h 3495675"/>
                <a:gd name="connsiteX70" fmla="*/ 2794635 w 11363325"/>
                <a:gd name="connsiteY70" fmla="*/ 2642045 h 3495675"/>
                <a:gd name="connsiteX71" fmla="*/ 2876931 w 11363325"/>
                <a:gd name="connsiteY71" fmla="*/ 2517077 h 3495675"/>
                <a:gd name="connsiteX72" fmla="*/ 2886551 w 11363325"/>
                <a:gd name="connsiteY72" fmla="*/ 2505170 h 3495675"/>
                <a:gd name="connsiteX73" fmla="*/ 2947226 w 11363325"/>
                <a:gd name="connsiteY73" fmla="*/ 2548033 h 3495675"/>
                <a:gd name="connsiteX74" fmla="*/ 2941034 w 11363325"/>
                <a:gd name="connsiteY74" fmla="*/ 2456593 h 3495675"/>
                <a:gd name="connsiteX75" fmla="*/ 3068670 w 11363325"/>
                <a:gd name="connsiteY75" fmla="*/ 2516600 h 3495675"/>
                <a:gd name="connsiteX76" fmla="*/ 3110674 w 11363325"/>
                <a:gd name="connsiteY76" fmla="*/ 2553272 h 3495675"/>
                <a:gd name="connsiteX77" fmla="*/ 3139916 w 11363325"/>
                <a:gd name="connsiteY77" fmla="*/ 2377821 h 3495675"/>
                <a:gd name="connsiteX78" fmla="*/ 3192304 w 11363325"/>
                <a:gd name="connsiteY78" fmla="*/ 2410873 h 3495675"/>
                <a:gd name="connsiteX79" fmla="*/ 3257264 w 11363325"/>
                <a:gd name="connsiteY79" fmla="*/ 2440496 h 3495675"/>
                <a:gd name="connsiteX80" fmla="*/ 3289173 w 11363325"/>
                <a:gd name="connsiteY80" fmla="*/ 2366772 h 3495675"/>
                <a:gd name="connsiteX81" fmla="*/ 3355181 w 11363325"/>
                <a:gd name="connsiteY81" fmla="*/ 2377535 h 3495675"/>
                <a:gd name="connsiteX82" fmla="*/ 3412141 w 11363325"/>
                <a:gd name="connsiteY82" fmla="*/ 2373249 h 3495675"/>
                <a:gd name="connsiteX83" fmla="*/ 3476244 w 11363325"/>
                <a:gd name="connsiteY83" fmla="*/ 2477643 h 3495675"/>
                <a:gd name="connsiteX84" fmla="*/ 3508153 w 11363325"/>
                <a:gd name="connsiteY84" fmla="*/ 2424208 h 3495675"/>
                <a:gd name="connsiteX85" fmla="*/ 3585115 w 11363325"/>
                <a:gd name="connsiteY85" fmla="*/ 2405539 h 3495675"/>
                <a:gd name="connsiteX86" fmla="*/ 3557207 w 11363325"/>
                <a:gd name="connsiteY86" fmla="*/ 2539937 h 3495675"/>
                <a:gd name="connsiteX87" fmla="*/ 3666839 w 11363325"/>
                <a:gd name="connsiteY87" fmla="*/ 2508980 h 3495675"/>
                <a:gd name="connsiteX88" fmla="*/ 3724466 w 11363325"/>
                <a:gd name="connsiteY88" fmla="*/ 2408777 h 3495675"/>
                <a:gd name="connsiteX89" fmla="*/ 3774948 w 11363325"/>
                <a:gd name="connsiteY89" fmla="*/ 2464308 h 3495675"/>
                <a:gd name="connsiteX90" fmla="*/ 3826859 w 11363325"/>
                <a:gd name="connsiteY90" fmla="*/ 2478215 h 3495675"/>
                <a:gd name="connsiteX91" fmla="*/ 3947351 w 11363325"/>
                <a:gd name="connsiteY91" fmla="*/ 2479358 h 3495675"/>
                <a:gd name="connsiteX92" fmla="*/ 3789998 w 11363325"/>
                <a:gd name="connsiteY92" fmla="*/ 2525745 h 3495675"/>
                <a:gd name="connsiteX93" fmla="*/ 3752945 w 11363325"/>
                <a:gd name="connsiteY93" fmla="*/ 2572417 h 3495675"/>
                <a:gd name="connsiteX94" fmla="*/ 3806190 w 11363325"/>
                <a:gd name="connsiteY94" fmla="*/ 2666048 h 3495675"/>
                <a:gd name="connsiteX95" fmla="*/ 3809714 w 11363325"/>
                <a:gd name="connsiteY95" fmla="*/ 2662714 h 3495675"/>
                <a:gd name="connsiteX96" fmla="*/ 3865340 w 11363325"/>
                <a:gd name="connsiteY96" fmla="*/ 2649379 h 3495675"/>
                <a:gd name="connsiteX97" fmla="*/ 3939826 w 11363325"/>
                <a:gd name="connsiteY97" fmla="*/ 2774537 h 3495675"/>
                <a:gd name="connsiteX98" fmla="*/ 3989165 w 11363325"/>
                <a:gd name="connsiteY98" fmla="*/ 2772632 h 3495675"/>
                <a:gd name="connsiteX99" fmla="*/ 4054126 w 11363325"/>
                <a:gd name="connsiteY99" fmla="*/ 2664333 h 3495675"/>
                <a:gd name="connsiteX100" fmla="*/ 4105942 w 11363325"/>
                <a:gd name="connsiteY100" fmla="*/ 2733866 h 3495675"/>
                <a:gd name="connsiteX101" fmla="*/ 4232720 w 11363325"/>
                <a:gd name="connsiteY101" fmla="*/ 2643949 h 3495675"/>
                <a:gd name="connsiteX102" fmla="*/ 4207002 w 11363325"/>
                <a:gd name="connsiteY102" fmla="*/ 2763203 h 3495675"/>
                <a:gd name="connsiteX103" fmla="*/ 4325112 w 11363325"/>
                <a:gd name="connsiteY103" fmla="*/ 2712339 h 3495675"/>
                <a:gd name="connsiteX104" fmla="*/ 4293394 w 11363325"/>
                <a:gd name="connsiteY104" fmla="*/ 2770441 h 3495675"/>
                <a:gd name="connsiteX105" fmla="*/ 4329780 w 11363325"/>
                <a:gd name="connsiteY105" fmla="*/ 2794540 h 3495675"/>
                <a:gd name="connsiteX106" fmla="*/ 4331018 w 11363325"/>
                <a:gd name="connsiteY106" fmla="*/ 2734532 h 3495675"/>
                <a:gd name="connsiteX107" fmla="*/ 4397121 w 11363325"/>
                <a:gd name="connsiteY107" fmla="*/ 2718149 h 3495675"/>
                <a:gd name="connsiteX108" fmla="*/ 4338923 w 11363325"/>
                <a:gd name="connsiteY108" fmla="*/ 2617946 h 3495675"/>
                <a:gd name="connsiteX109" fmla="*/ 4433507 w 11363325"/>
                <a:gd name="connsiteY109" fmla="*/ 2586419 h 3495675"/>
                <a:gd name="connsiteX110" fmla="*/ 4473321 w 11363325"/>
                <a:gd name="connsiteY110" fmla="*/ 2668143 h 3495675"/>
                <a:gd name="connsiteX111" fmla="*/ 4467987 w 11363325"/>
                <a:gd name="connsiteY111" fmla="*/ 2766155 h 3495675"/>
                <a:gd name="connsiteX112" fmla="*/ 4549521 w 11363325"/>
                <a:gd name="connsiteY112" fmla="*/ 2746058 h 3495675"/>
                <a:gd name="connsiteX113" fmla="*/ 4628293 w 11363325"/>
                <a:gd name="connsiteY113" fmla="*/ 2674144 h 3495675"/>
                <a:gd name="connsiteX114" fmla="*/ 4675347 w 11363325"/>
                <a:gd name="connsiteY114" fmla="*/ 2786824 h 3495675"/>
                <a:gd name="connsiteX115" fmla="*/ 4728020 w 11363325"/>
                <a:gd name="connsiteY115" fmla="*/ 2775299 h 3495675"/>
                <a:gd name="connsiteX116" fmla="*/ 4784598 w 11363325"/>
                <a:gd name="connsiteY116" fmla="*/ 2799683 h 3495675"/>
                <a:gd name="connsiteX117" fmla="*/ 4829937 w 11363325"/>
                <a:gd name="connsiteY117" fmla="*/ 2765298 h 3495675"/>
                <a:gd name="connsiteX118" fmla="*/ 4878229 w 11363325"/>
                <a:gd name="connsiteY118" fmla="*/ 2720626 h 3495675"/>
                <a:gd name="connsiteX119" fmla="*/ 4904804 w 11363325"/>
                <a:gd name="connsiteY119" fmla="*/ 2598611 h 3495675"/>
                <a:gd name="connsiteX120" fmla="*/ 5019771 w 11363325"/>
                <a:gd name="connsiteY120" fmla="*/ 2779966 h 3495675"/>
                <a:gd name="connsiteX121" fmla="*/ 5027962 w 11363325"/>
                <a:gd name="connsiteY121" fmla="*/ 2644140 h 3495675"/>
                <a:gd name="connsiteX122" fmla="*/ 5083874 w 11363325"/>
                <a:gd name="connsiteY122" fmla="*/ 2629757 h 3495675"/>
                <a:gd name="connsiteX123" fmla="*/ 5119497 w 11363325"/>
                <a:gd name="connsiteY123" fmla="*/ 2744915 h 3495675"/>
                <a:gd name="connsiteX124" fmla="*/ 5197317 w 11363325"/>
                <a:gd name="connsiteY124" fmla="*/ 2591276 h 3495675"/>
                <a:gd name="connsiteX125" fmla="*/ 5202841 w 11363325"/>
                <a:gd name="connsiteY125" fmla="*/ 2732437 h 3495675"/>
                <a:gd name="connsiteX126" fmla="*/ 5277231 w 11363325"/>
                <a:gd name="connsiteY126" fmla="*/ 2699576 h 3495675"/>
                <a:gd name="connsiteX127" fmla="*/ 5273802 w 11363325"/>
                <a:gd name="connsiteY127" fmla="*/ 2781110 h 3495675"/>
                <a:gd name="connsiteX128" fmla="*/ 5398389 w 11363325"/>
                <a:gd name="connsiteY128" fmla="*/ 2727865 h 3495675"/>
                <a:gd name="connsiteX129" fmla="*/ 5428203 w 11363325"/>
                <a:gd name="connsiteY129" fmla="*/ 2786348 h 3495675"/>
                <a:gd name="connsiteX130" fmla="*/ 5460969 w 11363325"/>
                <a:gd name="connsiteY130" fmla="*/ 2842546 h 3495675"/>
                <a:gd name="connsiteX131" fmla="*/ 5500688 w 11363325"/>
                <a:gd name="connsiteY131" fmla="*/ 2872740 h 3495675"/>
                <a:gd name="connsiteX132" fmla="*/ 5535740 w 11363325"/>
                <a:gd name="connsiteY132" fmla="*/ 2865691 h 3495675"/>
                <a:gd name="connsiteX133" fmla="*/ 5566982 w 11363325"/>
                <a:gd name="connsiteY133" fmla="*/ 2777204 h 3495675"/>
                <a:gd name="connsiteX134" fmla="*/ 5644134 w 11363325"/>
                <a:gd name="connsiteY134" fmla="*/ 2910459 h 3495675"/>
                <a:gd name="connsiteX135" fmla="*/ 5638610 w 11363325"/>
                <a:gd name="connsiteY135" fmla="*/ 2917889 h 3495675"/>
                <a:gd name="connsiteX136" fmla="*/ 5649659 w 11363325"/>
                <a:gd name="connsiteY136" fmla="*/ 2919984 h 3495675"/>
                <a:gd name="connsiteX137" fmla="*/ 5657088 w 11363325"/>
                <a:gd name="connsiteY137" fmla="*/ 2932748 h 3495675"/>
                <a:gd name="connsiteX138" fmla="*/ 5662517 w 11363325"/>
                <a:gd name="connsiteY138" fmla="*/ 2922461 h 3495675"/>
                <a:gd name="connsiteX139" fmla="*/ 5778723 w 11363325"/>
                <a:gd name="connsiteY139" fmla="*/ 2944845 h 3495675"/>
                <a:gd name="connsiteX140" fmla="*/ 5660612 w 11363325"/>
                <a:gd name="connsiteY140" fmla="*/ 3022854 h 3495675"/>
                <a:gd name="connsiteX141" fmla="*/ 5781675 w 11363325"/>
                <a:gd name="connsiteY141" fmla="*/ 3000851 h 3495675"/>
                <a:gd name="connsiteX142" fmla="*/ 5779389 w 11363325"/>
                <a:gd name="connsiteY142" fmla="*/ 2953131 h 3495675"/>
                <a:gd name="connsiteX143" fmla="*/ 5835586 w 11363325"/>
                <a:gd name="connsiteY143" fmla="*/ 3020473 h 3495675"/>
                <a:gd name="connsiteX144" fmla="*/ 5890260 w 11363325"/>
                <a:gd name="connsiteY144" fmla="*/ 3056001 h 3495675"/>
                <a:gd name="connsiteX145" fmla="*/ 5937980 w 11363325"/>
                <a:gd name="connsiteY145" fmla="*/ 2973896 h 3495675"/>
                <a:gd name="connsiteX146" fmla="*/ 5989796 w 11363325"/>
                <a:gd name="connsiteY146" fmla="*/ 2964466 h 3495675"/>
                <a:gd name="connsiteX147" fmla="*/ 6043422 w 11363325"/>
                <a:gd name="connsiteY147" fmla="*/ 2964085 h 3495675"/>
                <a:gd name="connsiteX148" fmla="*/ 6100667 w 11363325"/>
                <a:gd name="connsiteY148" fmla="*/ 3137249 h 3495675"/>
                <a:gd name="connsiteX149" fmla="*/ 6154865 w 11363325"/>
                <a:gd name="connsiteY149" fmla="*/ 3053239 h 3495675"/>
                <a:gd name="connsiteX150" fmla="*/ 6206585 w 11363325"/>
                <a:gd name="connsiteY150" fmla="*/ 3067812 h 3495675"/>
                <a:gd name="connsiteX151" fmla="*/ 6266021 w 11363325"/>
                <a:gd name="connsiteY151" fmla="*/ 3155156 h 3495675"/>
                <a:gd name="connsiteX152" fmla="*/ 6308122 w 11363325"/>
                <a:gd name="connsiteY152" fmla="*/ 3008757 h 3495675"/>
                <a:gd name="connsiteX153" fmla="*/ 6352604 w 11363325"/>
                <a:gd name="connsiteY153" fmla="*/ 2945225 h 3495675"/>
                <a:gd name="connsiteX154" fmla="*/ 6431852 w 11363325"/>
                <a:gd name="connsiteY154" fmla="*/ 2983802 h 3495675"/>
                <a:gd name="connsiteX155" fmla="*/ 6442805 w 11363325"/>
                <a:gd name="connsiteY155" fmla="*/ 3129153 h 3495675"/>
                <a:gd name="connsiteX156" fmla="*/ 6550343 w 11363325"/>
                <a:gd name="connsiteY156" fmla="*/ 3018949 h 3495675"/>
                <a:gd name="connsiteX157" fmla="*/ 6579394 w 11363325"/>
                <a:gd name="connsiteY157" fmla="*/ 3141059 h 3495675"/>
                <a:gd name="connsiteX158" fmla="*/ 6610446 w 11363325"/>
                <a:gd name="connsiteY158" fmla="*/ 3038094 h 3495675"/>
                <a:gd name="connsiteX159" fmla="*/ 6685217 w 11363325"/>
                <a:gd name="connsiteY159" fmla="*/ 3083338 h 3495675"/>
                <a:gd name="connsiteX160" fmla="*/ 6709124 w 11363325"/>
                <a:gd name="connsiteY160" fmla="*/ 3018187 h 3495675"/>
                <a:gd name="connsiteX161" fmla="*/ 6730365 w 11363325"/>
                <a:gd name="connsiteY161" fmla="*/ 3103912 h 3495675"/>
                <a:gd name="connsiteX162" fmla="*/ 6825139 w 11363325"/>
                <a:gd name="connsiteY162" fmla="*/ 3023140 h 3495675"/>
                <a:gd name="connsiteX163" fmla="*/ 6762941 w 11363325"/>
                <a:gd name="connsiteY163" fmla="*/ 3139821 h 3495675"/>
                <a:gd name="connsiteX164" fmla="*/ 6843522 w 11363325"/>
                <a:gd name="connsiteY164" fmla="*/ 3145822 h 3495675"/>
                <a:gd name="connsiteX165" fmla="*/ 6879812 w 11363325"/>
                <a:gd name="connsiteY165" fmla="*/ 3212592 h 3495675"/>
                <a:gd name="connsiteX166" fmla="*/ 6966680 w 11363325"/>
                <a:gd name="connsiteY166" fmla="*/ 3236405 h 3495675"/>
                <a:gd name="connsiteX167" fmla="*/ 6997732 w 11363325"/>
                <a:gd name="connsiteY167" fmla="*/ 3128963 h 3495675"/>
                <a:gd name="connsiteX168" fmla="*/ 7064693 w 11363325"/>
                <a:gd name="connsiteY168" fmla="*/ 3150013 h 3495675"/>
                <a:gd name="connsiteX169" fmla="*/ 7140035 w 11363325"/>
                <a:gd name="connsiteY169" fmla="*/ 3183350 h 3495675"/>
                <a:gd name="connsiteX170" fmla="*/ 7155847 w 11363325"/>
                <a:gd name="connsiteY170" fmla="*/ 3057144 h 3495675"/>
                <a:gd name="connsiteX171" fmla="*/ 7217569 w 11363325"/>
                <a:gd name="connsiteY171" fmla="*/ 3106007 h 3495675"/>
                <a:gd name="connsiteX172" fmla="*/ 7228523 w 11363325"/>
                <a:gd name="connsiteY172" fmla="*/ 3169539 h 3495675"/>
                <a:gd name="connsiteX173" fmla="*/ 7318724 w 11363325"/>
                <a:gd name="connsiteY173" fmla="*/ 3154395 h 3495675"/>
                <a:gd name="connsiteX174" fmla="*/ 7378636 w 11363325"/>
                <a:gd name="connsiteY174" fmla="*/ 3157252 h 3495675"/>
                <a:gd name="connsiteX175" fmla="*/ 7376541 w 11363325"/>
                <a:gd name="connsiteY175" fmla="*/ 3102007 h 3495675"/>
                <a:gd name="connsiteX176" fmla="*/ 7427881 w 11363325"/>
                <a:gd name="connsiteY176" fmla="*/ 3095435 h 3495675"/>
                <a:gd name="connsiteX177" fmla="*/ 7499414 w 11363325"/>
                <a:gd name="connsiteY177" fmla="*/ 3116771 h 3495675"/>
                <a:gd name="connsiteX178" fmla="*/ 7593616 w 11363325"/>
                <a:gd name="connsiteY178" fmla="*/ 3121247 h 3495675"/>
                <a:gd name="connsiteX179" fmla="*/ 7505319 w 11363325"/>
                <a:gd name="connsiteY179" fmla="*/ 2943701 h 3495675"/>
                <a:gd name="connsiteX180" fmla="*/ 7592283 w 11363325"/>
                <a:gd name="connsiteY180" fmla="*/ 2956465 h 3495675"/>
                <a:gd name="connsiteX181" fmla="*/ 7650576 w 11363325"/>
                <a:gd name="connsiteY181" fmla="*/ 2972467 h 3495675"/>
                <a:gd name="connsiteX182" fmla="*/ 7683627 w 11363325"/>
                <a:gd name="connsiteY182" fmla="*/ 2913126 h 3495675"/>
                <a:gd name="connsiteX183" fmla="*/ 7722394 w 11363325"/>
                <a:gd name="connsiteY183" fmla="*/ 2943511 h 3495675"/>
                <a:gd name="connsiteX184" fmla="*/ 7827169 w 11363325"/>
                <a:gd name="connsiteY184" fmla="*/ 2891409 h 3495675"/>
                <a:gd name="connsiteX185" fmla="*/ 7635907 w 11363325"/>
                <a:gd name="connsiteY185" fmla="*/ 2838545 h 3495675"/>
                <a:gd name="connsiteX186" fmla="*/ 7828121 w 11363325"/>
                <a:gd name="connsiteY186" fmla="*/ 2805779 h 3495675"/>
                <a:gd name="connsiteX187" fmla="*/ 7762494 w 11363325"/>
                <a:gd name="connsiteY187" fmla="*/ 2701671 h 3495675"/>
                <a:gd name="connsiteX188" fmla="*/ 7867936 w 11363325"/>
                <a:gd name="connsiteY188" fmla="*/ 2752725 h 3495675"/>
                <a:gd name="connsiteX189" fmla="*/ 7875556 w 11363325"/>
                <a:gd name="connsiteY189" fmla="*/ 2668810 h 3495675"/>
                <a:gd name="connsiteX190" fmla="*/ 7986999 w 11363325"/>
                <a:gd name="connsiteY190" fmla="*/ 2623185 h 3495675"/>
                <a:gd name="connsiteX191" fmla="*/ 7884605 w 11363325"/>
                <a:gd name="connsiteY191" fmla="*/ 2554129 h 3495675"/>
                <a:gd name="connsiteX192" fmla="*/ 7876699 w 11363325"/>
                <a:gd name="connsiteY192" fmla="*/ 2488787 h 3495675"/>
                <a:gd name="connsiteX193" fmla="*/ 7953280 w 11363325"/>
                <a:gd name="connsiteY193" fmla="*/ 2466975 h 3495675"/>
                <a:gd name="connsiteX194" fmla="*/ 7977569 w 11363325"/>
                <a:gd name="connsiteY194" fmla="*/ 2409825 h 3495675"/>
                <a:gd name="connsiteX195" fmla="*/ 8022622 w 11363325"/>
                <a:gd name="connsiteY195" fmla="*/ 2384393 h 3495675"/>
                <a:gd name="connsiteX196" fmla="*/ 8080344 w 11363325"/>
                <a:gd name="connsiteY196" fmla="*/ 2448020 h 3495675"/>
                <a:gd name="connsiteX197" fmla="*/ 8132636 w 11363325"/>
                <a:gd name="connsiteY197" fmla="*/ 2333816 h 3495675"/>
                <a:gd name="connsiteX198" fmla="*/ 8196167 w 11363325"/>
                <a:gd name="connsiteY198" fmla="*/ 2343055 h 3495675"/>
                <a:gd name="connsiteX199" fmla="*/ 8258556 w 11363325"/>
                <a:gd name="connsiteY199" fmla="*/ 2300288 h 3495675"/>
                <a:gd name="connsiteX200" fmla="*/ 8308181 w 11363325"/>
                <a:gd name="connsiteY200" fmla="*/ 2355723 h 3495675"/>
                <a:gd name="connsiteX201" fmla="*/ 8366760 w 11363325"/>
                <a:gd name="connsiteY201" fmla="*/ 2337626 h 3495675"/>
                <a:gd name="connsiteX202" fmla="*/ 8412670 w 11363325"/>
                <a:gd name="connsiteY202" fmla="*/ 2463165 h 3495675"/>
                <a:gd name="connsiteX203" fmla="*/ 8475059 w 11363325"/>
                <a:gd name="connsiteY203" fmla="*/ 2357533 h 3495675"/>
                <a:gd name="connsiteX204" fmla="*/ 8535638 w 11363325"/>
                <a:gd name="connsiteY204" fmla="*/ 2278952 h 3495675"/>
                <a:gd name="connsiteX205" fmla="*/ 8584216 w 11363325"/>
                <a:gd name="connsiteY205" fmla="*/ 2373249 h 3495675"/>
                <a:gd name="connsiteX206" fmla="*/ 8644985 w 11363325"/>
                <a:gd name="connsiteY206" fmla="*/ 2288096 h 3495675"/>
                <a:gd name="connsiteX207" fmla="*/ 8691372 w 11363325"/>
                <a:gd name="connsiteY207" fmla="*/ 2334863 h 3495675"/>
                <a:gd name="connsiteX208" fmla="*/ 8765000 w 11363325"/>
                <a:gd name="connsiteY208" fmla="*/ 2487359 h 3495675"/>
                <a:gd name="connsiteX209" fmla="*/ 8790623 w 11363325"/>
                <a:gd name="connsiteY209" fmla="*/ 2265712 h 3495675"/>
                <a:gd name="connsiteX210" fmla="*/ 8843010 w 11363325"/>
                <a:gd name="connsiteY210" fmla="*/ 2436876 h 3495675"/>
                <a:gd name="connsiteX211" fmla="*/ 8906446 w 11363325"/>
                <a:gd name="connsiteY211" fmla="*/ 2404396 h 3495675"/>
                <a:gd name="connsiteX212" fmla="*/ 8903303 w 11363325"/>
                <a:gd name="connsiteY212" fmla="*/ 2516981 h 3495675"/>
                <a:gd name="connsiteX213" fmla="*/ 9019413 w 11363325"/>
                <a:gd name="connsiteY213" fmla="*/ 2434400 h 3495675"/>
                <a:gd name="connsiteX214" fmla="*/ 9086564 w 11363325"/>
                <a:gd name="connsiteY214" fmla="*/ 2541270 h 3495675"/>
                <a:gd name="connsiteX215" fmla="*/ 9122759 w 11363325"/>
                <a:gd name="connsiteY215" fmla="*/ 2414016 h 3495675"/>
                <a:gd name="connsiteX216" fmla="*/ 9184100 w 11363325"/>
                <a:gd name="connsiteY216" fmla="*/ 2409063 h 3495675"/>
                <a:gd name="connsiteX217" fmla="*/ 9242393 w 11363325"/>
                <a:gd name="connsiteY217" fmla="*/ 2520410 h 3495675"/>
                <a:gd name="connsiteX218" fmla="*/ 9300972 w 11363325"/>
                <a:gd name="connsiteY218" fmla="*/ 2389537 h 3495675"/>
                <a:gd name="connsiteX219" fmla="*/ 9385268 w 11363325"/>
                <a:gd name="connsiteY219" fmla="*/ 2362772 h 3495675"/>
                <a:gd name="connsiteX220" fmla="*/ 9360027 w 11363325"/>
                <a:gd name="connsiteY220" fmla="*/ 2527268 h 3495675"/>
                <a:gd name="connsiteX221" fmla="*/ 9484805 w 11363325"/>
                <a:gd name="connsiteY221" fmla="*/ 2473833 h 3495675"/>
                <a:gd name="connsiteX222" fmla="*/ 9536430 w 11363325"/>
                <a:gd name="connsiteY222" fmla="*/ 2477453 h 3495675"/>
                <a:gd name="connsiteX223" fmla="*/ 9564148 w 11363325"/>
                <a:gd name="connsiteY223" fmla="*/ 2533269 h 3495675"/>
                <a:gd name="connsiteX224" fmla="*/ 9616726 w 11363325"/>
                <a:gd name="connsiteY224" fmla="*/ 2570798 h 3495675"/>
                <a:gd name="connsiteX225" fmla="*/ 9686258 w 11363325"/>
                <a:gd name="connsiteY225" fmla="*/ 2645759 h 3495675"/>
                <a:gd name="connsiteX226" fmla="*/ 9744646 w 11363325"/>
                <a:gd name="connsiteY226" fmla="*/ 2589943 h 3495675"/>
                <a:gd name="connsiteX227" fmla="*/ 9790462 w 11363325"/>
                <a:gd name="connsiteY227" fmla="*/ 2561463 h 3495675"/>
                <a:gd name="connsiteX228" fmla="*/ 9787985 w 11363325"/>
                <a:gd name="connsiteY228" fmla="*/ 2486025 h 3495675"/>
                <a:gd name="connsiteX229" fmla="*/ 9823418 w 11363325"/>
                <a:gd name="connsiteY229" fmla="*/ 2454212 h 3495675"/>
                <a:gd name="connsiteX230" fmla="*/ 9873805 w 11363325"/>
                <a:gd name="connsiteY230" fmla="*/ 2365724 h 3495675"/>
                <a:gd name="connsiteX231" fmla="*/ 9928956 w 11363325"/>
                <a:gd name="connsiteY231" fmla="*/ 2379726 h 3495675"/>
                <a:gd name="connsiteX232" fmla="*/ 9994202 w 11363325"/>
                <a:gd name="connsiteY232" fmla="*/ 2399348 h 3495675"/>
                <a:gd name="connsiteX233" fmla="*/ 10029634 w 11363325"/>
                <a:gd name="connsiteY233" fmla="*/ 2462498 h 3495675"/>
                <a:gd name="connsiteX234" fmla="*/ 10074212 w 11363325"/>
                <a:gd name="connsiteY234" fmla="*/ 2483930 h 3495675"/>
                <a:gd name="connsiteX235" fmla="*/ 10165461 w 11363325"/>
                <a:gd name="connsiteY235" fmla="*/ 2416397 h 3495675"/>
                <a:gd name="connsiteX236" fmla="*/ 10164699 w 11363325"/>
                <a:gd name="connsiteY236" fmla="*/ 2471547 h 3495675"/>
                <a:gd name="connsiteX237" fmla="*/ 10189178 w 11363325"/>
                <a:gd name="connsiteY237" fmla="*/ 2433828 h 3495675"/>
                <a:gd name="connsiteX238" fmla="*/ 10224897 w 11363325"/>
                <a:gd name="connsiteY238" fmla="*/ 2398109 h 3495675"/>
                <a:gd name="connsiteX239" fmla="*/ 10310051 w 11363325"/>
                <a:gd name="connsiteY239" fmla="*/ 2404015 h 3495675"/>
                <a:gd name="connsiteX240" fmla="*/ 10311765 w 11363325"/>
                <a:gd name="connsiteY240" fmla="*/ 2411349 h 3495675"/>
                <a:gd name="connsiteX241" fmla="*/ 10438734 w 11363325"/>
                <a:gd name="connsiteY241" fmla="*/ 2362391 h 3495675"/>
                <a:gd name="connsiteX242" fmla="*/ 10370820 w 11363325"/>
                <a:gd name="connsiteY242" fmla="*/ 2528888 h 3495675"/>
                <a:gd name="connsiteX243" fmla="*/ 10491883 w 11363325"/>
                <a:gd name="connsiteY243" fmla="*/ 2405539 h 3495675"/>
                <a:gd name="connsiteX244" fmla="*/ 10486359 w 11363325"/>
                <a:gd name="connsiteY244" fmla="*/ 2384774 h 3495675"/>
                <a:gd name="connsiteX245" fmla="*/ 10622852 w 11363325"/>
                <a:gd name="connsiteY245" fmla="*/ 2485263 h 3495675"/>
                <a:gd name="connsiteX246" fmla="*/ 10613897 w 11363325"/>
                <a:gd name="connsiteY246" fmla="*/ 2343055 h 3495675"/>
                <a:gd name="connsiteX247" fmla="*/ 10724769 w 11363325"/>
                <a:gd name="connsiteY247" fmla="*/ 2486692 h 3495675"/>
                <a:gd name="connsiteX248" fmla="*/ 10763250 w 11363325"/>
                <a:gd name="connsiteY248" fmla="*/ 2421350 h 3495675"/>
                <a:gd name="connsiteX249" fmla="*/ 10827830 w 11363325"/>
                <a:gd name="connsiteY249" fmla="*/ 2432018 h 3495675"/>
                <a:gd name="connsiteX250" fmla="*/ 10874026 w 11363325"/>
                <a:gd name="connsiteY250" fmla="*/ 2385536 h 3495675"/>
                <a:gd name="connsiteX251" fmla="*/ 10932795 w 11363325"/>
                <a:gd name="connsiteY251" fmla="*/ 2380202 h 3495675"/>
                <a:gd name="connsiteX252" fmla="*/ 10960228 w 11363325"/>
                <a:gd name="connsiteY252" fmla="*/ 2225421 h 3495675"/>
                <a:gd name="connsiteX253" fmla="*/ 10986992 w 11363325"/>
                <a:gd name="connsiteY253" fmla="*/ 2382869 h 3495675"/>
                <a:gd name="connsiteX254" fmla="*/ 11046809 w 11363325"/>
                <a:gd name="connsiteY254" fmla="*/ 2397062 h 3495675"/>
                <a:gd name="connsiteX255" fmla="*/ 11124534 w 11363325"/>
                <a:gd name="connsiteY255" fmla="*/ 2365534 h 3495675"/>
                <a:gd name="connsiteX256" fmla="*/ 11182445 w 11363325"/>
                <a:gd name="connsiteY256" fmla="*/ 2383155 h 3495675"/>
                <a:gd name="connsiteX257" fmla="*/ 11250454 w 11363325"/>
                <a:gd name="connsiteY257" fmla="*/ 2375249 h 3495675"/>
                <a:gd name="connsiteX258" fmla="*/ 11303508 w 11363325"/>
                <a:gd name="connsiteY258" fmla="*/ 2327243 h 3495675"/>
                <a:gd name="connsiteX259" fmla="*/ 11356467 w 11363325"/>
                <a:gd name="connsiteY259" fmla="*/ 2424494 h 3495675"/>
                <a:gd name="connsiteX260" fmla="*/ 11372564 w 11363325"/>
                <a:gd name="connsiteY260" fmla="*/ 2435924 h 3495675"/>
                <a:gd name="connsiteX261" fmla="*/ 11372564 w 11363325"/>
                <a:gd name="connsiteY261" fmla="*/ 0 h 3495675"/>
                <a:gd name="connsiteX262" fmla="*/ 0 w 11363325"/>
                <a:gd name="connsiteY262" fmla="*/ 0 h 3495675"/>
                <a:gd name="connsiteX263" fmla="*/ 7624191 w 11363325"/>
                <a:gd name="connsiteY263" fmla="*/ 2067973 h 3495675"/>
                <a:gd name="connsiteX264" fmla="*/ 7586187 w 11363325"/>
                <a:gd name="connsiteY264" fmla="*/ 1943672 h 3495675"/>
                <a:gd name="connsiteX265" fmla="*/ 7601522 w 11363325"/>
                <a:gd name="connsiteY265" fmla="*/ 1930813 h 3495675"/>
                <a:gd name="connsiteX266" fmla="*/ 7634669 w 11363325"/>
                <a:gd name="connsiteY266" fmla="*/ 1941100 h 3495675"/>
                <a:gd name="connsiteX267" fmla="*/ 7624191 w 11363325"/>
                <a:gd name="connsiteY267" fmla="*/ 2067973 h 3495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</a:cxnLst>
              <a:rect l="l" t="t" r="r" b="b"/>
              <a:pathLst>
                <a:path w="11363325" h="3495675">
                  <a:moveTo>
                    <a:pt x="0" y="0"/>
                  </a:moveTo>
                  <a:lnTo>
                    <a:pt x="0" y="2568226"/>
                  </a:lnTo>
                  <a:lnTo>
                    <a:pt x="19336" y="2547080"/>
                  </a:lnTo>
                  <a:lnTo>
                    <a:pt x="91535" y="2541841"/>
                  </a:lnTo>
                  <a:lnTo>
                    <a:pt x="102775" y="2636520"/>
                  </a:lnTo>
                  <a:lnTo>
                    <a:pt x="78772" y="2749677"/>
                  </a:lnTo>
                  <a:lnTo>
                    <a:pt x="210312" y="2682907"/>
                  </a:lnTo>
                  <a:lnTo>
                    <a:pt x="278511" y="2680145"/>
                  </a:lnTo>
                  <a:lnTo>
                    <a:pt x="299847" y="2746153"/>
                  </a:lnTo>
                  <a:lnTo>
                    <a:pt x="268700" y="2873407"/>
                  </a:lnTo>
                  <a:lnTo>
                    <a:pt x="378619" y="2834164"/>
                  </a:lnTo>
                  <a:lnTo>
                    <a:pt x="383381" y="2910840"/>
                  </a:lnTo>
                  <a:lnTo>
                    <a:pt x="404241" y="2994470"/>
                  </a:lnTo>
                  <a:lnTo>
                    <a:pt x="479108" y="3001995"/>
                  </a:lnTo>
                  <a:lnTo>
                    <a:pt x="559308" y="2948559"/>
                  </a:lnTo>
                  <a:lnTo>
                    <a:pt x="590169" y="3082671"/>
                  </a:lnTo>
                  <a:lnTo>
                    <a:pt x="659035" y="3032570"/>
                  </a:lnTo>
                  <a:lnTo>
                    <a:pt x="714089" y="3084005"/>
                  </a:lnTo>
                  <a:lnTo>
                    <a:pt x="758285" y="3006757"/>
                  </a:lnTo>
                  <a:lnTo>
                    <a:pt x="775811" y="3059621"/>
                  </a:lnTo>
                  <a:lnTo>
                    <a:pt x="819722" y="3041714"/>
                  </a:lnTo>
                  <a:lnTo>
                    <a:pt x="893350" y="3040952"/>
                  </a:lnTo>
                  <a:lnTo>
                    <a:pt x="892112" y="3111532"/>
                  </a:lnTo>
                  <a:lnTo>
                    <a:pt x="1005364" y="3103721"/>
                  </a:lnTo>
                  <a:lnTo>
                    <a:pt x="976027" y="3173063"/>
                  </a:lnTo>
                  <a:lnTo>
                    <a:pt x="1054703" y="3175159"/>
                  </a:lnTo>
                  <a:lnTo>
                    <a:pt x="1054703" y="3175064"/>
                  </a:lnTo>
                  <a:lnTo>
                    <a:pt x="1111472" y="3158490"/>
                  </a:lnTo>
                  <a:lnTo>
                    <a:pt x="1200245" y="3255550"/>
                  </a:lnTo>
                  <a:lnTo>
                    <a:pt x="1274255" y="3154775"/>
                  </a:lnTo>
                  <a:lnTo>
                    <a:pt x="1294067" y="3253073"/>
                  </a:lnTo>
                  <a:lnTo>
                    <a:pt x="1185577" y="3354800"/>
                  </a:lnTo>
                  <a:lnTo>
                    <a:pt x="1302639" y="3385947"/>
                  </a:lnTo>
                  <a:lnTo>
                    <a:pt x="1340072" y="3302127"/>
                  </a:lnTo>
                  <a:lnTo>
                    <a:pt x="1414367" y="3363087"/>
                  </a:lnTo>
                  <a:lnTo>
                    <a:pt x="1432274" y="3434048"/>
                  </a:lnTo>
                  <a:lnTo>
                    <a:pt x="1498759" y="3388043"/>
                  </a:lnTo>
                  <a:lnTo>
                    <a:pt x="1507712" y="3467386"/>
                  </a:lnTo>
                  <a:lnTo>
                    <a:pt x="1620488" y="3370803"/>
                  </a:lnTo>
                  <a:lnTo>
                    <a:pt x="1609725" y="3390233"/>
                  </a:lnTo>
                  <a:lnTo>
                    <a:pt x="1657922" y="3376041"/>
                  </a:lnTo>
                  <a:lnTo>
                    <a:pt x="1776032" y="3499295"/>
                  </a:lnTo>
                  <a:lnTo>
                    <a:pt x="1755553" y="3349657"/>
                  </a:lnTo>
                  <a:lnTo>
                    <a:pt x="1822990" y="3340227"/>
                  </a:lnTo>
                  <a:lnTo>
                    <a:pt x="1915192" y="3379661"/>
                  </a:lnTo>
                  <a:lnTo>
                    <a:pt x="2007680" y="3332703"/>
                  </a:lnTo>
                  <a:lnTo>
                    <a:pt x="2005870" y="3231261"/>
                  </a:lnTo>
                  <a:lnTo>
                    <a:pt x="1929193" y="3188684"/>
                  </a:lnTo>
                  <a:lnTo>
                    <a:pt x="1961960" y="3130677"/>
                  </a:lnTo>
                  <a:lnTo>
                    <a:pt x="1847850" y="3093625"/>
                  </a:lnTo>
                  <a:lnTo>
                    <a:pt x="1863281" y="2997137"/>
                  </a:lnTo>
                  <a:lnTo>
                    <a:pt x="1957673" y="3006471"/>
                  </a:lnTo>
                  <a:lnTo>
                    <a:pt x="2019776" y="3112484"/>
                  </a:lnTo>
                  <a:lnTo>
                    <a:pt x="2068830" y="3065526"/>
                  </a:lnTo>
                  <a:lnTo>
                    <a:pt x="2061020" y="2944559"/>
                  </a:lnTo>
                  <a:lnTo>
                    <a:pt x="2064639" y="2930938"/>
                  </a:lnTo>
                  <a:lnTo>
                    <a:pt x="2164461" y="2904935"/>
                  </a:lnTo>
                  <a:lnTo>
                    <a:pt x="2174462" y="2844737"/>
                  </a:lnTo>
                  <a:lnTo>
                    <a:pt x="2144363" y="2754535"/>
                  </a:lnTo>
                  <a:lnTo>
                    <a:pt x="2286476" y="2780538"/>
                  </a:lnTo>
                  <a:lnTo>
                    <a:pt x="2292858" y="2739485"/>
                  </a:lnTo>
                  <a:lnTo>
                    <a:pt x="2337340" y="2786729"/>
                  </a:lnTo>
                  <a:lnTo>
                    <a:pt x="2405253" y="2622518"/>
                  </a:lnTo>
                  <a:lnTo>
                    <a:pt x="2478405" y="2735390"/>
                  </a:lnTo>
                  <a:lnTo>
                    <a:pt x="2416683" y="2594324"/>
                  </a:lnTo>
                  <a:lnTo>
                    <a:pt x="2517743" y="2600516"/>
                  </a:lnTo>
                  <a:lnTo>
                    <a:pt x="2563273" y="2546033"/>
                  </a:lnTo>
                  <a:lnTo>
                    <a:pt x="2633948" y="2504980"/>
                  </a:lnTo>
                  <a:lnTo>
                    <a:pt x="2691194" y="2545271"/>
                  </a:lnTo>
                  <a:lnTo>
                    <a:pt x="2742724" y="2633186"/>
                  </a:lnTo>
                  <a:lnTo>
                    <a:pt x="2794635" y="2642045"/>
                  </a:lnTo>
                  <a:lnTo>
                    <a:pt x="2876931" y="2517077"/>
                  </a:lnTo>
                  <a:lnTo>
                    <a:pt x="2886551" y="2505170"/>
                  </a:lnTo>
                  <a:lnTo>
                    <a:pt x="2947226" y="2548033"/>
                  </a:lnTo>
                  <a:lnTo>
                    <a:pt x="2941034" y="2456593"/>
                  </a:lnTo>
                  <a:lnTo>
                    <a:pt x="3068670" y="2516600"/>
                  </a:lnTo>
                  <a:lnTo>
                    <a:pt x="3110674" y="2553272"/>
                  </a:lnTo>
                  <a:lnTo>
                    <a:pt x="3139916" y="2377821"/>
                  </a:lnTo>
                  <a:lnTo>
                    <a:pt x="3192304" y="2410873"/>
                  </a:lnTo>
                  <a:lnTo>
                    <a:pt x="3257264" y="2440496"/>
                  </a:lnTo>
                  <a:lnTo>
                    <a:pt x="3289173" y="2366772"/>
                  </a:lnTo>
                  <a:lnTo>
                    <a:pt x="3355181" y="2377535"/>
                  </a:lnTo>
                  <a:lnTo>
                    <a:pt x="3412141" y="2373249"/>
                  </a:lnTo>
                  <a:lnTo>
                    <a:pt x="3476244" y="2477643"/>
                  </a:lnTo>
                  <a:lnTo>
                    <a:pt x="3508153" y="2424208"/>
                  </a:lnTo>
                  <a:lnTo>
                    <a:pt x="3585115" y="2405539"/>
                  </a:lnTo>
                  <a:lnTo>
                    <a:pt x="3557207" y="2539937"/>
                  </a:lnTo>
                  <a:lnTo>
                    <a:pt x="3666839" y="2508980"/>
                  </a:lnTo>
                  <a:lnTo>
                    <a:pt x="3724466" y="2408777"/>
                  </a:lnTo>
                  <a:lnTo>
                    <a:pt x="3774948" y="2464308"/>
                  </a:lnTo>
                  <a:lnTo>
                    <a:pt x="3826859" y="2478215"/>
                  </a:lnTo>
                  <a:lnTo>
                    <a:pt x="3947351" y="2479358"/>
                  </a:lnTo>
                  <a:lnTo>
                    <a:pt x="3789998" y="2525745"/>
                  </a:lnTo>
                  <a:lnTo>
                    <a:pt x="3752945" y="2572417"/>
                  </a:lnTo>
                  <a:lnTo>
                    <a:pt x="3806190" y="2666048"/>
                  </a:lnTo>
                  <a:lnTo>
                    <a:pt x="3809714" y="2662714"/>
                  </a:lnTo>
                  <a:lnTo>
                    <a:pt x="3865340" y="2649379"/>
                  </a:lnTo>
                  <a:lnTo>
                    <a:pt x="3939826" y="2774537"/>
                  </a:lnTo>
                  <a:lnTo>
                    <a:pt x="3989165" y="2772632"/>
                  </a:lnTo>
                  <a:lnTo>
                    <a:pt x="4054126" y="2664333"/>
                  </a:lnTo>
                  <a:lnTo>
                    <a:pt x="4105942" y="2733866"/>
                  </a:lnTo>
                  <a:lnTo>
                    <a:pt x="4232720" y="2643949"/>
                  </a:lnTo>
                  <a:lnTo>
                    <a:pt x="4207002" y="2763203"/>
                  </a:lnTo>
                  <a:lnTo>
                    <a:pt x="4325112" y="2712339"/>
                  </a:lnTo>
                  <a:lnTo>
                    <a:pt x="4293394" y="2770441"/>
                  </a:lnTo>
                  <a:lnTo>
                    <a:pt x="4329780" y="2794540"/>
                  </a:lnTo>
                  <a:lnTo>
                    <a:pt x="4331018" y="2734532"/>
                  </a:lnTo>
                  <a:lnTo>
                    <a:pt x="4397121" y="2718149"/>
                  </a:lnTo>
                  <a:lnTo>
                    <a:pt x="4338923" y="2617946"/>
                  </a:lnTo>
                  <a:lnTo>
                    <a:pt x="4433507" y="2586419"/>
                  </a:lnTo>
                  <a:lnTo>
                    <a:pt x="4473321" y="2668143"/>
                  </a:lnTo>
                  <a:lnTo>
                    <a:pt x="4467987" y="2766155"/>
                  </a:lnTo>
                  <a:lnTo>
                    <a:pt x="4549521" y="2746058"/>
                  </a:lnTo>
                  <a:lnTo>
                    <a:pt x="4628293" y="2674144"/>
                  </a:lnTo>
                  <a:lnTo>
                    <a:pt x="4675347" y="2786824"/>
                  </a:lnTo>
                  <a:lnTo>
                    <a:pt x="4728020" y="2775299"/>
                  </a:lnTo>
                  <a:lnTo>
                    <a:pt x="4784598" y="2799683"/>
                  </a:lnTo>
                  <a:lnTo>
                    <a:pt x="4829937" y="2765298"/>
                  </a:lnTo>
                  <a:lnTo>
                    <a:pt x="4878229" y="2720626"/>
                  </a:lnTo>
                  <a:lnTo>
                    <a:pt x="4904804" y="2598611"/>
                  </a:lnTo>
                  <a:lnTo>
                    <a:pt x="5019771" y="2779966"/>
                  </a:lnTo>
                  <a:lnTo>
                    <a:pt x="5027962" y="2644140"/>
                  </a:lnTo>
                  <a:lnTo>
                    <a:pt x="5083874" y="2629757"/>
                  </a:lnTo>
                  <a:lnTo>
                    <a:pt x="5119497" y="2744915"/>
                  </a:lnTo>
                  <a:lnTo>
                    <a:pt x="5197317" y="2591276"/>
                  </a:lnTo>
                  <a:lnTo>
                    <a:pt x="5202841" y="2732437"/>
                  </a:lnTo>
                  <a:lnTo>
                    <a:pt x="5277231" y="2699576"/>
                  </a:lnTo>
                  <a:lnTo>
                    <a:pt x="5273802" y="2781110"/>
                  </a:lnTo>
                  <a:lnTo>
                    <a:pt x="5398389" y="2727865"/>
                  </a:lnTo>
                  <a:lnTo>
                    <a:pt x="5428203" y="2786348"/>
                  </a:lnTo>
                  <a:lnTo>
                    <a:pt x="5460969" y="2842546"/>
                  </a:lnTo>
                  <a:lnTo>
                    <a:pt x="5500688" y="2872740"/>
                  </a:lnTo>
                  <a:lnTo>
                    <a:pt x="5535740" y="2865691"/>
                  </a:lnTo>
                  <a:lnTo>
                    <a:pt x="5566982" y="2777204"/>
                  </a:lnTo>
                  <a:lnTo>
                    <a:pt x="5644134" y="2910459"/>
                  </a:lnTo>
                  <a:lnTo>
                    <a:pt x="5638610" y="2917889"/>
                  </a:lnTo>
                  <a:lnTo>
                    <a:pt x="5649659" y="2919984"/>
                  </a:lnTo>
                  <a:lnTo>
                    <a:pt x="5657088" y="2932748"/>
                  </a:lnTo>
                  <a:lnTo>
                    <a:pt x="5662517" y="2922461"/>
                  </a:lnTo>
                  <a:lnTo>
                    <a:pt x="5778723" y="2944845"/>
                  </a:lnTo>
                  <a:lnTo>
                    <a:pt x="5660612" y="3022854"/>
                  </a:lnTo>
                  <a:lnTo>
                    <a:pt x="5781675" y="3000851"/>
                  </a:lnTo>
                  <a:lnTo>
                    <a:pt x="5779389" y="2953131"/>
                  </a:lnTo>
                  <a:lnTo>
                    <a:pt x="5835586" y="3020473"/>
                  </a:lnTo>
                  <a:lnTo>
                    <a:pt x="5890260" y="3056001"/>
                  </a:lnTo>
                  <a:lnTo>
                    <a:pt x="5937980" y="2973896"/>
                  </a:lnTo>
                  <a:lnTo>
                    <a:pt x="5989796" y="2964466"/>
                  </a:lnTo>
                  <a:lnTo>
                    <a:pt x="6043422" y="2964085"/>
                  </a:lnTo>
                  <a:lnTo>
                    <a:pt x="6100667" y="3137249"/>
                  </a:lnTo>
                  <a:lnTo>
                    <a:pt x="6154865" y="3053239"/>
                  </a:lnTo>
                  <a:lnTo>
                    <a:pt x="6206585" y="3067812"/>
                  </a:lnTo>
                  <a:lnTo>
                    <a:pt x="6266021" y="3155156"/>
                  </a:lnTo>
                  <a:lnTo>
                    <a:pt x="6308122" y="3008757"/>
                  </a:lnTo>
                  <a:lnTo>
                    <a:pt x="6352604" y="2945225"/>
                  </a:lnTo>
                  <a:lnTo>
                    <a:pt x="6431852" y="2983802"/>
                  </a:lnTo>
                  <a:lnTo>
                    <a:pt x="6442805" y="3129153"/>
                  </a:lnTo>
                  <a:lnTo>
                    <a:pt x="6550343" y="3018949"/>
                  </a:lnTo>
                  <a:lnTo>
                    <a:pt x="6579394" y="3141059"/>
                  </a:lnTo>
                  <a:lnTo>
                    <a:pt x="6610446" y="3038094"/>
                  </a:lnTo>
                  <a:lnTo>
                    <a:pt x="6685217" y="3083338"/>
                  </a:lnTo>
                  <a:lnTo>
                    <a:pt x="6709124" y="3018187"/>
                  </a:lnTo>
                  <a:lnTo>
                    <a:pt x="6730365" y="3103912"/>
                  </a:lnTo>
                  <a:lnTo>
                    <a:pt x="6825139" y="3023140"/>
                  </a:lnTo>
                  <a:lnTo>
                    <a:pt x="6762941" y="3139821"/>
                  </a:lnTo>
                  <a:lnTo>
                    <a:pt x="6843522" y="3145822"/>
                  </a:lnTo>
                  <a:lnTo>
                    <a:pt x="6879812" y="3212592"/>
                  </a:lnTo>
                  <a:lnTo>
                    <a:pt x="6966680" y="3236405"/>
                  </a:lnTo>
                  <a:lnTo>
                    <a:pt x="6997732" y="3128963"/>
                  </a:lnTo>
                  <a:lnTo>
                    <a:pt x="7064693" y="3150013"/>
                  </a:lnTo>
                  <a:lnTo>
                    <a:pt x="7140035" y="3183350"/>
                  </a:lnTo>
                  <a:lnTo>
                    <a:pt x="7155847" y="3057144"/>
                  </a:lnTo>
                  <a:lnTo>
                    <a:pt x="7217569" y="3106007"/>
                  </a:lnTo>
                  <a:lnTo>
                    <a:pt x="7228523" y="3169539"/>
                  </a:lnTo>
                  <a:lnTo>
                    <a:pt x="7318724" y="3154395"/>
                  </a:lnTo>
                  <a:lnTo>
                    <a:pt x="7378636" y="3157252"/>
                  </a:lnTo>
                  <a:lnTo>
                    <a:pt x="7376541" y="3102007"/>
                  </a:lnTo>
                  <a:lnTo>
                    <a:pt x="7427881" y="3095435"/>
                  </a:lnTo>
                  <a:lnTo>
                    <a:pt x="7499414" y="3116771"/>
                  </a:lnTo>
                  <a:lnTo>
                    <a:pt x="7593616" y="3121247"/>
                  </a:lnTo>
                  <a:lnTo>
                    <a:pt x="7505319" y="2943701"/>
                  </a:lnTo>
                  <a:lnTo>
                    <a:pt x="7592283" y="2956465"/>
                  </a:lnTo>
                  <a:lnTo>
                    <a:pt x="7650576" y="2972467"/>
                  </a:lnTo>
                  <a:lnTo>
                    <a:pt x="7683627" y="2913126"/>
                  </a:lnTo>
                  <a:lnTo>
                    <a:pt x="7722394" y="2943511"/>
                  </a:lnTo>
                  <a:lnTo>
                    <a:pt x="7827169" y="2891409"/>
                  </a:lnTo>
                  <a:lnTo>
                    <a:pt x="7635907" y="2838545"/>
                  </a:lnTo>
                  <a:lnTo>
                    <a:pt x="7828121" y="2805779"/>
                  </a:lnTo>
                  <a:lnTo>
                    <a:pt x="7762494" y="2701671"/>
                  </a:lnTo>
                  <a:lnTo>
                    <a:pt x="7867936" y="2752725"/>
                  </a:lnTo>
                  <a:lnTo>
                    <a:pt x="7875556" y="2668810"/>
                  </a:lnTo>
                  <a:lnTo>
                    <a:pt x="7986999" y="2623185"/>
                  </a:lnTo>
                  <a:lnTo>
                    <a:pt x="7884605" y="2554129"/>
                  </a:lnTo>
                  <a:lnTo>
                    <a:pt x="7876699" y="2488787"/>
                  </a:lnTo>
                  <a:lnTo>
                    <a:pt x="7953280" y="2466975"/>
                  </a:lnTo>
                  <a:lnTo>
                    <a:pt x="7977569" y="2409825"/>
                  </a:lnTo>
                  <a:lnTo>
                    <a:pt x="8022622" y="2384393"/>
                  </a:lnTo>
                  <a:lnTo>
                    <a:pt x="8080344" y="2448020"/>
                  </a:lnTo>
                  <a:lnTo>
                    <a:pt x="8132636" y="2333816"/>
                  </a:lnTo>
                  <a:lnTo>
                    <a:pt x="8196167" y="2343055"/>
                  </a:lnTo>
                  <a:lnTo>
                    <a:pt x="8258556" y="2300288"/>
                  </a:lnTo>
                  <a:lnTo>
                    <a:pt x="8308181" y="2355723"/>
                  </a:lnTo>
                  <a:lnTo>
                    <a:pt x="8366760" y="2337626"/>
                  </a:lnTo>
                  <a:lnTo>
                    <a:pt x="8412670" y="2463165"/>
                  </a:lnTo>
                  <a:lnTo>
                    <a:pt x="8475059" y="2357533"/>
                  </a:lnTo>
                  <a:lnTo>
                    <a:pt x="8535638" y="2278952"/>
                  </a:lnTo>
                  <a:lnTo>
                    <a:pt x="8584216" y="2373249"/>
                  </a:lnTo>
                  <a:lnTo>
                    <a:pt x="8644985" y="2288096"/>
                  </a:lnTo>
                  <a:lnTo>
                    <a:pt x="8691372" y="2334863"/>
                  </a:lnTo>
                  <a:lnTo>
                    <a:pt x="8765000" y="2487359"/>
                  </a:lnTo>
                  <a:lnTo>
                    <a:pt x="8790623" y="2265712"/>
                  </a:lnTo>
                  <a:lnTo>
                    <a:pt x="8843010" y="2436876"/>
                  </a:lnTo>
                  <a:lnTo>
                    <a:pt x="8906446" y="2404396"/>
                  </a:lnTo>
                  <a:lnTo>
                    <a:pt x="8903303" y="2516981"/>
                  </a:lnTo>
                  <a:lnTo>
                    <a:pt x="9019413" y="2434400"/>
                  </a:lnTo>
                  <a:lnTo>
                    <a:pt x="9086564" y="2541270"/>
                  </a:lnTo>
                  <a:lnTo>
                    <a:pt x="9122759" y="2414016"/>
                  </a:lnTo>
                  <a:lnTo>
                    <a:pt x="9184100" y="2409063"/>
                  </a:lnTo>
                  <a:lnTo>
                    <a:pt x="9242393" y="2520410"/>
                  </a:lnTo>
                  <a:lnTo>
                    <a:pt x="9300972" y="2389537"/>
                  </a:lnTo>
                  <a:lnTo>
                    <a:pt x="9385268" y="2362772"/>
                  </a:lnTo>
                  <a:lnTo>
                    <a:pt x="9360027" y="2527268"/>
                  </a:lnTo>
                  <a:lnTo>
                    <a:pt x="9484805" y="2473833"/>
                  </a:lnTo>
                  <a:lnTo>
                    <a:pt x="9536430" y="2477453"/>
                  </a:lnTo>
                  <a:lnTo>
                    <a:pt x="9564148" y="2533269"/>
                  </a:lnTo>
                  <a:lnTo>
                    <a:pt x="9616726" y="2570798"/>
                  </a:lnTo>
                  <a:lnTo>
                    <a:pt x="9686258" y="2645759"/>
                  </a:lnTo>
                  <a:lnTo>
                    <a:pt x="9744646" y="2589943"/>
                  </a:lnTo>
                  <a:lnTo>
                    <a:pt x="9790462" y="2561463"/>
                  </a:lnTo>
                  <a:lnTo>
                    <a:pt x="9787985" y="2486025"/>
                  </a:lnTo>
                  <a:lnTo>
                    <a:pt x="9823418" y="2454212"/>
                  </a:lnTo>
                  <a:lnTo>
                    <a:pt x="9873805" y="2365724"/>
                  </a:lnTo>
                  <a:lnTo>
                    <a:pt x="9928956" y="2379726"/>
                  </a:lnTo>
                  <a:lnTo>
                    <a:pt x="9994202" y="2399348"/>
                  </a:lnTo>
                  <a:lnTo>
                    <a:pt x="10029634" y="2462498"/>
                  </a:lnTo>
                  <a:lnTo>
                    <a:pt x="10074212" y="2483930"/>
                  </a:lnTo>
                  <a:lnTo>
                    <a:pt x="10165461" y="2416397"/>
                  </a:lnTo>
                  <a:lnTo>
                    <a:pt x="10164699" y="2471547"/>
                  </a:lnTo>
                  <a:lnTo>
                    <a:pt x="10189178" y="2433828"/>
                  </a:lnTo>
                  <a:lnTo>
                    <a:pt x="10224897" y="2398109"/>
                  </a:lnTo>
                  <a:lnTo>
                    <a:pt x="10310051" y="2404015"/>
                  </a:lnTo>
                  <a:lnTo>
                    <a:pt x="10311765" y="2411349"/>
                  </a:lnTo>
                  <a:lnTo>
                    <a:pt x="10438734" y="2362391"/>
                  </a:lnTo>
                  <a:lnTo>
                    <a:pt x="10370820" y="2528888"/>
                  </a:lnTo>
                  <a:lnTo>
                    <a:pt x="10491883" y="2405539"/>
                  </a:lnTo>
                  <a:lnTo>
                    <a:pt x="10486359" y="2384774"/>
                  </a:lnTo>
                  <a:lnTo>
                    <a:pt x="10622852" y="2485263"/>
                  </a:lnTo>
                  <a:lnTo>
                    <a:pt x="10613897" y="2343055"/>
                  </a:lnTo>
                  <a:lnTo>
                    <a:pt x="10724769" y="2486692"/>
                  </a:lnTo>
                  <a:lnTo>
                    <a:pt x="10763250" y="2421350"/>
                  </a:lnTo>
                  <a:lnTo>
                    <a:pt x="10827830" y="2432018"/>
                  </a:lnTo>
                  <a:lnTo>
                    <a:pt x="10874026" y="2385536"/>
                  </a:lnTo>
                  <a:lnTo>
                    <a:pt x="10932795" y="2380202"/>
                  </a:lnTo>
                  <a:lnTo>
                    <a:pt x="10960228" y="2225421"/>
                  </a:lnTo>
                  <a:lnTo>
                    <a:pt x="10986992" y="2382869"/>
                  </a:lnTo>
                  <a:lnTo>
                    <a:pt x="11046809" y="2397062"/>
                  </a:lnTo>
                  <a:lnTo>
                    <a:pt x="11124534" y="2365534"/>
                  </a:lnTo>
                  <a:lnTo>
                    <a:pt x="11182445" y="2383155"/>
                  </a:lnTo>
                  <a:lnTo>
                    <a:pt x="11250454" y="2375249"/>
                  </a:lnTo>
                  <a:lnTo>
                    <a:pt x="11303508" y="2327243"/>
                  </a:lnTo>
                  <a:lnTo>
                    <a:pt x="11356467" y="2424494"/>
                  </a:lnTo>
                  <a:lnTo>
                    <a:pt x="11372564" y="2435924"/>
                  </a:lnTo>
                  <a:lnTo>
                    <a:pt x="11372564" y="0"/>
                  </a:lnTo>
                  <a:lnTo>
                    <a:pt x="0" y="0"/>
                  </a:lnTo>
                  <a:close/>
                  <a:moveTo>
                    <a:pt x="7624191" y="2067973"/>
                  </a:moveTo>
                  <a:lnTo>
                    <a:pt x="7586187" y="1943672"/>
                  </a:lnTo>
                  <a:lnTo>
                    <a:pt x="7601522" y="1930813"/>
                  </a:lnTo>
                  <a:lnTo>
                    <a:pt x="7634669" y="1941100"/>
                  </a:lnTo>
                  <a:lnTo>
                    <a:pt x="7624191" y="2067973"/>
                  </a:lnTo>
                  <a:close/>
                </a:path>
              </a:pathLst>
            </a:custGeom>
            <a:solidFill>
              <a:srgbClr val="F5F5F0"/>
            </a:solidFill>
            <a:ln w="9525" cap="flat">
              <a:noFill/>
              <a:prstDash val="solid"/>
              <a:miter/>
            </a:ln>
            <a:effectLst>
              <a:outerShdw blurRad="88900" dist="50800" dir="5400000" algn="ctr" rotWithShape="0">
                <a:srgbClr val="000000">
                  <a:alpha val="75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34669961-9BC4-4153-B94E-058FD4CB586B}"/>
                </a:ext>
              </a:extLst>
            </p:cNvPr>
            <p:cNvSpPr/>
            <p:nvPr/>
          </p:nvSpPr>
          <p:spPr bwMode="auto">
            <a:xfrm>
              <a:off x="1815353" y="5080118"/>
              <a:ext cx="3447528" cy="51906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400" b="1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Google überschwemmt den Markt mit</a:t>
              </a:r>
              <a:br>
                <a:rPr lang="de-DE" sz="1400" b="1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</a:br>
              <a:r>
                <a:rPr lang="de-DE" sz="1400" b="1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aten – Märkte in Unruhe!</a:t>
              </a:r>
            </a:p>
          </p:txBody>
        </p:sp>
      </p:grp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7C82664F-A0F0-4C94-BE9D-F4EEB5CD95E1}"/>
              </a:ext>
            </a:extLst>
          </p:cNvPr>
          <p:cNvGrpSpPr/>
          <p:nvPr/>
        </p:nvGrpSpPr>
        <p:grpSpPr>
          <a:xfrm>
            <a:off x="8041894" y="2786434"/>
            <a:ext cx="3351532" cy="1691308"/>
            <a:chOff x="8041894" y="2786434"/>
            <a:chExt cx="3351532" cy="1691308"/>
          </a:xfrm>
        </p:grpSpPr>
        <p:sp>
          <p:nvSpPr>
            <p:cNvPr id="26" name="Freeform 79">
              <a:extLst>
                <a:ext uri="{FF2B5EF4-FFF2-40B4-BE49-F238E27FC236}">
                  <a16:creationId xmlns:a16="http://schemas.microsoft.com/office/drawing/2014/main" id="{FA18F287-7B04-43EA-A63D-041850F08B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41894" y="2786434"/>
              <a:ext cx="3351532" cy="1691308"/>
            </a:xfrm>
            <a:custGeom>
              <a:avLst/>
              <a:gdLst>
                <a:gd name="T0" fmla="*/ 283 w 7680"/>
                <a:gd name="T1" fmla="*/ 2552 h 3188"/>
                <a:gd name="T2" fmla="*/ 397 w 7680"/>
                <a:gd name="T3" fmla="*/ 2764 h 3188"/>
                <a:gd name="T4" fmla="*/ 539 w 7680"/>
                <a:gd name="T5" fmla="*/ 2797 h 3188"/>
                <a:gd name="T6" fmla="*/ 722 w 7680"/>
                <a:gd name="T7" fmla="*/ 2771 h 3188"/>
                <a:gd name="T8" fmla="*/ 950 w 7680"/>
                <a:gd name="T9" fmla="*/ 2803 h 3188"/>
                <a:gd name="T10" fmla="*/ 1187 w 7680"/>
                <a:gd name="T11" fmla="*/ 2713 h 3188"/>
                <a:gd name="T12" fmla="*/ 1344 w 7680"/>
                <a:gd name="T13" fmla="*/ 2797 h 3188"/>
                <a:gd name="T14" fmla="*/ 1455 w 7680"/>
                <a:gd name="T15" fmla="*/ 2724 h 3188"/>
                <a:gd name="T16" fmla="*/ 1685 w 7680"/>
                <a:gd name="T17" fmla="*/ 2867 h 3188"/>
                <a:gd name="T18" fmla="*/ 1885 w 7680"/>
                <a:gd name="T19" fmla="*/ 2948 h 3188"/>
                <a:gd name="T20" fmla="*/ 2078 w 7680"/>
                <a:gd name="T21" fmla="*/ 2940 h 3188"/>
                <a:gd name="T22" fmla="*/ 2337 w 7680"/>
                <a:gd name="T23" fmla="*/ 3067 h 3188"/>
                <a:gd name="T24" fmla="*/ 2575 w 7680"/>
                <a:gd name="T25" fmla="*/ 3148 h 3188"/>
                <a:gd name="T26" fmla="*/ 2764 w 7680"/>
                <a:gd name="T27" fmla="*/ 3062 h 3188"/>
                <a:gd name="T28" fmla="*/ 3001 w 7680"/>
                <a:gd name="T29" fmla="*/ 2900 h 3188"/>
                <a:gd name="T30" fmla="*/ 3306 w 7680"/>
                <a:gd name="T31" fmla="*/ 2892 h 3188"/>
                <a:gd name="T32" fmla="*/ 3459 w 7680"/>
                <a:gd name="T33" fmla="*/ 2946 h 3188"/>
                <a:gd name="T34" fmla="*/ 3734 w 7680"/>
                <a:gd name="T35" fmla="*/ 2980 h 3188"/>
                <a:gd name="T36" fmla="*/ 3959 w 7680"/>
                <a:gd name="T37" fmla="*/ 3062 h 3188"/>
                <a:gd name="T38" fmla="*/ 4229 w 7680"/>
                <a:gd name="T39" fmla="*/ 3096 h 3188"/>
                <a:gd name="T40" fmla="*/ 4438 w 7680"/>
                <a:gd name="T41" fmla="*/ 2972 h 3188"/>
                <a:gd name="T42" fmla="*/ 4676 w 7680"/>
                <a:gd name="T43" fmla="*/ 2850 h 3188"/>
                <a:gd name="T44" fmla="*/ 4982 w 7680"/>
                <a:gd name="T45" fmla="*/ 2924 h 3188"/>
                <a:gd name="T46" fmla="*/ 5162 w 7680"/>
                <a:gd name="T47" fmla="*/ 2906 h 3188"/>
                <a:gd name="T48" fmla="*/ 5471 w 7680"/>
                <a:gd name="T49" fmla="*/ 2850 h 3188"/>
                <a:gd name="T50" fmla="*/ 5773 w 7680"/>
                <a:gd name="T51" fmla="*/ 2856 h 3188"/>
                <a:gd name="T52" fmla="*/ 6046 w 7680"/>
                <a:gd name="T53" fmla="*/ 2925 h 3188"/>
                <a:gd name="T54" fmla="*/ 6291 w 7680"/>
                <a:gd name="T55" fmla="*/ 3004 h 3188"/>
                <a:gd name="T56" fmla="*/ 6583 w 7680"/>
                <a:gd name="T57" fmla="*/ 3035 h 3188"/>
                <a:gd name="T58" fmla="*/ 6794 w 7680"/>
                <a:gd name="T59" fmla="*/ 2938 h 3188"/>
                <a:gd name="T60" fmla="*/ 7040 w 7680"/>
                <a:gd name="T61" fmla="*/ 2971 h 3188"/>
                <a:gd name="T62" fmla="*/ 7315 w 7680"/>
                <a:gd name="T63" fmla="*/ 2983 h 3188"/>
                <a:gd name="T64" fmla="*/ 7587 w 7680"/>
                <a:gd name="T65" fmla="*/ 2925 h 3188"/>
                <a:gd name="T66" fmla="*/ 7526 w 7680"/>
                <a:gd name="T67" fmla="*/ 417 h 3188"/>
                <a:gd name="T68" fmla="*/ 7246 w 7680"/>
                <a:gd name="T69" fmla="*/ 472 h 3188"/>
                <a:gd name="T70" fmla="*/ 6958 w 7680"/>
                <a:gd name="T71" fmla="*/ 467 h 3188"/>
                <a:gd name="T72" fmla="*/ 6741 w 7680"/>
                <a:gd name="T73" fmla="*/ 502 h 3188"/>
                <a:gd name="T74" fmla="*/ 6535 w 7680"/>
                <a:gd name="T75" fmla="*/ 535 h 3188"/>
                <a:gd name="T76" fmla="*/ 6271 w 7680"/>
                <a:gd name="T77" fmla="*/ 486 h 3188"/>
                <a:gd name="T78" fmla="*/ 5963 w 7680"/>
                <a:gd name="T79" fmla="*/ 504 h 3188"/>
                <a:gd name="T80" fmla="*/ 5713 w 7680"/>
                <a:gd name="T81" fmla="*/ 486 h 3188"/>
                <a:gd name="T82" fmla="*/ 5427 w 7680"/>
                <a:gd name="T83" fmla="*/ 504 h 3188"/>
                <a:gd name="T84" fmla="*/ 5147 w 7680"/>
                <a:gd name="T85" fmla="*/ 459 h 3188"/>
                <a:gd name="T86" fmla="*/ 4845 w 7680"/>
                <a:gd name="T87" fmla="*/ 469 h 3188"/>
                <a:gd name="T88" fmla="*/ 4613 w 7680"/>
                <a:gd name="T89" fmla="*/ 425 h 3188"/>
                <a:gd name="T90" fmla="*/ 4358 w 7680"/>
                <a:gd name="T91" fmla="*/ 440 h 3188"/>
                <a:gd name="T92" fmla="*/ 4115 w 7680"/>
                <a:gd name="T93" fmla="*/ 420 h 3188"/>
                <a:gd name="T94" fmla="*/ 3832 w 7680"/>
                <a:gd name="T95" fmla="*/ 467 h 3188"/>
                <a:gd name="T96" fmla="*/ 3554 w 7680"/>
                <a:gd name="T97" fmla="*/ 469 h 3188"/>
                <a:gd name="T98" fmla="*/ 3300 w 7680"/>
                <a:gd name="T99" fmla="*/ 462 h 3188"/>
                <a:gd name="T100" fmla="*/ 3022 w 7680"/>
                <a:gd name="T101" fmla="*/ 428 h 3188"/>
                <a:gd name="T102" fmla="*/ 2747 w 7680"/>
                <a:gd name="T103" fmla="*/ 417 h 3188"/>
                <a:gd name="T104" fmla="*/ 2465 w 7680"/>
                <a:gd name="T105" fmla="*/ 396 h 3188"/>
                <a:gd name="T106" fmla="*/ 2184 w 7680"/>
                <a:gd name="T107" fmla="*/ 377 h 3188"/>
                <a:gd name="T108" fmla="*/ 1923 w 7680"/>
                <a:gd name="T109" fmla="*/ 301 h 3188"/>
                <a:gd name="T110" fmla="*/ 1648 w 7680"/>
                <a:gd name="T111" fmla="*/ 285 h 3188"/>
                <a:gd name="T112" fmla="*/ 1439 w 7680"/>
                <a:gd name="T113" fmla="*/ 206 h 3188"/>
                <a:gd name="T114" fmla="*/ 1235 w 7680"/>
                <a:gd name="T115" fmla="*/ 195 h 3188"/>
                <a:gd name="T116" fmla="*/ 975 w 7680"/>
                <a:gd name="T117" fmla="*/ 106 h 3188"/>
                <a:gd name="T118" fmla="*/ 727 w 7680"/>
                <a:gd name="T119" fmla="*/ 90 h 3188"/>
                <a:gd name="T120" fmla="*/ 434 w 7680"/>
                <a:gd name="T121" fmla="*/ 75 h 3188"/>
                <a:gd name="T122" fmla="*/ 151 w 7680"/>
                <a:gd name="T123" fmla="*/ 50 h 3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680" h="3188">
                  <a:moveTo>
                    <a:pt x="10" y="2518"/>
                  </a:moveTo>
                  <a:lnTo>
                    <a:pt x="40" y="2505"/>
                  </a:lnTo>
                  <a:lnTo>
                    <a:pt x="19" y="2565"/>
                  </a:lnTo>
                  <a:lnTo>
                    <a:pt x="55" y="2524"/>
                  </a:lnTo>
                  <a:lnTo>
                    <a:pt x="68" y="2552"/>
                  </a:lnTo>
                  <a:lnTo>
                    <a:pt x="80" y="2532"/>
                  </a:lnTo>
                  <a:lnTo>
                    <a:pt x="98" y="2529"/>
                  </a:lnTo>
                  <a:lnTo>
                    <a:pt x="114" y="2540"/>
                  </a:lnTo>
                  <a:lnTo>
                    <a:pt x="129" y="2553"/>
                  </a:lnTo>
                  <a:lnTo>
                    <a:pt x="145" y="2524"/>
                  </a:lnTo>
                  <a:lnTo>
                    <a:pt x="166" y="2560"/>
                  </a:lnTo>
                  <a:lnTo>
                    <a:pt x="172" y="2505"/>
                  </a:lnTo>
                  <a:lnTo>
                    <a:pt x="190" y="2510"/>
                  </a:lnTo>
                  <a:lnTo>
                    <a:pt x="212" y="2548"/>
                  </a:lnTo>
                  <a:lnTo>
                    <a:pt x="228" y="2558"/>
                  </a:lnTo>
                  <a:lnTo>
                    <a:pt x="240" y="2528"/>
                  </a:lnTo>
                  <a:lnTo>
                    <a:pt x="262" y="2528"/>
                  </a:lnTo>
                  <a:lnTo>
                    <a:pt x="235" y="2569"/>
                  </a:lnTo>
                  <a:lnTo>
                    <a:pt x="283" y="2552"/>
                  </a:lnTo>
                  <a:lnTo>
                    <a:pt x="285" y="2560"/>
                  </a:lnTo>
                  <a:lnTo>
                    <a:pt x="296" y="2568"/>
                  </a:lnTo>
                  <a:lnTo>
                    <a:pt x="294" y="2595"/>
                  </a:lnTo>
                  <a:lnTo>
                    <a:pt x="314" y="2582"/>
                  </a:lnTo>
                  <a:lnTo>
                    <a:pt x="327" y="2579"/>
                  </a:lnTo>
                  <a:lnTo>
                    <a:pt x="330" y="2595"/>
                  </a:lnTo>
                  <a:lnTo>
                    <a:pt x="344" y="2611"/>
                  </a:lnTo>
                  <a:lnTo>
                    <a:pt x="359" y="2624"/>
                  </a:lnTo>
                  <a:lnTo>
                    <a:pt x="315" y="2644"/>
                  </a:lnTo>
                  <a:lnTo>
                    <a:pt x="304" y="2660"/>
                  </a:lnTo>
                  <a:lnTo>
                    <a:pt x="306" y="2676"/>
                  </a:lnTo>
                  <a:lnTo>
                    <a:pt x="354" y="2689"/>
                  </a:lnTo>
                  <a:lnTo>
                    <a:pt x="330" y="2706"/>
                  </a:lnTo>
                  <a:lnTo>
                    <a:pt x="338" y="2722"/>
                  </a:lnTo>
                  <a:lnTo>
                    <a:pt x="336" y="2739"/>
                  </a:lnTo>
                  <a:lnTo>
                    <a:pt x="352" y="2748"/>
                  </a:lnTo>
                  <a:lnTo>
                    <a:pt x="357" y="2760"/>
                  </a:lnTo>
                  <a:lnTo>
                    <a:pt x="380" y="2760"/>
                  </a:lnTo>
                  <a:lnTo>
                    <a:pt x="397" y="2764"/>
                  </a:lnTo>
                  <a:lnTo>
                    <a:pt x="392" y="2801"/>
                  </a:lnTo>
                  <a:lnTo>
                    <a:pt x="426" y="2793"/>
                  </a:lnTo>
                  <a:lnTo>
                    <a:pt x="396" y="2834"/>
                  </a:lnTo>
                  <a:lnTo>
                    <a:pt x="404" y="2848"/>
                  </a:lnTo>
                  <a:lnTo>
                    <a:pt x="425" y="2872"/>
                  </a:lnTo>
                  <a:lnTo>
                    <a:pt x="437" y="2840"/>
                  </a:lnTo>
                  <a:lnTo>
                    <a:pt x="462" y="2847"/>
                  </a:lnTo>
                  <a:lnTo>
                    <a:pt x="474" y="2838"/>
                  </a:lnTo>
                  <a:lnTo>
                    <a:pt x="476" y="2805"/>
                  </a:lnTo>
                  <a:lnTo>
                    <a:pt x="478" y="2835"/>
                  </a:lnTo>
                  <a:lnTo>
                    <a:pt x="500" y="2835"/>
                  </a:lnTo>
                  <a:lnTo>
                    <a:pt x="481" y="2871"/>
                  </a:lnTo>
                  <a:lnTo>
                    <a:pt x="518" y="2859"/>
                  </a:lnTo>
                  <a:lnTo>
                    <a:pt x="521" y="2869"/>
                  </a:lnTo>
                  <a:lnTo>
                    <a:pt x="553" y="2856"/>
                  </a:lnTo>
                  <a:lnTo>
                    <a:pt x="516" y="2842"/>
                  </a:lnTo>
                  <a:lnTo>
                    <a:pt x="550" y="2822"/>
                  </a:lnTo>
                  <a:lnTo>
                    <a:pt x="495" y="2805"/>
                  </a:lnTo>
                  <a:lnTo>
                    <a:pt x="539" y="2797"/>
                  </a:lnTo>
                  <a:lnTo>
                    <a:pt x="540" y="2780"/>
                  </a:lnTo>
                  <a:lnTo>
                    <a:pt x="534" y="2761"/>
                  </a:lnTo>
                  <a:lnTo>
                    <a:pt x="555" y="2763"/>
                  </a:lnTo>
                  <a:lnTo>
                    <a:pt x="545" y="2808"/>
                  </a:lnTo>
                  <a:lnTo>
                    <a:pt x="581" y="2785"/>
                  </a:lnTo>
                  <a:lnTo>
                    <a:pt x="590" y="2780"/>
                  </a:lnTo>
                  <a:lnTo>
                    <a:pt x="610" y="2809"/>
                  </a:lnTo>
                  <a:lnTo>
                    <a:pt x="630" y="2805"/>
                  </a:lnTo>
                  <a:lnTo>
                    <a:pt x="629" y="2771"/>
                  </a:lnTo>
                  <a:lnTo>
                    <a:pt x="663" y="2780"/>
                  </a:lnTo>
                  <a:lnTo>
                    <a:pt x="638" y="2727"/>
                  </a:lnTo>
                  <a:lnTo>
                    <a:pt x="656" y="2722"/>
                  </a:lnTo>
                  <a:lnTo>
                    <a:pt x="663" y="2703"/>
                  </a:lnTo>
                  <a:lnTo>
                    <a:pt x="692" y="2739"/>
                  </a:lnTo>
                  <a:lnTo>
                    <a:pt x="729" y="2721"/>
                  </a:lnTo>
                  <a:lnTo>
                    <a:pt x="675" y="2748"/>
                  </a:lnTo>
                  <a:lnTo>
                    <a:pt x="725" y="2751"/>
                  </a:lnTo>
                  <a:lnTo>
                    <a:pt x="735" y="2766"/>
                  </a:lnTo>
                  <a:lnTo>
                    <a:pt x="722" y="2771"/>
                  </a:lnTo>
                  <a:lnTo>
                    <a:pt x="746" y="2800"/>
                  </a:lnTo>
                  <a:lnTo>
                    <a:pt x="751" y="2764"/>
                  </a:lnTo>
                  <a:lnTo>
                    <a:pt x="777" y="2798"/>
                  </a:lnTo>
                  <a:lnTo>
                    <a:pt x="793" y="2793"/>
                  </a:lnTo>
                  <a:lnTo>
                    <a:pt x="804" y="2763"/>
                  </a:lnTo>
                  <a:lnTo>
                    <a:pt x="825" y="2758"/>
                  </a:lnTo>
                  <a:lnTo>
                    <a:pt x="825" y="2792"/>
                  </a:lnTo>
                  <a:lnTo>
                    <a:pt x="859" y="2774"/>
                  </a:lnTo>
                  <a:lnTo>
                    <a:pt x="872" y="2782"/>
                  </a:lnTo>
                  <a:lnTo>
                    <a:pt x="880" y="2800"/>
                  </a:lnTo>
                  <a:lnTo>
                    <a:pt x="888" y="2814"/>
                  </a:lnTo>
                  <a:lnTo>
                    <a:pt x="886" y="2832"/>
                  </a:lnTo>
                  <a:lnTo>
                    <a:pt x="865" y="2861"/>
                  </a:lnTo>
                  <a:lnTo>
                    <a:pt x="896" y="2853"/>
                  </a:lnTo>
                  <a:lnTo>
                    <a:pt x="899" y="2842"/>
                  </a:lnTo>
                  <a:lnTo>
                    <a:pt x="894" y="2816"/>
                  </a:lnTo>
                  <a:lnTo>
                    <a:pt x="912" y="2801"/>
                  </a:lnTo>
                  <a:lnTo>
                    <a:pt x="931" y="2800"/>
                  </a:lnTo>
                  <a:lnTo>
                    <a:pt x="950" y="2803"/>
                  </a:lnTo>
                  <a:lnTo>
                    <a:pt x="965" y="2771"/>
                  </a:lnTo>
                  <a:lnTo>
                    <a:pt x="984" y="2785"/>
                  </a:lnTo>
                  <a:lnTo>
                    <a:pt x="1007" y="2805"/>
                  </a:lnTo>
                  <a:lnTo>
                    <a:pt x="1007" y="2766"/>
                  </a:lnTo>
                  <a:lnTo>
                    <a:pt x="1039" y="2795"/>
                  </a:lnTo>
                  <a:lnTo>
                    <a:pt x="1052" y="2790"/>
                  </a:lnTo>
                  <a:lnTo>
                    <a:pt x="1052" y="2739"/>
                  </a:lnTo>
                  <a:lnTo>
                    <a:pt x="1068" y="2742"/>
                  </a:lnTo>
                  <a:lnTo>
                    <a:pt x="1090" y="2745"/>
                  </a:lnTo>
                  <a:lnTo>
                    <a:pt x="1105" y="2766"/>
                  </a:lnTo>
                  <a:lnTo>
                    <a:pt x="1118" y="2797"/>
                  </a:lnTo>
                  <a:lnTo>
                    <a:pt x="1140" y="2787"/>
                  </a:lnTo>
                  <a:lnTo>
                    <a:pt x="1163" y="2771"/>
                  </a:lnTo>
                  <a:lnTo>
                    <a:pt x="1143" y="2745"/>
                  </a:lnTo>
                  <a:lnTo>
                    <a:pt x="1177" y="2740"/>
                  </a:lnTo>
                  <a:lnTo>
                    <a:pt x="1188" y="2735"/>
                  </a:lnTo>
                  <a:lnTo>
                    <a:pt x="1145" y="2708"/>
                  </a:lnTo>
                  <a:lnTo>
                    <a:pt x="1179" y="2703"/>
                  </a:lnTo>
                  <a:lnTo>
                    <a:pt x="1187" y="2713"/>
                  </a:lnTo>
                  <a:lnTo>
                    <a:pt x="1211" y="2724"/>
                  </a:lnTo>
                  <a:lnTo>
                    <a:pt x="1188" y="2735"/>
                  </a:lnTo>
                  <a:lnTo>
                    <a:pt x="1193" y="2739"/>
                  </a:lnTo>
                  <a:lnTo>
                    <a:pt x="1177" y="2740"/>
                  </a:lnTo>
                  <a:lnTo>
                    <a:pt x="1158" y="2750"/>
                  </a:lnTo>
                  <a:lnTo>
                    <a:pt x="1203" y="2758"/>
                  </a:lnTo>
                  <a:lnTo>
                    <a:pt x="1182" y="2784"/>
                  </a:lnTo>
                  <a:lnTo>
                    <a:pt x="1195" y="2811"/>
                  </a:lnTo>
                  <a:lnTo>
                    <a:pt x="1219" y="2798"/>
                  </a:lnTo>
                  <a:lnTo>
                    <a:pt x="1253" y="2772"/>
                  </a:lnTo>
                  <a:lnTo>
                    <a:pt x="1248" y="2809"/>
                  </a:lnTo>
                  <a:lnTo>
                    <a:pt x="1262" y="2816"/>
                  </a:lnTo>
                  <a:lnTo>
                    <a:pt x="1267" y="2834"/>
                  </a:lnTo>
                  <a:lnTo>
                    <a:pt x="1286" y="2832"/>
                  </a:lnTo>
                  <a:lnTo>
                    <a:pt x="1309" y="2834"/>
                  </a:lnTo>
                  <a:lnTo>
                    <a:pt x="1312" y="2818"/>
                  </a:lnTo>
                  <a:lnTo>
                    <a:pt x="1299" y="2787"/>
                  </a:lnTo>
                  <a:lnTo>
                    <a:pt x="1317" y="2780"/>
                  </a:lnTo>
                  <a:lnTo>
                    <a:pt x="1344" y="2797"/>
                  </a:lnTo>
                  <a:lnTo>
                    <a:pt x="1351" y="2776"/>
                  </a:lnTo>
                  <a:lnTo>
                    <a:pt x="1365" y="2785"/>
                  </a:lnTo>
                  <a:lnTo>
                    <a:pt x="1375" y="2784"/>
                  </a:lnTo>
                  <a:lnTo>
                    <a:pt x="1377" y="2760"/>
                  </a:lnTo>
                  <a:lnTo>
                    <a:pt x="1393" y="2760"/>
                  </a:lnTo>
                  <a:lnTo>
                    <a:pt x="1415" y="2776"/>
                  </a:lnTo>
                  <a:lnTo>
                    <a:pt x="1375" y="2784"/>
                  </a:lnTo>
                  <a:lnTo>
                    <a:pt x="1375" y="2792"/>
                  </a:lnTo>
                  <a:lnTo>
                    <a:pt x="1407" y="2806"/>
                  </a:lnTo>
                  <a:lnTo>
                    <a:pt x="1394" y="2806"/>
                  </a:lnTo>
                  <a:lnTo>
                    <a:pt x="1414" y="2832"/>
                  </a:lnTo>
                  <a:lnTo>
                    <a:pt x="1418" y="2813"/>
                  </a:lnTo>
                  <a:lnTo>
                    <a:pt x="1423" y="2790"/>
                  </a:lnTo>
                  <a:lnTo>
                    <a:pt x="1426" y="2771"/>
                  </a:lnTo>
                  <a:lnTo>
                    <a:pt x="1468" y="2795"/>
                  </a:lnTo>
                  <a:lnTo>
                    <a:pt x="1442" y="2748"/>
                  </a:lnTo>
                  <a:lnTo>
                    <a:pt x="1452" y="2747"/>
                  </a:lnTo>
                  <a:lnTo>
                    <a:pt x="1442" y="2735"/>
                  </a:lnTo>
                  <a:lnTo>
                    <a:pt x="1455" y="2724"/>
                  </a:lnTo>
                  <a:lnTo>
                    <a:pt x="1479" y="2713"/>
                  </a:lnTo>
                  <a:lnTo>
                    <a:pt x="1494" y="2724"/>
                  </a:lnTo>
                  <a:lnTo>
                    <a:pt x="1487" y="2748"/>
                  </a:lnTo>
                  <a:lnTo>
                    <a:pt x="1523" y="2734"/>
                  </a:lnTo>
                  <a:lnTo>
                    <a:pt x="1516" y="2782"/>
                  </a:lnTo>
                  <a:lnTo>
                    <a:pt x="1533" y="2779"/>
                  </a:lnTo>
                  <a:lnTo>
                    <a:pt x="1553" y="2734"/>
                  </a:lnTo>
                  <a:lnTo>
                    <a:pt x="1579" y="2748"/>
                  </a:lnTo>
                  <a:lnTo>
                    <a:pt x="1578" y="2776"/>
                  </a:lnTo>
                  <a:lnTo>
                    <a:pt x="1578" y="2792"/>
                  </a:lnTo>
                  <a:lnTo>
                    <a:pt x="1561" y="2813"/>
                  </a:lnTo>
                  <a:lnTo>
                    <a:pt x="1592" y="2814"/>
                  </a:lnTo>
                  <a:lnTo>
                    <a:pt x="1573" y="2851"/>
                  </a:lnTo>
                  <a:lnTo>
                    <a:pt x="1589" y="2859"/>
                  </a:lnTo>
                  <a:lnTo>
                    <a:pt x="1606" y="2872"/>
                  </a:lnTo>
                  <a:lnTo>
                    <a:pt x="1635" y="2856"/>
                  </a:lnTo>
                  <a:lnTo>
                    <a:pt x="1650" y="2866"/>
                  </a:lnTo>
                  <a:lnTo>
                    <a:pt x="1664" y="2877"/>
                  </a:lnTo>
                  <a:lnTo>
                    <a:pt x="1685" y="2867"/>
                  </a:lnTo>
                  <a:lnTo>
                    <a:pt x="1701" y="2877"/>
                  </a:lnTo>
                  <a:lnTo>
                    <a:pt x="1727" y="2877"/>
                  </a:lnTo>
                  <a:lnTo>
                    <a:pt x="1709" y="2908"/>
                  </a:lnTo>
                  <a:lnTo>
                    <a:pt x="1717" y="2922"/>
                  </a:lnTo>
                  <a:lnTo>
                    <a:pt x="1759" y="2924"/>
                  </a:lnTo>
                  <a:lnTo>
                    <a:pt x="1738" y="2945"/>
                  </a:lnTo>
                  <a:lnTo>
                    <a:pt x="1754" y="2929"/>
                  </a:lnTo>
                  <a:lnTo>
                    <a:pt x="1772" y="2934"/>
                  </a:lnTo>
                  <a:lnTo>
                    <a:pt x="1788" y="2956"/>
                  </a:lnTo>
                  <a:lnTo>
                    <a:pt x="1798" y="2969"/>
                  </a:lnTo>
                  <a:lnTo>
                    <a:pt x="1822" y="2954"/>
                  </a:lnTo>
                  <a:lnTo>
                    <a:pt x="1840" y="2963"/>
                  </a:lnTo>
                  <a:lnTo>
                    <a:pt x="1865" y="2975"/>
                  </a:lnTo>
                  <a:lnTo>
                    <a:pt x="1825" y="3001"/>
                  </a:lnTo>
                  <a:lnTo>
                    <a:pt x="1862" y="3003"/>
                  </a:lnTo>
                  <a:lnTo>
                    <a:pt x="1853" y="2990"/>
                  </a:lnTo>
                  <a:lnTo>
                    <a:pt x="1865" y="2983"/>
                  </a:lnTo>
                  <a:lnTo>
                    <a:pt x="1896" y="2990"/>
                  </a:lnTo>
                  <a:lnTo>
                    <a:pt x="1885" y="2948"/>
                  </a:lnTo>
                  <a:lnTo>
                    <a:pt x="1904" y="2964"/>
                  </a:lnTo>
                  <a:lnTo>
                    <a:pt x="1928" y="2953"/>
                  </a:lnTo>
                  <a:lnTo>
                    <a:pt x="1923" y="2977"/>
                  </a:lnTo>
                  <a:lnTo>
                    <a:pt x="1949" y="2996"/>
                  </a:lnTo>
                  <a:lnTo>
                    <a:pt x="1984" y="2983"/>
                  </a:lnTo>
                  <a:lnTo>
                    <a:pt x="1939" y="2959"/>
                  </a:lnTo>
                  <a:lnTo>
                    <a:pt x="1923" y="2948"/>
                  </a:lnTo>
                  <a:lnTo>
                    <a:pt x="1938" y="2925"/>
                  </a:lnTo>
                  <a:lnTo>
                    <a:pt x="1939" y="2895"/>
                  </a:lnTo>
                  <a:lnTo>
                    <a:pt x="1959" y="2890"/>
                  </a:lnTo>
                  <a:lnTo>
                    <a:pt x="1991" y="2903"/>
                  </a:lnTo>
                  <a:lnTo>
                    <a:pt x="2015" y="2900"/>
                  </a:lnTo>
                  <a:lnTo>
                    <a:pt x="2007" y="2859"/>
                  </a:lnTo>
                  <a:lnTo>
                    <a:pt x="2037" y="2874"/>
                  </a:lnTo>
                  <a:lnTo>
                    <a:pt x="2037" y="2874"/>
                  </a:lnTo>
                  <a:lnTo>
                    <a:pt x="2060" y="2885"/>
                  </a:lnTo>
                  <a:lnTo>
                    <a:pt x="2062" y="2898"/>
                  </a:lnTo>
                  <a:lnTo>
                    <a:pt x="2065" y="2925"/>
                  </a:lnTo>
                  <a:lnTo>
                    <a:pt x="2078" y="2940"/>
                  </a:lnTo>
                  <a:lnTo>
                    <a:pt x="2097" y="2922"/>
                  </a:lnTo>
                  <a:lnTo>
                    <a:pt x="2111" y="2903"/>
                  </a:lnTo>
                  <a:lnTo>
                    <a:pt x="2126" y="2942"/>
                  </a:lnTo>
                  <a:lnTo>
                    <a:pt x="2136" y="2937"/>
                  </a:lnTo>
                  <a:lnTo>
                    <a:pt x="2150" y="2937"/>
                  </a:lnTo>
                  <a:lnTo>
                    <a:pt x="2173" y="2913"/>
                  </a:lnTo>
                  <a:lnTo>
                    <a:pt x="2193" y="2911"/>
                  </a:lnTo>
                  <a:lnTo>
                    <a:pt x="2197" y="2938"/>
                  </a:lnTo>
                  <a:lnTo>
                    <a:pt x="2189" y="2971"/>
                  </a:lnTo>
                  <a:lnTo>
                    <a:pt x="2227" y="2951"/>
                  </a:lnTo>
                  <a:lnTo>
                    <a:pt x="2246" y="2951"/>
                  </a:lnTo>
                  <a:lnTo>
                    <a:pt x="2253" y="2969"/>
                  </a:lnTo>
                  <a:lnTo>
                    <a:pt x="2243" y="3006"/>
                  </a:lnTo>
                  <a:lnTo>
                    <a:pt x="2275" y="2995"/>
                  </a:lnTo>
                  <a:lnTo>
                    <a:pt x="2277" y="3017"/>
                  </a:lnTo>
                  <a:lnTo>
                    <a:pt x="2283" y="3041"/>
                  </a:lnTo>
                  <a:lnTo>
                    <a:pt x="2304" y="3043"/>
                  </a:lnTo>
                  <a:lnTo>
                    <a:pt x="2328" y="3029"/>
                  </a:lnTo>
                  <a:lnTo>
                    <a:pt x="2337" y="3067"/>
                  </a:lnTo>
                  <a:lnTo>
                    <a:pt x="2357" y="3053"/>
                  </a:lnTo>
                  <a:lnTo>
                    <a:pt x="2372" y="3067"/>
                  </a:lnTo>
                  <a:lnTo>
                    <a:pt x="2385" y="3045"/>
                  </a:lnTo>
                  <a:lnTo>
                    <a:pt x="2390" y="3061"/>
                  </a:lnTo>
                  <a:lnTo>
                    <a:pt x="2402" y="3054"/>
                  </a:lnTo>
                  <a:lnTo>
                    <a:pt x="2425" y="3054"/>
                  </a:lnTo>
                  <a:lnTo>
                    <a:pt x="2423" y="3075"/>
                  </a:lnTo>
                  <a:lnTo>
                    <a:pt x="2457" y="3074"/>
                  </a:lnTo>
                  <a:lnTo>
                    <a:pt x="2447" y="3093"/>
                  </a:lnTo>
                  <a:lnTo>
                    <a:pt x="2472" y="3093"/>
                  </a:lnTo>
                  <a:lnTo>
                    <a:pt x="2472" y="3093"/>
                  </a:lnTo>
                  <a:lnTo>
                    <a:pt x="2488" y="3088"/>
                  </a:lnTo>
                  <a:lnTo>
                    <a:pt x="2513" y="3117"/>
                  </a:lnTo>
                  <a:lnTo>
                    <a:pt x="2534" y="3088"/>
                  </a:lnTo>
                  <a:lnTo>
                    <a:pt x="2541" y="3116"/>
                  </a:lnTo>
                  <a:lnTo>
                    <a:pt x="2509" y="3146"/>
                  </a:lnTo>
                  <a:lnTo>
                    <a:pt x="2542" y="3154"/>
                  </a:lnTo>
                  <a:lnTo>
                    <a:pt x="2554" y="3130"/>
                  </a:lnTo>
                  <a:lnTo>
                    <a:pt x="2575" y="3148"/>
                  </a:lnTo>
                  <a:lnTo>
                    <a:pt x="2579" y="3169"/>
                  </a:lnTo>
                  <a:lnTo>
                    <a:pt x="2599" y="3156"/>
                  </a:lnTo>
                  <a:lnTo>
                    <a:pt x="2602" y="3178"/>
                  </a:lnTo>
                  <a:lnTo>
                    <a:pt x="2634" y="3151"/>
                  </a:lnTo>
                  <a:lnTo>
                    <a:pt x="2631" y="3156"/>
                  </a:lnTo>
                  <a:lnTo>
                    <a:pt x="2645" y="3153"/>
                  </a:lnTo>
                  <a:lnTo>
                    <a:pt x="2679" y="3188"/>
                  </a:lnTo>
                  <a:lnTo>
                    <a:pt x="2674" y="3145"/>
                  </a:lnTo>
                  <a:lnTo>
                    <a:pt x="2694" y="3141"/>
                  </a:lnTo>
                  <a:lnTo>
                    <a:pt x="2719" y="3153"/>
                  </a:lnTo>
                  <a:lnTo>
                    <a:pt x="2747" y="3140"/>
                  </a:lnTo>
                  <a:lnTo>
                    <a:pt x="2745" y="3111"/>
                  </a:lnTo>
                  <a:lnTo>
                    <a:pt x="2724" y="3098"/>
                  </a:lnTo>
                  <a:lnTo>
                    <a:pt x="2734" y="3080"/>
                  </a:lnTo>
                  <a:lnTo>
                    <a:pt x="2700" y="3070"/>
                  </a:lnTo>
                  <a:lnTo>
                    <a:pt x="2705" y="3041"/>
                  </a:lnTo>
                  <a:lnTo>
                    <a:pt x="2732" y="3045"/>
                  </a:lnTo>
                  <a:lnTo>
                    <a:pt x="2750" y="3075"/>
                  </a:lnTo>
                  <a:lnTo>
                    <a:pt x="2764" y="3062"/>
                  </a:lnTo>
                  <a:lnTo>
                    <a:pt x="2761" y="3027"/>
                  </a:lnTo>
                  <a:lnTo>
                    <a:pt x="2763" y="3024"/>
                  </a:lnTo>
                  <a:lnTo>
                    <a:pt x="2792" y="3016"/>
                  </a:lnTo>
                  <a:lnTo>
                    <a:pt x="2795" y="2998"/>
                  </a:lnTo>
                  <a:lnTo>
                    <a:pt x="2785" y="2972"/>
                  </a:lnTo>
                  <a:lnTo>
                    <a:pt x="2827" y="2980"/>
                  </a:lnTo>
                  <a:lnTo>
                    <a:pt x="2829" y="2967"/>
                  </a:lnTo>
                  <a:lnTo>
                    <a:pt x="2841" y="2982"/>
                  </a:lnTo>
                  <a:lnTo>
                    <a:pt x="2861" y="2934"/>
                  </a:lnTo>
                  <a:lnTo>
                    <a:pt x="2882" y="2966"/>
                  </a:lnTo>
                  <a:lnTo>
                    <a:pt x="2864" y="2925"/>
                  </a:lnTo>
                  <a:lnTo>
                    <a:pt x="2893" y="2927"/>
                  </a:lnTo>
                  <a:lnTo>
                    <a:pt x="2907" y="2911"/>
                  </a:lnTo>
                  <a:lnTo>
                    <a:pt x="2927" y="2900"/>
                  </a:lnTo>
                  <a:lnTo>
                    <a:pt x="2944" y="2911"/>
                  </a:lnTo>
                  <a:lnTo>
                    <a:pt x="2959" y="2937"/>
                  </a:lnTo>
                  <a:lnTo>
                    <a:pt x="2973" y="2940"/>
                  </a:lnTo>
                  <a:lnTo>
                    <a:pt x="2997" y="2903"/>
                  </a:lnTo>
                  <a:lnTo>
                    <a:pt x="3001" y="2900"/>
                  </a:lnTo>
                  <a:lnTo>
                    <a:pt x="3018" y="2913"/>
                  </a:lnTo>
                  <a:lnTo>
                    <a:pt x="3015" y="2885"/>
                  </a:lnTo>
                  <a:lnTo>
                    <a:pt x="3052" y="2903"/>
                  </a:lnTo>
                  <a:lnTo>
                    <a:pt x="3065" y="2914"/>
                  </a:lnTo>
                  <a:lnTo>
                    <a:pt x="3073" y="2863"/>
                  </a:lnTo>
                  <a:lnTo>
                    <a:pt x="3089" y="2872"/>
                  </a:lnTo>
                  <a:lnTo>
                    <a:pt x="3107" y="2880"/>
                  </a:lnTo>
                  <a:lnTo>
                    <a:pt x="3116" y="2859"/>
                  </a:lnTo>
                  <a:lnTo>
                    <a:pt x="3136" y="2863"/>
                  </a:lnTo>
                  <a:lnTo>
                    <a:pt x="3152" y="2861"/>
                  </a:lnTo>
                  <a:lnTo>
                    <a:pt x="3171" y="2892"/>
                  </a:lnTo>
                  <a:lnTo>
                    <a:pt x="3179" y="2877"/>
                  </a:lnTo>
                  <a:lnTo>
                    <a:pt x="3202" y="2871"/>
                  </a:lnTo>
                  <a:lnTo>
                    <a:pt x="3194" y="2909"/>
                  </a:lnTo>
                  <a:lnTo>
                    <a:pt x="3226" y="2901"/>
                  </a:lnTo>
                  <a:lnTo>
                    <a:pt x="3242" y="2872"/>
                  </a:lnTo>
                  <a:lnTo>
                    <a:pt x="3256" y="2888"/>
                  </a:lnTo>
                  <a:lnTo>
                    <a:pt x="3272" y="2892"/>
                  </a:lnTo>
                  <a:lnTo>
                    <a:pt x="3306" y="2892"/>
                  </a:lnTo>
                  <a:lnTo>
                    <a:pt x="3261" y="2906"/>
                  </a:lnTo>
                  <a:lnTo>
                    <a:pt x="3250" y="2919"/>
                  </a:lnTo>
                  <a:lnTo>
                    <a:pt x="3266" y="2946"/>
                  </a:lnTo>
                  <a:lnTo>
                    <a:pt x="3266" y="2945"/>
                  </a:lnTo>
                  <a:lnTo>
                    <a:pt x="3282" y="2942"/>
                  </a:lnTo>
                  <a:lnTo>
                    <a:pt x="3305" y="2977"/>
                  </a:lnTo>
                  <a:lnTo>
                    <a:pt x="3319" y="2977"/>
                  </a:lnTo>
                  <a:lnTo>
                    <a:pt x="3337" y="2946"/>
                  </a:lnTo>
                  <a:lnTo>
                    <a:pt x="3353" y="2966"/>
                  </a:lnTo>
                  <a:lnTo>
                    <a:pt x="3388" y="2940"/>
                  </a:lnTo>
                  <a:lnTo>
                    <a:pt x="3382" y="2974"/>
                  </a:lnTo>
                  <a:lnTo>
                    <a:pt x="3415" y="2959"/>
                  </a:lnTo>
                  <a:lnTo>
                    <a:pt x="3406" y="2977"/>
                  </a:lnTo>
                  <a:lnTo>
                    <a:pt x="3417" y="2983"/>
                  </a:lnTo>
                  <a:lnTo>
                    <a:pt x="3417" y="2966"/>
                  </a:lnTo>
                  <a:lnTo>
                    <a:pt x="3436" y="2961"/>
                  </a:lnTo>
                  <a:lnTo>
                    <a:pt x="3420" y="2932"/>
                  </a:lnTo>
                  <a:lnTo>
                    <a:pt x="3448" y="2924"/>
                  </a:lnTo>
                  <a:lnTo>
                    <a:pt x="3459" y="2946"/>
                  </a:lnTo>
                  <a:lnTo>
                    <a:pt x="3457" y="2975"/>
                  </a:lnTo>
                  <a:lnTo>
                    <a:pt x="3480" y="2969"/>
                  </a:lnTo>
                  <a:lnTo>
                    <a:pt x="3502" y="2948"/>
                  </a:lnTo>
                  <a:lnTo>
                    <a:pt x="3517" y="2982"/>
                  </a:lnTo>
                  <a:lnTo>
                    <a:pt x="3531" y="2979"/>
                  </a:lnTo>
                  <a:lnTo>
                    <a:pt x="3549" y="2985"/>
                  </a:lnTo>
                  <a:lnTo>
                    <a:pt x="3562" y="2975"/>
                  </a:lnTo>
                  <a:lnTo>
                    <a:pt x="3575" y="2963"/>
                  </a:lnTo>
                  <a:lnTo>
                    <a:pt x="3583" y="2927"/>
                  </a:lnTo>
                  <a:lnTo>
                    <a:pt x="3616" y="2979"/>
                  </a:lnTo>
                  <a:lnTo>
                    <a:pt x="3618" y="2940"/>
                  </a:lnTo>
                  <a:lnTo>
                    <a:pt x="3634" y="2935"/>
                  </a:lnTo>
                  <a:lnTo>
                    <a:pt x="3645" y="2969"/>
                  </a:lnTo>
                  <a:lnTo>
                    <a:pt x="3668" y="2924"/>
                  </a:lnTo>
                  <a:lnTo>
                    <a:pt x="3670" y="2966"/>
                  </a:lnTo>
                  <a:lnTo>
                    <a:pt x="3690" y="2956"/>
                  </a:lnTo>
                  <a:lnTo>
                    <a:pt x="3689" y="2980"/>
                  </a:lnTo>
                  <a:lnTo>
                    <a:pt x="3726" y="2964"/>
                  </a:lnTo>
                  <a:lnTo>
                    <a:pt x="3734" y="2980"/>
                  </a:lnTo>
                  <a:lnTo>
                    <a:pt x="3744" y="2998"/>
                  </a:lnTo>
                  <a:lnTo>
                    <a:pt x="3755" y="3006"/>
                  </a:lnTo>
                  <a:lnTo>
                    <a:pt x="3766" y="3004"/>
                  </a:lnTo>
                  <a:lnTo>
                    <a:pt x="3774" y="2979"/>
                  </a:lnTo>
                  <a:lnTo>
                    <a:pt x="3797" y="3017"/>
                  </a:lnTo>
                  <a:lnTo>
                    <a:pt x="3821" y="2985"/>
                  </a:lnTo>
                  <a:lnTo>
                    <a:pt x="3801" y="3021"/>
                  </a:lnTo>
                  <a:lnTo>
                    <a:pt x="3835" y="3027"/>
                  </a:lnTo>
                  <a:lnTo>
                    <a:pt x="3801" y="3050"/>
                  </a:lnTo>
                  <a:lnTo>
                    <a:pt x="3837" y="3043"/>
                  </a:lnTo>
                  <a:lnTo>
                    <a:pt x="3835" y="3029"/>
                  </a:lnTo>
                  <a:lnTo>
                    <a:pt x="3851" y="3050"/>
                  </a:lnTo>
                  <a:lnTo>
                    <a:pt x="3867" y="3059"/>
                  </a:lnTo>
                  <a:lnTo>
                    <a:pt x="3882" y="3035"/>
                  </a:lnTo>
                  <a:lnTo>
                    <a:pt x="3896" y="3032"/>
                  </a:lnTo>
                  <a:lnTo>
                    <a:pt x="3912" y="3032"/>
                  </a:lnTo>
                  <a:lnTo>
                    <a:pt x="3928" y="3083"/>
                  </a:lnTo>
                  <a:lnTo>
                    <a:pt x="3945" y="3058"/>
                  </a:lnTo>
                  <a:lnTo>
                    <a:pt x="3959" y="3062"/>
                  </a:lnTo>
                  <a:lnTo>
                    <a:pt x="3977" y="3088"/>
                  </a:lnTo>
                  <a:lnTo>
                    <a:pt x="3988" y="3045"/>
                  </a:lnTo>
                  <a:lnTo>
                    <a:pt x="4001" y="3027"/>
                  </a:lnTo>
                  <a:lnTo>
                    <a:pt x="4023" y="3038"/>
                  </a:lnTo>
                  <a:lnTo>
                    <a:pt x="4027" y="3080"/>
                  </a:lnTo>
                  <a:lnTo>
                    <a:pt x="4059" y="3048"/>
                  </a:lnTo>
                  <a:lnTo>
                    <a:pt x="4067" y="3083"/>
                  </a:lnTo>
                  <a:lnTo>
                    <a:pt x="4076" y="3054"/>
                  </a:lnTo>
                  <a:lnTo>
                    <a:pt x="4097" y="3067"/>
                  </a:lnTo>
                  <a:lnTo>
                    <a:pt x="4104" y="3048"/>
                  </a:lnTo>
                  <a:lnTo>
                    <a:pt x="4110" y="3074"/>
                  </a:lnTo>
                  <a:lnTo>
                    <a:pt x="4137" y="3050"/>
                  </a:lnTo>
                  <a:lnTo>
                    <a:pt x="4120" y="3083"/>
                  </a:lnTo>
                  <a:lnTo>
                    <a:pt x="4142" y="3085"/>
                  </a:lnTo>
                  <a:lnTo>
                    <a:pt x="4154" y="3104"/>
                  </a:lnTo>
                  <a:lnTo>
                    <a:pt x="4179" y="3111"/>
                  </a:lnTo>
                  <a:lnTo>
                    <a:pt x="4187" y="3080"/>
                  </a:lnTo>
                  <a:lnTo>
                    <a:pt x="4207" y="3087"/>
                  </a:lnTo>
                  <a:lnTo>
                    <a:pt x="4229" y="3096"/>
                  </a:lnTo>
                  <a:lnTo>
                    <a:pt x="4234" y="3059"/>
                  </a:lnTo>
                  <a:lnTo>
                    <a:pt x="4252" y="3074"/>
                  </a:lnTo>
                  <a:lnTo>
                    <a:pt x="4255" y="3091"/>
                  </a:lnTo>
                  <a:lnTo>
                    <a:pt x="4281" y="3088"/>
                  </a:lnTo>
                  <a:lnTo>
                    <a:pt x="4298" y="3088"/>
                  </a:lnTo>
                  <a:lnTo>
                    <a:pt x="4297" y="3072"/>
                  </a:lnTo>
                  <a:lnTo>
                    <a:pt x="4311" y="3070"/>
                  </a:lnTo>
                  <a:lnTo>
                    <a:pt x="4332" y="3077"/>
                  </a:lnTo>
                  <a:lnTo>
                    <a:pt x="4359" y="3079"/>
                  </a:lnTo>
                  <a:lnTo>
                    <a:pt x="4334" y="3027"/>
                  </a:lnTo>
                  <a:lnTo>
                    <a:pt x="4359" y="3030"/>
                  </a:lnTo>
                  <a:lnTo>
                    <a:pt x="4375" y="3035"/>
                  </a:lnTo>
                  <a:lnTo>
                    <a:pt x="4385" y="3017"/>
                  </a:lnTo>
                  <a:lnTo>
                    <a:pt x="4396" y="3027"/>
                  </a:lnTo>
                  <a:lnTo>
                    <a:pt x="4427" y="3011"/>
                  </a:lnTo>
                  <a:lnTo>
                    <a:pt x="4372" y="2996"/>
                  </a:lnTo>
                  <a:lnTo>
                    <a:pt x="4427" y="2987"/>
                  </a:lnTo>
                  <a:lnTo>
                    <a:pt x="4408" y="2956"/>
                  </a:lnTo>
                  <a:lnTo>
                    <a:pt x="4438" y="2972"/>
                  </a:lnTo>
                  <a:lnTo>
                    <a:pt x="4441" y="2946"/>
                  </a:lnTo>
                  <a:lnTo>
                    <a:pt x="4474" y="2934"/>
                  </a:lnTo>
                  <a:lnTo>
                    <a:pt x="4443" y="2914"/>
                  </a:lnTo>
                  <a:lnTo>
                    <a:pt x="4441" y="2895"/>
                  </a:lnTo>
                  <a:lnTo>
                    <a:pt x="4464" y="2888"/>
                  </a:lnTo>
                  <a:lnTo>
                    <a:pt x="4470" y="2872"/>
                  </a:lnTo>
                  <a:lnTo>
                    <a:pt x="4483" y="2864"/>
                  </a:lnTo>
                  <a:lnTo>
                    <a:pt x="4501" y="2884"/>
                  </a:lnTo>
                  <a:lnTo>
                    <a:pt x="4515" y="2850"/>
                  </a:lnTo>
                  <a:lnTo>
                    <a:pt x="4533" y="2853"/>
                  </a:lnTo>
                  <a:lnTo>
                    <a:pt x="4552" y="2840"/>
                  </a:lnTo>
                  <a:lnTo>
                    <a:pt x="4565" y="2856"/>
                  </a:lnTo>
                  <a:lnTo>
                    <a:pt x="4583" y="2851"/>
                  </a:lnTo>
                  <a:lnTo>
                    <a:pt x="4596" y="2888"/>
                  </a:lnTo>
                  <a:lnTo>
                    <a:pt x="4613" y="2858"/>
                  </a:lnTo>
                  <a:lnTo>
                    <a:pt x="4631" y="2834"/>
                  </a:lnTo>
                  <a:lnTo>
                    <a:pt x="4646" y="2861"/>
                  </a:lnTo>
                  <a:lnTo>
                    <a:pt x="4663" y="2837"/>
                  </a:lnTo>
                  <a:lnTo>
                    <a:pt x="4676" y="2850"/>
                  </a:lnTo>
                  <a:lnTo>
                    <a:pt x="4699" y="2895"/>
                  </a:lnTo>
                  <a:lnTo>
                    <a:pt x="4705" y="2830"/>
                  </a:lnTo>
                  <a:lnTo>
                    <a:pt x="4721" y="2880"/>
                  </a:lnTo>
                  <a:lnTo>
                    <a:pt x="4739" y="2871"/>
                  </a:lnTo>
                  <a:lnTo>
                    <a:pt x="4737" y="2903"/>
                  </a:lnTo>
                  <a:lnTo>
                    <a:pt x="4771" y="2879"/>
                  </a:lnTo>
                  <a:lnTo>
                    <a:pt x="4790" y="2911"/>
                  </a:lnTo>
                  <a:lnTo>
                    <a:pt x="4802" y="2874"/>
                  </a:lnTo>
                  <a:lnTo>
                    <a:pt x="4819" y="2872"/>
                  </a:lnTo>
                  <a:lnTo>
                    <a:pt x="4835" y="2905"/>
                  </a:lnTo>
                  <a:lnTo>
                    <a:pt x="4853" y="2866"/>
                  </a:lnTo>
                  <a:lnTo>
                    <a:pt x="4877" y="2859"/>
                  </a:lnTo>
                  <a:lnTo>
                    <a:pt x="4869" y="2906"/>
                  </a:lnTo>
                  <a:lnTo>
                    <a:pt x="4906" y="2890"/>
                  </a:lnTo>
                  <a:lnTo>
                    <a:pt x="4921" y="2892"/>
                  </a:lnTo>
                  <a:lnTo>
                    <a:pt x="4929" y="2908"/>
                  </a:lnTo>
                  <a:lnTo>
                    <a:pt x="4945" y="2919"/>
                  </a:lnTo>
                  <a:lnTo>
                    <a:pt x="4964" y="2940"/>
                  </a:lnTo>
                  <a:lnTo>
                    <a:pt x="4982" y="2924"/>
                  </a:lnTo>
                  <a:lnTo>
                    <a:pt x="4995" y="2916"/>
                  </a:lnTo>
                  <a:lnTo>
                    <a:pt x="4993" y="2895"/>
                  </a:lnTo>
                  <a:lnTo>
                    <a:pt x="5004" y="2885"/>
                  </a:lnTo>
                  <a:lnTo>
                    <a:pt x="5019" y="2859"/>
                  </a:lnTo>
                  <a:lnTo>
                    <a:pt x="5035" y="2864"/>
                  </a:lnTo>
                  <a:lnTo>
                    <a:pt x="5052" y="2869"/>
                  </a:lnTo>
                  <a:lnTo>
                    <a:pt x="5064" y="2887"/>
                  </a:lnTo>
                  <a:lnTo>
                    <a:pt x="5077" y="2893"/>
                  </a:lnTo>
                  <a:lnTo>
                    <a:pt x="5102" y="2874"/>
                  </a:lnTo>
                  <a:lnTo>
                    <a:pt x="5102" y="2890"/>
                  </a:lnTo>
                  <a:lnTo>
                    <a:pt x="5109" y="2879"/>
                  </a:lnTo>
                  <a:lnTo>
                    <a:pt x="5120" y="2869"/>
                  </a:lnTo>
                  <a:lnTo>
                    <a:pt x="5144" y="2871"/>
                  </a:lnTo>
                  <a:lnTo>
                    <a:pt x="5142" y="2861"/>
                  </a:lnTo>
                  <a:lnTo>
                    <a:pt x="5147" y="2871"/>
                  </a:lnTo>
                  <a:lnTo>
                    <a:pt x="5144" y="2871"/>
                  </a:lnTo>
                  <a:lnTo>
                    <a:pt x="5144" y="2872"/>
                  </a:lnTo>
                  <a:lnTo>
                    <a:pt x="5181" y="2858"/>
                  </a:lnTo>
                  <a:lnTo>
                    <a:pt x="5162" y="2906"/>
                  </a:lnTo>
                  <a:lnTo>
                    <a:pt x="5197" y="2871"/>
                  </a:lnTo>
                  <a:lnTo>
                    <a:pt x="5196" y="2864"/>
                  </a:lnTo>
                  <a:lnTo>
                    <a:pt x="5234" y="2895"/>
                  </a:lnTo>
                  <a:lnTo>
                    <a:pt x="5233" y="2853"/>
                  </a:lnTo>
                  <a:lnTo>
                    <a:pt x="5265" y="2895"/>
                  </a:lnTo>
                  <a:lnTo>
                    <a:pt x="5274" y="2876"/>
                  </a:lnTo>
                  <a:lnTo>
                    <a:pt x="5294" y="2879"/>
                  </a:lnTo>
                  <a:lnTo>
                    <a:pt x="5307" y="2866"/>
                  </a:lnTo>
                  <a:lnTo>
                    <a:pt x="5324" y="2864"/>
                  </a:lnTo>
                  <a:lnTo>
                    <a:pt x="5332" y="2819"/>
                  </a:lnTo>
                  <a:lnTo>
                    <a:pt x="5340" y="2864"/>
                  </a:lnTo>
                  <a:lnTo>
                    <a:pt x="5356" y="2869"/>
                  </a:lnTo>
                  <a:lnTo>
                    <a:pt x="5379" y="2859"/>
                  </a:lnTo>
                  <a:lnTo>
                    <a:pt x="5397" y="2864"/>
                  </a:lnTo>
                  <a:lnTo>
                    <a:pt x="5416" y="2863"/>
                  </a:lnTo>
                  <a:lnTo>
                    <a:pt x="5432" y="2848"/>
                  </a:lnTo>
                  <a:lnTo>
                    <a:pt x="5446" y="2877"/>
                  </a:lnTo>
                  <a:lnTo>
                    <a:pt x="5467" y="2892"/>
                  </a:lnTo>
                  <a:lnTo>
                    <a:pt x="5471" y="2850"/>
                  </a:lnTo>
                  <a:lnTo>
                    <a:pt x="5501" y="2874"/>
                  </a:lnTo>
                  <a:lnTo>
                    <a:pt x="5493" y="2821"/>
                  </a:lnTo>
                  <a:lnTo>
                    <a:pt x="5525" y="2853"/>
                  </a:lnTo>
                  <a:lnTo>
                    <a:pt x="5538" y="2861"/>
                  </a:lnTo>
                  <a:lnTo>
                    <a:pt x="5553" y="2809"/>
                  </a:lnTo>
                  <a:lnTo>
                    <a:pt x="5569" y="2827"/>
                  </a:lnTo>
                  <a:lnTo>
                    <a:pt x="5590" y="2851"/>
                  </a:lnTo>
                  <a:lnTo>
                    <a:pt x="5606" y="2853"/>
                  </a:lnTo>
                  <a:lnTo>
                    <a:pt x="5618" y="2848"/>
                  </a:lnTo>
                  <a:lnTo>
                    <a:pt x="5631" y="2847"/>
                  </a:lnTo>
                  <a:lnTo>
                    <a:pt x="5647" y="2805"/>
                  </a:lnTo>
                  <a:lnTo>
                    <a:pt x="5662" y="2832"/>
                  </a:lnTo>
                  <a:lnTo>
                    <a:pt x="5675" y="2845"/>
                  </a:lnTo>
                  <a:lnTo>
                    <a:pt x="5709" y="2818"/>
                  </a:lnTo>
                  <a:lnTo>
                    <a:pt x="5712" y="2855"/>
                  </a:lnTo>
                  <a:lnTo>
                    <a:pt x="5728" y="2877"/>
                  </a:lnTo>
                  <a:lnTo>
                    <a:pt x="5744" y="2867"/>
                  </a:lnTo>
                  <a:lnTo>
                    <a:pt x="5754" y="2871"/>
                  </a:lnTo>
                  <a:lnTo>
                    <a:pt x="5773" y="2856"/>
                  </a:lnTo>
                  <a:lnTo>
                    <a:pt x="5774" y="2892"/>
                  </a:lnTo>
                  <a:lnTo>
                    <a:pt x="5802" y="2880"/>
                  </a:lnTo>
                  <a:lnTo>
                    <a:pt x="5821" y="2880"/>
                  </a:lnTo>
                  <a:lnTo>
                    <a:pt x="5831" y="2832"/>
                  </a:lnTo>
                  <a:lnTo>
                    <a:pt x="5847" y="2830"/>
                  </a:lnTo>
                  <a:lnTo>
                    <a:pt x="5873" y="2874"/>
                  </a:lnTo>
                  <a:lnTo>
                    <a:pt x="5887" y="2853"/>
                  </a:lnTo>
                  <a:lnTo>
                    <a:pt x="5905" y="2850"/>
                  </a:lnTo>
                  <a:lnTo>
                    <a:pt x="5918" y="2863"/>
                  </a:lnTo>
                  <a:lnTo>
                    <a:pt x="5918" y="2890"/>
                  </a:lnTo>
                  <a:lnTo>
                    <a:pt x="5938" y="2906"/>
                  </a:lnTo>
                  <a:lnTo>
                    <a:pt x="5961" y="2863"/>
                  </a:lnTo>
                  <a:lnTo>
                    <a:pt x="5985" y="2911"/>
                  </a:lnTo>
                  <a:lnTo>
                    <a:pt x="6012" y="2853"/>
                  </a:lnTo>
                  <a:lnTo>
                    <a:pt x="6027" y="2884"/>
                  </a:lnTo>
                  <a:lnTo>
                    <a:pt x="6027" y="2901"/>
                  </a:lnTo>
                  <a:lnTo>
                    <a:pt x="6027" y="2919"/>
                  </a:lnTo>
                  <a:lnTo>
                    <a:pt x="6011" y="2953"/>
                  </a:lnTo>
                  <a:lnTo>
                    <a:pt x="6046" y="2925"/>
                  </a:lnTo>
                  <a:lnTo>
                    <a:pt x="6061" y="2934"/>
                  </a:lnTo>
                  <a:lnTo>
                    <a:pt x="6072" y="2946"/>
                  </a:lnTo>
                  <a:lnTo>
                    <a:pt x="6085" y="2956"/>
                  </a:lnTo>
                  <a:lnTo>
                    <a:pt x="6098" y="2983"/>
                  </a:lnTo>
                  <a:lnTo>
                    <a:pt x="6114" y="2954"/>
                  </a:lnTo>
                  <a:lnTo>
                    <a:pt x="6136" y="2940"/>
                  </a:lnTo>
                  <a:lnTo>
                    <a:pt x="6151" y="2959"/>
                  </a:lnTo>
                  <a:lnTo>
                    <a:pt x="6151" y="2980"/>
                  </a:lnTo>
                  <a:lnTo>
                    <a:pt x="6159" y="2995"/>
                  </a:lnTo>
                  <a:lnTo>
                    <a:pt x="6165" y="3008"/>
                  </a:lnTo>
                  <a:lnTo>
                    <a:pt x="6178" y="3016"/>
                  </a:lnTo>
                  <a:lnTo>
                    <a:pt x="6204" y="3006"/>
                  </a:lnTo>
                  <a:lnTo>
                    <a:pt x="6199" y="3037"/>
                  </a:lnTo>
                  <a:lnTo>
                    <a:pt x="6223" y="3046"/>
                  </a:lnTo>
                  <a:lnTo>
                    <a:pt x="6218" y="2995"/>
                  </a:lnTo>
                  <a:lnTo>
                    <a:pt x="6234" y="2988"/>
                  </a:lnTo>
                  <a:lnTo>
                    <a:pt x="6262" y="3011"/>
                  </a:lnTo>
                  <a:lnTo>
                    <a:pt x="6270" y="2990"/>
                  </a:lnTo>
                  <a:lnTo>
                    <a:pt x="6291" y="3004"/>
                  </a:lnTo>
                  <a:lnTo>
                    <a:pt x="6297" y="2967"/>
                  </a:lnTo>
                  <a:lnTo>
                    <a:pt x="6320" y="3014"/>
                  </a:lnTo>
                  <a:lnTo>
                    <a:pt x="6328" y="2966"/>
                  </a:lnTo>
                  <a:lnTo>
                    <a:pt x="6349" y="2995"/>
                  </a:lnTo>
                  <a:lnTo>
                    <a:pt x="6368" y="2972"/>
                  </a:lnTo>
                  <a:lnTo>
                    <a:pt x="6379" y="3009"/>
                  </a:lnTo>
                  <a:lnTo>
                    <a:pt x="6402" y="2979"/>
                  </a:lnTo>
                  <a:lnTo>
                    <a:pt x="6410" y="3024"/>
                  </a:lnTo>
                  <a:lnTo>
                    <a:pt x="6437" y="2974"/>
                  </a:lnTo>
                  <a:lnTo>
                    <a:pt x="6447" y="3004"/>
                  </a:lnTo>
                  <a:lnTo>
                    <a:pt x="6453" y="3032"/>
                  </a:lnTo>
                  <a:lnTo>
                    <a:pt x="6471" y="3027"/>
                  </a:lnTo>
                  <a:lnTo>
                    <a:pt x="6488" y="3025"/>
                  </a:lnTo>
                  <a:lnTo>
                    <a:pt x="6508" y="3000"/>
                  </a:lnTo>
                  <a:lnTo>
                    <a:pt x="6519" y="3008"/>
                  </a:lnTo>
                  <a:lnTo>
                    <a:pt x="6538" y="3006"/>
                  </a:lnTo>
                  <a:lnTo>
                    <a:pt x="6559" y="3035"/>
                  </a:lnTo>
                  <a:lnTo>
                    <a:pt x="6583" y="2993"/>
                  </a:lnTo>
                  <a:lnTo>
                    <a:pt x="6583" y="3035"/>
                  </a:lnTo>
                  <a:lnTo>
                    <a:pt x="6601" y="3014"/>
                  </a:lnTo>
                  <a:lnTo>
                    <a:pt x="6591" y="2995"/>
                  </a:lnTo>
                  <a:lnTo>
                    <a:pt x="6612" y="2995"/>
                  </a:lnTo>
                  <a:lnTo>
                    <a:pt x="6648" y="3011"/>
                  </a:lnTo>
                  <a:lnTo>
                    <a:pt x="6667" y="3012"/>
                  </a:lnTo>
                  <a:lnTo>
                    <a:pt x="6677" y="2987"/>
                  </a:lnTo>
                  <a:lnTo>
                    <a:pt x="6680" y="2966"/>
                  </a:lnTo>
                  <a:lnTo>
                    <a:pt x="6691" y="2954"/>
                  </a:lnTo>
                  <a:lnTo>
                    <a:pt x="6657" y="2930"/>
                  </a:lnTo>
                  <a:lnTo>
                    <a:pt x="6685" y="2946"/>
                  </a:lnTo>
                  <a:lnTo>
                    <a:pt x="6699" y="2925"/>
                  </a:lnTo>
                  <a:lnTo>
                    <a:pt x="6694" y="2956"/>
                  </a:lnTo>
                  <a:lnTo>
                    <a:pt x="6738" y="2932"/>
                  </a:lnTo>
                  <a:lnTo>
                    <a:pt x="6736" y="2959"/>
                  </a:lnTo>
                  <a:lnTo>
                    <a:pt x="6755" y="2946"/>
                  </a:lnTo>
                  <a:lnTo>
                    <a:pt x="6760" y="2966"/>
                  </a:lnTo>
                  <a:lnTo>
                    <a:pt x="6775" y="2943"/>
                  </a:lnTo>
                  <a:lnTo>
                    <a:pt x="6796" y="2990"/>
                  </a:lnTo>
                  <a:lnTo>
                    <a:pt x="6794" y="2938"/>
                  </a:lnTo>
                  <a:lnTo>
                    <a:pt x="6831" y="2975"/>
                  </a:lnTo>
                  <a:lnTo>
                    <a:pt x="6847" y="2967"/>
                  </a:lnTo>
                  <a:lnTo>
                    <a:pt x="6852" y="2946"/>
                  </a:lnTo>
                  <a:lnTo>
                    <a:pt x="6876" y="2953"/>
                  </a:lnTo>
                  <a:lnTo>
                    <a:pt x="6892" y="2950"/>
                  </a:lnTo>
                  <a:lnTo>
                    <a:pt x="6886" y="2905"/>
                  </a:lnTo>
                  <a:lnTo>
                    <a:pt x="6892" y="2942"/>
                  </a:lnTo>
                  <a:lnTo>
                    <a:pt x="6906" y="2951"/>
                  </a:lnTo>
                  <a:lnTo>
                    <a:pt x="6940" y="2925"/>
                  </a:lnTo>
                  <a:lnTo>
                    <a:pt x="6937" y="2966"/>
                  </a:lnTo>
                  <a:lnTo>
                    <a:pt x="6958" y="2966"/>
                  </a:lnTo>
                  <a:lnTo>
                    <a:pt x="6974" y="2942"/>
                  </a:lnTo>
                  <a:lnTo>
                    <a:pt x="6985" y="2954"/>
                  </a:lnTo>
                  <a:lnTo>
                    <a:pt x="6977" y="2924"/>
                  </a:lnTo>
                  <a:lnTo>
                    <a:pt x="7011" y="2930"/>
                  </a:lnTo>
                  <a:lnTo>
                    <a:pt x="7025" y="2932"/>
                  </a:lnTo>
                  <a:lnTo>
                    <a:pt x="7037" y="2927"/>
                  </a:lnTo>
                  <a:lnTo>
                    <a:pt x="7029" y="2959"/>
                  </a:lnTo>
                  <a:lnTo>
                    <a:pt x="7040" y="2971"/>
                  </a:lnTo>
                  <a:lnTo>
                    <a:pt x="7069" y="2972"/>
                  </a:lnTo>
                  <a:lnTo>
                    <a:pt x="7077" y="2935"/>
                  </a:lnTo>
                  <a:lnTo>
                    <a:pt x="7111" y="2956"/>
                  </a:lnTo>
                  <a:lnTo>
                    <a:pt x="7122" y="2945"/>
                  </a:lnTo>
                  <a:lnTo>
                    <a:pt x="7127" y="2903"/>
                  </a:lnTo>
                  <a:lnTo>
                    <a:pt x="7149" y="2942"/>
                  </a:lnTo>
                  <a:lnTo>
                    <a:pt x="7164" y="2917"/>
                  </a:lnTo>
                  <a:lnTo>
                    <a:pt x="7180" y="2927"/>
                  </a:lnTo>
                  <a:lnTo>
                    <a:pt x="7164" y="2958"/>
                  </a:lnTo>
                  <a:lnTo>
                    <a:pt x="7214" y="2938"/>
                  </a:lnTo>
                  <a:lnTo>
                    <a:pt x="7175" y="2987"/>
                  </a:lnTo>
                  <a:lnTo>
                    <a:pt x="7207" y="2988"/>
                  </a:lnTo>
                  <a:lnTo>
                    <a:pt x="7217" y="2954"/>
                  </a:lnTo>
                  <a:lnTo>
                    <a:pt x="7233" y="2954"/>
                  </a:lnTo>
                  <a:lnTo>
                    <a:pt x="7255" y="2971"/>
                  </a:lnTo>
                  <a:lnTo>
                    <a:pt x="7275" y="2945"/>
                  </a:lnTo>
                  <a:lnTo>
                    <a:pt x="7288" y="2956"/>
                  </a:lnTo>
                  <a:lnTo>
                    <a:pt x="7299" y="2988"/>
                  </a:lnTo>
                  <a:lnTo>
                    <a:pt x="7315" y="2983"/>
                  </a:lnTo>
                  <a:lnTo>
                    <a:pt x="7329" y="2996"/>
                  </a:lnTo>
                  <a:lnTo>
                    <a:pt x="7347" y="2979"/>
                  </a:lnTo>
                  <a:lnTo>
                    <a:pt x="7362" y="2969"/>
                  </a:lnTo>
                  <a:lnTo>
                    <a:pt x="7378" y="2972"/>
                  </a:lnTo>
                  <a:lnTo>
                    <a:pt x="7387" y="2961"/>
                  </a:lnTo>
                  <a:lnTo>
                    <a:pt x="7402" y="2958"/>
                  </a:lnTo>
                  <a:lnTo>
                    <a:pt x="7437" y="2977"/>
                  </a:lnTo>
                  <a:lnTo>
                    <a:pt x="7436" y="2940"/>
                  </a:lnTo>
                  <a:lnTo>
                    <a:pt x="7447" y="2917"/>
                  </a:lnTo>
                  <a:lnTo>
                    <a:pt x="7461" y="2909"/>
                  </a:lnTo>
                  <a:lnTo>
                    <a:pt x="7484" y="2943"/>
                  </a:lnTo>
                  <a:lnTo>
                    <a:pt x="7518" y="2924"/>
                  </a:lnTo>
                  <a:lnTo>
                    <a:pt x="7530" y="2932"/>
                  </a:lnTo>
                  <a:lnTo>
                    <a:pt x="7537" y="2950"/>
                  </a:lnTo>
                  <a:lnTo>
                    <a:pt x="7532" y="2979"/>
                  </a:lnTo>
                  <a:lnTo>
                    <a:pt x="7540" y="2956"/>
                  </a:lnTo>
                  <a:lnTo>
                    <a:pt x="7548" y="2937"/>
                  </a:lnTo>
                  <a:lnTo>
                    <a:pt x="7563" y="2921"/>
                  </a:lnTo>
                  <a:lnTo>
                    <a:pt x="7587" y="2925"/>
                  </a:lnTo>
                  <a:lnTo>
                    <a:pt x="7609" y="2935"/>
                  </a:lnTo>
                  <a:lnTo>
                    <a:pt x="7624" y="2913"/>
                  </a:lnTo>
                  <a:lnTo>
                    <a:pt x="7645" y="2921"/>
                  </a:lnTo>
                  <a:lnTo>
                    <a:pt x="7661" y="2922"/>
                  </a:lnTo>
                  <a:lnTo>
                    <a:pt x="7667" y="2927"/>
                  </a:lnTo>
                  <a:lnTo>
                    <a:pt x="7675" y="2917"/>
                  </a:lnTo>
                  <a:lnTo>
                    <a:pt x="7680" y="2919"/>
                  </a:lnTo>
                  <a:lnTo>
                    <a:pt x="7680" y="414"/>
                  </a:lnTo>
                  <a:lnTo>
                    <a:pt x="7670" y="409"/>
                  </a:lnTo>
                  <a:lnTo>
                    <a:pt x="7638" y="448"/>
                  </a:lnTo>
                  <a:lnTo>
                    <a:pt x="7656" y="393"/>
                  </a:lnTo>
                  <a:lnTo>
                    <a:pt x="7614" y="422"/>
                  </a:lnTo>
                  <a:lnTo>
                    <a:pt x="7609" y="417"/>
                  </a:lnTo>
                  <a:lnTo>
                    <a:pt x="7598" y="390"/>
                  </a:lnTo>
                  <a:lnTo>
                    <a:pt x="7580" y="380"/>
                  </a:lnTo>
                  <a:lnTo>
                    <a:pt x="7569" y="404"/>
                  </a:lnTo>
                  <a:lnTo>
                    <a:pt x="7553" y="402"/>
                  </a:lnTo>
                  <a:lnTo>
                    <a:pt x="7535" y="380"/>
                  </a:lnTo>
                  <a:lnTo>
                    <a:pt x="7526" y="417"/>
                  </a:lnTo>
                  <a:lnTo>
                    <a:pt x="7514" y="430"/>
                  </a:lnTo>
                  <a:lnTo>
                    <a:pt x="7487" y="401"/>
                  </a:lnTo>
                  <a:lnTo>
                    <a:pt x="7479" y="423"/>
                  </a:lnTo>
                  <a:lnTo>
                    <a:pt x="7477" y="452"/>
                  </a:lnTo>
                  <a:lnTo>
                    <a:pt x="7456" y="451"/>
                  </a:lnTo>
                  <a:lnTo>
                    <a:pt x="7439" y="480"/>
                  </a:lnTo>
                  <a:lnTo>
                    <a:pt x="7419" y="441"/>
                  </a:lnTo>
                  <a:lnTo>
                    <a:pt x="7392" y="460"/>
                  </a:lnTo>
                  <a:lnTo>
                    <a:pt x="7386" y="423"/>
                  </a:lnTo>
                  <a:lnTo>
                    <a:pt x="7376" y="457"/>
                  </a:lnTo>
                  <a:lnTo>
                    <a:pt x="7350" y="409"/>
                  </a:lnTo>
                  <a:lnTo>
                    <a:pt x="7336" y="423"/>
                  </a:lnTo>
                  <a:lnTo>
                    <a:pt x="7318" y="423"/>
                  </a:lnTo>
                  <a:lnTo>
                    <a:pt x="7313" y="459"/>
                  </a:lnTo>
                  <a:lnTo>
                    <a:pt x="7294" y="443"/>
                  </a:lnTo>
                  <a:lnTo>
                    <a:pt x="7281" y="436"/>
                  </a:lnTo>
                  <a:lnTo>
                    <a:pt x="7263" y="460"/>
                  </a:lnTo>
                  <a:lnTo>
                    <a:pt x="7247" y="451"/>
                  </a:lnTo>
                  <a:lnTo>
                    <a:pt x="7246" y="472"/>
                  </a:lnTo>
                  <a:lnTo>
                    <a:pt x="7209" y="452"/>
                  </a:lnTo>
                  <a:lnTo>
                    <a:pt x="7209" y="475"/>
                  </a:lnTo>
                  <a:lnTo>
                    <a:pt x="7198" y="477"/>
                  </a:lnTo>
                  <a:lnTo>
                    <a:pt x="7185" y="467"/>
                  </a:lnTo>
                  <a:lnTo>
                    <a:pt x="7181" y="525"/>
                  </a:lnTo>
                  <a:lnTo>
                    <a:pt x="7154" y="483"/>
                  </a:lnTo>
                  <a:lnTo>
                    <a:pt x="7146" y="510"/>
                  </a:lnTo>
                  <a:lnTo>
                    <a:pt x="7128" y="512"/>
                  </a:lnTo>
                  <a:lnTo>
                    <a:pt x="7117" y="538"/>
                  </a:lnTo>
                  <a:lnTo>
                    <a:pt x="7103" y="506"/>
                  </a:lnTo>
                  <a:lnTo>
                    <a:pt x="7079" y="546"/>
                  </a:lnTo>
                  <a:lnTo>
                    <a:pt x="7059" y="538"/>
                  </a:lnTo>
                  <a:lnTo>
                    <a:pt x="7038" y="533"/>
                  </a:lnTo>
                  <a:lnTo>
                    <a:pt x="7045" y="496"/>
                  </a:lnTo>
                  <a:lnTo>
                    <a:pt x="7014" y="512"/>
                  </a:lnTo>
                  <a:lnTo>
                    <a:pt x="7016" y="494"/>
                  </a:lnTo>
                  <a:lnTo>
                    <a:pt x="7005" y="489"/>
                  </a:lnTo>
                  <a:lnTo>
                    <a:pt x="6997" y="520"/>
                  </a:lnTo>
                  <a:lnTo>
                    <a:pt x="6958" y="467"/>
                  </a:lnTo>
                  <a:lnTo>
                    <a:pt x="6968" y="512"/>
                  </a:lnTo>
                  <a:lnTo>
                    <a:pt x="6966" y="531"/>
                  </a:lnTo>
                  <a:lnTo>
                    <a:pt x="6924" y="509"/>
                  </a:lnTo>
                  <a:lnTo>
                    <a:pt x="6931" y="554"/>
                  </a:lnTo>
                  <a:lnTo>
                    <a:pt x="6923" y="517"/>
                  </a:lnTo>
                  <a:lnTo>
                    <a:pt x="6894" y="535"/>
                  </a:lnTo>
                  <a:lnTo>
                    <a:pt x="6884" y="523"/>
                  </a:lnTo>
                  <a:lnTo>
                    <a:pt x="6882" y="525"/>
                  </a:lnTo>
                  <a:lnTo>
                    <a:pt x="6886" y="530"/>
                  </a:lnTo>
                  <a:lnTo>
                    <a:pt x="6844" y="507"/>
                  </a:lnTo>
                  <a:lnTo>
                    <a:pt x="6829" y="514"/>
                  </a:lnTo>
                  <a:lnTo>
                    <a:pt x="6837" y="551"/>
                  </a:lnTo>
                  <a:lnTo>
                    <a:pt x="6820" y="518"/>
                  </a:lnTo>
                  <a:lnTo>
                    <a:pt x="6804" y="556"/>
                  </a:lnTo>
                  <a:lnTo>
                    <a:pt x="6789" y="539"/>
                  </a:lnTo>
                  <a:lnTo>
                    <a:pt x="6775" y="538"/>
                  </a:lnTo>
                  <a:lnTo>
                    <a:pt x="6760" y="536"/>
                  </a:lnTo>
                  <a:lnTo>
                    <a:pt x="6739" y="543"/>
                  </a:lnTo>
                  <a:lnTo>
                    <a:pt x="6741" y="502"/>
                  </a:lnTo>
                  <a:lnTo>
                    <a:pt x="6723" y="515"/>
                  </a:lnTo>
                  <a:lnTo>
                    <a:pt x="6709" y="525"/>
                  </a:lnTo>
                  <a:lnTo>
                    <a:pt x="6694" y="554"/>
                  </a:lnTo>
                  <a:lnTo>
                    <a:pt x="6697" y="504"/>
                  </a:lnTo>
                  <a:lnTo>
                    <a:pt x="6677" y="509"/>
                  </a:lnTo>
                  <a:lnTo>
                    <a:pt x="6651" y="528"/>
                  </a:lnTo>
                  <a:lnTo>
                    <a:pt x="6652" y="535"/>
                  </a:lnTo>
                  <a:lnTo>
                    <a:pt x="6648" y="531"/>
                  </a:lnTo>
                  <a:lnTo>
                    <a:pt x="6643" y="533"/>
                  </a:lnTo>
                  <a:lnTo>
                    <a:pt x="6644" y="528"/>
                  </a:lnTo>
                  <a:lnTo>
                    <a:pt x="6617" y="509"/>
                  </a:lnTo>
                  <a:lnTo>
                    <a:pt x="6601" y="510"/>
                  </a:lnTo>
                  <a:lnTo>
                    <a:pt x="6601" y="543"/>
                  </a:lnTo>
                  <a:lnTo>
                    <a:pt x="6588" y="527"/>
                  </a:lnTo>
                  <a:lnTo>
                    <a:pt x="6575" y="518"/>
                  </a:lnTo>
                  <a:lnTo>
                    <a:pt x="6551" y="522"/>
                  </a:lnTo>
                  <a:lnTo>
                    <a:pt x="6556" y="477"/>
                  </a:lnTo>
                  <a:lnTo>
                    <a:pt x="6543" y="512"/>
                  </a:lnTo>
                  <a:lnTo>
                    <a:pt x="6535" y="535"/>
                  </a:lnTo>
                  <a:lnTo>
                    <a:pt x="6503" y="499"/>
                  </a:lnTo>
                  <a:lnTo>
                    <a:pt x="6493" y="535"/>
                  </a:lnTo>
                  <a:lnTo>
                    <a:pt x="6476" y="502"/>
                  </a:lnTo>
                  <a:lnTo>
                    <a:pt x="6463" y="501"/>
                  </a:lnTo>
                  <a:lnTo>
                    <a:pt x="6451" y="489"/>
                  </a:lnTo>
                  <a:lnTo>
                    <a:pt x="6429" y="512"/>
                  </a:lnTo>
                  <a:lnTo>
                    <a:pt x="6414" y="533"/>
                  </a:lnTo>
                  <a:lnTo>
                    <a:pt x="6394" y="485"/>
                  </a:lnTo>
                  <a:lnTo>
                    <a:pt x="6390" y="541"/>
                  </a:lnTo>
                  <a:lnTo>
                    <a:pt x="6371" y="488"/>
                  </a:lnTo>
                  <a:lnTo>
                    <a:pt x="6358" y="496"/>
                  </a:lnTo>
                  <a:lnTo>
                    <a:pt x="6345" y="481"/>
                  </a:lnTo>
                  <a:lnTo>
                    <a:pt x="6321" y="506"/>
                  </a:lnTo>
                  <a:lnTo>
                    <a:pt x="6313" y="509"/>
                  </a:lnTo>
                  <a:lnTo>
                    <a:pt x="6295" y="509"/>
                  </a:lnTo>
                  <a:lnTo>
                    <a:pt x="6289" y="525"/>
                  </a:lnTo>
                  <a:lnTo>
                    <a:pt x="6271" y="554"/>
                  </a:lnTo>
                  <a:lnTo>
                    <a:pt x="6244" y="539"/>
                  </a:lnTo>
                  <a:lnTo>
                    <a:pt x="6271" y="486"/>
                  </a:lnTo>
                  <a:lnTo>
                    <a:pt x="6225" y="515"/>
                  </a:lnTo>
                  <a:lnTo>
                    <a:pt x="6236" y="469"/>
                  </a:lnTo>
                  <a:lnTo>
                    <a:pt x="6213" y="499"/>
                  </a:lnTo>
                  <a:lnTo>
                    <a:pt x="6197" y="504"/>
                  </a:lnTo>
                  <a:lnTo>
                    <a:pt x="6181" y="457"/>
                  </a:lnTo>
                  <a:lnTo>
                    <a:pt x="6167" y="485"/>
                  </a:lnTo>
                  <a:lnTo>
                    <a:pt x="6152" y="506"/>
                  </a:lnTo>
                  <a:lnTo>
                    <a:pt x="6135" y="514"/>
                  </a:lnTo>
                  <a:lnTo>
                    <a:pt x="6123" y="464"/>
                  </a:lnTo>
                  <a:lnTo>
                    <a:pt x="6107" y="469"/>
                  </a:lnTo>
                  <a:lnTo>
                    <a:pt x="6090" y="457"/>
                  </a:lnTo>
                  <a:lnTo>
                    <a:pt x="6070" y="460"/>
                  </a:lnTo>
                  <a:lnTo>
                    <a:pt x="6061" y="514"/>
                  </a:lnTo>
                  <a:lnTo>
                    <a:pt x="6048" y="506"/>
                  </a:lnTo>
                  <a:lnTo>
                    <a:pt x="6027" y="498"/>
                  </a:lnTo>
                  <a:lnTo>
                    <a:pt x="6025" y="533"/>
                  </a:lnTo>
                  <a:lnTo>
                    <a:pt x="5996" y="536"/>
                  </a:lnTo>
                  <a:lnTo>
                    <a:pt x="5974" y="525"/>
                  </a:lnTo>
                  <a:lnTo>
                    <a:pt x="5963" y="504"/>
                  </a:lnTo>
                  <a:lnTo>
                    <a:pt x="5950" y="469"/>
                  </a:lnTo>
                  <a:lnTo>
                    <a:pt x="5938" y="518"/>
                  </a:lnTo>
                  <a:lnTo>
                    <a:pt x="5922" y="525"/>
                  </a:lnTo>
                  <a:lnTo>
                    <a:pt x="5903" y="496"/>
                  </a:lnTo>
                  <a:lnTo>
                    <a:pt x="5908" y="481"/>
                  </a:lnTo>
                  <a:lnTo>
                    <a:pt x="5861" y="515"/>
                  </a:lnTo>
                  <a:lnTo>
                    <a:pt x="5864" y="489"/>
                  </a:lnTo>
                  <a:lnTo>
                    <a:pt x="5855" y="483"/>
                  </a:lnTo>
                  <a:lnTo>
                    <a:pt x="5842" y="486"/>
                  </a:lnTo>
                  <a:lnTo>
                    <a:pt x="5824" y="465"/>
                  </a:lnTo>
                  <a:lnTo>
                    <a:pt x="5805" y="465"/>
                  </a:lnTo>
                  <a:lnTo>
                    <a:pt x="5784" y="472"/>
                  </a:lnTo>
                  <a:lnTo>
                    <a:pt x="5792" y="506"/>
                  </a:lnTo>
                  <a:lnTo>
                    <a:pt x="5774" y="509"/>
                  </a:lnTo>
                  <a:lnTo>
                    <a:pt x="5758" y="506"/>
                  </a:lnTo>
                  <a:lnTo>
                    <a:pt x="5744" y="517"/>
                  </a:lnTo>
                  <a:lnTo>
                    <a:pt x="5731" y="506"/>
                  </a:lnTo>
                  <a:lnTo>
                    <a:pt x="5725" y="485"/>
                  </a:lnTo>
                  <a:lnTo>
                    <a:pt x="5713" y="486"/>
                  </a:lnTo>
                  <a:lnTo>
                    <a:pt x="5699" y="480"/>
                  </a:lnTo>
                  <a:lnTo>
                    <a:pt x="5700" y="456"/>
                  </a:lnTo>
                  <a:lnTo>
                    <a:pt x="5676" y="443"/>
                  </a:lnTo>
                  <a:lnTo>
                    <a:pt x="5657" y="489"/>
                  </a:lnTo>
                  <a:lnTo>
                    <a:pt x="5641" y="488"/>
                  </a:lnTo>
                  <a:lnTo>
                    <a:pt x="5623" y="486"/>
                  </a:lnTo>
                  <a:lnTo>
                    <a:pt x="5610" y="501"/>
                  </a:lnTo>
                  <a:lnTo>
                    <a:pt x="5586" y="469"/>
                  </a:lnTo>
                  <a:lnTo>
                    <a:pt x="5573" y="515"/>
                  </a:lnTo>
                  <a:lnTo>
                    <a:pt x="5554" y="499"/>
                  </a:lnTo>
                  <a:lnTo>
                    <a:pt x="5540" y="491"/>
                  </a:lnTo>
                  <a:lnTo>
                    <a:pt x="5532" y="464"/>
                  </a:lnTo>
                  <a:lnTo>
                    <a:pt x="5516" y="478"/>
                  </a:lnTo>
                  <a:lnTo>
                    <a:pt x="5498" y="478"/>
                  </a:lnTo>
                  <a:lnTo>
                    <a:pt x="5485" y="501"/>
                  </a:lnTo>
                  <a:lnTo>
                    <a:pt x="5467" y="481"/>
                  </a:lnTo>
                  <a:lnTo>
                    <a:pt x="5453" y="506"/>
                  </a:lnTo>
                  <a:lnTo>
                    <a:pt x="5438" y="489"/>
                  </a:lnTo>
                  <a:lnTo>
                    <a:pt x="5427" y="504"/>
                  </a:lnTo>
                  <a:lnTo>
                    <a:pt x="5413" y="517"/>
                  </a:lnTo>
                  <a:lnTo>
                    <a:pt x="5387" y="525"/>
                  </a:lnTo>
                  <a:lnTo>
                    <a:pt x="5392" y="478"/>
                  </a:lnTo>
                  <a:lnTo>
                    <a:pt x="5372" y="480"/>
                  </a:lnTo>
                  <a:lnTo>
                    <a:pt x="5355" y="478"/>
                  </a:lnTo>
                  <a:lnTo>
                    <a:pt x="5352" y="451"/>
                  </a:lnTo>
                  <a:lnTo>
                    <a:pt x="5335" y="435"/>
                  </a:lnTo>
                  <a:lnTo>
                    <a:pt x="5316" y="446"/>
                  </a:lnTo>
                  <a:lnTo>
                    <a:pt x="5295" y="469"/>
                  </a:lnTo>
                  <a:lnTo>
                    <a:pt x="5284" y="443"/>
                  </a:lnTo>
                  <a:lnTo>
                    <a:pt x="5268" y="446"/>
                  </a:lnTo>
                  <a:lnTo>
                    <a:pt x="5255" y="481"/>
                  </a:lnTo>
                  <a:lnTo>
                    <a:pt x="5239" y="465"/>
                  </a:lnTo>
                  <a:lnTo>
                    <a:pt x="5215" y="452"/>
                  </a:lnTo>
                  <a:lnTo>
                    <a:pt x="5204" y="472"/>
                  </a:lnTo>
                  <a:lnTo>
                    <a:pt x="5189" y="480"/>
                  </a:lnTo>
                  <a:lnTo>
                    <a:pt x="5167" y="456"/>
                  </a:lnTo>
                  <a:lnTo>
                    <a:pt x="5157" y="470"/>
                  </a:lnTo>
                  <a:lnTo>
                    <a:pt x="5147" y="459"/>
                  </a:lnTo>
                  <a:lnTo>
                    <a:pt x="5114" y="488"/>
                  </a:lnTo>
                  <a:lnTo>
                    <a:pt x="5101" y="478"/>
                  </a:lnTo>
                  <a:lnTo>
                    <a:pt x="5099" y="441"/>
                  </a:lnTo>
                  <a:lnTo>
                    <a:pt x="5073" y="460"/>
                  </a:lnTo>
                  <a:lnTo>
                    <a:pt x="5065" y="449"/>
                  </a:lnTo>
                  <a:lnTo>
                    <a:pt x="5041" y="428"/>
                  </a:lnTo>
                  <a:lnTo>
                    <a:pt x="5024" y="430"/>
                  </a:lnTo>
                  <a:lnTo>
                    <a:pt x="5017" y="449"/>
                  </a:lnTo>
                  <a:lnTo>
                    <a:pt x="4990" y="475"/>
                  </a:lnTo>
                  <a:lnTo>
                    <a:pt x="4991" y="433"/>
                  </a:lnTo>
                  <a:lnTo>
                    <a:pt x="4972" y="423"/>
                  </a:lnTo>
                  <a:lnTo>
                    <a:pt x="4951" y="431"/>
                  </a:lnTo>
                  <a:lnTo>
                    <a:pt x="4935" y="435"/>
                  </a:lnTo>
                  <a:lnTo>
                    <a:pt x="4922" y="451"/>
                  </a:lnTo>
                  <a:lnTo>
                    <a:pt x="4896" y="433"/>
                  </a:lnTo>
                  <a:lnTo>
                    <a:pt x="4879" y="438"/>
                  </a:lnTo>
                  <a:lnTo>
                    <a:pt x="4880" y="489"/>
                  </a:lnTo>
                  <a:lnTo>
                    <a:pt x="4861" y="481"/>
                  </a:lnTo>
                  <a:lnTo>
                    <a:pt x="4845" y="469"/>
                  </a:lnTo>
                  <a:lnTo>
                    <a:pt x="4827" y="485"/>
                  </a:lnTo>
                  <a:lnTo>
                    <a:pt x="4805" y="486"/>
                  </a:lnTo>
                  <a:lnTo>
                    <a:pt x="4800" y="457"/>
                  </a:lnTo>
                  <a:lnTo>
                    <a:pt x="4782" y="456"/>
                  </a:lnTo>
                  <a:lnTo>
                    <a:pt x="4782" y="431"/>
                  </a:lnTo>
                  <a:lnTo>
                    <a:pt x="4760" y="433"/>
                  </a:lnTo>
                  <a:lnTo>
                    <a:pt x="4729" y="441"/>
                  </a:lnTo>
                  <a:lnTo>
                    <a:pt x="4739" y="404"/>
                  </a:lnTo>
                  <a:lnTo>
                    <a:pt x="4732" y="423"/>
                  </a:lnTo>
                  <a:lnTo>
                    <a:pt x="4695" y="411"/>
                  </a:lnTo>
                  <a:lnTo>
                    <a:pt x="4732" y="462"/>
                  </a:lnTo>
                  <a:lnTo>
                    <a:pt x="4707" y="459"/>
                  </a:lnTo>
                  <a:lnTo>
                    <a:pt x="4687" y="456"/>
                  </a:lnTo>
                  <a:lnTo>
                    <a:pt x="4676" y="443"/>
                  </a:lnTo>
                  <a:lnTo>
                    <a:pt x="4658" y="477"/>
                  </a:lnTo>
                  <a:lnTo>
                    <a:pt x="4650" y="444"/>
                  </a:lnTo>
                  <a:lnTo>
                    <a:pt x="4654" y="428"/>
                  </a:lnTo>
                  <a:lnTo>
                    <a:pt x="4620" y="441"/>
                  </a:lnTo>
                  <a:lnTo>
                    <a:pt x="4613" y="425"/>
                  </a:lnTo>
                  <a:lnTo>
                    <a:pt x="4589" y="448"/>
                  </a:lnTo>
                  <a:lnTo>
                    <a:pt x="4585" y="433"/>
                  </a:lnTo>
                  <a:lnTo>
                    <a:pt x="4564" y="402"/>
                  </a:lnTo>
                  <a:lnTo>
                    <a:pt x="4556" y="440"/>
                  </a:lnTo>
                  <a:lnTo>
                    <a:pt x="4538" y="438"/>
                  </a:lnTo>
                  <a:lnTo>
                    <a:pt x="4509" y="412"/>
                  </a:lnTo>
                  <a:lnTo>
                    <a:pt x="4507" y="430"/>
                  </a:lnTo>
                  <a:lnTo>
                    <a:pt x="4491" y="433"/>
                  </a:lnTo>
                  <a:lnTo>
                    <a:pt x="4474" y="427"/>
                  </a:lnTo>
                  <a:lnTo>
                    <a:pt x="4457" y="419"/>
                  </a:lnTo>
                  <a:lnTo>
                    <a:pt x="4451" y="388"/>
                  </a:lnTo>
                  <a:lnTo>
                    <a:pt x="4435" y="382"/>
                  </a:lnTo>
                  <a:lnTo>
                    <a:pt x="4419" y="423"/>
                  </a:lnTo>
                  <a:lnTo>
                    <a:pt x="4417" y="425"/>
                  </a:lnTo>
                  <a:lnTo>
                    <a:pt x="4372" y="407"/>
                  </a:lnTo>
                  <a:lnTo>
                    <a:pt x="4395" y="446"/>
                  </a:lnTo>
                  <a:lnTo>
                    <a:pt x="4372" y="438"/>
                  </a:lnTo>
                  <a:lnTo>
                    <a:pt x="4369" y="475"/>
                  </a:lnTo>
                  <a:lnTo>
                    <a:pt x="4358" y="440"/>
                  </a:lnTo>
                  <a:lnTo>
                    <a:pt x="4332" y="460"/>
                  </a:lnTo>
                  <a:lnTo>
                    <a:pt x="4316" y="459"/>
                  </a:lnTo>
                  <a:lnTo>
                    <a:pt x="4313" y="441"/>
                  </a:lnTo>
                  <a:lnTo>
                    <a:pt x="4308" y="414"/>
                  </a:lnTo>
                  <a:lnTo>
                    <a:pt x="4289" y="419"/>
                  </a:lnTo>
                  <a:lnTo>
                    <a:pt x="4271" y="401"/>
                  </a:lnTo>
                  <a:lnTo>
                    <a:pt x="4247" y="402"/>
                  </a:lnTo>
                  <a:lnTo>
                    <a:pt x="4261" y="448"/>
                  </a:lnTo>
                  <a:lnTo>
                    <a:pt x="4245" y="449"/>
                  </a:lnTo>
                  <a:lnTo>
                    <a:pt x="4226" y="435"/>
                  </a:lnTo>
                  <a:lnTo>
                    <a:pt x="4202" y="460"/>
                  </a:lnTo>
                  <a:lnTo>
                    <a:pt x="4184" y="460"/>
                  </a:lnTo>
                  <a:lnTo>
                    <a:pt x="4183" y="454"/>
                  </a:lnTo>
                  <a:lnTo>
                    <a:pt x="4160" y="449"/>
                  </a:lnTo>
                  <a:lnTo>
                    <a:pt x="4165" y="478"/>
                  </a:lnTo>
                  <a:lnTo>
                    <a:pt x="4134" y="460"/>
                  </a:lnTo>
                  <a:lnTo>
                    <a:pt x="4131" y="446"/>
                  </a:lnTo>
                  <a:lnTo>
                    <a:pt x="4126" y="428"/>
                  </a:lnTo>
                  <a:lnTo>
                    <a:pt x="4115" y="420"/>
                  </a:lnTo>
                  <a:lnTo>
                    <a:pt x="4088" y="428"/>
                  </a:lnTo>
                  <a:lnTo>
                    <a:pt x="4072" y="428"/>
                  </a:lnTo>
                  <a:lnTo>
                    <a:pt x="4059" y="465"/>
                  </a:lnTo>
                  <a:lnTo>
                    <a:pt x="4043" y="425"/>
                  </a:lnTo>
                  <a:lnTo>
                    <a:pt x="4023" y="433"/>
                  </a:lnTo>
                  <a:lnTo>
                    <a:pt x="4019" y="402"/>
                  </a:lnTo>
                  <a:lnTo>
                    <a:pt x="4004" y="383"/>
                  </a:lnTo>
                  <a:lnTo>
                    <a:pt x="3978" y="414"/>
                  </a:lnTo>
                  <a:lnTo>
                    <a:pt x="3969" y="383"/>
                  </a:lnTo>
                  <a:lnTo>
                    <a:pt x="3956" y="427"/>
                  </a:lnTo>
                  <a:lnTo>
                    <a:pt x="3928" y="409"/>
                  </a:lnTo>
                  <a:lnTo>
                    <a:pt x="3908" y="411"/>
                  </a:lnTo>
                  <a:lnTo>
                    <a:pt x="3898" y="422"/>
                  </a:lnTo>
                  <a:lnTo>
                    <a:pt x="3930" y="465"/>
                  </a:lnTo>
                  <a:lnTo>
                    <a:pt x="3893" y="444"/>
                  </a:lnTo>
                  <a:lnTo>
                    <a:pt x="3887" y="467"/>
                  </a:lnTo>
                  <a:lnTo>
                    <a:pt x="3871" y="481"/>
                  </a:lnTo>
                  <a:lnTo>
                    <a:pt x="3866" y="435"/>
                  </a:lnTo>
                  <a:lnTo>
                    <a:pt x="3832" y="467"/>
                  </a:lnTo>
                  <a:lnTo>
                    <a:pt x="3827" y="440"/>
                  </a:lnTo>
                  <a:lnTo>
                    <a:pt x="3821" y="414"/>
                  </a:lnTo>
                  <a:lnTo>
                    <a:pt x="3803" y="406"/>
                  </a:lnTo>
                  <a:lnTo>
                    <a:pt x="3787" y="399"/>
                  </a:lnTo>
                  <a:lnTo>
                    <a:pt x="3763" y="415"/>
                  </a:lnTo>
                  <a:lnTo>
                    <a:pt x="3734" y="394"/>
                  </a:lnTo>
                  <a:lnTo>
                    <a:pt x="3745" y="452"/>
                  </a:lnTo>
                  <a:lnTo>
                    <a:pt x="3710" y="417"/>
                  </a:lnTo>
                  <a:lnTo>
                    <a:pt x="3697" y="420"/>
                  </a:lnTo>
                  <a:lnTo>
                    <a:pt x="3686" y="438"/>
                  </a:lnTo>
                  <a:lnTo>
                    <a:pt x="3668" y="462"/>
                  </a:lnTo>
                  <a:lnTo>
                    <a:pt x="3653" y="440"/>
                  </a:lnTo>
                  <a:lnTo>
                    <a:pt x="3642" y="425"/>
                  </a:lnTo>
                  <a:lnTo>
                    <a:pt x="3626" y="456"/>
                  </a:lnTo>
                  <a:lnTo>
                    <a:pt x="3604" y="422"/>
                  </a:lnTo>
                  <a:lnTo>
                    <a:pt x="3605" y="449"/>
                  </a:lnTo>
                  <a:lnTo>
                    <a:pt x="3602" y="469"/>
                  </a:lnTo>
                  <a:lnTo>
                    <a:pt x="3576" y="435"/>
                  </a:lnTo>
                  <a:lnTo>
                    <a:pt x="3554" y="469"/>
                  </a:lnTo>
                  <a:lnTo>
                    <a:pt x="3546" y="448"/>
                  </a:lnTo>
                  <a:lnTo>
                    <a:pt x="3533" y="462"/>
                  </a:lnTo>
                  <a:lnTo>
                    <a:pt x="3510" y="436"/>
                  </a:lnTo>
                  <a:lnTo>
                    <a:pt x="3525" y="477"/>
                  </a:lnTo>
                  <a:lnTo>
                    <a:pt x="3504" y="475"/>
                  </a:lnTo>
                  <a:lnTo>
                    <a:pt x="3483" y="489"/>
                  </a:lnTo>
                  <a:lnTo>
                    <a:pt x="3457" y="481"/>
                  </a:lnTo>
                  <a:lnTo>
                    <a:pt x="3448" y="469"/>
                  </a:lnTo>
                  <a:lnTo>
                    <a:pt x="3446" y="448"/>
                  </a:lnTo>
                  <a:lnTo>
                    <a:pt x="3438" y="440"/>
                  </a:lnTo>
                  <a:lnTo>
                    <a:pt x="3430" y="452"/>
                  </a:lnTo>
                  <a:lnTo>
                    <a:pt x="3422" y="477"/>
                  </a:lnTo>
                  <a:lnTo>
                    <a:pt x="3395" y="464"/>
                  </a:lnTo>
                  <a:lnTo>
                    <a:pt x="3372" y="435"/>
                  </a:lnTo>
                  <a:lnTo>
                    <a:pt x="3364" y="478"/>
                  </a:lnTo>
                  <a:lnTo>
                    <a:pt x="3343" y="494"/>
                  </a:lnTo>
                  <a:lnTo>
                    <a:pt x="3330" y="460"/>
                  </a:lnTo>
                  <a:lnTo>
                    <a:pt x="3308" y="481"/>
                  </a:lnTo>
                  <a:lnTo>
                    <a:pt x="3300" y="462"/>
                  </a:lnTo>
                  <a:lnTo>
                    <a:pt x="3277" y="443"/>
                  </a:lnTo>
                  <a:lnTo>
                    <a:pt x="3272" y="477"/>
                  </a:lnTo>
                  <a:lnTo>
                    <a:pt x="3256" y="448"/>
                  </a:lnTo>
                  <a:lnTo>
                    <a:pt x="3258" y="441"/>
                  </a:lnTo>
                  <a:lnTo>
                    <a:pt x="3206" y="469"/>
                  </a:lnTo>
                  <a:lnTo>
                    <a:pt x="3208" y="446"/>
                  </a:lnTo>
                  <a:lnTo>
                    <a:pt x="3208" y="415"/>
                  </a:lnTo>
                  <a:lnTo>
                    <a:pt x="3182" y="414"/>
                  </a:lnTo>
                  <a:lnTo>
                    <a:pt x="3176" y="440"/>
                  </a:lnTo>
                  <a:lnTo>
                    <a:pt x="3160" y="459"/>
                  </a:lnTo>
                  <a:lnTo>
                    <a:pt x="3152" y="423"/>
                  </a:lnTo>
                  <a:lnTo>
                    <a:pt x="3116" y="452"/>
                  </a:lnTo>
                  <a:lnTo>
                    <a:pt x="3112" y="428"/>
                  </a:lnTo>
                  <a:lnTo>
                    <a:pt x="3099" y="391"/>
                  </a:lnTo>
                  <a:lnTo>
                    <a:pt x="3083" y="417"/>
                  </a:lnTo>
                  <a:lnTo>
                    <a:pt x="3068" y="419"/>
                  </a:lnTo>
                  <a:lnTo>
                    <a:pt x="3052" y="420"/>
                  </a:lnTo>
                  <a:lnTo>
                    <a:pt x="3038" y="428"/>
                  </a:lnTo>
                  <a:lnTo>
                    <a:pt x="3022" y="428"/>
                  </a:lnTo>
                  <a:lnTo>
                    <a:pt x="3005" y="440"/>
                  </a:lnTo>
                  <a:lnTo>
                    <a:pt x="2991" y="399"/>
                  </a:lnTo>
                  <a:lnTo>
                    <a:pt x="2970" y="407"/>
                  </a:lnTo>
                  <a:lnTo>
                    <a:pt x="2952" y="420"/>
                  </a:lnTo>
                  <a:lnTo>
                    <a:pt x="2959" y="467"/>
                  </a:lnTo>
                  <a:lnTo>
                    <a:pt x="2925" y="431"/>
                  </a:lnTo>
                  <a:lnTo>
                    <a:pt x="2901" y="473"/>
                  </a:lnTo>
                  <a:lnTo>
                    <a:pt x="2901" y="427"/>
                  </a:lnTo>
                  <a:lnTo>
                    <a:pt x="2886" y="423"/>
                  </a:lnTo>
                  <a:lnTo>
                    <a:pt x="2867" y="422"/>
                  </a:lnTo>
                  <a:lnTo>
                    <a:pt x="2841" y="425"/>
                  </a:lnTo>
                  <a:lnTo>
                    <a:pt x="2838" y="388"/>
                  </a:lnTo>
                  <a:lnTo>
                    <a:pt x="2833" y="422"/>
                  </a:lnTo>
                  <a:lnTo>
                    <a:pt x="2800" y="401"/>
                  </a:lnTo>
                  <a:lnTo>
                    <a:pt x="2795" y="420"/>
                  </a:lnTo>
                  <a:lnTo>
                    <a:pt x="2788" y="438"/>
                  </a:lnTo>
                  <a:lnTo>
                    <a:pt x="2795" y="406"/>
                  </a:lnTo>
                  <a:lnTo>
                    <a:pt x="2764" y="419"/>
                  </a:lnTo>
                  <a:lnTo>
                    <a:pt x="2747" y="417"/>
                  </a:lnTo>
                  <a:lnTo>
                    <a:pt x="2745" y="388"/>
                  </a:lnTo>
                  <a:lnTo>
                    <a:pt x="2722" y="386"/>
                  </a:lnTo>
                  <a:lnTo>
                    <a:pt x="2703" y="377"/>
                  </a:lnTo>
                  <a:lnTo>
                    <a:pt x="2698" y="422"/>
                  </a:lnTo>
                  <a:lnTo>
                    <a:pt x="2684" y="436"/>
                  </a:lnTo>
                  <a:lnTo>
                    <a:pt x="2666" y="419"/>
                  </a:lnTo>
                  <a:lnTo>
                    <a:pt x="2648" y="412"/>
                  </a:lnTo>
                  <a:lnTo>
                    <a:pt x="2644" y="446"/>
                  </a:lnTo>
                  <a:lnTo>
                    <a:pt x="2623" y="443"/>
                  </a:lnTo>
                  <a:lnTo>
                    <a:pt x="2603" y="462"/>
                  </a:lnTo>
                  <a:lnTo>
                    <a:pt x="2595" y="404"/>
                  </a:lnTo>
                  <a:lnTo>
                    <a:pt x="2566" y="444"/>
                  </a:lnTo>
                  <a:lnTo>
                    <a:pt x="2557" y="420"/>
                  </a:lnTo>
                  <a:lnTo>
                    <a:pt x="2539" y="422"/>
                  </a:lnTo>
                  <a:lnTo>
                    <a:pt x="2528" y="446"/>
                  </a:lnTo>
                  <a:lnTo>
                    <a:pt x="2509" y="462"/>
                  </a:lnTo>
                  <a:lnTo>
                    <a:pt x="2497" y="422"/>
                  </a:lnTo>
                  <a:lnTo>
                    <a:pt x="2470" y="454"/>
                  </a:lnTo>
                  <a:lnTo>
                    <a:pt x="2465" y="396"/>
                  </a:lnTo>
                  <a:lnTo>
                    <a:pt x="2446" y="409"/>
                  </a:lnTo>
                  <a:lnTo>
                    <a:pt x="2435" y="448"/>
                  </a:lnTo>
                  <a:lnTo>
                    <a:pt x="2420" y="406"/>
                  </a:lnTo>
                  <a:lnTo>
                    <a:pt x="2407" y="409"/>
                  </a:lnTo>
                  <a:lnTo>
                    <a:pt x="2386" y="412"/>
                  </a:lnTo>
                  <a:lnTo>
                    <a:pt x="2374" y="382"/>
                  </a:lnTo>
                  <a:lnTo>
                    <a:pt x="2353" y="399"/>
                  </a:lnTo>
                  <a:lnTo>
                    <a:pt x="2333" y="391"/>
                  </a:lnTo>
                  <a:lnTo>
                    <a:pt x="2324" y="411"/>
                  </a:lnTo>
                  <a:lnTo>
                    <a:pt x="2312" y="402"/>
                  </a:lnTo>
                  <a:lnTo>
                    <a:pt x="2308" y="380"/>
                  </a:lnTo>
                  <a:lnTo>
                    <a:pt x="2272" y="402"/>
                  </a:lnTo>
                  <a:lnTo>
                    <a:pt x="2274" y="353"/>
                  </a:lnTo>
                  <a:lnTo>
                    <a:pt x="2250" y="382"/>
                  </a:lnTo>
                  <a:lnTo>
                    <a:pt x="2226" y="398"/>
                  </a:lnTo>
                  <a:lnTo>
                    <a:pt x="2219" y="370"/>
                  </a:lnTo>
                  <a:lnTo>
                    <a:pt x="2197" y="375"/>
                  </a:lnTo>
                  <a:lnTo>
                    <a:pt x="2193" y="325"/>
                  </a:lnTo>
                  <a:lnTo>
                    <a:pt x="2184" y="377"/>
                  </a:lnTo>
                  <a:lnTo>
                    <a:pt x="2158" y="362"/>
                  </a:lnTo>
                  <a:lnTo>
                    <a:pt x="2140" y="388"/>
                  </a:lnTo>
                  <a:lnTo>
                    <a:pt x="2115" y="377"/>
                  </a:lnTo>
                  <a:lnTo>
                    <a:pt x="2131" y="343"/>
                  </a:lnTo>
                  <a:lnTo>
                    <a:pt x="2134" y="320"/>
                  </a:lnTo>
                  <a:lnTo>
                    <a:pt x="2099" y="353"/>
                  </a:lnTo>
                  <a:lnTo>
                    <a:pt x="2094" y="341"/>
                  </a:lnTo>
                  <a:lnTo>
                    <a:pt x="2087" y="361"/>
                  </a:lnTo>
                  <a:lnTo>
                    <a:pt x="2057" y="328"/>
                  </a:lnTo>
                  <a:lnTo>
                    <a:pt x="2052" y="370"/>
                  </a:lnTo>
                  <a:lnTo>
                    <a:pt x="2041" y="338"/>
                  </a:lnTo>
                  <a:lnTo>
                    <a:pt x="2015" y="361"/>
                  </a:lnTo>
                  <a:lnTo>
                    <a:pt x="2017" y="307"/>
                  </a:lnTo>
                  <a:lnTo>
                    <a:pt x="1989" y="353"/>
                  </a:lnTo>
                  <a:lnTo>
                    <a:pt x="1984" y="299"/>
                  </a:lnTo>
                  <a:lnTo>
                    <a:pt x="1960" y="332"/>
                  </a:lnTo>
                  <a:lnTo>
                    <a:pt x="1951" y="314"/>
                  </a:lnTo>
                  <a:lnTo>
                    <a:pt x="1926" y="317"/>
                  </a:lnTo>
                  <a:lnTo>
                    <a:pt x="1923" y="301"/>
                  </a:lnTo>
                  <a:lnTo>
                    <a:pt x="1898" y="290"/>
                  </a:lnTo>
                  <a:lnTo>
                    <a:pt x="1907" y="330"/>
                  </a:lnTo>
                  <a:lnTo>
                    <a:pt x="1862" y="301"/>
                  </a:lnTo>
                  <a:lnTo>
                    <a:pt x="1867" y="319"/>
                  </a:lnTo>
                  <a:lnTo>
                    <a:pt x="1859" y="325"/>
                  </a:lnTo>
                  <a:lnTo>
                    <a:pt x="1848" y="317"/>
                  </a:lnTo>
                  <a:lnTo>
                    <a:pt x="1832" y="312"/>
                  </a:lnTo>
                  <a:lnTo>
                    <a:pt x="1819" y="324"/>
                  </a:lnTo>
                  <a:lnTo>
                    <a:pt x="1814" y="309"/>
                  </a:lnTo>
                  <a:lnTo>
                    <a:pt x="1796" y="283"/>
                  </a:lnTo>
                  <a:lnTo>
                    <a:pt x="1780" y="303"/>
                  </a:lnTo>
                  <a:lnTo>
                    <a:pt x="1775" y="267"/>
                  </a:lnTo>
                  <a:lnTo>
                    <a:pt x="1745" y="309"/>
                  </a:lnTo>
                  <a:lnTo>
                    <a:pt x="1737" y="296"/>
                  </a:lnTo>
                  <a:lnTo>
                    <a:pt x="1727" y="317"/>
                  </a:lnTo>
                  <a:lnTo>
                    <a:pt x="1698" y="269"/>
                  </a:lnTo>
                  <a:lnTo>
                    <a:pt x="1688" y="296"/>
                  </a:lnTo>
                  <a:lnTo>
                    <a:pt x="1684" y="274"/>
                  </a:lnTo>
                  <a:lnTo>
                    <a:pt x="1648" y="285"/>
                  </a:lnTo>
                  <a:lnTo>
                    <a:pt x="1643" y="277"/>
                  </a:lnTo>
                  <a:lnTo>
                    <a:pt x="1632" y="259"/>
                  </a:lnTo>
                  <a:lnTo>
                    <a:pt x="1631" y="288"/>
                  </a:lnTo>
                  <a:lnTo>
                    <a:pt x="1616" y="293"/>
                  </a:lnTo>
                  <a:lnTo>
                    <a:pt x="1590" y="304"/>
                  </a:lnTo>
                  <a:lnTo>
                    <a:pt x="1581" y="275"/>
                  </a:lnTo>
                  <a:lnTo>
                    <a:pt x="1566" y="266"/>
                  </a:lnTo>
                  <a:lnTo>
                    <a:pt x="1590" y="228"/>
                  </a:lnTo>
                  <a:lnTo>
                    <a:pt x="1560" y="235"/>
                  </a:lnTo>
                  <a:lnTo>
                    <a:pt x="1544" y="237"/>
                  </a:lnTo>
                  <a:lnTo>
                    <a:pt x="1544" y="267"/>
                  </a:lnTo>
                  <a:lnTo>
                    <a:pt x="1508" y="232"/>
                  </a:lnTo>
                  <a:lnTo>
                    <a:pt x="1508" y="283"/>
                  </a:lnTo>
                  <a:lnTo>
                    <a:pt x="1484" y="283"/>
                  </a:lnTo>
                  <a:lnTo>
                    <a:pt x="1468" y="282"/>
                  </a:lnTo>
                  <a:lnTo>
                    <a:pt x="1460" y="251"/>
                  </a:lnTo>
                  <a:lnTo>
                    <a:pt x="1431" y="251"/>
                  </a:lnTo>
                  <a:lnTo>
                    <a:pt x="1442" y="224"/>
                  </a:lnTo>
                  <a:lnTo>
                    <a:pt x="1439" y="206"/>
                  </a:lnTo>
                  <a:lnTo>
                    <a:pt x="1430" y="183"/>
                  </a:lnTo>
                  <a:lnTo>
                    <a:pt x="1415" y="211"/>
                  </a:lnTo>
                  <a:lnTo>
                    <a:pt x="1388" y="190"/>
                  </a:lnTo>
                  <a:lnTo>
                    <a:pt x="1385" y="199"/>
                  </a:lnTo>
                  <a:lnTo>
                    <a:pt x="1388" y="198"/>
                  </a:lnTo>
                  <a:lnTo>
                    <a:pt x="1375" y="217"/>
                  </a:lnTo>
                  <a:lnTo>
                    <a:pt x="1380" y="208"/>
                  </a:lnTo>
                  <a:lnTo>
                    <a:pt x="1385" y="199"/>
                  </a:lnTo>
                  <a:lnTo>
                    <a:pt x="1332" y="214"/>
                  </a:lnTo>
                  <a:lnTo>
                    <a:pt x="1333" y="193"/>
                  </a:lnTo>
                  <a:lnTo>
                    <a:pt x="1341" y="166"/>
                  </a:lnTo>
                  <a:lnTo>
                    <a:pt x="1322" y="172"/>
                  </a:lnTo>
                  <a:lnTo>
                    <a:pt x="1304" y="185"/>
                  </a:lnTo>
                  <a:lnTo>
                    <a:pt x="1293" y="167"/>
                  </a:lnTo>
                  <a:lnTo>
                    <a:pt x="1272" y="162"/>
                  </a:lnTo>
                  <a:lnTo>
                    <a:pt x="1250" y="161"/>
                  </a:lnTo>
                  <a:lnTo>
                    <a:pt x="1262" y="198"/>
                  </a:lnTo>
                  <a:lnTo>
                    <a:pt x="1246" y="201"/>
                  </a:lnTo>
                  <a:lnTo>
                    <a:pt x="1235" y="195"/>
                  </a:lnTo>
                  <a:lnTo>
                    <a:pt x="1229" y="193"/>
                  </a:lnTo>
                  <a:lnTo>
                    <a:pt x="1221" y="174"/>
                  </a:lnTo>
                  <a:lnTo>
                    <a:pt x="1180" y="206"/>
                  </a:lnTo>
                  <a:lnTo>
                    <a:pt x="1180" y="175"/>
                  </a:lnTo>
                  <a:lnTo>
                    <a:pt x="1168" y="164"/>
                  </a:lnTo>
                  <a:lnTo>
                    <a:pt x="1147" y="175"/>
                  </a:lnTo>
                  <a:lnTo>
                    <a:pt x="1129" y="182"/>
                  </a:lnTo>
                  <a:lnTo>
                    <a:pt x="1118" y="166"/>
                  </a:lnTo>
                  <a:lnTo>
                    <a:pt x="1108" y="177"/>
                  </a:lnTo>
                  <a:lnTo>
                    <a:pt x="1103" y="179"/>
                  </a:lnTo>
                  <a:lnTo>
                    <a:pt x="1082" y="167"/>
                  </a:lnTo>
                  <a:lnTo>
                    <a:pt x="1066" y="162"/>
                  </a:lnTo>
                  <a:lnTo>
                    <a:pt x="1049" y="193"/>
                  </a:lnTo>
                  <a:lnTo>
                    <a:pt x="1069" y="143"/>
                  </a:lnTo>
                  <a:lnTo>
                    <a:pt x="1026" y="156"/>
                  </a:lnTo>
                  <a:lnTo>
                    <a:pt x="1003" y="153"/>
                  </a:lnTo>
                  <a:lnTo>
                    <a:pt x="1020" y="114"/>
                  </a:lnTo>
                  <a:lnTo>
                    <a:pt x="995" y="114"/>
                  </a:lnTo>
                  <a:lnTo>
                    <a:pt x="975" y="106"/>
                  </a:lnTo>
                  <a:lnTo>
                    <a:pt x="967" y="151"/>
                  </a:lnTo>
                  <a:lnTo>
                    <a:pt x="941" y="151"/>
                  </a:lnTo>
                  <a:lnTo>
                    <a:pt x="928" y="140"/>
                  </a:lnTo>
                  <a:lnTo>
                    <a:pt x="925" y="140"/>
                  </a:lnTo>
                  <a:lnTo>
                    <a:pt x="909" y="116"/>
                  </a:lnTo>
                  <a:lnTo>
                    <a:pt x="884" y="108"/>
                  </a:lnTo>
                  <a:lnTo>
                    <a:pt x="875" y="137"/>
                  </a:lnTo>
                  <a:lnTo>
                    <a:pt x="843" y="137"/>
                  </a:lnTo>
                  <a:lnTo>
                    <a:pt x="872" y="96"/>
                  </a:lnTo>
                  <a:lnTo>
                    <a:pt x="825" y="108"/>
                  </a:lnTo>
                  <a:lnTo>
                    <a:pt x="844" y="69"/>
                  </a:lnTo>
                  <a:lnTo>
                    <a:pt x="822" y="98"/>
                  </a:lnTo>
                  <a:lnTo>
                    <a:pt x="806" y="109"/>
                  </a:lnTo>
                  <a:lnTo>
                    <a:pt x="796" y="46"/>
                  </a:lnTo>
                  <a:lnTo>
                    <a:pt x="770" y="93"/>
                  </a:lnTo>
                  <a:lnTo>
                    <a:pt x="762" y="67"/>
                  </a:lnTo>
                  <a:lnTo>
                    <a:pt x="746" y="63"/>
                  </a:lnTo>
                  <a:lnTo>
                    <a:pt x="720" y="53"/>
                  </a:lnTo>
                  <a:lnTo>
                    <a:pt x="727" y="90"/>
                  </a:lnTo>
                  <a:lnTo>
                    <a:pt x="714" y="100"/>
                  </a:lnTo>
                  <a:lnTo>
                    <a:pt x="695" y="75"/>
                  </a:lnTo>
                  <a:lnTo>
                    <a:pt x="672" y="103"/>
                  </a:lnTo>
                  <a:lnTo>
                    <a:pt x="682" y="59"/>
                  </a:lnTo>
                  <a:lnTo>
                    <a:pt x="648" y="85"/>
                  </a:lnTo>
                  <a:lnTo>
                    <a:pt x="635" y="95"/>
                  </a:lnTo>
                  <a:lnTo>
                    <a:pt x="621" y="77"/>
                  </a:lnTo>
                  <a:lnTo>
                    <a:pt x="608" y="98"/>
                  </a:lnTo>
                  <a:lnTo>
                    <a:pt x="589" y="58"/>
                  </a:lnTo>
                  <a:lnTo>
                    <a:pt x="574" y="63"/>
                  </a:lnTo>
                  <a:lnTo>
                    <a:pt x="555" y="45"/>
                  </a:lnTo>
                  <a:lnTo>
                    <a:pt x="539" y="51"/>
                  </a:lnTo>
                  <a:lnTo>
                    <a:pt x="534" y="109"/>
                  </a:lnTo>
                  <a:lnTo>
                    <a:pt x="507" y="114"/>
                  </a:lnTo>
                  <a:lnTo>
                    <a:pt x="492" y="87"/>
                  </a:lnTo>
                  <a:lnTo>
                    <a:pt x="484" y="67"/>
                  </a:lnTo>
                  <a:lnTo>
                    <a:pt x="476" y="40"/>
                  </a:lnTo>
                  <a:lnTo>
                    <a:pt x="447" y="87"/>
                  </a:lnTo>
                  <a:lnTo>
                    <a:pt x="434" y="75"/>
                  </a:lnTo>
                  <a:lnTo>
                    <a:pt x="420" y="63"/>
                  </a:lnTo>
                  <a:lnTo>
                    <a:pt x="407" y="50"/>
                  </a:lnTo>
                  <a:lnTo>
                    <a:pt x="394" y="38"/>
                  </a:lnTo>
                  <a:lnTo>
                    <a:pt x="381" y="22"/>
                  </a:lnTo>
                  <a:lnTo>
                    <a:pt x="365" y="48"/>
                  </a:lnTo>
                  <a:lnTo>
                    <a:pt x="346" y="1"/>
                  </a:lnTo>
                  <a:lnTo>
                    <a:pt x="333" y="35"/>
                  </a:lnTo>
                  <a:lnTo>
                    <a:pt x="325" y="13"/>
                  </a:lnTo>
                  <a:lnTo>
                    <a:pt x="314" y="0"/>
                  </a:lnTo>
                  <a:lnTo>
                    <a:pt x="288" y="19"/>
                  </a:lnTo>
                  <a:lnTo>
                    <a:pt x="275" y="24"/>
                  </a:lnTo>
                  <a:lnTo>
                    <a:pt x="259" y="24"/>
                  </a:lnTo>
                  <a:lnTo>
                    <a:pt x="251" y="45"/>
                  </a:lnTo>
                  <a:lnTo>
                    <a:pt x="240" y="51"/>
                  </a:lnTo>
                  <a:lnTo>
                    <a:pt x="214" y="34"/>
                  </a:lnTo>
                  <a:lnTo>
                    <a:pt x="187" y="16"/>
                  </a:lnTo>
                  <a:lnTo>
                    <a:pt x="182" y="46"/>
                  </a:lnTo>
                  <a:lnTo>
                    <a:pt x="169" y="59"/>
                  </a:lnTo>
                  <a:lnTo>
                    <a:pt x="151" y="50"/>
                  </a:lnTo>
                  <a:lnTo>
                    <a:pt x="142" y="43"/>
                  </a:lnTo>
                  <a:lnTo>
                    <a:pt x="121" y="38"/>
                  </a:lnTo>
                  <a:lnTo>
                    <a:pt x="106" y="30"/>
                  </a:lnTo>
                  <a:lnTo>
                    <a:pt x="106" y="17"/>
                  </a:lnTo>
                  <a:lnTo>
                    <a:pt x="85" y="5"/>
                  </a:lnTo>
                  <a:lnTo>
                    <a:pt x="71" y="14"/>
                  </a:lnTo>
                  <a:lnTo>
                    <a:pt x="68" y="48"/>
                  </a:lnTo>
                  <a:lnTo>
                    <a:pt x="53" y="59"/>
                  </a:lnTo>
                  <a:lnTo>
                    <a:pt x="19" y="25"/>
                  </a:lnTo>
                  <a:lnTo>
                    <a:pt x="10" y="29"/>
                  </a:lnTo>
                  <a:lnTo>
                    <a:pt x="3" y="25"/>
                  </a:lnTo>
                  <a:lnTo>
                    <a:pt x="0" y="29"/>
                  </a:lnTo>
                  <a:lnTo>
                    <a:pt x="0" y="2518"/>
                  </a:lnTo>
                  <a:lnTo>
                    <a:pt x="10" y="2518"/>
                  </a:lnTo>
                  <a:close/>
                </a:path>
              </a:pathLst>
            </a:custGeom>
            <a:solidFill>
              <a:srgbClr val="F5F5F0"/>
            </a:solidFill>
            <a:ln w="9525" cap="flat">
              <a:noFill/>
              <a:prstDash val="solid"/>
              <a:miter/>
            </a:ln>
            <a:effectLst>
              <a:outerShdw blurRad="88900" dist="50800" dir="5400000" algn="ctr" rotWithShape="0">
                <a:srgbClr val="000000">
                  <a:alpha val="75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EE060EE5-3AE3-4B6B-9B34-6CCD25133C85}"/>
                </a:ext>
              </a:extLst>
            </p:cNvPr>
            <p:cNvSpPr/>
            <p:nvPr/>
          </p:nvSpPr>
          <p:spPr bwMode="auto">
            <a:xfrm>
              <a:off x="8155436" y="3420076"/>
              <a:ext cx="2947207" cy="51906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400" b="1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Russland und China eröffnen</a:t>
              </a:r>
              <a:br>
                <a:rPr lang="de-DE" sz="1400" b="1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</a:br>
              <a:r>
                <a:rPr lang="de-DE" sz="1400" b="1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neue Datenbörse</a:t>
              </a:r>
            </a:p>
          </p:txBody>
        </p: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1142E63-69D8-4FEB-9B52-6E1F27CE2B4B}"/>
              </a:ext>
            </a:extLst>
          </p:cNvPr>
          <p:cNvGrpSpPr/>
          <p:nvPr/>
        </p:nvGrpSpPr>
        <p:grpSpPr>
          <a:xfrm>
            <a:off x="6848976" y="1550343"/>
            <a:ext cx="3176837" cy="1244070"/>
            <a:chOff x="6848976" y="1550343"/>
            <a:chExt cx="3176837" cy="1244070"/>
          </a:xfrm>
        </p:grpSpPr>
        <p:sp>
          <p:nvSpPr>
            <p:cNvPr id="42" name="Grafik 5">
              <a:extLst>
                <a:ext uri="{FF2B5EF4-FFF2-40B4-BE49-F238E27FC236}">
                  <a16:creationId xmlns:a16="http://schemas.microsoft.com/office/drawing/2014/main" id="{4B77FCB8-80FF-455D-8D4E-2439862CD6B3}"/>
                </a:ext>
              </a:extLst>
            </p:cNvPr>
            <p:cNvSpPr>
              <a:spLocks/>
            </p:cNvSpPr>
            <p:nvPr/>
          </p:nvSpPr>
          <p:spPr>
            <a:xfrm>
              <a:off x="6848976" y="1550343"/>
              <a:ext cx="3132284" cy="1244070"/>
            </a:xfrm>
            <a:custGeom>
              <a:avLst/>
              <a:gdLst>
                <a:gd name="connsiteX0" fmla="*/ 0 w 11363325"/>
                <a:gd name="connsiteY0" fmla="*/ 0 h 3495675"/>
                <a:gd name="connsiteX1" fmla="*/ 0 w 11363325"/>
                <a:gd name="connsiteY1" fmla="*/ 2568226 h 3495675"/>
                <a:gd name="connsiteX2" fmla="*/ 19336 w 11363325"/>
                <a:gd name="connsiteY2" fmla="*/ 2547080 h 3495675"/>
                <a:gd name="connsiteX3" fmla="*/ 91535 w 11363325"/>
                <a:gd name="connsiteY3" fmla="*/ 2541841 h 3495675"/>
                <a:gd name="connsiteX4" fmla="*/ 102775 w 11363325"/>
                <a:gd name="connsiteY4" fmla="*/ 2636520 h 3495675"/>
                <a:gd name="connsiteX5" fmla="*/ 78772 w 11363325"/>
                <a:gd name="connsiteY5" fmla="*/ 2749677 h 3495675"/>
                <a:gd name="connsiteX6" fmla="*/ 210312 w 11363325"/>
                <a:gd name="connsiteY6" fmla="*/ 2682907 h 3495675"/>
                <a:gd name="connsiteX7" fmla="*/ 278511 w 11363325"/>
                <a:gd name="connsiteY7" fmla="*/ 2680145 h 3495675"/>
                <a:gd name="connsiteX8" fmla="*/ 299847 w 11363325"/>
                <a:gd name="connsiteY8" fmla="*/ 2746153 h 3495675"/>
                <a:gd name="connsiteX9" fmla="*/ 268700 w 11363325"/>
                <a:gd name="connsiteY9" fmla="*/ 2873407 h 3495675"/>
                <a:gd name="connsiteX10" fmla="*/ 378619 w 11363325"/>
                <a:gd name="connsiteY10" fmla="*/ 2834164 h 3495675"/>
                <a:gd name="connsiteX11" fmla="*/ 383381 w 11363325"/>
                <a:gd name="connsiteY11" fmla="*/ 2910840 h 3495675"/>
                <a:gd name="connsiteX12" fmla="*/ 404241 w 11363325"/>
                <a:gd name="connsiteY12" fmla="*/ 2994470 h 3495675"/>
                <a:gd name="connsiteX13" fmla="*/ 479108 w 11363325"/>
                <a:gd name="connsiteY13" fmla="*/ 3001995 h 3495675"/>
                <a:gd name="connsiteX14" fmla="*/ 559308 w 11363325"/>
                <a:gd name="connsiteY14" fmla="*/ 2948559 h 3495675"/>
                <a:gd name="connsiteX15" fmla="*/ 590169 w 11363325"/>
                <a:gd name="connsiteY15" fmla="*/ 3082671 h 3495675"/>
                <a:gd name="connsiteX16" fmla="*/ 659035 w 11363325"/>
                <a:gd name="connsiteY16" fmla="*/ 3032570 h 3495675"/>
                <a:gd name="connsiteX17" fmla="*/ 714089 w 11363325"/>
                <a:gd name="connsiteY17" fmla="*/ 3084005 h 3495675"/>
                <a:gd name="connsiteX18" fmla="*/ 758285 w 11363325"/>
                <a:gd name="connsiteY18" fmla="*/ 3006757 h 3495675"/>
                <a:gd name="connsiteX19" fmla="*/ 775811 w 11363325"/>
                <a:gd name="connsiteY19" fmla="*/ 3059621 h 3495675"/>
                <a:gd name="connsiteX20" fmla="*/ 819722 w 11363325"/>
                <a:gd name="connsiteY20" fmla="*/ 3041714 h 3495675"/>
                <a:gd name="connsiteX21" fmla="*/ 893350 w 11363325"/>
                <a:gd name="connsiteY21" fmla="*/ 3040952 h 3495675"/>
                <a:gd name="connsiteX22" fmla="*/ 892112 w 11363325"/>
                <a:gd name="connsiteY22" fmla="*/ 3111532 h 3495675"/>
                <a:gd name="connsiteX23" fmla="*/ 1005364 w 11363325"/>
                <a:gd name="connsiteY23" fmla="*/ 3103721 h 3495675"/>
                <a:gd name="connsiteX24" fmla="*/ 976027 w 11363325"/>
                <a:gd name="connsiteY24" fmla="*/ 3173063 h 3495675"/>
                <a:gd name="connsiteX25" fmla="*/ 1054703 w 11363325"/>
                <a:gd name="connsiteY25" fmla="*/ 3175159 h 3495675"/>
                <a:gd name="connsiteX26" fmla="*/ 1054703 w 11363325"/>
                <a:gd name="connsiteY26" fmla="*/ 3175064 h 3495675"/>
                <a:gd name="connsiteX27" fmla="*/ 1111472 w 11363325"/>
                <a:gd name="connsiteY27" fmla="*/ 3158490 h 3495675"/>
                <a:gd name="connsiteX28" fmla="*/ 1200245 w 11363325"/>
                <a:gd name="connsiteY28" fmla="*/ 3255550 h 3495675"/>
                <a:gd name="connsiteX29" fmla="*/ 1274255 w 11363325"/>
                <a:gd name="connsiteY29" fmla="*/ 3154775 h 3495675"/>
                <a:gd name="connsiteX30" fmla="*/ 1294067 w 11363325"/>
                <a:gd name="connsiteY30" fmla="*/ 3253073 h 3495675"/>
                <a:gd name="connsiteX31" fmla="*/ 1185577 w 11363325"/>
                <a:gd name="connsiteY31" fmla="*/ 3354800 h 3495675"/>
                <a:gd name="connsiteX32" fmla="*/ 1302639 w 11363325"/>
                <a:gd name="connsiteY32" fmla="*/ 3385947 h 3495675"/>
                <a:gd name="connsiteX33" fmla="*/ 1340072 w 11363325"/>
                <a:gd name="connsiteY33" fmla="*/ 3302127 h 3495675"/>
                <a:gd name="connsiteX34" fmla="*/ 1414367 w 11363325"/>
                <a:gd name="connsiteY34" fmla="*/ 3363087 h 3495675"/>
                <a:gd name="connsiteX35" fmla="*/ 1432274 w 11363325"/>
                <a:gd name="connsiteY35" fmla="*/ 3434048 h 3495675"/>
                <a:gd name="connsiteX36" fmla="*/ 1498759 w 11363325"/>
                <a:gd name="connsiteY36" fmla="*/ 3388043 h 3495675"/>
                <a:gd name="connsiteX37" fmla="*/ 1507712 w 11363325"/>
                <a:gd name="connsiteY37" fmla="*/ 3467386 h 3495675"/>
                <a:gd name="connsiteX38" fmla="*/ 1620488 w 11363325"/>
                <a:gd name="connsiteY38" fmla="*/ 3370803 h 3495675"/>
                <a:gd name="connsiteX39" fmla="*/ 1609725 w 11363325"/>
                <a:gd name="connsiteY39" fmla="*/ 3390233 h 3495675"/>
                <a:gd name="connsiteX40" fmla="*/ 1657922 w 11363325"/>
                <a:gd name="connsiteY40" fmla="*/ 3376041 h 3495675"/>
                <a:gd name="connsiteX41" fmla="*/ 1776032 w 11363325"/>
                <a:gd name="connsiteY41" fmla="*/ 3499295 h 3495675"/>
                <a:gd name="connsiteX42" fmla="*/ 1755553 w 11363325"/>
                <a:gd name="connsiteY42" fmla="*/ 3349657 h 3495675"/>
                <a:gd name="connsiteX43" fmla="*/ 1822990 w 11363325"/>
                <a:gd name="connsiteY43" fmla="*/ 3340227 h 3495675"/>
                <a:gd name="connsiteX44" fmla="*/ 1915192 w 11363325"/>
                <a:gd name="connsiteY44" fmla="*/ 3379661 h 3495675"/>
                <a:gd name="connsiteX45" fmla="*/ 2007680 w 11363325"/>
                <a:gd name="connsiteY45" fmla="*/ 3332703 h 3495675"/>
                <a:gd name="connsiteX46" fmla="*/ 2005870 w 11363325"/>
                <a:gd name="connsiteY46" fmla="*/ 3231261 h 3495675"/>
                <a:gd name="connsiteX47" fmla="*/ 1929193 w 11363325"/>
                <a:gd name="connsiteY47" fmla="*/ 3188684 h 3495675"/>
                <a:gd name="connsiteX48" fmla="*/ 1961960 w 11363325"/>
                <a:gd name="connsiteY48" fmla="*/ 3130677 h 3495675"/>
                <a:gd name="connsiteX49" fmla="*/ 1847850 w 11363325"/>
                <a:gd name="connsiteY49" fmla="*/ 3093625 h 3495675"/>
                <a:gd name="connsiteX50" fmla="*/ 1863281 w 11363325"/>
                <a:gd name="connsiteY50" fmla="*/ 2997137 h 3495675"/>
                <a:gd name="connsiteX51" fmla="*/ 1957673 w 11363325"/>
                <a:gd name="connsiteY51" fmla="*/ 3006471 h 3495675"/>
                <a:gd name="connsiteX52" fmla="*/ 2019776 w 11363325"/>
                <a:gd name="connsiteY52" fmla="*/ 3112484 h 3495675"/>
                <a:gd name="connsiteX53" fmla="*/ 2068830 w 11363325"/>
                <a:gd name="connsiteY53" fmla="*/ 3065526 h 3495675"/>
                <a:gd name="connsiteX54" fmla="*/ 2061020 w 11363325"/>
                <a:gd name="connsiteY54" fmla="*/ 2944559 h 3495675"/>
                <a:gd name="connsiteX55" fmla="*/ 2064639 w 11363325"/>
                <a:gd name="connsiteY55" fmla="*/ 2930938 h 3495675"/>
                <a:gd name="connsiteX56" fmla="*/ 2164461 w 11363325"/>
                <a:gd name="connsiteY56" fmla="*/ 2904935 h 3495675"/>
                <a:gd name="connsiteX57" fmla="*/ 2174462 w 11363325"/>
                <a:gd name="connsiteY57" fmla="*/ 2844737 h 3495675"/>
                <a:gd name="connsiteX58" fmla="*/ 2144363 w 11363325"/>
                <a:gd name="connsiteY58" fmla="*/ 2754535 h 3495675"/>
                <a:gd name="connsiteX59" fmla="*/ 2286476 w 11363325"/>
                <a:gd name="connsiteY59" fmla="*/ 2780538 h 3495675"/>
                <a:gd name="connsiteX60" fmla="*/ 2292858 w 11363325"/>
                <a:gd name="connsiteY60" fmla="*/ 2739485 h 3495675"/>
                <a:gd name="connsiteX61" fmla="*/ 2337340 w 11363325"/>
                <a:gd name="connsiteY61" fmla="*/ 2786729 h 3495675"/>
                <a:gd name="connsiteX62" fmla="*/ 2405253 w 11363325"/>
                <a:gd name="connsiteY62" fmla="*/ 2622518 h 3495675"/>
                <a:gd name="connsiteX63" fmla="*/ 2478405 w 11363325"/>
                <a:gd name="connsiteY63" fmla="*/ 2735390 h 3495675"/>
                <a:gd name="connsiteX64" fmla="*/ 2416683 w 11363325"/>
                <a:gd name="connsiteY64" fmla="*/ 2594324 h 3495675"/>
                <a:gd name="connsiteX65" fmla="*/ 2517743 w 11363325"/>
                <a:gd name="connsiteY65" fmla="*/ 2600516 h 3495675"/>
                <a:gd name="connsiteX66" fmla="*/ 2563273 w 11363325"/>
                <a:gd name="connsiteY66" fmla="*/ 2546033 h 3495675"/>
                <a:gd name="connsiteX67" fmla="*/ 2633948 w 11363325"/>
                <a:gd name="connsiteY67" fmla="*/ 2504980 h 3495675"/>
                <a:gd name="connsiteX68" fmla="*/ 2691194 w 11363325"/>
                <a:gd name="connsiteY68" fmla="*/ 2545271 h 3495675"/>
                <a:gd name="connsiteX69" fmla="*/ 2742724 w 11363325"/>
                <a:gd name="connsiteY69" fmla="*/ 2633186 h 3495675"/>
                <a:gd name="connsiteX70" fmla="*/ 2794635 w 11363325"/>
                <a:gd name="connsiteY70" fmla="*/ 2642045 h 3495675"/>
                <a:gd name="connsiteX71" fmla="*/ 2876931 w 11363325"/>
                <a:gd name="connsiteY71" fmla="*/ 2517077 h 3495675"/>
                <a:gd name="connsiteX72" fmla="*/ 2886551 w 11363325"/>
                <a:gd name="connsiteY72" fmla="*/ 2505170 h 3495675"/>
                <a:gd name="connsiteX73" fmla="*/ 2947226 w 11363325"/>
                <a:gd name="connsiteY73" fmla="*/ 2548033 h 3495675"/>
                <a:gd name="connsiteX74" fmla="*/ 2941034 w 11363325"/>
                <a:gd name="connsiteY74" fmla="*/ 2456593 h 3495675"/>
                <a:gd name="connsiteX75" fmla="*/ 3068670 w 11363325"/>
                <a:gd name="connsiteY75" fmla="*/ 2516600 h 3495675"/>
                <a:gd name="connsiteX76" fmla="*/ 3110674 w 11363325"/>
                <a:gd name="connsiteY76" fmla="*/ 2553272 h 3495675"/>
                <a:gd name="connsiteX77" fmla="*/ 3139916 w 11363325"/>
                <a:gd name="connsiteY77" fmla="*/ 2377821 h 3495675"/>
                <a:gd name="connsiteX78" fmla="*/ 3192304 w 11363325"/>
                <a:gd name="connsiteY78" fmla="*/ 2410873 h 3495675"/>
                <a:gd name="connsiteX79" fmla="*/ 3257264 w 11363325"/>
                <a:gd name="connsiteY79" fmla="*/ 2440496 h 3495675"/>
                <a:gd name="connsiteX80" fmla="*/ 3289173 w 11363325"/>
                <a:gd name="connsiteY80" fmla="*/ 2366772 h 3495675"/>
                <a:gd name="connsiteX81" fmla="*/ 3355181 w 11363325"/>
                <a:gd name="connsiteY81" fmla="*/ 2377535 h 3495675"/>
                <a:gd name="connsiteX82" fmla="*/ 3412141 w 11363325"/>
                <a:gd name="connsiteY82" fmla="*/ 2373249 h 3495675"/>
                <a:gd name="connsiteX83" fmla="*/ 3476244 w 11363325"/>
                <a:gd name="connsiteY83" fmla="*/ 2477643 h 3495675"/>
                <a:gd name="connsiteX84" fmla="*/ 3508153 w 11363325"/>
                <a:gd name="connsiteY84" fmla="*/ 2424208 h 3495675"/>
                <a:gd name="connsiteX85" fmla="*/ 3585115 w 11363325"/>
                <a:gd name="connsiteY85" fmla="*/ 2405539 h 3495675"/>
                <a:gd name="connsiteX86" fmla="*/ 3557207 w 11363325"/>
                <a:gd name="connsiteY86" fmla="*/ 2539937 h 3495675"/>
                <a:gd name="connsiteX87" fmla="*/ 3666839 w 11363325"/>
                <a:gd name="connsiteY87" fmla="*/ 2508980 h 3495675"/>
                <a:gd name="connsiteX88" fmla="*/ 3724466 w 11363325"/>
                <a:gd name="connsiteY88" fmla="*/ 2408777 h 3495675"/>
                <a:gd name="connsiteX89" fmla="*/ 3774948 w 11363325"/>
                <a:gd name="connsiteY89" fmla="*/ 2464308 h 3495675"/>
                <a:gd name="connsiteX90" fmla="*/ 3826859 w 11363325"/>
                <a:gd name="connsiteY90" fmla="*/ 2478215 h 3495675"/>
                <a:gd name="connsiteX91" fmla="*/ 3947351 w 11363325"/>
                <a:gd name="connsiteY91" fmla="*/ 2479358 h 3495675"/>
                <a:gd name="connsiteX92" fmla="*/ 3789998 w 11363325"/>
                <a:gd name="connsiteY92" fmla="*/ 2525745 h 3495675"/>
                <a:gd name="connsiteX93" fmla="*/ 3752945 w 11363325"/>
                <a:gd name="connsiteY93" fmla="*/ 2572417 h 3495675"/>
                <a:gd name="connsiteX94" fmla="*/ 3806190 w 11363325"/>
                <a:gd name="connsiteY94" fmla="*/ 2666048 h 3495675"/>
                <a:gd name="connsiteX95" fmla="*/ 3809714 w 11363325"/>
                <a:gd name="connsiteY95" fmla="*/ 2662714 h 3495675"/>
                <a:gd name="connsiteX96" fmla="*/ 3865340 w 11363325"/>
                <a:gd name="connsiteY96" fmla="*/ 2649379 h 3495675"/>
                <a:gd name="connsiteX97" fmla="*/ 3939826 w 11363325"/>
                <a:gd name="connsiteY97" fmla="*/ 2774537 h 3495675"/>
                <a:gd name="connsiteX98" fmla="*/ 3989165 w 11363325"/>
                <a:gd name="connsiteY98" fmla="*/ 2772632 h 3495675"/>
                <a:gd name="connsiteX99" fmla="*/ 4054126 w 11363325"/>
                <a:gd name="connsiteY99" fmla="*/ 2664333 h 3495675"/>
                <a:gd name="connsiteX100" fmla="*/ 4105942 w 11363325"/>
                <a:gd name="connsiteY100" fmla="*/ 2733866 h 3495675"/>
                <a:gd name="connsiteX101" fmla="*/ 4232720 w 11363325"/>
                <a:gd name="connsiteY101" fmla="*/ 2643949 h 3495675"/>
                <a:gd name="connsiteX102" fmla="*/ 4207002 w 11363325"/>
                <a:gd name="connsiteY102" fmla="*/ 2763203 h 3495675"/>
                <a:gd name="connsiteX103" fmla="*/ 4325112 w 11363325"/>
                <a:gd name="connsiteY103" fmla="*/ 2712339 h 3495675"/>
                <a:gd name="connsiteX104" fmla="*/ 4293394 w 11363325"/>
                <a:gd name="connsiteY104" fmla="*/ 2770441 h 3495675"/>
                <a:gd name="connsiteX105" fmla="*/ 4329780 w 11363325"/>
                <a:gd name="connsiteY105" fmla="*/ 2794540 h 3495675"/>
                <a:gd name="connsiteX106" fmla="*/ 4331018 w 11363325"/>
                <a:gd name="connsiteY106" fmla="*/ 2734532 h 3495675"/>
                <a:gd name="connsiteX107" fmla="*/ 4397121 w 11363325"/>
                <a:gd name="connsiteY107" fmla="*/ 2718149 h 3495675"/>
                <a:gd name="connsiteX108" fmla="*/ 4338923 w 11363325"/>
                <a:gd name="connsiteY108" fmla="*/ 2617946 h 3495675"/>
                <a:gd name="connsiteX109" fmla="*/ 4433507 w 11363325"/>
                <a:gd name="connsiteY109" fmla="*/ 2586419 h 3495675"/>
                <a:gd name="connsiteX110" fmla="*/ 4473321 w 11363325"/>
                <a:gd name="connsiteY110" fmla="*/ 2668143 h 3495675"/>
                <a:gd name="connsiteX111" fmla="*/ 4467987 w 11363325"/>
                <a:gd name="connsiteY111" fmla="*/ 2766155 h 3495675"/>
                <a:gd name="connsiteX112" fmla="*/ 4549521 w 11363325"/>
                <a:gd name="connsiteY112" fmla="*/ 2746058 h 3495675"/>
                <a:gd name="connsiteX113" fmla="*/ 4628293 w 11363325"/>
                <a:gd name="connsiteY113" fmla="*/ 2674144 h 3495675"/>
                <a:gd name="connsiteX114" fmla="*/ 4675347 w 11363325"/>
                <a:gd name="connsiteY114" fmla="*/ 2786824 h 3495675"/>
                <a:gd name="connsiteX115" fmla="*/ 4728020 w 11363325"/>
                <a:gd name="connsiteY115" fmla="*/ 2775299 h 3495675"/>
                <a:gd name="connsiteX116" fmla="*/ 4784598 w 11363325"/>
                <a:gd name="connsiteY116" fmla="*/ 2799683 h 3495675"/>
                <a:gd name="connsiteX117" fmla="*/ 4829937 w 11363325"/>
                <a:gd name="connsiteY117" fmla="*/ 2765298 h 3495675"/>
                <a:gd name="connsiteX118" fmla="*/ 4878229 w 11363325"/>
                <a:gd name="connsiteY118" fmla="*/ 2720626 h 3495675"/>
                <a:gd name="connsiteX119" fmla="*/ 4904804 w 11363325"/>
                <a:gd name="connsiteY119" fmla="*/ 2598611 h 3495675"/>
                <a:gd name="connsiteX120" fmla="*/ 5019771 w 11363325"/>
                <a:gd name="connsiteY120" fmla="*/ 2779966 h 3495675"/>
                <a:gd name="connsiteX121" fmla="*/ 5027962 w 11363325"/>
                <a:gd name="connsiteY121" fmla="*/ 2644140 h 3495675"/>
                <a:gd name="connsiteX122" fmla="*/ 5083874 w 11363325"/>
                <a:gd name="connsiteY122" fmla="*/ 2629757 h 3495675"/>
                <a:gd name="connsiteX123" fmla="*/ 5119497 w 11363325"/>
                <a:gd name="connsiteY123" fmla="*/ 2744915 h 3495675"/>
                <a:gd name="connsiteX124" fmla="*/ 5197317 w 11363325"/>
                <a:gd name="connsiteY124" fmla="*/ 2591276 h 3495675"/>
                <a:gd name="connsiteX125" fmla="*/ 5202841 w 11363325"/>
                <a:gd name="connsiteY125" fmla="*/ 2732437 h 3495675"/>
                <a:gd name="connsiteX126" fmla="*/ 5277231 w 11363325"/>
                <a:gd name="connsiteY126" fmla="*/ 2699576 h 3495675"/>
                <a:gd name="connsiteX127" fmla="*/ 5273802 w 11363325"/>
                <a:gd name="connsiteY127" fmla="*/ 2781110 h 3495675"/>
                <a:gd name="connsiteX128" fmla="*/ 5398389 w 11363325"/>
                <a:gd name="connsiteY128" fmla="*/ 2727865 h 3495675"/>
                <a:gd name="connsiteX129" fmla="*/ 5428203 w 11363325"/>
                <a:gd name="connsiteY129" fmla="*/ 2786348 h 3495675"/>
                <a:gd name="connsiteX130" fmla="*/ 5460969 w 11363325"/>
                <a:gd name="connsiteY130" fmla="*/ 2842546 h 3495675"/>
                <a:gd name="connsiteX131" fmla="*/ 5500688 w 11363325"/>
                <a:gd name="connsiteY131" fmla="*/ 2872740 h 3495675"/>
                <a:gd name="connsiteX132" fmla="*/ 5535740 w 11363325"/>
                <a:gd name="connsiteY132" fmla="*/ 2865691 h 3495675"/>
                <a:gd name="connsiteX133" fmla="*/ 5566982 w 11363325"/>
                <a:gd name="connsiteY133" fmla="*/ 2777204 h 3495675"/>
                <a:gd name="connsiteX134" fmla="*/ 5644134 w 11363325"/>
                <a:gd name="connsiteY134" fmla="*/ 2910459 h 3495675"/>
                <a:gd name="connsiteX135" fmla="*/ 5638610 w 11363325"/>
                <a:gd name="connsiteY135" fmla="*/ 2917889 h 3495675"/>
                <a:gd name="connsiteX136" fmla="*/ 5649659 w 11363325"/>
                <a:gd name="connsiteY136" fmla="*/ 2919984 h 3495675"/>
                <a:gd name="connsiteX137" fmla="*/ 5657088 w 11363325"/>
                <a:gd name="connsiteY137" fmla="*/ 2932748 h 3495675"/>
                <a:gd name="connsiteX138" fmla="*/ 5662517 w 11363325"/>
                <a:gd name="connsiteY138" fmla="*/ 2922461 h 3495675"/>
                <a:gd name="connsiteX139" fmla="*/ 5778723 w 11363325"/>
                <a:gd name="connsiteY139" fmla="*/ 2944845 h 3495675"/>
                <a:gd name="connsiteX140" fmla="*/ 5660612 w 11363325"/>
                <a:gd name="connsiteY140" fmla="*/ 3022854 h 3495675"/>
                <a:gd name="connsiteX141" fmla="*/ 5781675 w 11363325"/>
                <a:gd name="connsiteY141" fmla="*/ 3000851 h 3495675"/>
                <a:gd name="connsiteX142" fmla="*/ 5779389 w 11363325"/>
                <a:gd name="connsiteY142" fmla="*/ 2953131 h 3495675"/>
                <a:gd name="connsiteX143" fmla="*/ 5835586 w 11363325"/>
                <a:gd name="connsiteY143" fmla="*/ 3020473 h 3495675"/>
                <a:gd name="connsiteX144" fmla="*/ 5890260 w 11363325"/>
                <a:gd name="connsiteY144" fmla="*/ 3056001 h 3495675"/>
                <a:gd name="connsiteX145" fmla="*/ 5937980 w 11363325"/>
                <a:gd name="connsiteY145" fmla="*/ 2973896 h 3495675"/>
                <a:gd name="connsiteX146" fmla="*/ 5989796 w 11363325"/>
                <a:gd name="connsiteY146" fmla="*/ 2964466 h 3495675"/>
                <a:gd name="connsiteX147" fmla="*/ 6043422 w 11363325"/>
                <a:gd name="connsiteY147" fmla="*/ 2964085 h 3495675"/>
                <a:gd name="connsiteX148" fmla="*/ 6100667 w 11363325"/>
                <a:gd name="connsiteY148" fmla="*/ 3137249 h 3495675"/>
                <a:gd name="connsiteX149" fmla="*/ 6154865 w 11363325"/>
                <a:gd name="connsiteY149" fmla="*/ 3053239 h 3495675"/>
                <a:gd name="connsiteX150" fmla="*/ 6206585 w 11363325"/>
                <a:gd name="connsiteY150" fmla="*/ 3067812 h 3495675"/>
                <a:gd name="connsiteX151" fmla="*/ 6266021 w 11363325"/>
                <a:gd name="connsiteY151" fmla="*/ 3155156 h 3495675"/>
                <a:gd name="connsiteX152" fmla="*/ 6308122 w 11363325"/>
                <a:gd name="connsiteY152" fmla="*/ 3008757 h 3495675"/>
                <a:gd name="connsiteX153" fmla="*/ 6352604 w 11363325"/>
                <a:gd name="connsiteY153" fmla="*/ 2945225 h 3495675"/>
                <a:gd name="connsiteX154" fmla="*/ 6431852 w 11363325"/>
                <a:gd name="connsiteY154" fmla="*/ 2983802 h 3495675"/>
                <a:gd name="connsiteX155" fmla="*/ 6442805 w 11363325"/>
                <a:gd name="connsiteY155" fmla="*/ 3129153 h 3495675"/>
                <a:gd name="connsiteX156" fmla="*/ 6550343 w 11363325"/>
                <a:gd name="connsiteY156" fmla="*/ 3018949 h 3495675"/>
                <a:gd name="connsiteX157" fmla="*/ 6579394 w 11363325"/>
                <a:gd name="connsiteY157" fmla="*/ 3141059 h 3495675"/>
                <a:gd name="connsiteX158" fmla="*/ 6610446 w 11363325"/>
                <a:gd name="connsiteY158" fmla="*/ 3038094 h 3495675"/>
                <a:gd name="connsiteX159" fmla="*/ 6685217 w 11363325"/>
                <a:gd name="connsiteY159" fmla="*/ 3083338 h 3495675"/>
                <a:gd name="connsiteX160" fmla="*/ 6709124 w 11363325"/>
                <a:gd name="connsiteY160" fmla="*/ 3018187 h 3495675"/>
                <a:gd name="connsiteX161" fmla="*/ 6730365 w 11363325"/>
                <a:gd name="connsiteY161" fmla="*/ 3103912 h 3495675"/>
                <a:gd name="connsiteX162" fmla="*/ 6825139 w 11363325"/>
                <a:gd name="connsiteY162" fmla="*/ 3023140 h 3495675"/>
                <a:gd name="connsiteX163" fmla="*/ 6762941 w 11363325"/>
                <a:gd name="connsiteY163" fmla="*/ 3139821 h 3495675"/>
                <a:gd name="connsiteX164" fmla="*/ 6843522 w 11363325"/>
                <a:gd name="connsiteY164" fmla="*/ 3145822 h 3495675"/>
                <a:gd name="connsiteX165" fmla="*/ 6879812 w 11363325"/>
                <a:gd name="connsiteY165" fmla="*/ 3212592 h 3495675"/>
                <a:gd name="connsiteX166" fmla="*/ 6966680 w 11363325"/>
                <a:gd name="connsiteY166" fmla="*/ 3236405 h 3495675"/>
                <a:gd name="connsiteX167" fmla="*/ 6997732 w 11363325"/>
                <a:gd name="connsiteY167" fmla="*/ 3128963 h 3495675"/>
                <a:gd name="connsiteX168" fmla="*/ 7064693 w 11363325"/>
                <a:gd name="connsiteY168" fmla="*/ 3150013 h 3495675"/>
                <a:gd name="connsiteX169" fmla="*/ 7140035 w 11363325"/>
                <a:gd name="connsiteY169" fmla="*/ 3183350 h 3495675"/>
                <a:gd name="connsiteX170" fmla="*/ 7155847 w 11363325"/>
                <a:gd name="connsiteY170" fmla="*/ 3057144 h 3495675"/>
                <a:gd name="connsiteX171" fmla="*/ 7217569 w 11363325"/>
                <a:gd name="connsiteY171" fmla="*/ 3106007 h 3495675"/>
                <a:gd name="connsiteX172" fmla="*/ 7228523 w 11363325"/>
                <a:gd name="connsiteY172" fmla="*/ 3169539 h 3495675"/>
                <a:gd name="connsiteX173" fmla="*/ 7318724 w 11363325"/>
                <a:gd name="connsiteY173" fmla="*/ 3154395 h 3495675"/>
                <a:gd name="connsiteX174" fmla="*/ 7378636 w 11363325"/>
                <a:gd name="connsiteY174" fmla="*/ 3157252 h 3495675"/>
                <a:gd name="connsiteX175" fmla="*/ 7376541 w 11363325"/>
                <a:gd name="connsiteY175" fmla="*/ 3102007 h 3495675"/>
                <a:gd name="connsiteX176" fmla="*/ 7427881 w 11363325"/>
                <a:gd name="connsiteY176" fmla="*/ 3095435 h 3495675"/>
                <a:gd name="connsiteX177" fmla="*/ 7499414 w 11363325"/>
                <a:gd name="connsiteY177" fmla="*/ 3116771 h 3495675"/>
                <a:gd name="connsiteX178" fmla="*/ 7593616 w 11363325"/>
                <a:gd name="connsiteY178" fmla="*/ 3121247 h 3495675"/>
                <a:gd name="connsiteX179" fmla="*/ 7505319 w 11363325"/>
                <a:gd name="connsiteY179" fmla="*/ 2943701 h 3495675"/>
                <a:gd name="connsiteX180" fmla="*/ 7592283 w 11363325"/>
                <a:gd name="connsiteY180" fmla="*/ 2956465 h 3495675"/>
                <a:gd name="connsiteX181" fmla="*/ 7650576 w 11363325"/>
                <a:gd name="connsiteY181" fmla="*/ 2972467 h 3495675"/>
                <a:gd name="connsiteX182" fmla="*/ 7683627 w 11363325"/>
                <a:gd name="connsiteY182" fmla="*/ 2913126 h 3495675"/>
                <a:gd name="connsiteX183" fmla="*/ 7722394 w 11363325"/>
                <a:gd name="connsiteY183" fmla="*/ 2943511 h 3495675"/>
                <a:gd name="connsiteX184" fmla="*/ 7827169 w 11363325"/>
                <a:gd name="connsiteY184" fmla="*/ 2891409 h 3495675"/>
                <a:gd name="connsiteX185" fmla="*/ 7635907 w 11363325"/>
                <a:gd name="connsiteY185" fmla="*/ 2838545 h 3495675"/>
                <a:gd name="connsiteX186" fmla="*/ 7828121 w 11363325"/>
                <a:gd name="connsiteY186" fmla="*/ 2805779 h 3495675"/>
                <a:gd name="connsiteX187" fmla="*/ 7762494 w 11363325"/>
                <a:gd name="connsiteY187" fmla="*/ 2701671 h 3495675"/>
                <a:gd name="connsiteX188" fmla="*/ 7867936 w 11363325"/>
                <a:gd name="connsiteY188" fmla="*/ 2752725 h 3495675"/>
                <a:gd name="connsiteX189" fmla="*/ 7875556 w 11363325"/>
                <a:gd name="connsiteY189" fmla="*/ 2668810 h 3495675"/>
                <a:gd name="connsiteX190" fmla="*/ 7986999 w 11363325"/>
                <a:gd name="connsiteY190" fmla="*/ 2623185 h 3495675"/>
                <a:gd name="connsiteX191" fmla="*/ 7884605 w 11363325"/>
                <a:gd name="connsiteY191" fmla="*/ 2554129 h 3495675"/>
                <a:gd name="connsiteX192" fmla="*/ 7876699 w 11363325"/>
                <a:gd name="connsiteY192" fmla="*/ 2488787 h 3495675"/>
                <a:gd name="connsiteX193" fmla="*/ 7953280 w 11363325"/>
                <a:gd name="connsiteY193" fmla="*/ 2466975 h 3495675"/>
                <a:gd name="connsiteX194" fmla="*/ 7977569 w 11363325"/>
                <a:gd name="connsiteY194" fmla="*/ 2409825 h 3495675"/>
                <a:gd name="connsiteX195" fmla="*/ 8022622 w 11363325"/>
                <a:gd name="connsiteY195" fmla="*/ 2384393 h 3495675"/>
                <a:gd name="connsiteX196" fmla="*/ 8080344 w 11363325"/>
                <a:gd name="connsiteY196" fmla="*/ 2448020 h 3495675"/>
                <a:gd name="connsiteX197" fmla="*/ 8132636 w 11363325"/>
                <a:gd name="connsiteY197" fmla="*/ 2333816 h 3495675"/>
                <a:gd name="connsiteX198" fmla="*/ 8196167 w 11363325"/>
                <a:gd name="connsiteY198" fmla="*/ 2343055 h 3495675"/>
                <a:gd name="connsiteX199" fmla="*/ 8258556 w 11363325"/>
                <a:gd name="connsiteY199" fmla="*/ 2300288 h 3495675"/>
                <a:gd name="connsiteX200" fmla="*/ 8308181 w 11363325"/>
                <a:gd name="connsiteY200" fmla="*/ 2355723 h 3495675"/>
                <a:gd name="connsiteX201" fmla="*/ 8366760 w 11363325"/>
                <a:gd name="connsiteY201" fmla="*/ 2337626 h 3495675"/>
                <a:gd name="connsiteX202" fmla="*/ 8412670 w 11363325"/>
                <a:gd name="connsiteY202" fmla="*/ 2463165 h 3495675"/>
                <a:gd name="connsiteX203" fmla="*/ 8475059 w 11363325"/>
                <a:gd name="connsiteY203" fmla="*/ 2357533 h 3495675"/>
                <a:gd name="connsiteX204" fmla="*/ 8535638 w 11363325"/>
                <a:gd name="connsiteY204" fmla="*/ 2278952 h 3495675"/>
                <a:gd name="connsiteX205" fmla="*/ 8584216 w 11363325"/>
                <a:gd name="connsiteY205" fmla="*/ 2373249 h 3495675"/>
                <a:gd name="connsiteX206" fmla="*/ 8644985 w 11363325"/>
                <a:gd name="connsiteY206" fmla="*/ 2288096 h 3495675"/>
                <a:gd name="connsiteX207" fmla="*/ 8691372 w 11363325"/>
                <a:gd name="connsiteY207" fmla="*/ 2334863 h 3495675"/>
                <a:gd name="connsiteX208" fmla="*/ 8765000 w 11363325"/>
                <a:gd name="connsiteY208" fmla="*/ 2487359 h 3495675"/>
                <a:gd name="connsiteX209" fmla="*/ 8790623 w 11363325"/>
                <a:gd name="connsiteY209" fmla="*/ 2265712 h 3495675"/>
                <a:gd name="connsiteX210" fmla="*/ 8843010 w 11363325"/>
                <a:gd name="connsiteY210" fmla="*/ 2436876 h 3495675"/>
                <a:gd name="connsiteX211" fmla="*/ 8906446 w 11363325"/>
                <a:gd name="connsiteY211" fmla="*/ 2404396 h 3495675"/>
                <a:gd name="connsiteX212" fmla="*/ 8903303 w 11363325"/>
                <a:gd name="connsiteY212" fmla="*/ 2516981 h 3495675"/>
                <a:gd name="connsiteX213" fmla="*/ 9019413 w 11363325"/>
                <a:gd name="connsiteY213" fmla="*/ 2434400 h 3495675"/>
                <a:gd name="connsiteX214" fmla="*/ 9086564 w 11363325"/>
                <a:gd name="connsiteY214" fmla="*/ 2541270 h 3495675"/>
                <a:gd name="connsiteX215" fmla="*/ 9122759 w 11363325"/>
                <a:gd name="connsiteY215" fmla="*/ 2414016 h 3495675"/>
                <a:gd name="connsiteX216" fmla="*/ 9184100 w 11363325"/>
                <a:gd name="connsiteY216" fmla="*/ 2409063 h 3495675"/>
                <a:gd name="connsiteX217" fmla="*/ 9242393 w 11363325"/>
                <a:gd name="connsiteY217" fmla="*/ 2520410 h 3495675"/>
                <a:gd name="connsiteX218" fmla="*/ 9300972 w 11363325"/>
                <a:gd name="connsiteY218" fmla="*/ 2389537 h 3495675"/>
                <a:gd name="connsiteX219" fmla="*/ 9385268 w 11363325"/>
                <a:gd name="connsiteY219" fmla="*/ 2362772 h 3495675"/>
                <a:gd name="connsiteX220" fmla="*/ 9360027 w 11363325"/>
                <a:gd name="connsiteY220" fmla="*/ 2527268 h 3495675"/>
                <a:gd name="connsiteX221" fmla="*/ 9484805 w 11363325"/>
                <a:gd name="connsiteY221" fmla="*/ 2473833 h 3495675"/>
                <a:gd name="connsiteX222" fmla="*/ 9536430 w 11363325"/>
                <a:gd name="connsiteY222" fmla="*/ 2477453 h 3495675"/>
                <a:gd name="connsiteX223" fmla="*/ 9564148 w 11363325"/>
                <a:gd name="connsiteY223" fmla="*/ 2533269 h 3495675"/>
                <a:gd name="connsiteX224" fmla="*/ 9616726 w 11363325"/>
                <a:gd name="connsiteY224" fmla="*/ 2570798 h 3495675"/>
                <a:gd name="connsiteX225" fmla="*/ 9686258 w 11363325"/>
                <a:gd name="connsiteY225" fmla="*/ 2645759 h 3495675"/>
                <a:gd name="connsiteX226" fmla="*/ 9744646 w 11363325"/>
                <a:gd name="connsiteY226" fmla="*/ 2589943 h 3495675"/>
                <a:gd name="connsiteX227" fmla="*/ 9790462 w 11363325"/>
                <a:gd name="connsiteY227" fmla="*/ 2561463 h 3495675"/>
                <a:gd name="connsiteX228" fmla="*/ 9787985 w 11363325"/>
                <a:gd name="connsiteY228" fmla="*/ 2486025 h 3495675"/>
                <a:gd name="connsiteX229" fmla="*/ 9823418 w 11363325"/>
                <a:gd name="connsiteY229" fmla="*/ 2454212 h 3495675"/>
                <a:gd name="connsiteX230" fmla="*/ 9873805 w 11363325"/>
                <a:gd name="connsiteY230" fmla="*/ 2365724 h 3495675"/>
                <a:gd name="connsiteX231" fmla="*/ 9928956 w 11363325"/>
                <a:gd name="connsiteY231" fmla="*/ 2379726 h 3495675"/>
                <a:gd name="connsiteX232" fmla="*/ 9994202 w 11363325"/>
                <a:gd name="connsiteY232" fmla="*/ 2399348 h 3495675"/>
                <a:gd name="connsiteX233" fmla="*/ 10029634 w 11363325"/>
                <a:gd name="connsiteY233" fmla="*/ 2462498 h 3495675"/>
                <a:gd name="connsiteX234" fmla="*/ 10074212 w 11363325"/>
                <a:gd name="connsiteY234" fmla="*/ 2483930 h 3495675"/>
                <a:gd name="connsiteX235" fmla="*/ 10165461 w 11363325"/>
                <a:gd name="connsiteY235" fmla="*/ 2416397 h 3495675"/>
                <a:gd name="connsiteX236" fmla="*/ 10164699 w 11363325"/>
                <a:gd name="connsiteY236" fmla="*/ 2471547 h 3495675"/>
                <a:gd name="connsiteX237" fmla="*/ 10189178 w 11363325"/>
                <a:gd name="connsiteY237" fmla="*/ 2433828 h 3495675"/>
                <a:gd name="connsiteX238" fmla="*/ 10224897 w 11363325"/>
                <a:gd name="connsiteY238" fmla="*/ 2398109 h 3495675"/>
                <a:gd name="connsiteX239" fmla="*/ 10310051 w 11363325"/>
                <a:gd name="connsiteY239" fmla="*/ 2404015 h 3495675"/>
                <a:gd name="connsiteX240" fmla="*/ 10311765 w 11363325"/>
                <a:gd name="connsiteY240" fmla="*/ 2411349 h 3495675"/>
                <a:gd name="connsiteX241" fmla="*/ 10438734 w 11363325"/>
                <a:gd name="connsiteY241" fmla="*/ 2362391 h 3495675"/>
                <a:gd name="connsiteX242" fmla="*/ 10370820 w 11363325"/>
                <a:gd name="connsiteY242" fmla="*/ 2528888 h 3495675"/>
                <a:gd name="connsiteX243" fmla="*/ 10491883 w 11363325"/>
                <a:gd name="connsiteY243" fmla="*/ 2405539 h 3495675"/>
                <a:gd name="connsiteX244" fmla="*/ 10486359 w 11363325"/>
                <a:gd name="connsiteY244" fmla="*/ 2384774 h 3495675"/>
                <a:gd name="connsiteX245" fmla="*/ 10622852 w 11363325"/>
                <a:gd name="connsiteY245" fmla="*/ 2485263 h 3495675"/>
                <a:gd name="connsiteX246" fmla="*/ 10613897 w 11363325"/>
                <a:gd name="connsiteY246" fmla="*/ 2343055 h 3495675"/>
                <a:gd name="connsiteX247" fmla="*/ 10724769 w 11363325"/>
                <a:gd name="connsiteY247" fmla="*/ 2486692 h 3495675"/>
                <a:gd name="connsiteX248" fmla="*/ 10763250 w 11363325"/>
                <a:gd name="connsiteY248" fmla="*/ 2421350 h 3495675"/>
                <a:gd name="connsiteX249" fmla="*/ 10827830 w 11363325"/>
                <a:gd name="connsiteY249" fmla="*/ 2432018 h 3495675"/>
                <a:gd name="connsiteX250" fmla="*/ 10874026 w 11363325"/>
                <a:gd name="connsiteY250" fmla="*/ 2385536 h 3495675"/>
                <a:gd name="connsiteX251" fmla="*/ 10932795 w 11363325"/>
                <a:gd name="connsiteY251" fmla="*/ 2380202 h 3495675"/>
                <a:gd name="connsiteX252" fmla="*/ 10960228 w 11363325"/>
                <a:gd name="connsiteY252" fmla="*/ 2225421 h 3495675"/>
                <a:gd name="connsiteX253" fmla="*/ 10986992 w 11363325"/>
                <a:gd name="connsiteY253" fmla="*/ 2382869 h 3495675"/>
                <a:gd name="connsiteX254" fmla="*/ 11046809 w 11363325"/>
                <a:gd name="connsiteY254" fmla="*/ 2397062 h 3495675"/>
                <a:gd name="connsiteX255" fmla="*/ 11124534 w 11363325"/>
                <a:gd name="connsiteY255" fmla="*/ 2365534 h 3495675"/>
                <a:gd name="connsiteX256" fmla="*/ 11182445 w 11363325"/>
                <a:gd name="connsiteY256" fmla="*/ 2383155 h 3495675"/>
                <a:gd name="connsiteX257" fmla="*/ 11250454 w 11363325"/>
                <a:gd name="connsiteY257" fmla="*/ 2375249 h 3495675"/>
                <a:gd name="connsiteX258" fmla="*/ 11303508 w 11363325"/>
                <a:gd name="connsiteY258" fmla="*/ 2327243 h 3495675"/>
                <a:gd name="connsiteX259" fmla="*/ 11356467 w 11363325"/>
                <a:gd name="connsiteY259" fmla="*/ 2424494 h 3495675"/>
                <a:gd name="connsiteX260" fmla="*/ 11372564 w 11363325"/>
                <a:gd name="connsiteY260" fmla="*/ 2435924 h 3495675"/>
                <a:gd name="connsiteX261" fmla="*/ 11372564 w 11363325"/>
                <a:gd name="connsiteY261" fmla="*/ 0 h 3495675"/>
                <a:gd name="connsiteX262" fmla="*/ 0 w 11363325"/>
                <a:gd name="connsiteY262" fmla="*/ 0 h 3495675"/>
                <a:gd name="connsiteX263" fmla="*/ 7624191 w 11363325"/>
                <a:gd name="connsiteY263" fmla="*/ 2067973 h 3495675"/>
                <a:gd name="connsiteX264" fmla="*/ 7586187 w 11363325"/>
                <a:gd name="connsiteY264" fmla="*/ 1943672 h 3495675"/>
                <a:gd name="connsiteX265" fmla="*/ 7601522 w 11363325"/>
                <a:gd name="connsiteY265" fmla="*/ 1930813 h 3495675"/>
                <a:gd name="connsiteX266" fmla="*/ 7634669 w 11363325"/>
                <a:gd name="connsiteY266" fmla="*/ 1941100 h 3495675"/>
                <a:gd name="connsiteX267" fmla="*/ 7624191 w 11363325"/>
                <a:gd name="connsiteY267" fmla="*/ 2067973 h 3495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</a:cxnLst>
              <a:rect l="l" t="t" r="r" b="b"/>
              <a:pathLst>
                <a:path w="11363325" h="3495675">
                  <a:moveTo>
                    <a:pt x="0" y="0"/>
                  </a:moveTo>
                  <a:lnTo>
                    <a:pt x="0" y="2568226"/>
                  </a:lnTo>
                  <a:lnTo>
                    <a:pt x="19336" y="2547080"/>
                  </a:lnTo>
                  <a:lnTo>
                    <a:pt x="91535" y="2541841"/>
                  </a:lnTo>
                  <a:lnTo>
                    <a:pt x="102775" y="2636520"/>
                  </a:lnTo>
                  <a:lnTo>
                    <a:pt x="78772" y="2749677"/>
                  </a:lnTo>
                  <a:lnTo>
                    <a:pt x="210312" y="2682907"/>
                  </a:lnTo>
                  <a:lnTo>
                    <a:pt x="278511" y="2680145"/>
                  </a:lnTo>
                  <a:lnTo>
                    <a:pt x="299847" y="2746153"/>
                  </a:lnTo>
                  <a:lnTo>
                    <a:pt x="268700" y="2873407"/>
                  </a:lnTo>
                  <a:lnTo>
                    <a:pt x="378619" y="2834164"/>
                  </a:lnTo>
                  <a:lnTo>
                    <a:pt x="383381" y="2910840"/>
                  </a:lnTo>
                  <a:lnTo>
                    <a:pt x="404241" y="2994470"/>
                  </a:lnTo>
                  <a:lnTo>
                    <a:pt x="479108" y="3001995"/>
                  </a:lnTo>
                  <a:lnTo>
                    <a:pt x="559308" y="2948559"/>
                  </a:lnTo>
                  <a:lnTo>
                    <a:pt x="590169" y="3082671"/>
                  </a:lnTo>
                  <a:lnTo>
                    <a:pt x="659035" y="3032570"/>
                  </a:lnTo>
                  <a:lnTo>
                    <a:pt x="714089" y="3084005"/>
                  </a:lnTo>
                  <a:lnTo>
                    <a:pt x="758285" y="3006757"/>
                  </a:lnTo>
                  <a:lnTo>
                    <a:pt x="775811" y="3059621"/>
                  </a:lnTo>
                  <a:lnTo>
                    <a:pt x="819722" y="3041714"/>
                  </a:lnTo>
                  <a:lnTo>
                    <a:pt x="893350" y="3040952"/>
                  </a:lnTo>
                  <a:lnTo>
                    <a:pt x="892112" y="3111532"/>
                  </a:lnTo>
                  <a:lnTo>
                    <a:pt x="1005364" y="3103721"/>
                  </a:lnTo>
                  <a:lnTo>
                    <a:pt x="976027" y="3173063"/>
                  </a:lnTo>
                  <a:lnTo>
                    <a:pt x="1054703" y="3175159"/>
                  </a:lnTo>
                  <a:lnTo>
                    <a:pt x="1054703" y="3175064"/>
                  </a:lnTo>
                  <a:lnTo>
                    <a:pt x="1111472" y="3158490"/>
                  </a:lnTo>
                  <a:lnTo>
                    <a:pt x="1200245" y="3255550"/>
                  </a:lnTo>
                  <a:lnTo>
                    <a:pt x="1274255" y="3154775"/>
                  </a:lnTo>
                  <a:lnTo>
                    <a:pt x="1294067" y="3253073"/>
                  </a:lnTo>
                  <a:lnTo>
                    <a:pt x="1185577" y="3354800"/>
                  </a:lnTo>
                  <a:lnTo>
                    <a:pt x="1302639" y="3385947"/>
                  </a:lnTo>
                  <a:lnTo>
                    <a:pt x="1340072" y="3302127"/>
                  </a:lnTo>
                  <a:lnTo>
                    <a:pt x="1414367" y="3363087"/>
                  </a:lnTo>
                  <a:lnTo>
                    <a:pt x="1432274" y="3434048"/>
                  </a:lnTo>
                  <a:lnTo>
                    <a:pt x="1498759" y="3388043"/>
                  </a:lnTo>
                  <a:lnTo>
                    <a:pt x="1507712" y="3467386"/>
                  </a:lnTo>
                  <a:lnTo>
                    <a:pt x="1620488" y="3370803"/>
                  </a:lnTo>
                  <a:lnTo>
                    <a:pt x="1609725" y="3390233"/>
                  </a:lnTo>
                  <a:lnTo>
                    <a:pt x="1657922" y="3376041"/>
                  </a:lnTo>
                  <a:lnTo>
                    <a:pt x="1776032" y="3499295"/>
                  </a:lnTo>
                  <a:lnTo>
                    <a:pt x="1755553" y="3349657"/>
                  </a:lnTo>
                  <a:lnTo>
                    <a:pt x="1822990" y="3340227"/>
                  </a:lnTo>
                  <a:lnTo>
                    <a:pt x="1915192" y="3379661"/>
                  </a:lnTo>
                  <a:lnTo>
                    <a:pt x="2007680" y="3332703"/>
                  </a:lnTo>
                  <a:lnTo>
                    <a:pt x="2005870" y="3231261"/>
                  </a:lnTo>
                  <a:lnTo>
                    <a:pt x="1929193" y="3188684"/>
                  </a:lnTo>
                  <a:lnTo>
                    <a:pt x="1961960" y="3130677"/>
                  </a:lnTo>
                  <a:lnTo>
                    <a:pt x="1847850" y="3093625"/>
                  </a:lnTo>
                  <a:lnTo>
                    <a:pt x="1863281" y="2997137"/>
                  </a:lnTo>
                  <a:lnTo>
                    <a:pt x="1957673" y="3006471"/>
                  </a:lnTo>
                  <a:lnTo>
                    <a:pt x="2019776" y="3112484"/>
                  </a:lnTo>
                  <a:lnTo>
                    <a:pt x="2068830" y="3065526"/>
                  </a:lnTo>
                  <a:lnTo>
                    <a:pt x="2061020" y="2944559"/>
                  </a:lnTo>
                  <a:lnTo>
                    <a:pt x="2064639" y="2930938"/>
                  </a:lnTo>
                  <a:lnTo>
                    <a:pt x="2164461" y="2904935"/>
                  </a:lnTo>
                  <a:lnTo>
                    <a:pt x="2174462" y="2844737"/>
                  </a:lnTo>
                  <a:lnTo>
                    <a:pt x="2144363" y="2754535"/>
                  </a:lnTo>
                  <a:lnTo>
                    <a:pt x="2286476" y="2780538"/>
                  </a:lnTo>
                  <a:lnTo>
                    <a:pt x="2292858" y="2739485"/>
                  </a:lnTo>
                  <a:lnTo>
                    <a:pt x="2337340" y="2786729"/>
                  </a:lnTo>
                  <a:lnTo>
                    <a:pt x="2405253" y="2622518"/>
                  </a:lnTo>
                  <a:lnTo>
                    <a:pt x="2478405" y="2735390"/>
                  </a:lnTo>
                  <a:lnTo>
                    <a:pt x="2416683" y="2594324"/>
                  </a:lnTo>
                  <a:lnTo>
                    <a:pt x="2517743" y="2600516"/>
                  </a:lnTo>
                  <a:lnTo>
                    <a:pt x="2563273" y="2546033"/>
                  </a:lnTo>
                  <a:lnTo>
                    <a:pt x="2633948" y="2504980"/>
                  </a:lnTo>
                  <a:lnTo>
                    <a:pt x="2691194" y="2545271"/>
                  </a:lnTo>
                  <a:lnTo>
                    <a:pt x="2742724" y="2633186"/>
                  </a:lnTo>
                  <a:lnTo>
                    <a:pt x="2794635" y="2642045"/>
                  </a:lnTo>
                  <a:lnTo>
                    <a:pt x="2876931" y="2517077"/>
                  </a:lnTo>
                  <a:lnTo>
                    <a:pt x="2886551" y="2505170"/>
                  </a:lnTo>
                  <a:lnTo>
                    <a:pt x="2947226" y="2548033"/>
                  </a:lnTo>
                  <a:lnTo>
                    <a:pt x="2941034" y="2456593"/>
                  </a:lnTo>
                  <a:lnTo>
                    <a:pt x="3068670" y="2516600"/>
                  </a:lnTo>
                  <a:lnTo>
                    <a:pt x="3110674" y="2553272"/>
                  </a:lnTo>
                  <a:lnTo>
                    <a:pt x="3139916" y="2377821"/>
                  </a:lnTo>
                  <a:lnTo>
                    <a:pt x="3192304" y="2410873"/>
                  </a:lnTo>
                  <a:lnTo>
                    <a:pt x="3257264" y="2440496"/>
                  </a:lnTo>
                  <a:lnTo>
                    <a:pt x="3289173" y="2366772"/>
                  </a:lnTo>
                  <a:lnTo>
                    <a:pt x="3355181" y="2377535"/>
                  </a:lnTo>
                  <a:lnTo>
                    <a:pt x="3412141" y="2373249"/>
                  </a:lnTo>
                  <a:lnTo>
                    <a:pt x="3476244" y="2477643"/>
                  </a:lnTo>
                  <a:lnTo>
                    <a:pt x="3508153" y="2424208"/>
                  </a:lnTo>
                  <a:lnTo>
                    <a:pt x="3585115" y="2405539"/>
                  </a:lnTo>
                  <a:lnTo>
                    <a:pt x="3557207" y="2539937"/>
                  </a:lnTo>
                  <a:lnTo>
                    <a:pt x="3666839" y="2508980"/>
                  </a:lnTo>
                  <a:lnTo>
                    <a:pt x="3724466" y="2408777"/>
                  </a:lnTo>
                  <a:lnTo>
                    <a:pt x="3774948" y="2464308"/>
                  </a:lnTo>
                  <a:lnTo>
                    <a:pt x="3826859" y="2478215"/>
                  </a:lnTo>
                  <a:lnTo>
                    <a:pt x="3947351" y="2479358"/>
                  </a:lnTo>
                  <a:lnTo>
                    <a:pt x="3789998" y="2525745"/>
                  </a:lnTo>
                  <a:lnTo>
                    <a:pt x="3752945" y="2572417"/>
                  </a:lnTo>
                  <a:lnTo>
                    <a:pt x="3806190" y="2666048"/>
                  </a:lnTo>
                  <a:lnTo>
                    <a:pt x="3809714" y="2662714"/>
                  </a:lnTo>
                  <a:lnTo>
                    <a:pt x="3865340" y="2649379"/>
                  </a:lnTo>
                  <a:lnTo>
                    <a:pt x="3939826" y="2774537"/>
                  </a:lnTo>
                  <a:lnTo>
                    <a:pt x="3989165" y="2772632"/>
                  </a:lnTo>
                  <a:lnTo>
                    <a:pt x="4054126" y="2664333"/>
                  </a:lnTo>
                  <a:lnTo>
                    <a:pt x="4105942" y="2733866"/>
                  </a:lnTo>
                  <a:lnTo>
                    <a:pt x="4232720" y="2643949"/>
                  </a:lnTo>
                  <a:lnTo>
                    <a:pt x="4207002" y="2763203"/>
                  </a:lnTo>
                  <a:lnTo>
                    <a:pt x="4325112" y="2712339"/>
                  </a:lnTo>
                  <a:lnTo>
                    <a:pt x="4293394" y="2770441"/>
                  </a:lnTo>
                  <a:lnTo>
                    <a:pt x="4329780" y="2794540"/>
                  </a:lnTo>
                  <a:lnTo>
                    <a:pt x="4331018" y="2734532"/>
                  </a:lnTo>
                  <a:lnTo>
                    <a:pt x="4397121" y="2718149"/>
                  </a:lnTo>
                  <a:lnTo>
                    <a:pt x="4338923" y="2617946"/>
                  </a:lnTo>
                  <a:lnTo>
                    <a:pt x="4433507" y="2586419"/>
                  </a:lnTo>
                  <a:lnTo>
                    <a:pt x="4473321" y="2668143"/>
                  </a:lnTo>
                  <a:lnTo>
                    <a:pt x="4467987" y="2766155"/>
                  </a:lnTo>
                  <a:lnTo>
                    <a:pt x="4549521" y="2746058"/>
                  </a:lnTo>
                  <a:lnTo>
                    <a:pt x="4628293" y="2674144"/>
                  </a:lnTo>
                  <a:lnTo>
                    <a:pt x="4675347" y="2786824"/>
                  </a:lnTo>
                  <a:lnTo>
                    <a:pt x="4728020" y="2775299"/>
                  </a:lnTo>
                  <a:lnTo>
                    <a:pt x="4784598" y="2799683"/>
                  </a:lnTo>
                  <a:lnTo>
                    <a:pt x="4829937" y="2765298"/>
                  </a:lnTo>
                  <a:lnTo>
                    <a:pt x="4878229" y="2720626"/>
                  </a:lnTo>
                  <a:lnTo>
                    <a:pt x="4904804" y="2598611"/>
                  </a:lnTo>
                  <a:lnTo>
                    <a:pt x="5019771" y="2779966"/>
                  </a:lnTo>
                  <a:lnTo>
                    <a:pt x="5027962" y="2644140"/>
                  </a:lnTo>
                  <a:lnTo>
                    <a:pt x="5083874" y="2629757"/>
                  </a:lnTo>
                  <a:lnTo>
                    <a:pt x="5119497" y="2744915"/>
                  </a:lnTo>
                  <a:lnTo>
                    <a:pt x="5197317" y="2591276"/>
                  </a:lnTo>
                  <a:lnTo>
                    <a:pt x="5202841" y="2732437"/>
                  </a:lnTo>
                  <a:lnTo>
                    <a:pt x="5277231" y="2699576"/>
                  </a:lnTo>
                  <a:lnTo>
                    <a:pt x="5273802" y="2781110"/>
                  </a:lnTo>
                  <a:lnTo>
                    <a:pt x="5398389" y="2727865"/>
                  </a:lnTo>
                  <a:lnTo>
                    <a:pt x="5428203" y="2786348"/>
                  </a:lnTo>
                  <a:lnTo>
                    <a:pt x="5460969" y="2842546"/>
                  </a:lnTo>
                  <a:lnTo>
                    <a:pt x="5500688" y="2872740"/>
                  </a:lnTo>
                  <a:lnTo>
                    <a:pt x="5535740" y="2865691"/>
                  </a:lnTo>
                  <a:lnTo>
                    <a:pt x="5566982" y="2777204"/>
                  </a:lnTo>
                  <a:lnTo>
                    <a:pt x="5644134" y="2910459"/>
                  </a:lnTo>
                  <a:lnTo>
                    <a:pt x="5638610" y="2917889"/>
                  </a:lnTo>
                  <a:lnTo>
                    <a:pt x="5649659" y="2919984"/>
                  </a:lnTo>
                  <a:lnTo>
                    <a:pt x="5657088" y="2932748"/>
                  </a:lnTo>
                  <a:lnTo>
                    <a:pt x="5662517" y="2922461"/>
                  </a:lnTo>
                  <a:lnTo>
                    <a:pt x="5778723" y="2944845"/>
                  </a:lnTo>
                  <a:lnTo>
                    <a:pt x="5660612" y="3022854"/>
                  </a:lnTo>
                  <a:lnTo>
                    <a:pt x="5781675" y="3000851"/>
                  </a:lnTo>
                  <a:lnTo>
                    <a:pt x="5779389" y="2953131"/>
                  </a:lnTo>
                  <a:lnTo>
                    <a:pt x="5835586" y="3020473"/>
                  </a:lnTo>
                  <a:lnTo>
                    <a:pt x="5890260" y="3056001"/>
                  </a:lnTo>
                  <a:lnTo>
                    <a:pt x="5937980" y="2973896"/>
                  </a:lnTo>
                  <a:lnTo>
                    <a:pt x="5989796" y="2964466"/>
                  </a:lnTo>
                  <a:lnTo>
                    <a:pt x="6043422" y="2964085"/>
                  </a:lnTo>
                  <a:lnTo>
                    <a:pt x="6100667" y="3137249"/>
                  </a:lnTo>
                  <a:lnTo>
                    <a:pt x="6154865" y="3053239"/>
                  </a:lnTo>
                  <a:lnTo>
                    <a:pt x="6206585" y="3067812"/>
                  </a:lnTo>
                  <a:lnTo>
                    <a:pt x="6266021" y="3155156"/>
                  </a:lnTo>
                  <a:lnTo>
                    <a:pt x="6308122" y="3008757"/>
                  </a:lnTo>
                  <a:lnTo>
                    <a:pt x="6352604" y="2945225"/>
                  </a:lnTo>
                  <a:lnTo>
                    <a:pt x="6431852" y="2983802"/>
                  </a:lnTo>
                  <a:lnTo>
                    <a:pt x="6442805" y="3129153"/>
                  </a:lnTo>
                  <a:lnTo>
                    <a:pt x="6550343" y="3018949"/>
                  </a:lnTo>
                  <a:lnTo>
                    <a:pt x="6579394" y="3141059"/>
                  </a:lnTo>
                  <a:lnTo>
                    <a:pt x="6610446" y="3038094"/>
                  </a:lnTo>
                  <a:lnTo>
                    <a:pt x="6685217" y="3083338"/>
                  </a:lnTo>
                  <a:lnTo>
                    <a:pt x="6709124" y="3018187"/>
                  </a:lnTo>
                  <a:lnTo>
                    <a:pt x="6730365" y="3103912"/>
                  </a:lnTo>
                  <a:lnTo>
                    <a:pt x="6825139" y="3023140"/>
                  </a:lnTo>
                  <a:lnTo>
                    <a:pt x="6762941" y="3139821"/>
                  </a:lnTo>
                  <a:lnTo>
                    <a:pt x="6843522" y="3145822"/>
                  </a:lnTo>
                  <a:lnTo>
                    <a:pt x="6879812" y="3212592"/>
                  </a:lnTo>
                  <a:lnTo>
                    <a:pt x="6966680" y="3236405"/>
                  </a:lnTo>
                  <a:lnTo>
                    <a:pt x="6997732" y="3128963"/>
                  </a:lnTo>
                  <a:lnTo>
                    <a:pt x="7064693" y="3150013"/>
                  </a:lnTo>
                  <a:lnTo>
                    <a:pt x="7140035" y="3183350"/>
                  </a:lnTo>
                  <a:lnTo>
                    <a:pt x="7155847" y="3057144"/>
                  </a:lnTo>
                  <a:lnTo>
                    <a:pt x="7217569" y="3106007"/>
                  </a:lnTo>
                  <a:lnTo>
                    <a:pt x="7228523" y="3169539"/>
                  </a:lnTo>
                  <a:lnTo>
                    <a:pt x="7318724" y="3154395"/>
                  </a:lnTo>
                  <a:lnTo>
                    <a:pt x="7378636" y="3157252"/>
                  </a:lnTo>
                  <a:lnTo>
                    <a:pt x="7376541" y="3102007"/>
                  </a:lnTo>
                  <a:lnTo>
                    <a:pt x="7427881" y="3095435"/>
                  </a:lnTo>
                  <a:lnTo>
                    <a:pt x="7499414" y="3116771"/>
                  </a:lnTo>
                  <a:lnTo>
                    <a:pt x="7593616" y="3121247"/>
                  </a:lnTo>
                  <a:lnTo>
                    <a:pt x="7505319" y="2943701"/>
                  </a:lnTo>
                  <a:lnTo>
                    <a:pt x="7592283" y="2956465"/>
                  </a:lnTo>
                  <a:lnTo>
                    <a:pt x="7650576" y="2972467"/>
                  </a:lnTo>
                  <a:lnTo>
                    <a:pt x="7683627" y="2913126"/>
                  </a:lnTo>
                  <a:lnTo>
                    <a:pt x="7722394" y="2943511"/>
                  </a:lnTo>
                  <a:lnTo>
                    <a:pt x="7827169" y="2891409"/>
                  </a:lnTo>
                  <a:lnTo>
                    <a:pt x="7635907" y="2838545"/>
                  </a:lnTo>
                  <a:lnTo>
                    <a:pt x="7828121" y="2805779"/>
                  </a:lnTo>
                  <a:lnTo>
                    <a:pt x="7762494" y="2701671"/>
                  </a:lnTo>
                  <a:lnTo>
                    <a:pt x="7867936" y="2752725"/>
                  </a:lnTo>
                  <a:lnTo>
                    <a:pt x="7875556" y="2668810"/>
                  </a:lnTo>
                  <a:lnTo>
                    <a:pt x="7986999" y="2623185"/>
                  </a:lnTo>
                  <a:lnTo>
                    <a:pt x="7884605" y="2554129"/>
                  </a:lnTo>
                  <a:lnTo>
                    <a:pt x="7876699" y="2488787"/>
                  </a:lnTo>
                  <a:lnTo>
                    <a:pt x="7953280" y="2466975"/>
                  </a:lnTo>
                  <a:lnTo>
                    <a:pt x="7977569" y="2409825"/>
                  </a:lnTo>
                  <a:lnTo>
                    <a:pt x="8022622" y="2384393"/>
                  </a:lnTo>
                  <a:lnTo>
                    <a:pt x="8080344" y="2448020"/>
                  </a:lnTo>
                  <a:lnTo>
                    <a:pt x="8132636" y="2333816"/>
                  </a:lnTo>
                  <a:lnTo>
                    <a:pt x="8196167" y="2343055"/>
                  </a:lnTo>
                  <a:lnTo>
                    <a:pt x="8258556" y="2300288"/>
                  </a:lnTo>
                  <a:lnTo>
                    <a:pt x="8308181" y="2355723"/>
                  </a:lnTo>
                  <a:lnTo>
                    <a:pt x="8366760" y="2337626"/>
                  </a:lnTo>
                  <a:lnTo>
                    <a:pt x="8412670" y="2463165"/>
                  </a:lnTo>
                  <a:lnTo>
                    <a:pt x="8475059" y="2357533"/>
                  </a:lnTo>
                  <a:lnTo>
                    <a:pt x="8535638" y="2278952"/>
                  </a:lnTo>
                  <a:lnTo>
                    <a:pt x="8584216" y="2373249"/>
                  </a:lnTo>
                  <a:lnTo>
                    <a:pt x="8644985" y="2288096"/>
                  </a:lnTo>
                  <a:lnTo>
                    <a:pt x="8691372" y="2334863"/>
                  </a:lnTo>
                  <a:lnTo>
                    <a:pt x="8765000" y="2487359"/>
                  </a:lnTo>
                  <a:lnTo>
                    <a:pt x="8790623" y="2265712"/>
                  </a:lnTo>
                  <a:lnTo>
                    <a:pt x="8843010" y="2436876"/>
                  </a:lnTo>
                  <a:lnTo>
                    <a:pt x="8906446" y="2404396"/>
                  </a:lnTo>
                  <a:lnTo>
                    <a:pt x="8903303" y="2516981"/>
                  </a:lnTo>
                  <a:lnTo>
                    <a:pt x="9019413" y="2434400"/>
                  </a:lnTo>
                  <a:lnTo>
                    <a:pt x="9086564" y="2541270"/>
                  </a:lnTo>
                  <a:lnTo>
                    <a:pt x="9122759" y="2414016"/>
                  </a:lnTo>
                  <a:lnTo>
                    <a:pt x="9184100" y="2409063"/>
                  </a:lnTo>
                  <a:lnTo>
                    <a:pt x="9242393" y="2520410"/>
                  </a:lnTo>
                  <a:lnTo>
                    <a:pt x="9300972" y="2389537"/>
                  </a:lnTo>
                  <a:lnTo>
                    <a:pt x="9385268" y="2362772"/>
                  </a:lnTo>
                  <a:lnTo>
                    <a:pt x="9360027" y="2527268"/>
                  </a:lnTo>
                  <a:lnTo>
                    <a:pt x="9484805" y="2473833"/>
                  </a:lnTo>
                  <a:lnTo>
                    <a:pt x="9536430" y="2477453"/>
                  </a:lnTo>
                  <a:lnTo>
                    <a:pt x="9564148" y="2533269"/>
                  </a:lnTo>
                  <a:lnTo>
                    <a:pt x="9616726" y="2570798"/>
                  </a:lnTo>
                  <a:lnTo>
                    <a:pt x="9686258" y="2645759"/>
                  </a:lnTo>
                  <a:lnTo>
                    <a:pt x="9744646" y="2589943"/>
                  </a:lnTo>
                  <a:lnTo>
                    <a:pt x="9790462" y="2561463"/>
                  </a:lnTo>
                  <a:lnTo>
                    <a:pt x="9787985" y="2486025"/>
                  </a:lnTo>
                  <a:lnTo>
                    <a:pt x="9823418" y="2454212"/>
                  </a:lnTo>
                  <a:lnTo>
                    <a:pt x="9873805" y="2365724"/>
                  </a:lnTo>
                  <a:lnTo>
                    <a:pt x="9928956" y="2379726"/>
                  </a:lnTo>
                  <a:lnTo>
                    <a:pt x="9994202" y="2399348"/>
                  </a:lnTo>
                  <a:lnTo>
                    <a:pt x="10029634" y="2462498"/>
                  </a:lnTo>
                  <a:lnTo>
                    <a:pt x="10074212" y="2483930"/>
                  </a:lnTo>
                  <a:lnTo>
                    <a:pt x="10165461" y="2416397"/>
                  </a:lnTo>
                  <a:lnTo>
                    <a:pt x="10164699" y="2471547"/>
                  </a:lnTo>
                  <a:lnTo>
                    <a:pt x="10189178" y="2433828"/>
                  </a:lnTo>
                  <a:lnTo>
                    <a:pt x="10224897" y="2398109"/>
                  </a:lnTo>
                  <a:lnTo>
                    <a:pt x="10310051" y="2404015"/>
                  </a:lnTo>
                  <a:lnTo>
                    <a:pt x="10311765" y="2411349"/>
                  </a:lnTo>
                  <a:lnTo>
                    <a:pt x="10438734" y="2362391"/>
                  </a:lnTo>
                  <a:lnTo>
                    <a:pt x="10370820" y="2528888"/>
                  </a:lnTo>
                  <a:lnTo>
                    <a:pt x="10491883" y="2405539"/>
                  </a:lnTo>
                  <a:lnTo>
                    <a:pt x="10486359" y="2384774"/>
                  </a:lnTo>
                  <a:lnTo>
                    <a:pt x="10622852" y="2485263"/>
                  </a:lnTo>
                  <a:lnTo>
                    <a:pt x="10613897" y="2343055"/>
                  </a:lnTo>
                  <a:lnTo>
                    <a:pt x="10724769" y="2486692"/>
                  </a:lnTo>
                  <a:lnTo>
                    <a:pt x="10763250" y="2421350"/>
                  </a:lnTo>
                  <a:lnTo>
                    <a:pt x="10827830" y="2432018"/>
                  </a:lnTo>
                  <a:lnTo>
                    <a:pt x="10874026" y="2385536"/>
                  </a:lnTo>
                  <a:lnTo>
                    <a:pt x="10932795" y="2380202"/>
                  </a:lnTo>
                  <a:lnTo>
                    <a:pt x="10960228" y="2225421"/>
                  </a:lnTo>
                  <a:lnTo>
                    <a:pt x="10986992" y="2382869"/>
                  </a:lnTo>
                  <a:lnTo>
                    <a:pt x="11046809" y="2397062"/>
                  </a:lnTo>
                  <a:lnTo>
                    <a:pt x="11124534" y="2365534"/>
                  </a:lnTo>
                  <a:lnTo>
                    <a:pt x="11182445" y="2383155"/>
                  </a:lnTo>
                  <a:lnTo>
                    <a:pt x="11250454" y="2375249"/>
                  </a:lnTo>
                  <a:lnTo>
                    <a:pt x="11303508" y="2327243"/>
                  </a:lnTo>
                  <a:lnTo>
                    <a:pt x="11356467" y="2424494"/>
                  </a:lnTo>
                  <a:lnTo>
                    <a:pt x="11372564" y="2435924"/>
                  </a:lnTo>
                  <a:lnTo>
                    <a:pt x="11372564" y="0"/>
                  </a:lnTo>
                  <a:lnTo>
                    <a:pt x="0" y="0"/>
                  </a:lnTo>
                  <a:close/>
                  <a:moveTo>
                    <a:pt x="7624191" y="2067973"/>
                  </a:moveTo>
                  <a:lnTo>
                    <a:pt x="7586187" y="1943672"/>
                  </a:lnTo>
                  <a:lnTo>
                    <a:pt x="7601522" y="1930813"/>
                  </a:lnTo>
                  <a:lnTo>
                    <a:pt x="7634669" y="1941100"/>
                  </a:lnTo>
                  <a:lnTo>
                    <a:pt x="7624191" y="2067973"/>
                  </a:lnTo>
                  <a:close/>
                </a:path>
              </a:pathLst>
            </a:custGeom>
            <a:solidFill>
              <a:srgbClr val="F5F5F0"/>
            </a:solidFill>
            <a:ln w="9525" cap="flat">
              <a:noFill/>
              <a:prstDash val="solid"/>
              <a:miter/>
            </a:ln>
            <a:effectLst>
              <a:outerShdw blurRad="88900" dist="50800" dir="5400000" algn="ctr" rotWithShape="0">
                <a:srgbClr val="000000">
                  <a:alpha val="75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873066E4-7D11-45FD-9814-06A9477EC2A6}"/>
                </a:ext>
              </a:extLst>
            </p:cNvPr>
            <p:cNvSpPr/>
            <p:nvPr/>
          </p:nvSpPr>
          <p:spPr bwMode="auto">
            <a:xfrm>
              <a:off x="6972583" y="1624518"/>
              <a:ext cx="3053230" cy="81581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400" b="1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Preis PKW Command Online</a:t>
              </a:r>
            </a:p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400" b="1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erhöht sich wegen Kosten</a:t>
              </a:r>
              <a:br>
                <a:rPr lang="de-DE" sz="1400" b="1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</a:br>
              <a:r>
                <a:rPr lang="de-DE" sz="1400" b="1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für Roh-Daten!</a:t>
              </a:r>
            </a:p>
          </p:txBody>
        </p:sp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556DCF07-65DC-4751-A984-EFC1D882F1B9}"/>
              </a:ext>
            </a:extLst>
          </p:cNvPr>
          <p:cNvGrpSpPr/>
          <p:nvPr/>
        </p:nvGrpSpPr>
        <p:grpSpPr>
          <a:xfrm>
            <a:off x="4882417" y="2978932"/>
            <a:ext cx="2843895" cy="1547836"/>
            <a:chOff x="4882417" y="2978932"/>
            <a:chExt cx="2843895" cy="1547836"/>
          </a:xfrm>
        </p:grpSpPr>
        <p:sp>
          <p:nvSpPr>
            <p:cNvPr id="48" name="Grafik 5">
              <a:extLst>
                <a:ext uri="{FF2B5EF4-FFF2-40B4-BE49-F238E27FC236}">
                  <a16:creationId xmlns:a16="http://schemas.microsoft.com/office/drawing/2014/main" id="{C73C30EC-2420-4015-B290-E1726A5C67CA}"/>
                </a:ext>
              </a:extLst>
            </p:cNvPr>
            <p:cNvSpPr>
              <a:spLocks/>
            </p:cNvSpPr>
            <p:nvPr/>
          </p:nvSpPr>
          <p:spPr>
            <a:xfrm rot="10800000">
              <a:off x="4882417" y="2978932"/>
              <a:ext cx="2843895" cy="1547836"/>
            </a:xfrm>
            <a:custGeom>
              <a:avLst/>
              <a:gdLst>
                <a:gd name="connsiteX0" fmla="*/ 0 w 11363325"/>
                <a:gd name="connsiteY0" fmla="*/ 0 h 3495675"/>
                <a:gd name="connsiteX1" fmla="*/ 0 w 11363325"/>
                <a:gd name="connsiteY1" fmla="*/ 2568226 h 3495675"/>
                <a:gd name="connsiteX2" fmla="*/ 19336 w 11363325"/>
                <a:gd name="connsiteY2" fmla="*/ 2547080 h 3495675"/>
                <a:gd name="connsiteX3" fmla="*/ 91535 w 11363325"/>
                <a:gd name="connsiteY3" fmla="*/ 2541841 h 3495675"/>
                <a:gd name="connsiteX4" fmla="*/ 102775 w 11363325"/>
                <a:gd name="connsiteY4" fmla="*/ 2636520 h 3495675"/>
                <a:gd name="connsiteX5" fmla="*/ 78772 w 11363325"/>
                <a:gd name="connsiteY5" fmla="*/ 2749677 h 3495675"/>
                <a:gd name="connsiteX6" fmla="*/ 210312 w 11363325"/>
                <a:gd name="connsiteY6" fmla="*/ 2682907 h 3495675"/>
                <a:gd name="connsiteX7" fmla="*/ 278511 w 11363325"/>
                <a:gd name="connsiteY7" fmla="*/ 2680145 h 3495675"/>
                <a:gd name="connsiteX8" fmla="*/ 299847 w 11363325"/>
                <a:gd name="connsiteY8" fmla="*/ 2746153 h 3495675"/>
                <a:gd name="connsiteX9" fmla="*/ 268700 w 11363325"/>
                <a:gd name="connsiteY9" fmla="*/ 2873407 h 3495675"/>
                <a:gd name="connsiteX10" fmla="*/ 378619 w 11363325"/>
                <a:gd name="connsiteY10" fmla="*/ 2834164 h 3495675"/>
                <a:gd name="connsiteX11" fmla="*/ 383381 w 11363325"/>
                <a:gd name="connsiteY11" fmla="*/ 2910840 h 3495675"/>
                <a:gd name="connsiteX12" fmla="*/ 404241 w 11363325"/>
                <a:gd name="connsiteY12" fmla="*/ 2994470 h 3495675"/>
                <a:gd name="connsiteX13" fmla="*/ 479108 w 11363325"/>
                <a:gd name="connsiteY13" fmla="*/ 3001995 h 3495675"/>
                <a:gd name="connsiteX14" fmla="*/ 559308 w 11363325"/>
                <a:gd name="connsiteY14" fmla="*/ 2948559 h 3495675"/>
                <a:gd name="connsiteX15" fmla="*/ 590169 w 11363325"/>
                <a:gd name="connsiteY15" fmla="*/ 3082671 h 3495675"/>
                <a:gd name="connsiteX16" fmla="*/ 659035 w 11363325"/>
                <a:gd name="connsiteY16" fmla="*/ 3032570 h 3495675"/>
                <a:gd name="connsiteX17" fmla="*/ 714089 w 11363325"/>
                <a:gd name="connsiteY17" fmla="*/ 3084005 h 3495675"/>
                <a:gd name="connsiteX18" fmla="*/ 758285 w 11363325"/>
                <a:gd name="connsiteY18" fmla="*/ 3006757 h 3495675"/>
                <a:gd name="connsiteX19" fmla="*/ 775811 w 11363325"/>
                <a:gd name="connsiteY19" fmla="*/ 3059621 h 3495675"/>
                <a:gd name="connsiteX20" fmla="*/ 819722 w 11363325"/>
                <a:gd name="connsiteY20" fmla="*/ 3041714 h 3495675"/>
                <a:gd name="connsiteX21" fmla="*/ 893350 w 11363325"/>
                <a:gd name="connsiteY21" fmla="*/ 3040952 h 3495675"/>
                <a:gd name="connsiteX22" fmla="*/ 892112 w 11363325"/>
                <a:gd name="connsiteY22" fmla="*/ 3111532 h 3495675"/>
                <a:gd name="connsiteX23" fmla="*/ 1005364 w 11363325"/>
                <a:gd name="connsiteY23" fmla="*/ 3103721 h 3495675"/>
                <a:gd name="connsiteX24" fmla="*/ 976027 w 11363325"/>
                <a:gd name="connsiteY24" fmla="*/ 3173063 h 3495675"/>
                <a:gd name="connsiteX25" fmla="*/ 1054703 w 11363325"/>
                <a:gd name="connsiteY25" fmla="*/ 3175159 h 3495675"/>
                <a:gd name="connsiteX26" fmla="*/ 1054703 w 11363325"/>
                <a:gd name="connsiteY26" fmla="*/ 3175064 h 3495675"/>
                <a:gd name="connsiteX27" fmla="*/ 1111472 w 11363325"/>
                <a:gd name="connsiteY27" fmla="*/ 3158490 h 3495675"/>
                <a:gd name="connsiteX28" fmla="*/ 1200245 w 11363325"/>
                <a:gd name="connsiteY28" fmla="*/ 3255550 h 3495675"/>
                <a:gd name="connsiteX29" fmla="*/ 1274255 w 11363325"/>
                <a:gd name="connsiteY29" fmla="*/ 3154775 h 3495675"/>
                <a:gd name="connsiteX30" fmla="*/ 1294067 w 11363325"/>
                <a:gd name="connsiteY30" fmla="*/ 3253073 h 3495675"/>
                <a:gd name="connsiteX31" fmla="*/ 1185577 w 11363325"/>
                <a:gd name="connsiteY31" fmla="*/ 3354800 h 3495675"/>
                <a:gd name="connsiteX32" fmla="*/ 1302639 w 11363325"/>
                <a:gd name="connsiteY32" fmla="*/ 3385947 h 3495675"/>
                <a:gd name="connsiteX33" fmla="*/ 1340072 w 11363325"/>
                <a:gd name="connsiteY33" fmla="*/ 3302127 h 3495675"/>
                <a:gd name="connsiteX34" fmla="*/ 1414367 w 11363325"/>
                <a:gd name="connsiteY34" fmla="*/ 3363087 h 3495675"/>
                <a:gd name="connsiteX35" fmla="*/ 1432274 w 11363325"/>
                <a:gd name="connsiteY35" fmla="*/ 3434048 h 3495675"/>
                <a:gd name="connsiteX36" fmla="*/ 1498759 w 11363325"/>
                <a:gd name="connsiteY36" fmla="*/ 3388043 h 3495675"/>
                <a:gd name="connsiteX37" fmla="*/ 1507712 w 11363325"/>
                <a:gd name="connsiteY37" fmla="*/ 3467386 h 3495675"/>
                <a:gd name="connsiteX38" fmla="*/ 1620488 w 11363325"/>
                <a:gd name="connsiteY38" fmla="*/ 3370803 h 3495675"/>
                <a:gd name="connsiteX39" fmla="*/ 1609725 w 11363325"/>
                <a:gd name="connsiteY39" fmla="*/ 3390233 h 3495675"/>
                <a:gd name="connsiteX40" fmla="*/ 1657922 w 11363325"/>
                <a:gd name="connsiteY40" fmla="*/ 3376041 h 3495675"/>
                <a:gd name="connsiteX41" fmla="*/ 1776032 w 11363325"/>
                <a:gd name="connsiteY41" fmla="*/ 3499295 h 3495675"/>
                <a:gd name="connsiteX42" fmla="*/ 1755553 w 11363325"/>
                <a:gd name="connsiteY42" fmla="*/ 3349657 h 3495675"/>
                <a:gd name="connsiteX43" fmla="*/ 1822990 w 11363325"/>
                <a:gd name="connsiteY43" fmla="*/ 3340227 h 3495675"/>
                <a:gd name="connsiteX44" fmla="*/ 1915192 w 11363325"/>
                <a:gd name="connsiteY44" fmla="*/ 3379661 h 3495675"/>
                <a:gd name="connsiteX45" fmla="*/ 2007680 w 11363325"/>
                <a:gd name="connsiteY45" fmla="*/ 3332703 h 3495675"/>
                <a:gd name="connsiteX46" fmla="*/ 2005870 w 11363325"/>
                <a:gd name="connsiteY46" fmla="*/ 3231261 h 3495675"/>
                <a:gd name="connsiteX47" fmla="*/ 1929193 w 11363325"/>
                <a:gd name="connsiteY47" fmla="*/ 3188684 h 3495675"/>
                <a:gd name="connsiteX48" fmla="*/ 1961960 w 11363325"/>
                <a:gd name="connsiteY48" fmla="*/ 3130677 h 3495675"/>
                <a:gd name="connsiteX49" fmla="*/ 1847850 w 11363325"/>
                <a:gd name="connsiteY49" fmla="*/ 3093625 h 3495675"/>
                <a:gd name="connsiteX50" fmla="*/ 1863281 w 11363325"/>
                <a:gd name="connsiteY50" fmla="*/ 2997137 h 3495675"/>
                <a:gd name="connsiteX51" fmla="*/ 1957673 w 11363325"/>
                <a:gd name="connsiteY51" fmla="*/ 3006471 h 3495675"/>
                <a:gd name="connsiteX52" fmla="*/ 2019776 w 11363325"/>
                <a:gd name="connsiteY52" fmla="*/ 3112484 h 3495675"/>
                <a:gd name="connsiteX53" fmla="*/ 2068830 w 11363325"/>
                <a:gd name="connsiteY53" fmla="*/ 3065526 h 3495675"/>
                <a:gd name="connsiteX54" fmla="*/ 2061020 w 11363325"/>
                <a:gd name="connsiteY54" fmla="*/ 2944559 h 3495675"/>
                <a:gd name="connsiteX55" fmla="*/ 2064639 w 11363325"/>
                <a:gd name="connsiteY55" fmla="*/ 2930938 h 3495675"/>
                <a:gd name="connsiteX56" fmla="*/ 2164461 w 11363325"/>
                <a:gd name="connsiteY56" fmla="*/ 2904935 h 3495675"/>
                <a:gd name="connsiteX57" fmla="*/ 2174462 w 11363325"/>
                <a:gd name="connsiteY57" fmla="*/ 2844737 h 3495675"/>
                <a:gd name="connsiteX58" fmla="*/ 2144363 w 11363325"/>
                <a:gd name="connsiteY58" fmla="*/ 2754535 h 3495675"/>
                <a:gd name="connsiteX59" fmla="*/ 2286476 w 11363325"/>
                <a:gd name="connsiteY59" fmla="*/ 2780538 h 3495675"/>
                <a:gd name="connsiteX60" fmla="*/ 2292858 w 11363325"/>
                <a:gd name="connsiteY60" fmla="*/ 2739485 h 3495675"/>
                <a:gd name="connsiteX61" fmla="*/ 2337340 w 11363325"/>
                <a:gd name="connsiteY61" fmla="*/ 2786729 h 3495675"/>
                <a:gd name="connsiteX62" fmla="*/ 2405253 w 11363325"/>
                <a:gd name="connsiteY62" fmla="*/ 2622518 h 3495675"/>
                <a:gd name="connsiteX63" fmla="*/ 2478405 w 11363325"/>
                <a:gd name="connsiteY63" fmla="*/ 2735390 h 3495675"/>
                <a:gd name="connsiteX64" fmla="*/ 2416683 w 11363325"/>
                <a:gd name="connsiteY64" fmla="*/ 2594324 h 3495675"/>
                <a:gd name="connsiteX65" fmla="*/ 2517743 w 11363325"/>
                <a:gd name="connsiteY65" fmla="*/ 2600516 h 3495675"/>
                <a:gd name="connsiteX66" fmla="*/ 2563273 w 11363325"/>
                <a:gd name="connsiteY66" fmla="*/ 2546033 h 3495675"/>
                <a:gd name="connsiteX67" fmla="*/ 2633948 w 11363325"/>
                <a:gd name="connsiteY67" fmla="*/ 2504980 h 3495675"/>
                <a:gd name="connsiteX68" fmla="*/ 2691194 w 11363325"/>
                <a:gd name="connsiteY68" fmla="*/ 2545271 h 3495675"/>
                <a:gd name="connsiteX69" fmla="*/ 2742724 w 11363325"/>
                <a:gd name="connsiteY69" fmla="*/ 2633186 h 3495675"/>
                <a:gd name="connsiteX70" fmla="*/ 2794635 w 11363325"/>
                <a:gd name="connsiteY70" fmla="*/ 2642045 h 3495675"/>
                <a:gd name="connsiteX71" fmla="*/ 2876931 w 11363325"/>
                <a:gd name="connsiteY71" fmla="*/ 2517077 h 3495675"/>
                <a:gd name="connsiteX72" fmla="*/ 2886551 w 11363325"/>
                <a:gd name="connsiteY72" fmla="*/ 2505170 h 3495675"/>
                <a:gd name="connsiteX73" fmla="*/ 2947226 w 11363325"/>
                <a:gd name="connsiteY73" fmla="*/ 2548033 h 3495675"/>
                <a:gd name="connsiteX74" fmla="*/ 2941034 w 11363325"/>
                <a:gd name="connsiteY74" fmla="*/ 2456593 h 3495675"/>
                <a:gd name="connsiteX75" fmla="*/ 3068670 w 11363325"/>
                <a:gd name="connsiteY75" fmla="*/ 2516600 h 3495675"/>
                <a:gd name="connsiteX76" fmla="*/ 3110674 w 11363325"/>
                <a:gd name="connsiteY76" fmla="*/ 2553272 h 3495675"/>
                <a:gd name="connsiteX77" fmla="*/ 3139916 w 11363325"/>
                <a:gd name="connsiteY77" fmla="*/ 2377821 h 3495675"/>
                <a:gd name="connsiteX78" fmla="*/ 3192304 w 11363325"/>
                <a:gd name="connsiteY78" fmla="*/ 2410873 h 3495675"/>
                <a:gd name="connsiteX79" fmla="*/ 3257264 w 11363325"/>
                <a:gd name="connsiteY79" fmla="*/ 2440496 h 3495675"/>
                <a:gd name="connsiteX80" fmla="*/ 3289173 w 11363325"/>
                <a:gd name="connsiteY80" fmla="*/ 2366772 h 3495675"/>
                <a:gd name="connsiteX81" fmla="*/ 3355181 w 11363325"/>
                <a:gd name="connsiteY81" fmla="*/ 2377535 h 3495675"/>
                <a:gd name="connsiteX82" fmla="*/ 3412141 w 11363325"/>
                <a:gd name="connsiteY82" fmla="*/ 2373249 h 3495675"/>
                <a:gd name="connsiteX83" fmla="*/ 3476244 w 11363325"/>
                <a:gd name="connsiteY83" fmla="*/ 2477643 h 3495675"/>
                <a:gd name="connsiteX84" fmla="*/ 3508153 w 11363325"/>
                <a:gd name="connsiteY84" fmla="*/ 2424208 h 3495675"/>
                <a:gd name="connsiteX85" fmla="*/ 3585115 w 11363325"/>
                <a:gd name="connsiteY85" fmla="*/ 2405539 h 3495675"/>
                <a:gd name="connsiteX86" fmla="*/ 3557207 w 11363325"/>
                <a:gd name="connsiteY86" fmla="*/ 2539937 h 3495675"/>
                <a:gd name="connsiteX87" fmla="*/ 3666839 w 11363325"/>
                <a:gd name="connsiteY87" fmla="*/ 2508980 h 3495675"/>
                <a:gd name="connsiteX88" fmla="*/ 3724466 w 11363325"/>
                <a:gd name="connsiteY88" fmla="*/ 2408777 h 3495675"/>
                <a:gd name="connsiteX89" fmla="*/ 3774948 w 11363325"/>
                <a:gd name="connsiteY89" fmla="*/ 2464308 h 3495675"/>
                <a:gd name="connsiteX90" fmla="*/ 3826859 w 11363325"/>
                <a:gd name="connsiteY90" fmla="*/ 2478215 h 3495675"/>
                <a:gd name="connsiteX91" fmla="*/ 3947351 w 11363325"/>
                <a:gd name="connsiteY91" fmla="*/ 2479358 h 3495675"/>
                <a:gd name="connsiteX92" fmla="*/ 3789998 w 11363325"/>
                <a:gd name="connsiteY92" fmla="*/ 2525745 h 3495675"/>
                <a:gd name="connsiteX93" fmla="*/ 3752945 w 11363325"/>
                <a:gd name="connsiteY93" fmla="*/ 2572417 h 3495675"/>
                <a:gd name="connsiteX94" fmla="*/ 3806190 w 11363325"/>
                <a:gd name="connsiteY94" fmla="*/ 2666048 h 3495675"/>
                <a:gd name="connsiteX95" fmla="*/ 3809714 w 11363325"/>
                <a:gd name="connsiteY95" fmla="*/ 2662714 h 3495675"/>
                <a:gd name="connsiteX96" fmla="*/ 3865340 w 11363325"/>
                <a:gd name="connsiteY96" fmla="*/ 2649379 h 3495675"/>
                <a:gd name="connsiteX97" fmla="*/ 3939826 w 11363325"/>
                <a:gd name="connsiteY97" fmla="*/ 2774537 h 3495675"/>
                <a:gd name="connsiteX98" fmla="*/ 3989165 w 11363325"/>
                <a:gd name="connsiteY98" fmla="*/ 2772632 h 3495675"/>
                <a:gd name="connsiteX99" fmla="*/ 4054126 w 11363325"/>
                <a:gd name="connsiteY99" fmla="*/ 2664333 h 3495675"/>
                <a:gd name="connsiteX100" fmla="*/ 4105942 w 11363325"/>
                <a:gd name="connsiteY100" fmla="*/ 2733866 h 3495675"/>
                <a:gd name="connsiteX101" fmla="*/ 4232720 w 11363325"/>
                <a:gd name="connsiteY101" fmla="*/ 2643949 h 3495675"/>
                <a:gd name="connsiteX102" fmla="*/ 4207002 w 11363325"/>
                <a:gd name="connsiteY102" fmla="*/ 2763203 h 3495675"/>
                <a:gd name="connsiteX103" fmla="*/ 4325112 w 11363325"/>
                <a:gd name="connsiteY103" fmla="*/ 2712339 h 3495675"/>
                <a:gd name="connsiteX104" fmla="*/ 4293394 w 11363325"/>
                <a:gd name="connsiteY104" fmla="*/ 2770441 h 3495675"/>
                <a:gd name="connsiteX105" fmla="*/ 4329780 w 11363325"/>
                <a:gd name="connsiteY105" fmla="*/ 2794540 h 3495675"/>
                <a:gd name="connsiteX106" fmla="*/ 4331018 w 11363325"/>
                <a:gd name="connsiteY106" fmla="*/ 2734532 h 3495675"/>
                <a:gd name="connsiteX107" fmla="*/ 4397121 w 11363325"/>
                <a:gd name="connsiteY107" fmla="*/ 2718149 h 3495675"/>
                <a:gd name="connsiteX108" fmla="*/ 4338923 w 11363325"/>
                <a:gd name="connsiteY108" fmla="*/ 2617946 h 3495675"/>
                <a:gd name="connsiteX109" fmla="*/ 4433507 w 11363325"/>
                <a:gd name="connsiteY109" fmla="*/ 2586419 h 3495675"/>
                <a:gd name="connsiteX110" fmla="*/ 4473321 w 11363325"/>
                <a:gd name="connsiteY110" fmla="*/ 2668143 h 3495675"/>
                <a:gd name="connsiteX111" fmla="*/ 4467987 w 11363325"/>
                <a:gd name="connsiteY111" fmla="*/ 2766155 h 3495675"/>
                <a:gd name="connsiteX112" fmla="*/ 4549521 w 11363325"/>
                <a:gd name="connsiteY112" fmla="*/ 2746058 h 3495675"/>
                <a:gd name="connsiteX113" fmla="*/ 4628293 w 11363325"/>
                <a:gd name="connsiteY113" fmla="*/ 2674144 h 3495675"/>
                <a:gd name="connsiteX114" fmla="*/ 4675347 w 11363325"/>
                <a:gd name="connsiteY114" fmla="*/ 2786824 h 3495675"/>
                <a:gd name="connsiteX115" fmla="*/ 4728020 w 11363325"/>
                <a:gd name="connsiteY115" fmla="*/ 2775299 h 3495675"/>
                <a:gd name="connsiteX116" fmla="*/ 4784598 w 11363325"/>
                <a:gd name="connsiteY116" fmla="*/ 2799683 h 3495675"/>
                <a:gd name="connsiteX117" fmla="*/ 4829937 w 11363325"/>
                <a:gd name="connsiteY117" fmla="*/ 2765298 h 3495675"/>
                <a:gd name="connsiteX118" fmla="*/ 4878229 w 11363325"/>
                <a:gd name="connsiteY118" fmla="*/ 2720626 h 3495675"/>
                <a:gd name="connsiteX119" fmla="*/ 4904804 w 11363325"/>
                <a:gd name="connsiteY119" fmla="*/ 2598611 h 3495675"/>
                <a:gd name="connsiteX120" fmla="*/ 5019771 w 11363325"/>
                <a:gd name="connsiteY120" fmla="*/ 2779966 h 3495675"/>
                <a:gd name="connsiteX121" fmla="*/ 5027962 w 11363325"/>
                <a:gd name="connsiteY121" fmla="*/ 2644140 h 3495675"/>
                <a:gd name="connsiteX122" fmla="*/ 5083874 w 11363325"/>
                <a:gd name="connsiteY122" fmla="*/ 2629757 h 3495675"/>
                <a:gd name="connsiteX123" fmla="*/ 5119497 w 11363325"/>
                <a:gd name="connsiteY123" fmla="*/ 2744915 h 3495675"/>
                <a:gd name="connsiteX124" fmla="*/ 5197317 w 11363325"/>
                <a:gd name="connsiteY124" fmla="*/ 2591276 h 3495675"/>
                <a:gd name="connsiteX125" fmla="*/ 5202841 w 11363325"/>
                <a:gd name="connsiteY125" fmla="*/ 2732437 h 3495675"/>
                <a:gd name="connsiteX126" fmla="*/ 5277231 w 11363325"/>
                <a:gd name="connsiteY126" fmla="*/ 2699576 h 3495675"/>
                <a:gd name="connsiteX127" fmla="*/ 5273802 w 11363325"/>
                <a:gd name="connsiteY127" fmla="*/ 2781110 h 3495675"/>
                <a:gd name="connsiteX128" fmla="*/ 5398389 w 11363325"/>
                <a:gd name="connsiteY128" fmla="*/ 2727865 h 3495675"/>
                <a:gd name="connsiteX129" fmla="*/ 5428203 w 11363325"/>
                <a:gd name="connsiteY129" fmla="*/ 2786348 h 3495675"/>
                <a:gd name="connsiteX130" fmla="*/ 5460969 w 11363325"/>
                <a:gd name="connsiteY130" fmla="*/ 2842546 h 3495675"/>
                <a:gd name="connsiteX131" fmla="*/ 5500688 w 11363325"/>
                <a:gd name="connsiteY131" fmla="*/ 2872740 h 3495675"/>
                <a:gd name="connsiteX132" fmla="*/ 5535740 w 11363325"/>
                <a:gd name="connsiteY132" fmla="*/ 2865691 h 3495675"/>
                <a:gd name="connsiteX133" fmla="*/ 5566982 w 11363325"/>
                <a:gd name="connsiteY133" fmla="*/ 2777204 h 3495675"/>
                <a:gd name="connsiteX134" fmla="*/ 5644134 w 11363325"/>
                <a:gd name="connsiteY134" fmla="*/ 2910459 h 3495675"/>
                <a:gd name="connsiteX135" fmla="*/ 5638610 w 11363325"/>
                <a:gd name="connsiteY135" fmla="*/ 2917889 h 3495675"/>
                <a:gd name="connsiteX136" fmla="*/ 5649659 w 11363325"/>
                <a:gd name="connsiteY136" fmla="*/ 2919984 h 3495675"/>
                <a:gd name="connsiteX137" fmla="*/ 5657088 w 11363325"/>
                <a:gd name="connsiteY137" fmla="*/ 2932748 h 3495675"/>
                <a:gd name="connsiteX138" fmla="*/ 5662517 w 11363325"/>
                <a:gd name="connsiteY138" fmla="*/ 2922461 h 3495675"/>
                <a:gd name="connsiteX139" fmla="*/ 5778723 w 11363325"/>
                <a:gd name="connsiteY139" fmla="*/ 2944845 h 3495675"/>
                <a:gd name="connsiteX140" fmla="*/ 5660612 w 11363325"/>
                <a:gd name="connsiteY140" fmla="*/ 3022854 h 3495675"/>
                <a:gd name="connsiteX141" fmla="*/ 5781675 w 11363325"/>
                <a:gd name="connsiteY141" fmla="*/ 3000851 h 3495675"/>
                <a:gd name="connsiteX142" fmla="*/ 5779389 w 11363325"/>
                <a:gd name="connsiteY142" fmla="*/ 2953131 h 3495675"/>
                <a:gd name="connsiteX143" fmla="*/ 5835586 w 11363325"/>
                <a:gd name="connsiteY143" fmla="*/ 3020473 h 3495675"/>
                <a:gd name="connsiteX144" fmla="*/ 5890260 w 11363325"/>
                <a:gd name="connsiteY144" fmla="*/ 3056001 h 3495675"/>
                <a:gd name="connsiteX145" fmla="*/ 5937980 w 11363325"/>
                <a:gd name="connsiteY145" fmla="*/ 2973896 h 3495675"/>
                <a:gd name="connsiteX146" fmla="*/ 5989796 w 11363325"/>
                <a:gd name="connsiteY146" fmla="*/ 2964466 h 3495675"/>
                <a:gd name="connsiteX147" fmla="*/ 6043422 w 11363325"/>
                <a:gd name="connsiteY147" fmla="*/ 2964085 h 3495675"/>
                <a:gd name="connsiteX148" fmla="*/ 6100667 w 11363325"/>
                <a:gd name="connsiteY148" fmla="*/ 3137249 h 3495675"/>
                <a:gd name="connsiteX149" fmla="*/ 6154865 w 11363325"/>
                <a:gd name="connsiteY149" fmla="*/ 3053239 h 3495675"/>
                <a:gd name="connsiteX150" fmla="*/ 6206585 w 11363325"/>
                <a:gd name="connsiteY150" fmla="*/ 3067812 h 3495675"/>
                <a:gd name="connsiteX151" fmla="*/ 6266021 w 11363325"/>
                <a:gd name="connsiteY151" fmla="*/ 3155156 h 3495675"/>
                <a:gd name="connsiteX152" fmla="*/ 6308122 w 11363325"/>
                <a:gd name="connsiteY152" fmla="*/ 3008757 h 3495675"/>
                <a:gd name="connsiteX153" fmla="*/ 6352604 w 11363325"/>
                <a:gd name="connsiteY153" fmla="*/ 2945225 h 3495675"/>
                <a:gd name="connsiteX154" fmla="*/ 6431852 w 11363325"/>
                <a:gd name="connsiteY154" fmla="*/ 2983802 h 3495675"/>
                <a:gd name="connsiteX155" fmla="*/ 6442805 w 11363325"/>
                <a:gd name="connsiteY155" fmla="*/ 3129153 h 3495675"/>
                <a:gd name="connsiteX156" fmla="*/ 6550343 w 11363325"/>
                <a:gd name="connsiteY156" fmla="*/ 3018949 h 3495675"/>
                <a:gd name="connsiteX157" fmla="*/ 6579394 w 11363325"/>
                <a:gd name="connsiteY157" fmla="*/ 3141059 h 3495675"/>
                <a:gd name="connsiteX158" fmla="*/ 6610446 w 11363325"/>
                <a:gd name="connsiteY158" fmla="*/ 3038094 h 3495675"/>
                <a:gd name="connsiteX159" fmla="*/ 6685217 w 11363325"/>
                <a:gd name="connsiteY159" fmla="*/ 3083338 h 3495675"/>
                <a:gd name="connsiteX160" fmla="*/ 6709124 w 11363325"/>
                <a:gd name="connsiteY160" fmla="*/ 3018187 h 3495675"/>
                <a:gd name="connsiteX161" fmla="*/ 6730365 w 11363325"/>
                <a:gd name="connsiteY161" fmla="*/ 3103912 h 3495675"/>
                <a:gd name="connsiteX162" fmla="*/ 6825139 w 11363325"/>
                <a:gd name="connsiteY162" fmla="*/ 3023140 h 3495675"/>
                <a:gd name="connsiteX163" fmla="*/ 6762941 w 11363325"/>
                <a:gd name="connsiteY163" fmla="*/ 3139821 h 3495675"/>
                <a:gd name="connsiteX164" fmla="*/ 6843522 w 11363325"/>
                <a:gd name="connsiteY164" fmla="*/ 3145822 h 3495675"/>
                <a:gd name="connsiteX165" fmla="*/ 6879812 w 11363325"/>
                <a:gd name="connsiteY165" fmla="*/ 3212592 h 3495675"/>
                <a:gd name="connsiteX166" fmla="*/ 6966680 w 11363325"/>
                <a:gd name="connsiteY166" fmla="*/ 3236405 h 3495675"/>
                <a:gd name="connsiteX167" fmla="*/ 6997732 w 11363325"/>
                <a:gd name="connsiteY167" fmla="*/ 3128963 h 3495675"/>
                <a:gd name="connsiteX168" fmla="*/ 7064693 w 11363325"/>
                <a:gd name="connsiteY168" fmla="*/ 3150013 h 3495675"/>
                <a:gd name="connsiteX169" fmla="*/ 7140035 w 11363325"/>
                <a:gd name="connsiteY169" fmla="*/ 3183350 h 3495675"/>
                <a:gd name="connsiteX170" fmla="*/ 7155847 w 11363325"/>
                <a:gd name="connsiteY170" fmla="*/ 3057144 h 3495675"/>
                <a:gd name="connsiteX171" fmla="*/ 7217569 w 11363325"/>
                <a:gd name="connsiteY171" fmla="*/ 3106007 h 3495675"/>
                <a:gd name="connsiteX172" fmla="*/ 7228523 w 11363325"/>
                <a:gd name="connsiteY172" fmla="*/ 3169539 h 3495675"/>
                <a:gd name="connsiteX173" fmla="*/ 7318724 w 11363325"/>
                <a:gd name="connsiteY173" fmla="*/ 3154395 h 3495675"/>
                <a:gd name="connsiteX174" fmla="*/ 7378636 w 11363325"/>
                <a:gd name="connsiteY174" fmla="*/ 3157252 h 3495675"/>
                <a:gd name="connsiteX175" fmla="*/ 7376541 w 11363325"/>
                <a:gd name="connsiteY175" fmla="*/ 3102007 h 3495675"/>
                <a:gd name="connsiteX176" fmla="*/ 7427881 w 11363325"/>
                <a:gd name="connsiteY176" fmla="*/ 3095435 h 3495675"/>
                <a:gd name="connsiteX177" fmla="*/ 7499414 w 11363325"/>
                <a:gd name="connsiteY177" fmla="*/ 3116771 h 3495675"/>
                <a:gd name="connsiteX178" fmla="*/ 7593616 w 11363325"/>
                <a:gd name="connsiteY178" fmla="*/ 3121247 h 3495675"/>
                <a:gd name="connsiteX179" fmla="*/ 7505319 w 11363325"/>
                <a:gd name="connsiteY179" fmla="*/ 2943701 h 3495675"/>
                <a:gd name="connsiteX180" fmla="*/ 7592283 w 11363325"/>
                <a:gd name="connsiteY180" fmla="*/ 2956465 h 3495675"/>
                <a:gd name="connsiteX181" fmla="*/ 7650576 w 11363325"/>
                <a:gd name="connsiteY181" fmla="*/ 2972467 h 3495675"/>
                <a:gd name="connsiteX182" fmla="*/ 7683627 w 11363325"/>
                <a:gd name="connsiteY182" fmla="*/ 2913126 h 3495675"/>
                <a:gd name="connsiteX183" fmla="*/ 7722394 w 11363325"/>
                <a:gd name="connsiteY183" fmla="*/ 2943511 h 3495675"/>
                <a:gd name="connsiteX184" fmla="*/ 7827169 w 11363325"/>
                <a:gd name="connsiteY184" fmla="*/ 2891409 h 3495675"/>
                <a:gd name="connsiteX185" fmla="*/ 7635907 w 11363325"/>
                <a:gd name="connsiteY185" fmla="*/ 2838545 h 3495675"/>
                <a:gd name="connsiteX186" fmla="*/ 7828121 w 11363325"/>
                <a:gd name="connsiteY186" fmla="*/ 2805779 h 3495675"/>
                <a:gd name="connsiteX187" fmla="*/ 7762494 w 11363325"/>
                <a:gd name="connsiteY187" fmla="*/ 2701671 h 3495675"/>
                <a:gd name="connsiteX188" fmla="*/ 7867936 w 11363325"/>
                <a:gd name="connsiteY188" fmla="*/ 2752725 h 3495675"/>
                <a:gd name="connsiteX189" fmla="*/ 7875556 w 11363325"/>
                <a:gd name="connsiteY189" fmla="*/ 2668810 h 3495675"/>
                <a:gd name="connsiteX190" fmla="*/ 7986999 w 11363325"/>
                <a:gd name="connsiteY190" fmla="*/ 2623185 h 3495675"/>
                <a:gd name="connsiteX191" fmla="*/ 7884605 w 11363325"/>
                <a:gd name="connsiteY191" fmla="*/ 2554129 h 3495675"/>
                <a:gd name="connsiteX192" fmla="*/ 7876699 w 11363325"/>
                <a:gd name="connsiteY192" fmla="*/ 2488787 h 3495675"/>
                <a:gd name="connsiteX193" fmla="*/ 7953280 w 11363325"/>
                <a:gd name="connsiteY193" fmla="*/ 2466975 h 3495675"/>
                <a:gd name="connsiteX194" fmla="*/ 7977569 w 11363325"/>
                <a:gd name="connsiteY194" fmla="*/ 2409825 h 3495675"/>
                <a:gd name="connsiteX195" fmla="*/ 8022622 w 11363325"/>
                <a:gd name="connsiteY195" fmla="*/ 2384393 h 3495675"/>
                <a:gd name="connsiteX196" fmla="*/ 8080344 w 11363325"/>
                <a:gd name="connsiteY196" fmla="*/ 2448020 h 3495675"/>
                <a:gd name="connsiteX197" fmla="*/ 8132636 w 11363325"/>
                <a:gd name="connsiteY197" fmla="*/ 2333816 h 3495675"/>
                <a:gd name="connsiteX198" fmla="*/ 8196167 w 11363325"/>
                <a:gd name="connsiteY198" fmla="*/ 2343055 h 3495675"/>
                <a:gd name="connsiteX199" fmla="*/ 8258556 w 11363325"/>
                <a:gd name="connsiteY199" fmla="*/ 2300288 h 3495675"/>
                <a:gd name="connsiteX200" fmla="*/ 8308181 w 11363325"/>
                <a:gd name="connsiteY200" fmla="*/ 2355723 h 3495675"/>
                <a:gd name="connsiteX201" fmla="*/ 8366760 w 11363325"/>
                <a:gd name="connsiteY201" fmla="*/ 2337626 h 3495675"/>
                <a:gd name="connsiteX202" fmla="*/ 8412670 w 11363325"/>
                <a:gd name="connsiteY202" fmla="*/ 2463165 h 3495675"/>
                <a:gd name="connsiteX203" fmla="*/ 8475059 w 11363325"/>
                <a:gd name="connsiteY203" fmla="*/ 2357533 h 3495675"/>
                <a:gd name="connsiteX204" fmla="*/ 8535638 w 11363325"/>
                <a:gd name="connsiteY204" fmla="*/ 2278952 h 3495675"/>
                <a:gd name="connsiteX205" fmla="*/ 8584216 w 11363325"/>
                <a:gd name="connsiteY205" fmla="*/ 2373249 h 3495675"/>
                <a:gd name="connsiteX206" fmla="*/ 8644985 w 11363325"/>
                <a:gd name="connsiteY206" fmla="*/ 2288096 h 3495675"/>
                <a:gd name="connsiteX207" fmla="*/ 8691372 w 11363325"/>
                <a:gd name="connsiteY207" fmla="*/ 2334863 h 3495675"/>
                <a:gd name="connsiteX208" fmla="*/ 8765000 w 11363325"/>
                <a:gd name="connsiteY208" fmla="*/ 2487359 h 3495675"/>
                <a:gd name="connsiteX209" fmla="*/ 8790623 w 11363325"/>
                <a:gd name="connsiteY209" fmla="*/ 2265712 h 3495675"/>
                <a:gd name="connsiteX210" fmla="*/ 8843010 w 11363325"/>
                <a:gd name="connsiteY210" fmla="*/ 2436876 h 3495675"/>
                <a:gd name="connsiteX211" fmla="*/ 8906446 w 11363325"/>
                <a:gd name="connsiteY211" fmla="*/ 2404396 h 3495675"/>
                <a:gd name="connsiteX212" fmla="*/ 8903303 w 11363325"/>
                <a:gd name="connsiteY212" fmla="*/ 2516981 h 3495675"/>
                <a:gd name="connsiteX213" fmla="*/ 9019413 w 11363325"/>
                <a:gd name="connsiteY213" fmla="*/ 2434400 h 3495675"/>
                <a:gd name="connsiteX214" fmla="*/ 9086564 w 11363325"/>
                <a:gd name="connsiteY214" fmla="*/ 2541270 h 3495675"/>
                <a:gd name="connsiteX215" fmla="*/ 9122759 w 11363325"/>
                <a:gd name="connsiteY215" fmla="*/ 2414016 h 3495675"/>
                <a:gd name="connsiteX216" fmla="*/ 9184100 w 11363325"/>
                <a:gd name="connsiteY216" fmla="*/ 2409063 h 3495675"/>
                <a:gd name="connsiteX217" fmla="*/ 9242393 w 11363325"/>
                <a:gd name="connsiteY217" fmla="*/ 2520410 h 3495675"/>
                <a:gd name="connsiteX218" fmla="*/ 9300972 w 11363325"/>
                <a:gd name="connsiteY218" fmla="*/ 2389537 h 3495675"/>
                <a:gd name="connsiteX219" fmla="*/ 9385268 w 11363325"/>
                <a:gd name="connsiteY219" fmla="*/ 2362772 h 3495675"/>
                <a:gd name="connsiteX220" fmla="*/ 9360027 w 11363325"/>
                <a:gd name="connsiteY220" fmla="*/ 2527268 h 3495675"/>
                <a:gd name="connsiteX221" fmla="*/ 9484805 w 11363325"/>
                <a:gd name="connsiteY221" fmla="*/ 2473833 h 3495675"/>
                <a:gd name="connsiteX222" fmla="*/ 9536430 w 11363325"/>
                <a:gd name="connsiteY222" fmla="*/ 2477453 h 3495675"/>
                <a:gd name="connsiteX223" fmla="*/ 9564148 w 11363325"/>
                <a:gd name="connsiteY223" fmla="*/ 2533269 h 3495675"/>
                <a:gd name="connsiteX224" fmla="*/ 9616726 w 11363325"/>
                <a:gd name="connsiteY224" fmla="*/ 2570798 h 3495675"/>
                <a:gd name="connsiteX225" fmla="*/ 9686258 w 11363325"/>
                <a:gd name="connsiteY225" fmla="*/ 2645759 h 3495675"/>
                <a:gd name="connsiteX226" fmla="*/ 9744646 w 11363325"/>
                <a:gd name="connsiteY226" fmla="*/ 2589943 h 3495675"/>
                <a:gd name="connsiteX227" fmla="*/ 9790462 w 11363325"/>
                <a:gd name="connsiteY227" fmla="*/ 2561463 h 3495675"/>
                <a:gd name="connsiteX228" fmla="*/ 9787985 w 11363325"/>
                <a:gd name="connsiteY228" fmla="*/ 2486025 h 3495675"/>
                <a:gd name="connsiteX229" fmla="*/ 9823418 w 11363325"/>
                <a:gd name="connsiteY229" fmla="*/ 2454212 h 3495675"/>
                <a:gd name="connsiteX230" fmla="*/ 9873805 w 11363325"/>
                <a:gd name="connsiteY230" fmla="*/ 2365724 h 3495675"/>
                <a:gd name="connsiteX231" fmla="*/ 9928956 w 11363325"/>
                <a:gd name="connsiteY231" fmla="*/ 2379726 h 3495675"/>
                <a:gd name="connsiteX232" fmla="*/ 9994202 w 11363325"/>
                <a:gd name="connsiteY232" fmla="*/ 2399348 h 3495675"/>
                <a:gd name="connsiteX233" fmla="*/ 10029634 w 11363325"/>
                <a:gd name="connsiteY233" fmla="*/ 2462498 h 3495675"/>
                <a:gd name="connsiteX234" fmla="*/ 10074212 w 11363325"/>
                <a:gd name="connsiteY234" fmla="*/ 2483930 h 3495675"/>
                <a:gd name="connsiteX235" fmla="*/ 10165461 w 11363325"/>
                <a:gd name="connsiteY235" fmla="*/ 2416397 h 3495675"/>
                <a:gd name="connsiteX236" fmla="*/ 10164699 w 11363325"/>
                <a:gd name="connsiteY236" fmla="*/ 2471547 h 3495675"/>
                <a:gd name="connsiteX237" fmla="*/ 10189178 w 11363325"/>
                <a:gd name="connsiteY237" fmla="*/ 2433828 h 3495675"/>
                <a:gd name="connsiteX238" fmla="*/ 10224897 w 11363325"/>
                <a:gd name="connsiteY238" fmla="*/ 2398109 h 3495675"/>
                <a:gd name="connsiteX239" fmla="*/ 10310051 w 11363325"/>
                <a:gd name="connsiteY239" fmla="*/ 2404015 h 3495675"/>
                <a:gd name="connsiteX240" fmla="*/ 10311765 w 11363325"/>
                <a:gd name="connsiteY240" fmla="*/ 2411349 h 3495675"/>
                <a:gd name="connsiteX241" fmla="*/ 10438734 w 11363325"/>
                <a:gd name="connsiteY241" fmla="*/ 2362391 h 3495675"/>
                <a:gd name="connsiteX242" fmla="*/ 10370820 w 11363325"/>
                <a:gd name="connsiteY242" fmla="*/ 2528888 h 3495675"/>
                <a:gd name="connsiteX243" fmla="*/ 10491883 w 11363325"/>
                <a:gd name="connsiteY243" fmla="*/ 2405539 h 3495675"/>
                <a:gd name="connsiteX244" fmla="*/ 10486359 w 11363325"/>
                <a:gd name="connsiteY244" fmla="*/ 2384774 h 3495675"/>
                <a:gd name="connsiteX245" fmla="*/ 10622852 w 11363325"/>
                <a:gd name="connsiteY245" fmla="*/ 2485263 h 3495675"/>
                <a:gd name="connsiteX246" fmla="*/ 10613897 w 11363325"/>
                <a:gd name="connsiteY246" fmla="*/ 2343055 h 3495675"/>
                <a:gd name="connsiteX247" fmla="*/ 10724769 w 11363325"/>
                <a:gd name="connsiteY247" fmla="*/ 2486692 h 3495675"/>
                <a:gd name="connsiteX248" fmla="*/ 10763250 w 11363325"/>
                <a:gd name="connsiteY248" fmla="*/ 2421350 h 3495675"/>
                <a:gd name="connsiteX249" fmla="*/ 10827830 w 11363325"/>
                <a:gd name="connsiteY249" fmla="*/ 2432018 h 3495675"/>
                <a:gd name="connsiteX250" fmla="*/ 10874026 w 11363325"/>
                <a:gd name="connsiteY250" fmla="*/ 2385536 h 3495675"/>
                <a:gd name="connsiteX251" fmla="*/ 10932795 w 11363325"/>
                <a:gd name="connsiteY251" fmla="*/ 2380202 h 3495675"/>
                <a:gd name="connsiteX252" fmla="*/ 10960228 w 11363325"/>
                <a:gd name="connsiteY252" fmla="*/ 2225421 h 3495675"/>
                <a:gd name="connsiteX253" fmla="*/ 10986992 w 11363325"/>
                <a:gd name="connsiteY253" fmla="*/ 2382869 h 3495675"/>
                <a:gd name="connsiteX254" fmla="*/ 11046809 w 11363325"/>
                <a:gd name="connsiteY254" fmla="*/ 2397062 h 3495675"/>
                <a:gd name="connsiteX255" fmla="*/ 11124534 w 11363325"/>
                <a:gd name="connsiteY255" fmla="*/ 2365534 h 3495675"/>
                <a:gd name="connsiteX256" fmla="*/ 11182445 w 11363325"/>
                <a:gd name="connsiteY256" fmla="*/ 2383155 h 3495675"/>
                <a:gd name="connsiteX257" fmla="*/ 11250454 w 11363325"/>
                <a:gd name="connsiteY257" fmla="*/ 2375249 h 3495675"/>
                <a:gd name="connsiteX258" fmla="*/ 11303508 w 11363325"/>
                <a:gd name="connsiteY258" fmla="*/ 2327243 h 3495675"/>
                <a:gd name="connsiteX259" fmla="*/ 11356467 w 11363325"/>
                <a:gd name="connsiteY259" fmla="*/ 2424494 h 3495675"/>
                <a:gd name="connsiteX260" fmla="*/ 11372564 w 11363325"/>
                <a:gd name="connsiteY260" fmla="*/ 2435924 h 3495675"/>
                <a:gd name="connsiteX261" fmla="*/ 11372564 w 11363325"/>
                <a:gd name="connsiteY261" fmla="*/ 0 h 3495675"/>
                <a:gd name="connsiteX262" fmla="*/ 0 w 11363325"/>
                <a:gd name="connsiteY262" fmla="*/ 0 h 3495675"/>
                <a:gd name="connsiteX263" fmla="*/ 7624191 w 11363325"/>
                <a:gd name="connsiteY263" fmla="*/ 2067973 h 3495675"/>
                <a:gd name="connsiteX264" fmla="*/ 7586187 w 11363325"/>
                <a:gd name="connsiteY264" fmla="*/ 1943672 h 3495675"/>
                <a:gd name="connsiteX265" fmla="*/ 7601522 w 11363325"/>
                <a:gd name="connsiteY265" fmla="*/ 1930813 h 3495675"/>
                <a:gd name="connsiteX266" fmla="*/ 7634669 w 11363325"/>
                <a:gd name="connsiteY266" fmla="*/ 1941100 h 3495675"/>
                <a:gd name="connsiteX267" fmla="*/ 7624191 w 11363325"/>
                <a:gd name="connsiteY267" fmla="*/ 2067973 h 3495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</a:cxnLst>
              <a:rect l="l" t="t" r="r" b="b"/>
              <a:pathLst>
                <a:path w="11363325" h="3495675">
                  <a:moveTo>
                    <a:pt x="0" y="0"/>
                  </a:moveTo>
                  <a:lnTo>
                    <a:pt x="0" y="2568226"/>
                  </a:lnTo>
                  <a:lnTo>
                    <a:pt x="19336" y="2547080"/>
                  </a:lnTo>
                  <a:lnTo>
                    <a:pt x="91535" y="2541841"/>
                  </a:lnTo>
                  <a:lnTo>
                    <a:pt x="102775" y="2636520"/>
                  </a:lnTo>
                  <a:lnTo>
                    <a:pt x="78772" y="2749677"/>
                  </a:lnTo>
                  <a:lnTo>
                    <a:pt x="210312" y="2682907"/>
                  </a:lnTo>
                  <a:lnTo>
                    <a:pt x="278511" y="2680145"/>
                  </a:lnTo>
                  <a:lnTo>
                    <a:pt x="299847" y="2746153"/>
                  </a:lnTo>
                  <a:lnTo>
                    <a:pt x="268700" y="2873407"/>
                  </a:lnTo>
                  <a:lnTo>
                    <a:pt x="378619" y="2834164"/>
                  </a:lnTo>
                  <a:lnTo>
                    <a:pt x="383381" y="2910840"/>
                  </a:lnTo>
                  <a:lnTo>
                    <a:pt x="404241" y="2994470"/>
                  </a:lnTo>
                  <a:lnTo>
                    <a:pt x="479108" y="3001995"/>
                  </a:lnTo>
                  <a:lnTo>
                    <a:pt x="559308" y="2948559"/>
                  </a:lnTo>
                  <a:lnTo>
                    <a:pt x="590169" y="3082671"/>
                  </a:lnTo>
                  <a:lnTo>
                    <a:pt x="659035" y="3032570"/>
                  </a:lnTo>
                  <a:lnTo>
                    <a:pt x="714089" y="3084005"/>
                  </a:lnTo>
                  <a:lnTo>
                    <a:pt x="758285" y="3006757"/>
                  </a:lnTo>
                  <a:lnTo>
                    <a:pt x="775811" y="3059621"/>
                  </a:lnTo>
                  <a:lnTo>
                    <a:pt x="819722" y="3041714"/>
                  </a:lnTo>
                  <a:lnTo>
                    <a:pt x="893350" y="3040952"/>
                  </a:lnTo>
                  <a:lnTo>
                    <a:pt x="892112" y="3111532"/>
                  </a:lnTo>
                  <a:lnTo>
                    <a:pt x="1005364" y="3103721"/>
                  </a:lnTo>
                  <a:lnTo>
                    <a:pt x="976027" y="3173063"/>
                  </a:lnTo>
                  <a:lnTo>
                    <a:pt x="1054703" y="3175159"/>
                  </a:lnTo>
                  <a:lnTo>
                    <a:pt x="1054703" y="3175064"/>
                  </a:lnTo>
                  <a:lnTo>
                    <a:pt x="1111472" y="3158490"/>
                  </a:lnTo>
                  <a:lnTo>
                    <a:pt x="1200245" y="3255550"/>
                  </a:lnTo>
                  <a:lnTo>
                    <a:pt x="1274255" y="3154775"/>
                  </a:lnTo>
                  <a:lnTo>
                    <a:pt x="1294067" y="3253073"/>
                  </a:lnTo>
                  <a:lnTo>
                    <a:pt x="1185577" y="3354800"/>
                  </a:lnTo>
                  <a:lnTo>
                    <a:pt x="1302639" y="3385947"/>
                  </a:lnTo>
                  <a:lnTo>
                    <a:pt x="1340072" y="3302127"/>
                  </a:lnTo>
                  <a:lnTo>
                    <a:pt x="1414367" y="3363087"/>
                  </a:lnTo>
                  <a:lnTo>
                    <a:pt x="1432274" y="3434048"/>
                  </a:lnTo>
                  <a:lnTo>
                    <a:pt x="1498759" y="3388043"/>
                  </a:lnTo>
                  <a:lnTo>
                    <a:pt x="1507712" y="3467386"/>
                  </a:lnTo>
                  <a:lnTo>
                    <a:pt x="1620488" y="3370803"/>
                  </a:lnTo>
                  <a:lnTo>
                    <a:pt x="1609725" y="3390233"/>
                  </a:lnTo>
                  <a:lnTo>
                    <a:pt x="1657922" y="3376041"/>
                  </a:lnTo>
                  <a:lnTo>
                    <a:pt x="1776032" y="3499295"/>
                  </a:lnTo>
                  <a:lnTo>
                    <a:pt x="1755553" y="3349657"/>
                  </a:lnTo>
                  <a:lnTo>
                    <a:pt x="1822990" y="3340227"/>
                  </a:lnTo>
                  <a:lnTo>
                    <a:pt x="1915192" y="3379661"/>
                  </a:lnTo>
                  <a:lnTo>
                    <a:pt x="2007680" y="3332703"/>
                  </a:lnTo>
                  <a:lnTo>
                    <a:pt x="2005870" y="3231261"/>
                  </a:lnTo>
                  <a:lnTo>
                    <a:pt x="1929193" y="3188684"/>
                  </a:lnTo>
                  <a:lnTo>
                    <a:pt x="1961960" y="3130677"/>
                  </a:lnTo>
                  <a:lnTo>
                    <a:pt x="1847850" y="3093625"/>
                  </a:lnTo>
                  <a:lnTo>
                    <a:pt x="1863281" y="2997137"/>
                  </a:lnTo>
                  <a:lnTo>
                    <a:pt x="1957673" y="3006471"/>
                  </a:lnTo>
                  <a:lnTo>
                    <a:pt x="2019776" y="3112484"/>
                  </a:lnTo>
                  <a:lnTo>
                    <a:pt x="2068830" y="3065526"/>
                  </a:lnTo>
                  <a:lnTo>
                    <a:pt x="2061020" y="2944559"/>
                  </a:lnTo>
                  <a:lnTo>
                    <a:pt x="2064639" y="2930938"/>
                  </a:lnTo>
                  <a:lnTo>
                    <a:pt x="2164461" y="2904935"/>
                  </a:lnTo>
                  <a:lnTo>
                    <a:pt x="2174462" y="2844737"/>
                  </a:lnTo>
                  <a:lnTo>
                    <a:pt x="2144363" y="2754535"/>
                  </a:lnTo>
                  <a:lnTo>
                    <a:pt x="2286476" y="2780538"/>
                  </a:lnTo>
                  <a:lnTo>
                    <a:pt x="2292858" y="2739485"/>
                  </a:lnTo>
                  <a:lnTo>
                    <a:pt x="2337340" y="2786729"/>
                  </a:lnTo>
                  <a:lnTo>
                    <a:pt x="2405253" y="2622518"/>
                  </a:lnTo>
                  <a:lnTo>
                    <a:pt x="2478405" y="2735390"/>
                  </a:lnTo>
                  <a:lnTo>
                    <a:pt x="2416683" y="2594324"/>
                  </a:lnTo>
                  <a:lnTo>
                    <a:pt x="2517743" y="2600516"/>
                  </a:lnTo>
                  <a:lnTo>
                    <a:pt x="2563273" y="2546033"/>
                  </a:lnTo>
                  <a:lnTo>
                    <a:pt x="2633948" y="2504980"/>
                  </a:lnTo>
                  <a:lnTo>
                    <a:pt x="2691194" y="2545271"/>
                  </a:lnTo>
                  <a:lnTo>
                    <a:pt x="2742724" y="2633186"/>
                  </a:lnTo>
                  <a:lnTo>
                    <a:pt x="2794635" y="2642045"/>
                  </a:lnTo>
                  <a:lnTo>
                    <a:pt x="2876931" y="2517077"/>
                  </a:lnTo>
                  <a:lnTo>
                    <a:pt x="2886551" y="2505170"/>
                  </a:lnTo>
                  <a:lnTo>
                    <a:pt x="2947226" y="2548033"/>
                  </a:lnTo>
                  <a:lnTo>
                    <a:pt x="2941034" y="2456593"/>
                  </a:lnTo>
                  <a:lnTo>
                    <a:pt x="3068670" y="2516600"/>
                  </a:lnTo>
                  <a:lnTo>
                    <a:pt x="3110674" y="2553272"/>
                  </a:lnTo>
                  <a:lnTo>
                    <a:pt x="3139916" y="2377821"/>
                  </a:lnTo>
                  <a:lnTo>
                    <a:pt x="3192304" y="2410873"/>
                  </a:lnTo>
                  <a:lnTo>
                    <a:pt x="3257264" y="2440496"/>
                  </a:lnTo>
                  <a:lnTo>
                    <a:pt x="3289173" y="2366772"/>
                  </a:lnTo>
                  <a:lnTo>
                    <a:pt x="3355181" y="2377535"/>
                  </a:lnTo>
                  <a:lnTo>
                    <a:pt x="3412141" y="2373249"/>
                  </a:lnTo>
                  <a:lnTo>
                    <a:pt x="3476244" y="2477643"/>
                  </a:lnTo>
                  <a:lnTo>
                    <a:pt x="3508153" y="2424208"/>
                  </a:lnTo>
                  <a:lnTo>
                    <a:pt x="3585115" y="2405539"/>
                  </a:lnTo>
                  <a:lnTo>
                    <a:pt x="3557207" y="2539937"/>
                  </a:lnTo>
                  <a:lnTo>
                    <a:pt x="3666839" y="2508980"/>
                  </a:lnTo>
                  <a:lnTo>
                    <a:pt x="3724466" y="2408777"/>
                  </a:lnTo>
                  <a:lnTo>
                    <a:pt x="3774948" y="2464308"/>
                  </a:lnTo>
                  <a:lnTo>
                    <a:pt x="3826859" y="2478215"/>
                  </a:lnTo>
                  <a:lnTo>
                    <a:pt x="3947351" y="2479358"/>
                  </a:lnTo>
                  <a:lnTo>
                    <a:pt x="3789998" y="2525745"/>
                  </a:lnTo>
                  <a:lnTo>
                    <a:pt x="3752945" y="2572417"/>
                  </a:lnTo>
                  <a:lnTo>
                    <a:pt x="3806190" y="2666048"/>
                  </a:lnTo>
                  <a:lnTo>
                    <a:pt x="3809714" y="2662714"/>
                  </a:lnTo>
                  <a:lnTo>
                    <a:pt x="3865340" y="2649379"/>
                  </a:lnTo>
                  <a:lnTo>
                    <a:pt x="3939826" y="2774537"/>
                  </a:lnTo>
                  <a:lnTo>
                    <a:pt x="3989165" y="2772632"/>
                  </a:lnTo>
                  <a:lnTo>
                    <a:pt x="4054126" y="2664333"/>
                  </a:lnTo>
                  <a:lnTo>
                    <a:pt x="4105942" y="2733866"/>
                  </a:lnTo>
                  <a:lnTo>
                    <a:pt x="4232720" y="2643949"/>
                  </a:lnTo>
                  <a:lnTo>
                    <a:pt x="4207002" y="2763203"/>
                  </a:lnTo>
                  <a:lnTo>
                    <a:pt x="4325112" y="2712339"/>
                  </a:lnTo>
                  <a:lnTo>
                    <a:pt x="4293394" y="2770441"/>
                  </a:lnTo>
                  <a:lnTo>
                    <a:pt x="4329780" y="2794540"/>
                  </a:lnTo>
                  <a:lnTo>
                    <a:pt x="4331018" y="2734532"/>
                  </a:lnTo>
                  <a:lnTo>
                    <a:pt x="4397121" y="2718149"/>
                  </a:lnTo>
                  <a:lnTo>
                    <a:pt x="4338923" y="2617946"/>
                  </a:lnTo>
                  <a:lnTo>
                    <a:pt x="4433507" y="2586419"/>
                  </a:lnTo>
                  <a:lnTo>
                    <a:pt x="4473321" y="2668143"/>
                  </a:lnTo>
                  <a:lnTo>
                    <a:pt x="4467987" y="2766155"/>
                  </a:lnTo>
                  <a:lnTo>
                    <a:pt x="4549521" y="2746058"/>
                  </a:lnTo>
                  <a:lnTo>
                    <a:pt x="4628293" y="2674144"/>
                  </a:lnTo>
                  <a:lnTo>
                    <a:pt x="4675347" y="2786824"/>
                  </a:lnTo>
                  <a:lnTo>
                    <a:pt x="4728020" y="2775299"/>
                  </a:lnTo>
                  <a:lnTo>
                    <a:pt x="4784598" y="2799683"/>
                  </a:lnTo>
                  <a:lnTo>
                    <a:pt x="4829937" y="2765298"/>
                  </a:lnTo>
                  <a:lnTo>
                    <a:pt x="4878229" y="2720626"/>
                  </a:lnTo>
                  <a:lnTo>
                    <a:pt x="4904804" y="2598611"/>
                  </a:lnTo>
                  <a:lnTo>
                    <a:pt x="5019771" y="2779966"/>
                  </a:lnTo>
                  <a:lnTo>
                    <a:pt x="5027962" y="2644140"/>
                  </a:lnTo>
                  <a:lnTo>
                    <a:pt x="5083874" y="2629757"/>
                  </a:lnTo>
                  <a:lnTo>
                    <a:pt x="5119497" y="2744915"/>
                  </a:lnTo>
                  <a:lnTo>
                    <a:pt x="5197317" y="2591276"/>
                  </a:lnTo>
                  <a:lnTo>
                    <a:pt x="5202841" y="2732437"/>
                  </a:lnTo>
                  <a:lnTo>
                    <a:pt x="5277231" y="2699576"/>
                  </a:lnTo>
                  <a:lnTo>
                    <a:pt x="5273802" y="2781110"/>
                  </a:lnTo>
                  <a:lnTo>
                    <a:pt x="5398389" y="2727865"/>
                  </a:lnTo>
                  <a:lnTo>
                    <a:pt x="5428203" y="2786348"/>
                  </a:lnTo>
                  <a:lnTo>
                    <a:pt x="5460969" y="2842546"/>
                  </a:lnTo>
                  <a:lnTo>
                    <a:pt x="5500688" y="2872740"/>
                  </a:lnTo>
                  <a:lnTo>
                    <a:pt x="5535740" y="2865691"/>
                  </a:lnTo>
                  <a:lnTo>
                    <a:pt x="5566982" y="2777204"/>
                  </a:lnTo>
                  <a:lnTo>
                    <a:pt x="5644134" y="2910459"/>
                  </a:lnTo>
                  <a:lnTo>
                    <a:pt x="5638610" y="2917889"/>
                  </a:lnTo>
                  <a:lnTo>
                    <a:pt x="5649659" y="2919984"/>
                  </a:lnTo>
                  <a:lnTo>
                    <a:pt x="5657088" y="2932748"/>
                  </a:lnTo>
                  <a:lnTo>
                    <a:pt x="5662517" y="2922461"/>
                  </a:lnTo>
                  <a:lnTo>
                    <a:pt x="5778723" y="2944845"/>
                  </a:lnTo>
                  <a:lnTo>
                    <a:pt x="5660612" y="3022854"/>
                  </a:lnTo>
                  <a:lnTo>
                    <a:pt x="5781675" y="3000851"/>
                  </a:lnTo>
                  <a:lnTo>
                    <a:pt x="5779389" y="2953131"/>
                  </a:lnTo>
                  <a:lnTo>
                    <a:pt x="5835586" y="3020473"/>
                  </a:lnTo>
                  <a:lnTo>
                    <a:pt x="5890260" y="3056001"/>
                  </a:lnTo>
                  <a:lnTo>
                    <a:pt x="5937980" y="2973896"/>
                  </a:lnTo>
                  <a:lnTo>
                    <a:pt x="5989796" y="2964466"/>
                  </a:lnTo>
                  <a:lnTo>
                    <a:pt x="6043422" y="2964085"/>
                  </a:lnTo>
                  <a:lnTo>
                    <a:pt x="6100667" y="3137249"/>
                  </a:lnTo>
                  <a:lnTo>
                    <a:pt x="6154865" y="3053239"/>
                  </a:lnTo>
                  <a:lnTo>
                    <a:pt x="6206585" y="3067812"/>
                  </a:lnTo>
                  <a:lnTo>
                    <a:pt x="6266021" y="3155156"/>
                  </a:lnTo>
                  <a:lnTo>
                    <a:pt x="6308122" y="3008757"/>
                  </a:lnTo>
                  <a:lnTo>
                    <a:pt x="6352604" y="2945225"/>
                  </a:lnTo>
                  <a:lnTo>
                    <a:pt x="6431852" y="2983802"/>
                  </a:lnTo>
                  <a:lnTo>
                    <a:pt x="6442805" y="3129153"/>
                  </a:lnTo>
                  <a:lnTo>
                    <a:pt x="6550343" y="3018949"/>
                  </a:lnTo>
                  <a:lnTo>
                    <a:pt x="6579394" y="3141059"/>
                  </a:lnTo>
                  <a:lnTo>
                    <a:pt x="6610446" y="3038094"/>
                  </a:lnTo>
                  <a:lnTo>
                    <a:pt x="6685217" y="3083338"/>
                  </a:lnTo>
                  <a:lnTo>
                    <a:pt x="6709124" y="3018187"/>
                  </a:lnTo>
                  <a:lnTo>
                    <a:pt x="6730365" y="3103912"/>
                  </a:lnTo>
                  <a:lnTo>
                    <a:pt x="6825139" y="3023140"/>
                  </a:lnTo>
                  <a:lnTo>
                    <a:pt x="6762941" y="3139821"/>
                  </a:lnTo>
                  <a:lnTo>
                    <a:pt x="6843522" y="3145822"/>
                  </a:lnTo>
                  <a:lnTo>
                    <a:pt x="6879812" y="3212592"/>
                  </a:lnTo>
                  <a:lnTo>
                    <a:pt x="6966680" y="3236405"/>
                  </a:lnTo>
                  <a:lnTo>
                    <a:pt x="6997732" y="3128963"/>
                  </a:lnTo>
                  <a:lnTo>
                    <a:pt x="7064693" y="3150013"/>
                  </a:lnTo>
                  <a:lnTo>
                    <a:pt x="7140035" y="3183350"/>
                  </a:lnTo>
                  <a:lnTo>
                    <a:pt x="7155847" y="3057144"/>
                  </a:lnTo>
                  <a:lnTo>
                    <a:pt x="7217569" y="3106007"/>
                  </a:lnTo>
                  <a:lnTo>
                    <a:pt x="7228523" y="3169539"/>
                  </a:lnTo>
                  <a:lnTo>
                    <a:pt x="7318724" y="3154395"/>
                  </a:lnTo>
                  <a:lnTo>
                    <a:pt x="7378636" y="3157252"/>
                  </a:lnTo>
                  <a:lnTo>
                    <a:pt x="7376541" y="3102007"/>
                  </a:lnTo>
                  <a:lnTo>
                    <a:pt x="7427881" y="3095435"/>
                  </a:lnTo>
                  <a:lnTo>
                    <a:pt x="7499414" y="3116771"/>
                  </a:lnTo>
                  <a:lnTo>
                    <a:pt x="7593616" y="3121247"/>
                  </a:lnTo>
                  <a:lnTo>
                    <a:pt x="7505319" y="2943701"/>
                  </a:lnTo>
                  <a:lnTo>
                    <a:pt x="7592283" y="2956465"/>
                  </a:lnTo>
                  <a:lnTo>
                    <a:pt x="7650576" y="2972467"/>
                  </a:lnTo>
                  <a:lnTo>
                    <a:pt x="7683627" y="2913126"/>
                  </a:lnTo>
                  <a:lnTo>
                    <a:pt x="7722394" y="2943511"/>
                  </a:lnTo>
                  <a:lnTo>
                    <a:pt x="7827169" y="2891409"/>
                  </a:lnTo>
                  <a:lnTo>
                    <a:pt x="7635907" y="2838545"/>
                  </a:lnTo>
                  <a:lnTo>
                    <a:pt x="7828121" y="2805779"/>
                  </a:lnTo>
                  <a:lnTo>
                    <a:pt x="7762494" y="2701671"/>
                  </a:lnTo>
                  <a:lnTo>
                    <a:pt x="7867936" y="2752725"/>
                  </a:lnTo>
                  <a:lnTo>
                    <a:pt x="7875556" y="2668810"/>
                  </a:lnTo>
                  <a:lnTo>
                    <a:pt x="7986999" y="2623185"/>
                  </a:lnTo>
                  <a:lnTo>
                    <a:pt x="7884605" y="2554129"/>
                  </a:lnTo>
                  <a:lnTo>
                    <a:pt x="7876699" y="2488787"/>
                  </a:lnTo>
                  <a:lnTo>
                    <a:pt x="7953280" y="2466975"/>
                  </a:lnTo>
                  <a:lnTo>
                    <a:pt x="7977569" y="2409825"/>
                  </a:lnTo>
                  <a:lnTo>
                    <a:pt x="8022622" y="2384393"/>
                  </a:lnTo>
                  <a:lnTo>
                    <a:pt x="8080344" y="2448020"/>
                  </a:lnTo>
                  <a:lnTo>
                    <a:pt x="8132636" y="2333816"/>
                  </a:lnTo>
                  <a:lnTo>
                    <a:pt x="8196167" y="2343055"/>
                  </a:lnTo>
                  <a:lnTo>
                    <a:pt x="8258556" y="2300288"/>
                  </a:lnTo>
                  <a:lnTo>
                    <a:pt x="8308181" y="2355723"/>
                  </a:lnTo>
                  <a:lnTo>
                    <a:pt x="8366760" y="2337626"/>
                  </a:lnTo>
                  <a:lnTo>
                    <a:pt x="8412670" y="2463165"/>
                  </a:lnTo>
                  <a:lnTo>
                    <a:pt x="8475059" y="2357533"/>
                  </a:lnTo>
                  <a:lnTo>
                    <a:pt x="8535638" y="2278952"/>
                  </a:lnTo>
                  <a:lnTo>
                    <a:pt x="8584216" y="2373249"/>
                  </a:lnTo>
                  <a:lnTo>
                    <a:pt x="8644985" y="2288096"/>
                  </a:lnTo>
                  <a:lnTo>
                    <a:pt x="8691372" y="2334863"/>
                  </a:lnTo>
                  <a:lnTo>
                    <a:pt x="8765000" y="2487359"/>
                  </a:lnTo>
                  <a:lnTo>
                    <a:pt x="8790623" y="2265712"/>
                  </a:lnTo>
                  <a:lnTo>
                    <a:pt x="8843010" y="2436876"/>
                  </a:lnTo>
                  <a:lnTo>
                    <a:pt x="8906446" y="2404396"/>
                  </a:lnTo>
                  <a:lnTo>
                    <a:pt x="8903303" y="2516981"/>
                  </a:lnTo>
                  <a:lnTo>
                    <a:pt x="9019413" y="2434400"/>
                  </a:lnTo>
                  <a:lnTo>
                    <a:pt x="9086564" y="2541270"/>
                  </a:lnTo>
                  <a:lnTo>
                    <a:pt x="9122759" y="2414016"/>
                  </a:lnTo>
                  <a:lnTo>
                    <a:pt x="9184100" y="2409063"/>
                  </a:lnTo>
                  <a:lnTo>
                    <a:pt x="9242393" y="2520410"/>
                  </a:lnTo>
                  <a:lnTo>
                    <a:pt x="9300972" y="2389537"/>
                  </a:lnTo>
                  <a:lnTo>
                    <a:pt x="9385268" y="2362772"/>
                  </a:lnTo>
                  <a:lnTo>
                    <a:pt x="9360027" y="2527268"/>
                  </a:lnTo>
                  <a:lnTo>
                    <a:pt x="9484805" y="2473833"/>
                  </a:lnTo>
                  <a:lnTo>
                    <a:pt x="9536430" y="2477453"/>
                  </a:lnTo>
                  <a:lnTo>
                    <a:pt x="9564148" y="2533269"/>
                  </a:lnTo>
                  <a:lnTo>
                    <a:pt x="9616726" y="2570798"/>
                  </a:lnTo>
                  <a:lnTo>
                    <a:pt x="9686258" y="2645759"/>
                  </a:lnTo>
                  <a:lnTo>
                    <a:pt x="9744646" y="2589943"/>
                  </a:lnTo>
                  <a:lnTo>
                    <a:pt x="9790462" y="2561463"/>
                  </a:lnTo>
                  <a:lnTo>
                    <a:pt x="9787985" y="2486025"/>
                  </a:lnTo>
                  <a:lnTo>
                    <a:pt x="9823418" y="2454212"/>
                  </a:lnTo>
                  <a:lnTo>
                    <a:pt x="9873805" y="2365724"/>
                  </a:lnTo>
                  <a:lnTo>
                    <a:pt x="9928956" y="2379726"/>
                  </a:lnTo>
                  <a:lnTo>
                    <a:pt x="9994202" y="2399348"/>
                  </a:lnTo>
                  <a:lnTo>
                    <a:pt x="10029634" y="2462498"/>
                  </a:lnTo>
                  <a:lnTo>
                    <a:pt x="10074212" y="2483930"/>
                  </a:lnTo>
                  <a:lnTo>
                    <a:pt x="10165461" y="2416397"/>
                  </a:lnTo>
                  <a:lnTo>
                    <a:pt x="10164699" y="2471547"/>
                  </a:lnTo>
                  <a:lnTo>
                    <a:pt x="10189178" y="2433828"/>
                  </a:lnTo>
                  <a:lnTo>
                    <a:pt x="10224897" y="2398109"/>
                  </a:lnTo>
                  <a:lnTo>
                    <a:pt x="10310051" y="2404015"/>
                  </a:lnTo>
                  <a:lnTo>
                    <a:pt x="10311765" y="2411349"/>
                  </a:lnTo>
                  <a:lnTo>
                    <a:pt x="10438734" y="2362391"/>
                  </a:lnTo>
                  <a:lnTo>
                    <a:pt x="10370820" y="2528888"/>
                  </a:lnTo>
                  <a:lnTo>
                    <a:pt x="10491883" y="2405539"/>
                  </a:lnTo>
                  <a:lnTo>
                    <a:pt x="10486359" y="2384774"/>
                  </a:lnTo>
                  <a:lnTo>
                    <a:pt x="10622852" y="2485263"/>
                  </a:lnTo>
                  <a:lnTo>
                    <a:pt x="10613897" y="2343055"/>
                  </a:lnTo>
                  <a:lnTo>
                    <a:pt x="10724769" y="2486692"/>
                  </a:lnTo>
                  <a:lnTo>
                    <a:pt x="10763250" y="2421350"/>
                  </a:lnTo>
                  <a:lnTo>
                    <a:pt x="10827830" y="2432018"/>
                  </a:lnTo>
                  <a:lnTo>
                    <a:pt x="10874026" y="2385536"/>
                  </a:lnTo>
                  <a:lnTo>
                    <a:pt x="10932795" y="2380202"/>
                  </a:lnTo>
                  <a:lnTo>
                    <a:pt x="10960228" y="2225421"/>
                  </a:lnTo>
                  <a:lnTo>
                    <a:pt x="10986992" y="2382869"/>
                  </a:lnTo>
                  <a:lnTo>
                    <a:pt x="11046809" y="2397062"/>
                  </a:lnTo>
                  <a:lnTo>
                    <a:pt x="11124534" y="2365534"/>
                  </a:lnTo>
                  <a:lnTo>
                    <a:pt x="11182445" y="2383155"/>
                  </a:lnTo>
                  <a:lnTo>
                    <a:pt x="11250454" y="2375249"/>
                  </a:lnTo>
                  <a:lnTo>
                    <a:pt x="11303508" y="2327243"/>
                  </a:lnTo>
                  <a:lnTo>
                    <a:pt x="11356467" y="2424494"/>
                  </a:lnTo>
                  <a:lnTo>
                    <a:pt x="11372564" y="2435924"/>
                  </a:lnTo>
                  <a:lnTo>
                    <a:pt x="11372564" y="0"/>
                  </a:lnTo>
                  <a:lnTo>
                    <a:pt x="0" y="0"/>
                  </a:lnTo>
                  <a:close/>
                  <a:moveTo>
                    <a:pt x="7624191" y="2067973"/>
                  </a:moveTo>
                  <a:lnTo>
                    <a:pt x="7586187" y="1943672"/>
                  </a:lnTo>
                  <a:lnTo>
                    <a:pt x="7601522" y="1930813"/>
                  </a:lnTo>
                  <a:lnTo>
                    <a:pt x="7634669" y="1941100"/>
                  </a:lnTo>
                  <a:lnTo>
                    <a:pt x="7624191" y="2067973"/>
                  </a:lnTo>
                  <a:close/>
                </a:path>
              </a:pathLst>
            </a:custGeom>
            <a:solidFill>
              <a:srgbClr val="F5F5F0"/>
            </a:solidFill>
            <a:ln w="9525" cap="flat">
              <a:noFill/>
              <a:prstDash val="solid"/>
              <a:miter/>
            </a:ln>
            <a:effectLst>
              <a:outerShdw blurRad="88900" dist="50800" dir="5400000" algn="ctr" rotWithShape="0">
                <a:srgbClr val="000000">
                  <a:alpha val="75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74" name="Rechteck 73">
              <a:extLst>
                <a:ext uri="{FF2B5EF4-FFF2-40B4-BE49-F238E27FC236}">
                  <a16:creationId xmlns:a16="http://schemas.microsoft.com/office/drawing/2014/main" id="{EFA97036-FEF9-4CD2-B6B5-8D4CD9F32CB0}"/>
                </a:ext>
              </a:extLst>
            </p:cNvPr>
            <p:cNvSpPr/>
            <p:nvPr/>
          </p:nvSpPr>
          <p:spPr bwMode="auto">
            <a:xfrm>
              <a:off x="5114927" y="3571384"/>
              <a:ext cx="2429099" cy="90635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400" b="1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Börsenkurs für Produktionsdaten</a:t>
              </a:r>
            </a:p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400" b="1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verteuert Lebensmittel!</a:t>
              </a:r>
            </a:p>
          </p:txBody>
        </p:sp>
      </p:grpSp>
      <p:sp>
        <p:nvSpPr>
          <p:cNvPr id="46" name="Rechteck 45">
            <a:extLst>
              <a:ext uri="{FF2B5EF4-FFF2-40B4-BE49-F238E27FC236}">
                <a16:creationId xmlns:a16="http://schemas.microsoft.com/office/drawing/2014/main" id="{CC64D66E-DC9A-4152-BEFF-2E72DD0CB098}"/>
              </a:ext>
            </a:extLst>
          </p:cNvPr>
          <p:cNvSpPr/>
          <p:nvPr/>
        </p:nvSpPr>
        <p:spPr>
          <a:xfrm>
            <a:off x="4471223" y="6608131"/>
            <a:ext cx="4439331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Quelle: Welp, provokante Mutmaßungen</a:t>
            </a:r>
          </a:p>
        </p:txBody>
      </p:sp>
    </p:spTree>
    <p:extLst>
      <p:ext uri="{BB962C8B-B14F-4D97-AF65-F5344CB8AC3E}">
        <p14:creationId xmlns:p14="http://schemas.microsoft.com/office/powerpoint/2010/main" val="851734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084DF1-5D59-4DA0-B4E9-DAA4F491C4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3124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8" name="think-cell Folie" r:id="rId6" imgW="380" imgH="380" progId="TCLayout.ActiveDocument.1">
                  <p:embed/>
                </p:oleObj>
              </mc:Choice>
              <mc:Fallback>
                <p:oleObj name="think-cell Folie" r:id="rId6" imgW="380" imgH="3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0B9ED54-5762-450F-BCF0-7BF183E3F9A6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2200" b="1" dirty="0">
              <a:solidFill>
                <a:schemeClr val="tx1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B1AFA9A-9639-4B6A-9B81-932D2AD272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schäftsmodelle brauchen Kreativität</a:t>
            </a:r>
            <a:br>
              <a:rPr lang="de-DE"/>
            </a:br>
            <a:r>
              <a:rPr lang="de-DE"/>
              <a:t>Sonst </a:t>
            </a:r>
            <a:r>
              <a:rPr lang="de-DE" dirty="0"/>
              <a:t>geht es uns wie einst LEGO</a:t>
            </a: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4510B673-F440-4424-9DA8-28F7D0723A2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7063" y="1439999"/>
            <a:ext cx="11088687" cy="4764858"/>
          </a:xfrm>
          <a:prstGeom prst="rect">
            <a:avLst/>
          </a:prstGeom>
          <a:gradFill>
            <a:gsLst>
              <a:gs pos="46000">
                <a:srgbClr val="0099B0">
                  <a:alpha val="85000"/>
                </a:srgbClr>
              </a:gs>
              <a:gs pos="79000">
                <a:srgbClr val="009999">
                  <a:alpha val="85000"/>
                </a:srgbClr>
              </a:gs>
              <a:gs pos="0">
                <a:srgbClr val="0099CB">
                  <a:alpha val="85000"/>
                </a:srgbClr>
              </a:gs>
            </a:gsLst>
            <a:lin ang="0" scaled="0"/>
          </a:gradFill>
          <a:ln w="12700">
            <a:solidFill>
              <a:srgbClr val="FFFFFF"/>
            </a:solidFill>
            <a:miter lim="800000"/>
            <a:headEnd/>
            <a:tailEnd/>
          </a:ln>
        </p:spPr>
        <p:txBody>
          <a:bodyPr lIns="205550" tIns="205658" rIns="205550" bIns="205550">
            <a:normAutofit/>
          </a:bodyPr>
          <a:lstStyle/>
          <a:p>
            <a:pPr marL="271354"/>
            <a:r>
              <a:rPr lang="de-DE" sz="3600" b="1" kern="0" dirty="0">
                <a:solidFill>
                  <a:srgbClr val="FFFFFF"/>
                </a:solidFill>
              </a:rPr>
              <a:t>„Jedes Kind ist ein Künstler.</a:t>
            </a:r>
          </a:p>
          <a:p>
            <a:pPr marL="271354"/>
            <a:br>
              <a:rPr lang="de-DE" sz="2700" b="1" kern="0" dirty="0">
                <a:solidFill>
                  <a:srgbClr val="FFFFFF"/>
                </a:solidFill>
              </a:rPr>
            </a:br>
            <a:r>
              <a:rPr lang="de-DE" sz="2700" b="1" kern="0" dirty="0">
                <a:solidFill>
                  <a:srgbClr val="FFFFFF"/>
                </a:solidFill>
              </a:rPr>
              <a:t>Das Problem ist nur</a:t>
            </a:r>
            <a:r>
              <a:rPr lang="de-DE" sz="2700" b="1" kern="0">
                <a:solidFill>
                  <a:srgbClr val="FFFFFF"/>
                </a:solidFill>
              </a:rPr>
              <a:t>, </a:t>
            </a:r>
            <a:br>
              <a:rPr lang="de-DE" sz="2700" b="1" kern="0">
                <a:solidFill>
                  <a:srgbClr val="FFFFFF"/>
                </a:solidFill>
              </a:rPr>
            </a:br>
            <a:r>
              <a:rPr lang="de-DE" sz="2700" b="1" kern="0">
                <a:solidFill>
                  <a:srgbClr val="FFFFFF"/>
                </a:solidFill>
              </a:rPr>
              <a:t>wie </a:t>
            </a:r>
            <a:r>
              <a:rPr lang="de-DE" sz="2700" b="1" kern="0" dirty="0">
                <a:solidFill>
                  <a:srgbClr val="FFFFFF"/>
                </a:solidFill>
              </a:rPr>
              <a:t>man </a:t>
            </a:r>
            <a:r>
              <a:rPr lang="de-DE" sz="2700" b="1" kern="0">
                <a:solidFill>
                  <a:srgbClr val="FFFFFF"/>
                </a:solidFill>
              </a:rPr>
              <a:t>ein Künstler </a:t>
            </a:r>
            <a:r>
              <a:rPr lang="de-DE" sz="2700" b="1" kern="0" dirty="0">
                <a:solidFill>
                  <a:srgbClr val="FFFFFF"/>
                </a:solidFill>
              </a:rPr>
              <a:t>bleibt</a:t>
            </a:r>
            <a:r>
              <a:rPr lang="de-DE" sz="2700" b="1" kern="0">
                <a:solidFill>
                  <a:srgbClr val="FFFFFF"/>
                </a:solidFill>
              </a:rPr>
              <a:t>, </a:t>
            </a:r>
            <a:br>
              <a:rPr lang="de-DE" sz="2700" b="1" kern="0">
                <a:solidFill>
                  <a:srgbClr val="FFFFFF"/>
                </a:solidFill>
              </a:rPr>
            </a:br>
            <a:r>
              <a:rPr lang="de-DE" sz="2700" b="1" kern="0">
                <a:solidFill>
                  <a:srgbClr val="FFFFFF"/>
                </a:solidFill>
              </a:rPr>
              <a:t>wenn </a:t>
            </a:r>
            <a:r>
              <a:rPr lang="de-DE" sz="2700" b="1" kern="0" dirty="0">
                <a:solidFill>
                  <a:srgbClr val="FFFFFF"/>
                </a:solidFill>
              </a:rPr>
              <a:t>man größer wird.“</a:t>
            </a:r>
          </a:p>
          <a:p>
            <a:endParaRPr lang="de-DE" sz="1600" b="1" kern="0" dirty="0">
              <a:solidFill>
                <a:srgbClr val="FFFFFF"/>
              </a:solidFill>
            </a:endParaRPr>
          </a:p>
          <a:p>
            <a:pPr marL="271354"/>
            <a:r>
              <a:rPr lang="en-US" sz="1600" kern="0" dirty="0">
                <a:solidFill>
                  <a:srgbClr val="FFFFFF"/>
                </a:solidFill>
              </a:rPr>
              <a:t>(Picasso, 1881-1973)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88987220-59EF-42B9-8285-AE827DF24E02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3027" y="3429000"/>
            <a:ext cx="2825996" cy="2174825"/>
          </a:xfrm>
          <a:prstGeom prst="rect">
            <a:avLst/>
          </a:prstGeom>
        </p:spPr>
      </p:pic>
      <p:pic>
        <p:nvPicPr>
          <p:cNvPr id="9" name="Grafik 8" descr="Ein Bild, das LEGO, Spielzeug enthält.&#10;&#10;Automatisch generierte Beschreibung">
            <a:extLst>
              <a:ext uri="{FF2B5EF4-FFF2-40B4-BE49-F238E27FC236}">
                <a16:creationId xmlns:a16="http://schemas.microsoft.com/office/drawing/2014/main" id="{8B90D174-A9DA-40AC-A46C-D9EE855A5760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4905" y="2879999"/>
            <a:ext cx="6279409" cy="3027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2743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14248E6-5A80-4AAA-BD1B-B662467AC1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3614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3" name="think-cell Folie" r:id="rId6" imgW="380" imgH="380" progId="TCLayout.ActiveDocument.1">
                  <p:embed/>
                </p:oleObj>
              </mc:Choice>
              <mc:Fallback>
                <p:oleObj name="think-cell Folie" r:id="rId6" imgW="380" imgH="3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3217840E-DAF5-4E58-BEFB-DB23EF59992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2200" dirty="0">
              <a:solidFill>
                <a:schemeClr val="tx1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6C0FE8-74CE-4DDF-9862-04B645EB16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Ins="2700000"/>
          <a:lstStyle/>
          <a:p>
            <a:r>
              <a:rPr lang="de-DE" dirty="0"/>
              <a:t>Der Zweck der Digitalisierung </a:t>
            </a:r>
            <a:br>
              <a:rPr lang="de-DE" dirty="0"/>
            </a:br>
            <a:r>
              <a:rPr lang="de-DE" b="0" dirty="0"/>
              <a:t>"Verbesserung von Geschäftsprozessen und Angebot neuer Lösungen und Dienstleistungen für den Kunden, die vorher nicht verfügbar waren</a:t>
            </a:r>
            <a:r>
              <a:rPr lang="en-US" b="0" dirty="0"/>
              <a:t>”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667749B-D008-4FC7-A680-E2BC319A41E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8675" y="1556480"/>
            <a:ext cx="8451415" cy="5940972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54A2DEFC-582F-4855-B8E7-53D8D979254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71668">
            <a:off x="2212135" y="2058076"/>
            <a:ext cx="7224496" cy="4908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610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6" dur="1000" fill="hold"/>
                                        <p:tgtEl>
                                          <p:spTgt spid="5"/>
                                        </p:tgtEl>
                                      </p:cBhvr>
                                      <p:by x="175000" y="17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15E6E51-CE18-4380-AB75-4B9E772E1F00}"/>
              </a:ext>
            </a:extLst>
          </p:cNvPr>
          <p:cNvSpPr/>
          <p:nvPr/>
        </p:nvSpPr>
        <p:spPr bwMode="auto">
          <a:xfrm>
            <a:off x="9954320" y="5712475"/>
            <a:ext cx="1770507" cy="476956"/>
          </a:xfrm>
          <a:prstGeom prst="rect">
            <a:avLst/>
          </a:prstGeom>
          <a:solidFill>
            <a:srgbClr val="FFFFFF">
              <a:alpha val="40000"/>
            </a:srgb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107975" tIns="53988" rIns="107975" bIns="53988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183" name="Freeform: Shape 1182">
            <a:extLst>
              <a:ext uri="{FF2B5EF4-FFF2-40B4-BE49-F238E27FC236}">
                <a16:creationId xmlns:a16="http://schemas.microsoft.com/office/drawing/2014/main" id="{EFA05CF5-B4EC-43AE-B673-F2EA0CEE7DEF}"/>
              </a:ext>
            </a:extLst>
          </p:cNvPr>
          <p:cNvSpPr/>
          <p:nvPr/>
        </p:nvSpPr>
        <p:spPr bwMode="auto">
          <a:xfrm>
            <a:off x="636885" y="1185703"/>
            <a:ext cx="11068973" cy="3881584"/>
          </a:xfrm>
          <a:custGeom>
            <a:avLst/>
            <a:gdLst>
              <a:gd name="connsiteX0" fmla="*/ 0 w 11095463"/>
              <a:gd name="connsiteY0" fmla="*/ 3066586 h 3066586"/>
              <a:gd name="connsiteX1" fmla="*/ 1025912 w 11095463"/>
              <a:gd name="connsiteY1" fmla="*/ 2910469 h 3066586"/>
              <a:gd name="connsiteX2" fmla="*/ 2497873 w 11095463"/>
              <a:gd name="connsiteY2" fmla="*/ 2620537 h 3066586"/>
              <a:gd name="connsiteX3" fmla="*/ 4103648 w 11095463"/>
              <a:gd name="connsiteY3" fmla="*/ 2230244 h 3066586"/>
              <a:gd name="connsiteX4" fmla="*/ 5843239 w 11095463"/>
              <a:gd name="connsiteY4" fmla="*/ 1761893 h 3066586"/>
              <a:gd name="connsiteX5" fmla="*/ 7750097 w 11095463"/>
              <a:gd name="connsiteY5" fmla="*/ 869795 h 3066586"/>
              <a:gd name="connsiteX6" fmla="*/ 9768468 w 11095463"/>
              <a:gd name="connsiteY6" fmla="*/ 245327 h 3066586"/>
              <a:gd name="connsiteX7" fmla="*/ 11095463 w 11095463"/>
              <a:gd name="connsiteY7" fmla="*/ 0 h 3066586"/>
              <a:gd name="connsiteX0" fmla="*/ 0 w 11062010"/>
              <a:gd name="connsiteY0" fmla="*/ 3501483 h 3501483"/>
              <a:gd name="connsiteX1" fmla="*/ 1025912 w 11062010"/>
              <a:gd name="connsiteY1" fmla="*/ 3345366 h 3501483"/>
              <a:gd name="connsiteX2" fmla="*/ 2497873 w 11062010"/>
              <a:gd name="connsiteY2" fmla="*/ 3055434 h 3501483"/>
              <a:gd name="connsiteX3" fmla="*/ 4103648 w 11062010"/>
              <a:gd name="connsiteY3" fmla="*/ 2665141 h 3501483"/>
              <a:gd name="connsiteX4" fmla="*/ 5843239 w 11062010"/>
              <a:gd name="connsiteY4" fmla="*/ 2196790 h 3501483"/>
              <a:gd name="connsiteX5" fmla="*/ 7750097 w 11062010"/>
              <a:gd name="connsiteY5" fmla="*/ 1304692 h 3501483"/>
              <a:gd name="connsiteX6" fmla="*/ 9768468 w 11062010"/>
              <a:gd name="connsiteY6" fmla="*/ 680224 h 3501483"/>
              <a:gd name="connsiteX7" fmla="*/ 11062010 w 11062010"/>
              <a:gd name="connsiteY7" fmla="*/ 0 h 3501483"/>
              <a:gd name="connsiteX0" fmla="*/ 0 w 11062010"/>
              <a:gd name="connsiteY0" fmla="*/ 3501483 h 3501483"/>
              <a:gd name="connsiteX1" fmla="*/ 1025912 w 11062010"/>
              <a:gd name="connsiteY1" fmla="*/ 3345366 h 3501483"/>
              <a:gd name="connsiteX2" fmla="*/ 2497873 w 11062010"/>
              <a:gd name="connsiteY2" fmla="*/ 3055434 h 3501483"/>
              <a:gd name="connsiteX3" fmla="*/ 4103648 w 11062010"/>
              <a:gd name="connsiteY3" fmla="*/ 2665141 h 3501483"/>
              <a:gd name="connsiteX4" fmla="*/ 5843239 w 11062010"/>
              <a:gd name="connsiteY4" fmla="*/ 2196790 h 3501483"/>
              <a:gd name="connsiteX5" fmla="*/ 7750097 w 11062010"/>
              <a:gd name="connsiteY5" fmla="*/ 1304692 h 3501483"/>
              <a:gd name="connsiteX6" fmla="*/ 9634653 w 11062010"/>
              <a:gd name="connsiteY6" fmla="*/ 289931 h 3501483"/>
              <a:gd name="connsiteX7" fmla="*/ 11062010 w 11062010"/>
              <a:gd name="connsiteY7" fmla="*/ 0 h 3501483"/>
              <a:gd name="connsiteX0" fmla="*/ 0 w 11062010"/>
              <a:gd name="connsiteY0" fmla="*/ 3522715 h 3522715"/>
              <a:gd name="connsiteX1" fmla="*/ 1025912 w 11062010"/>
              <a:gd name="connsiteY1" fmla="*/ 3366598 h 3522715"/>
              <a:gd name="connsiteX2" fmla="*/ 2497873 w 11062010"/>
              <a:gd name="connsiteY2" fmla="*/ 3076666 h 3522715"/>
              <a:gd name="connsiteX3" fmla="*/ 4103648 w 11062010"/>
              <a:gd name="connsiteY3" fmla="*/ 2686373 h 3522715"/>
              <a:gd name="connsiteX4" fmla="*/ 5843239 w 11062010"/>
              <a:gd name="connsiteY4" fmla="*/ 2218022 h 3522715"/>
              <a:gd name="connsiteX5" fmla="*/ 7750097 w 11062010"/>
              <a:gd name="connsiteY5" fmla="*/ 1325924 h 3522715"/>
              <a:gd name="connsiteX6" fmla="*/ 9539403 w 11062010"/>
              <a:gd name="connsiteY6" fmla="*/ 111138 h 3522715"/>
              <a:gd name="connsiteX7" fmla="*/ 11062010 w 11062010"/>
              <a:gd name="connsiteY7" fmla="*/ 21232 h 3522715"/>
              <a:gd name="connsiteX0" fmla="*/ 0 w 11090585"/>
              <a:gd name="connsiteY0" fmla="*/ 3758658 h 3758658"/>
              <a:gd name="connsiteX1" fmla="*/ 1025912 w 11090585"/>
              <a:gd name="connsiteY1" fmla="*/ 3602541 h 3758658"/>
              <a:gd name="connsiteX2" fmla="*/ 2497873 w 11090585"/>
              <a:gd name="connsiteY2" fmla="*/ 3312609 h 3758658"/>
              <a:gd name="connsiteX3" fmla="*/ 4103648 w 11090585"/>
              <a:gd name="connsiteY3" fmla="*/ 2922316 h 3758658"/>
              <a:gd name="connsiteX4" fmla="*/ 5843239 w 11090585"/>
              <a:gd name="connsiteY4" fmla="*/ 2453965 h 3758658"/>
              <a:gd name="connsiteX5" fmla="*/ 7750097 w 11090585"/>
              <a:gd name="connsiteY5" fmla="*/ 1561867 h 3758658"/>
              <a:gd name="connsiteX6" fmla="*/ 9539403 w 11090585"/>
              <a:gd name="connsiteY6" fmla="*/ 347081 h 3758658"/>
              <a:gd name="connsiteX7" fmla="*/ 11090585 w 11090585"/>
              <a:gd name="connsiteY7" fmla="*/ 0 h 3758658"/>
              <a:gd name="connsiteX0" fmla="*/ 0 w 11090585"/>
              <a:gd name="connsiteY0" fmla="*/ 3758658 h 3758658"/>
              <a:gd name="connsiteX1" fmla="*/ 1025912 w 11090585"/>
              <a:gd name="connsiteY1" fmla="*/ 3602541 h 3758658"/>
              <a:gd name="connsiteX2" fmla="*/ 2497873 w 11090585"/>
              <a:gd name="connsiteY2" fmla="*/ 3312609 h 3758658"/>
              <a:gd name="connsiteX3" fmla="*/ 4103648 w 11090585"/>
              <a:gd name="connsiteY3" fmla="*/ 2922316 h 3758658"/>
              <a:gd name="connsiteX4" fmla="*/ 5843239 w 11090585"/>
              <a:gd name="connsiteY4" fmla="*/ 2453965 h 3758658"/>
              <a:gd name="connsiteX5" fmla="*/ 7750097 w 11090585"/>
              <a:gd name="connsiteY5" fmla="*/ 1561867 h 3758658"/>
              <a:gd name="connsiteX6" fmla="*/ 9501303 w 11090585"/>
              <a:gd name="connsiteY6" fmla="*/ 137531 h 3758658"/>
              <a:gd name="connsiteX7" fmla="*/ 11090585 w 11090585"/>
              <a:gd name="connsiteY7" fmla="*/ 0 h 3758658"/>
              <a:gd name="connsiteX0" fmla="*/ 0 w 11071535"/>
              <a:gd name="connsiteY0" fmla="*/ 3882483 h 3882483"/>
              <a:gd name="connsiteX1" fmla="*/ 1025912 w 11071535"/>
              <a:gd name="connsiteY1" fmla="*/ 3726366 h 3882483"/>
              <a:gd name="connsiteX2" fmla="*/ 2497873 w 11071535"/>
              <a:gd name="connsiteY2" fmla="*/ 3436434 h 3882483"/>
              <a:gd name="connsiteX3" fmla="*/ 4103648 w 11071535"/>
              <a:gd name="connsiteY3" fmla="*/ 3046141 h 3882483"/>
              <a:gd name="connsiteX4" fmla="*/ 5843239 w 11071535"/>
              <a:gd name="connsiteY4" fmla="*/ 2577790 h 3882483"/>
              <a:gd name="connsiteX5" fmla="*/ 7750097 w 11071535"/>
              <a:gd name="connsiteY5" fmla="*/ 1685692 h 3882483"/>
              <a:gd name="connsiteX6" fmla="*/ 9501303 w 11071535"/>
              <a:gd name="connsiteY6" fmla="*/ 261356 h 3882483"/>
              <a:gd name="connsiteX7" fmla="*/ 11071535 w 11071535"/>
              <a:gd name="connsiteY7" fmla="*/ 0 h 3882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071535" h="3882483">
                <a:moveTo>
                  <a:pt x="0" y="3882483"/>
                </a:moveTo>
                <a:cubicBezTo>
                  <a:pt x="304800" y="3841595"/>
                  <a:pt x="609600" y="3800708"/>
                  <a:pt x="1025912" y="3726366"/>
                </a:cubicBezTo>
                <a:cubicBezTo>
                  <a:pt x="1442224" y="3652024"/>
                  <a:pt x="1984917" y="3549805"/>
                  <a:pt x="2497873" y="3436434"/>
                </a:cubicBezTo>
                <a:cubicBezTo>
                  <a:pt x="3010829" y="3323063"/>
                  <a:pt x="3546087" y="3189248"/>
                  <a:pt x="4103648" y="3046141"/>
                </a:cubicBezTo>
                <a:cubicBezTo>
                  <a:pt x="4661209" y="2903034"/>
                  <a:pt x="5235498" y="2804531"/>
                  <a:pt x="5843239" y="2577790"/>
                </a:cubicBezTo>
                <a:cubicBezTo>
                  <a:pt x="6450980" y="2351049"/>
                  <a:pt x="7140420" y="2071764"/>
                  <a:pt x="7750097" y="1685692"/>
                </a:cubicBezTo>
                <a:cubicBezTo>
                  <a:pt x="8359774" y="1299620"/>
                  <a:pt x="8949318" y="478805"/>
                  <a:pt x="9501303" y="261356"/>
                </a:cubicBezTo>
                <a:cubicBezTo>
                  <a:pt x="10053289" y="43907"/>
                  <a:pt x="10686818" y="50180"/>
                  <a:pt x="11071535" y="0"/>
                </a:cubicBezTo>
              </a:path>
            </a:pathLst>
          </a:custGeom>
          <a:noFill/>
          <a:ln w="12700">
            <a:solidFill>
              <a:srgbClr val="FFFFFF"/>
            </a:solidFill>
            <a:headEnd type="oval"/>
            <a:tailEnd type="stealth" w="lg" len="lg"/>
          </a:ln>
          <a:effectLst/>
        </p:spPr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C3C8C1C-5519-47C3-AB6D-E5093F4A5ED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39917" y="4690388"/>
            <a:ext cx="441858" cy="44185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F0651513-D74A-4805-BBB8-C6B6D1D857DF}"/>
              </a:ext>
            </a:extLst>
          </p:cNvPr>
          <p:cNvSpPr/>
          <p:nvPr/>
        </p:nvSpPr>
        <p:spPr bwMode="auto">
          <a:xfrm>
            <a:off x="734582" y="5289199"/>
            <a:ext cx="1610425" cy="766197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72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de-DE" sz="14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</a:rPr>
              <a:t>Verständnis</a:t>
            </a:r>
            <a:r>
              <a:rPr lang="de-DE" sz="14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</a:rPr>
              <a:t> schaffen für Wert aus Daten (IoT)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7DEB9C2-ACBC-45EB-8E80-EB7DAFC852A9}"/>
              </a:ext>
            </a:extLst>
          </p:cNvPr>
          <p:cNvSpPr/>
          <p:nvPr/>
        </p:nvSpPr>
        <p:spPr bwMode="auto">
          <a:xfrm>
            <a:off x="2210744" y="5501008"/>
            <a:ext cx="2287726" cy="766197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72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de-DE" sz="14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</a:rPr>
              <a:t>Daten sammeln und</a:t>
            </a:r>
            <a:r>
              <a:rPr lang="de-DE" sz="14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</a:rPr>
              <a:t> Erfahrung </a:t>
            </a:r>
            <a:r>
              <a:rPr lang="de-DE" sz="14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</a:rPr>
              <a:t>aufbauen (ei</a:t>
            </a:r>
            <a:r>
              <a:rPr lang="de-DE" sz="14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</a:rPr>
              <a:t>nfache</a:t>
            </a:r>
            <a:r>
              <a:rPr lang="de-DE" sz="14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</a:rPr>
              <a:t> IoT Projekte)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FD8D834-9F04-410B-96A6-8A9DF84C04CE}"/>
              </a:ext>
            </a:extLst>
          </p:cNvPr>
          <p:cNvSpPr/>
          <p:nvPr/>
        </p:nvSpPr>
        <p:spPr bwMode="auto">
          <a:xfrm>
            <a:off x="4592488" y="4928463"/>
            <a:ext cx="2174903" cy="761108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72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de-DE" sz="14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</a:rPr>
              <a:t>Transparenz</a:t>
            </a:r>
            <a:r>
              <a:rPr lang="de-DE" sz="14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</a:rPr>
              <a:t> erlangen welche Bedeutung die Daten wirtschaftlich habe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44BA716-49BA-47F8-BD28-A58F927B6834}"/>
              </a:ext>
            </a:extLst>
          </p:cNvPr>
          <p:cNvSpPr/>
          <p:nvPr/>
        </p:nvSpPr>
        <p:spPr bwMode="auto">
          <a:xfrm>
            <a:off x="4819431" y="1868472"/>
            <a:ext cx="2390558" cy="977239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72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de-DE" sz="14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</a:rPr>
              <a:t>Komme zu </a:t>
            </a:r>
            <a:r>
              <a:rPr lang="de-DE" sz="14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</a:rPr>
              <a:t>neuen Erkenntnissen</a:t>
            </a:r>
            <a:r>
              <a:rPr lang="de-DE" sz="14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</a:rPr>
              <a:t> wie Produkte, Produktion, Service etc. verbessert werden könne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6D6A6D4-D324-40D9-9F64-3A8CAAEC3149}"/>
              </a:ext>
            </a:extLst>
          </p:cNvPr>
          <p:cNvSpPr/>
          <p:nvPr/>
        </p:nvSpPr>
        <p:spPr bwMode="auto">
          <a:xfrm>
            <a:off x="9210172" y="2911053"/>
            <a:ext cx="1955627" cy="756824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72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de-DE" sz="140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rschließe </a:t>
            </a:r>
            <a:r>
              <a:rPr lang="de-DE" sz="1400" b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neue Kundengruppen </a:t>
            </a:r>
            <a:r>
              <a:rPr lang="de-DE" sz="140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und bleibe wettbewerbsfähig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6E2C881-EA6B-48EB-85D5-2600D8FD548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554363" y="324569"/>
            <a:ext cx="2158500" cy="914188"/>
            <a:chOff x="6019" y="204"/>
            <a:chExt cx="1360" cy="576"/>
          </a:xfrm>
        </p:grpSpPr>
        <p:sp>
          <p:nvSpPr>
            <p:cNvPr id="63" name="AutoShape 32">
              <a:extLst>
                <a:ext uri="{FF2B5EF4-FFF2-40B4-BE49-F238E27FC236}">
                  <a16:creationId xmlns:a16="http://schemas.microsoft.com/office/drawing/2014/main" id="{D7E9009E-9607-4859-AD05-59D7569E4B5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  <a:latin typeface="+mn-lt"/>
              </a:endParaRPr>
            </a:p>
          </p:txBody>
        </p:sp>
        <p:sp>
          <p:nvSpPr>
            <p:cNvPr id="64" name="Rectangle 34">
              <a:extLst>
                <a:ext uri="{FF2B5EF4-FFF2-40B4-BE49-F238E27FC236}">
                  <a16:creationId xmlns:a16="http://schemas.microsoft.com/office/drawing/2014/main" id="{2C741F12-E469-45BC-98B7-167B1DC70FD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  <a:latin typeface="+mn-lt"/>
              </a:endParaRPr>
            </a:p>
          </p:txBody>
        </p:sp>
        <p:sp>
          <p:nvSpPr>
            <p:cNvPr id="65" name="Freeform 35">
              <a:extLst>
                <a:ext uri="{FF2B5EF4-FFF2-40B4-BE49-F238E27FC236}">
                  <a16:creationId xmlns:a16="http://schemas.microsoft.com/office/drawing/2014/main" id="{30438F59-6C97-4061-9757-E2FEA90CE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  <a:latin typeface="+mn-lt"/>
              </a:endParaRPr>
            </a:p>
          </p:txBody>
        </p:sp>
        <p:sp>
          <p:nvSpPr>
            <p:cNvPr id="66" name="Freeform 36">
              <a:extLst>
                <a:ext uri="{FF2B5EF4-FFF2-40B4-BE49-F238E27FC236}">
                  <a16:creationId xmlns:a16="http://schemas.microsoft.com/office/drawing/2014/main" id="{C7039DBE-4BBD-4CCD-B057-D4EAA3496F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  <a:latin typeface="+mn-lt"/>
              </a:endParaRPr>
            </a:p>
          </p:txBody>
        </p:sp>
        <p:sp>
          <p:nvSpPr>
            <p:cNvPr id="67" name="Freeform 37">
              <a:extLst>
                <a:ext uri="{FF2B5EF4-FFF2-40B4-BE49-F238E27FC236}">
                  <a16:creationId xmlns:a16="http://schemas.microsoft.com/office/drawing/2014/main" id="{3AA9B131-79B2-45FB-902F-9D61DA9922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  <a:latin typeface="+mn-lt"/>
              </a:endParaRPr>
            </a:p>
          </p:txBody>
        </p:sp>
        <p:sp>
          <p:nvSpPr>
            <p:cNvPr id="68" name="Freeform 38">
              <a:extLst>
                <a:ext uri="{FF2B5EF4-FFF2-40B4-BE49-F238E27FC236}">
                  <a16:creationId xmlns:a16="http://schemas.microsoft.com/office/drawing/2014/main" id="{B5B97F81-7A3F-4287-A76B-D9C725745F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  <a:latin typeface="+mn-lt"/>
              </a:endParaRPr>
            </a:p>
          </p:txBody>
        </p:sp>
        <p:sp>
          <p:nvSpPr>
            <p:cNvPr id="69" name="Freeform 39">
              <a:extLst>
                <a:ext uri="{FF2B5EF4-FFF2-40B4-BE49-F238E27FC236}">
                  <a16:creationId xmlns:a16="http://schemas.microsoft.com/office/drawing/2014/main" id="{D5229521-2E4C-420A-BB6B-019566D582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  <a:latin typeface="+mn-lt"/>
              </a:endParaRPr>
            </a:p>
          </p:txBody>
        </p:sp>
        <p:sp>
          <p:nvSpPr>
            <p:cNvPr id="70" name="Freeform 40">
              <a:extLst>
                <a:ext uri="{FF2B5EF4-FFF2-40B4-BE49-F238E27FC236}">
                  <a16:creationId xmlns:a16="http://schemas.microsoft.com/office/drawing/2014/main" id="{355D7117-2365-4AA9-B961-2419884497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  <a:latin typeface="+mn-lt"/>
              </a:endParaRPr>
            </a:p>
          </p:txBody>
        </p:sp>
        <p:sp>
          <p:nvSpPr>
            <p:cNvPr id="71" name="Freeform 41">
              <a:extLst>
                <a:ext uri="{FF2B5EF4-FFF2-40B4-BE49-F238E27FC236}">
                  <a16:creationId xmlns:a16="http://schemas.microsoft.com/office/drawing/2014/main" id="{EF040695-7BEE-4DC5-9184-48C20FCBF7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  <a:latin typeface="+mn-lt"/>
              </a:endParaRPr>
            </a:p>
          </p:txBody>
        </p:sp>
        <p:sp>
          <p:nvSpPr>
            <p:cNvPr id="72" name="Freeform 42">
              <a:extLst>
                <a:ext uri="{FF2B5EF4-FFF2-40B4-BE49-F238E27FC236}">
                  <a16:creationId xmlns:a16="http://schemas.microsoft.com/office/drawing/2014/main" id="{AD8F660A-FBEC-431A-B8B6-6D9974AF7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  <a:latin typeface="+mn-lt"/>
              </a:endParaRPr>
            </a:p>
          </p:txBody>
        </p:sp>
        <p:sp>
          <p:nvSpPr>
            <p:cNvPr id="73" name="Freeform 43">
              <a:extLst>
                <a:ext uri="{FF2B5EF4-FFF2-40B4-BE49-F238E27FC236}">
                  <a16:creationId xmlns:a16="http://schemas.microsoft.com/office/drawing/2014/main" id="{5E7EE765-740B-4350-86A1-9C4A6FC3DF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  <a:latin typeface="+mn-lt"/>
              </a:endParaRPr>
            </a:p>
          </p:txBody>
        </p:sp>
        <p:sp>
          <p:nvSpPr>
            <p:cNvPr id="74" name="Freeform 44">
              <a:extLst>
                <a:ext uri="{FF2B5EF4-FFF2-40B4-BE49-F238E27FC236}">
                  <a16:creationId xmlns:a16="http://schemas.microsoft.com/office/drawing/2014/main" id="{54A90350-E35E-4414-ADB6-3DA38DA6B5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  <a:latin typeface="+mn-lt"/>
              </a:endParaRPr>
            </a:p>
          </p:txBody>
        </p:sp>
        <p:sp>
          <p:nvSpPr>
            <p:cNvPr id="75" name="Freeform 45">
              <a:extLst>
                <a:ext uri="{FF2B5EF4-FFF2-40B4-BE49-F238E27FC236}">
                  <a16:creationId xmlns:a16="http://schemas.microsoft.com/office/drawing/2014/main" id="{A1AAE902-1B6C-453A-BF12-02168EB95E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  <a:latin typeface="+mn-lt"/>
              </a:endParaRPr>
            </a:p>
          </p:txBody>
        </p:sp>
        <p:sp>
          <p:nvSpPr>
            <p:cNvPr id="76" name="Freeform 46">
              <a:extLst>
                <a:ext uri="{FF2B5EF4-FFF2-40B4-BE49-F238E27FC236}">
                  <a16:creationId xmlns:a16="http://schemas.microsoft.com/office/drawing/2014/main" id="{94BEA962-9693-4D41-92DB-CBB8B769F7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  <a:latin typeface="+mn-lt"/>
              </a:endParaRPr>
            </a:p>
          </p:txBody>
        </p:sp>
        <p:sp>
          <p:nvSpPr>
            <p:cNvPr id="77" name="Freeform 47">
              <a:extLst>
                <a:ext uri="{FF2B5EF4-FFF2-40B4-BE49-F238E27FC236}">
                  <a16:creationId xmlns:a16="http://schemas.microsoft.com/office/drawing/2014/main" id="{F4EB4A3C-95AA-4DA7-AA0E-AD181485C2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  <a:latin typeface="+mn-lt"/>
              </a:endParaRPr>
            </a:p>
          </p:txBody>
        </p:sp>
        <p:sp>
          <p:nvSpPr>
            <p:cNvPr id="78" name="Freeform 48">
              <a:extLst>
                <a:ext uri="{FF2B5EF4-FFF2-40B4-BE49-F238E27FC236}">
                  <a16:creationId xmlns:a16="http://schemas.microsoft.com/office/drawing/2014/main" id="{7E5E8947-CF49-4F55-8563-3DDC6064E6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  <a:latin typeface="+mn-lt"/>
              </a:endParaRPr>
            </a:p>
          </p:txBody>
        </p:sp>
        <p:sp>
          <p:nvSpPr>
            <p:cNvPr id="79" name="Freeform 49">
              <a:extLst>
                <a:ext uri="{FF2B5EF4-FFF2-40B4-BE49-F238E27FC236}">
                  <a16:creationId xmlns:a16="http://schemas.microsoft.com/office/drawing/2014/main" id="{AFDE2646-5077-47B7-B6BC-F0E76937E4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  <a:latin typeface="+mn-lt"/>
              </a:endParaRPr>
            </a:p>
          </p:txBody>
        </p:sp>
        <p:sp>
          <p:nvSpPr>
            <p:cNvPr id="80" name="Freeform 50">
              <a:extLst>
                <a:ext uri="{FF2B5EF4-FFF2-40B4-BE49-F238E27FC236}">
                  <a16:creationId xmlns:a16="http://schemas.microsoft.com/office/drawing/2014/main" id="{DF521C98-BB3A-48BA-B376-41792EFBD9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  <a:latin typeface="+mn-lt"/>
              </a:endParaRPr>
            </a:p>
          </p:txBody>
        </p:sp>
        <p:sp>
          <p:nvSpPr>
            <p:cNvPr id="81" name="Freeform 51">
              <a:extLst>
                <a:ext uri="{FF2B5EF4-FFF2-40B4-BE49-F238E27FC236}">
                  <a16:creationId xmlns:a16="http://schemas.microsoft.com/office/drawing/2014/main" id="{0AC776D5-7CDF-4737-9127-D350C160BA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  <a:latin typeface="+mn-lt"/>
              </a:endParaRPr>
            </a:p>
          </p:txBody>
        </p:sp>
        <p:sp>
          <p:nvSpPr>
            <p:cNvPr id="82" name="Freeform 52">
              <a:extLst>
                <a:ext uri="{FF2B5EF4-FFF2-40B4-BE49-F238E27FC236}">
                  <a16:creationId xmlns:a16="http://schemas.microsoft.com/office/drawing/2014/main" id="{78FD8B01-BEA4-451B-8EF4-E80BBD3CB5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  <a:latin typeface="+mn-lt"/>
              </a:endParaRPr>
            </a:p>
          </p:txBody>
        </p:sp>
        <p:sp>
          <p:nvSpPr>
            <p:cNvPr id="83" name="Freeform 53">
              <a:extLst>
                <a:ext uri="{FF2B5EF4-FFF2-40B4-BE49-F238E27FC236}">
                  <a16:creationId xmlns:a16="http://schemas.microsoft.com/office/drawing/2014/main" id="{D20F333D-6E77-404E-A05E-39099302C8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  <a:latin typeface="+mn-lt"/>
              </a:endParaRPr>
            </a:p>
          </p:txBody>
        </p:sp>
        <p:sp>
          <p:nvSpPr>
            <p:cNvPr id="84" name="Freeform 54">
              <a:extLst>
                <a:ext uri="{FF2B5EF4-FFF2-40B4-BE49-F238E27FC236}">
                  <a16:creationId xmlns:a16="http://schemas.microsoft.com/office/drawing/2014/main" id="{9CB0376E-70D7-4D4B-8ABC-E1B58AC89E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  <a:latin typeface="+mn-lt"/>
              </a:endParaRPr>
            </a:p>
          </p:txBody>
        </p:sp>
        <p:sp>
          <p:nvSpPr>
            <p:cNvPr id="85" name="Freeform 55">
              <a:extLst>
                <a:ext uri="{FF2B5EF4-FFF2-40B4-BE49-F238E27FC236}">
                  <a16:creationId xmlns:a16="http://schemas.microsoft.com/office/drawing/2014/main" id="{E57C5720-D185-4563-B308-5713582CD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  <a:latin typeface="+mn-lt"/>
              </a:endParaRPr>
            </a:p>
          </p:txBody>
        </p:sp>
        <p:sp>
          <p:nvSpPr>
            <p:cNvPr id="86" name="Freeform 56">
              <a:extLst>
                <a:ext uri="{FF2B5EF4-FFF2-40B4-BE49-F238E27FC236}">
                  <a16:creationId xmlns:a16="http://schemas.microsoft.com/office/drawing/2014/main" id="{D9DE1E6E-531C-4C92-8BCB-785D45C62C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  <a:latin typeface="+mn-lt"/>
              </a:endParaRPr>
            </a:p>
          </p:txBody>
        </p:sp>
        <p:sp>
          <p:nvSpPr>
            <p:cNvPr id="87" name="Freeform 57">
              <a:extLst>
                <a:ext uri="{FF2B5EF4-FFF2-40B4-BE49-F238E27FC236}">
                  <a16:creationId xmlns:a16="http://schemas.microsoft.com/office/drawing/2014/main" id="{470FF13C-C064-4E45-8F79-5D5277E1E1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  <a:latin typeface="+mn-lt"/>
              </a:endParaRPr>
            </a:p>
          </p:txBody>
        </p:sp>
        <p:sp>
          <p:nvSpPr>
            <p:cNvPr id="88" name="Freeform 58">
              <a:extLst>
                <a:ext uri="{FF2B5EF4-FFF2-40B4-BE49-F238E27FC236}">
                  <a16:creationId xmlns:a16="http://schemas.microsoft.com/office/drawing/2014/main" id="{64E1A617-30A5-4BBA-8640-D791B4F3D0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  <a:latin typeface="+mn-lt"/>
              </a:endParaRPr>
            </a:p>
          </p:txBody>
        </p:sp>
        <p:sp>
          <p:nvSpPr>
            <p:cNvPr id="89" name="Freeform 59">
              <a:extLst>
                <a:ext uri="{FF2B5EF4-FFF2-40B4-BE49-F238E27FC236}">
                  <a16:creationId xmlns:a16="http://schemas.microsoft.com/office/drawing/2014/main" id="{9DD9FE91-9566-4557-816B-7A0F990013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  <a:latin typeface="+mn-lt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8C9F73D3-BE8A-49E9-A81D-9B728EDD65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gitale “Unternehmensreife” so entsteht</a:t>
            </a:r>
            <a:br>
              <a:rPr lang="de-DE" dirty="0"/>
            </a:br>
            <a:r>
              <a:rPr lang="de-DE" dirty="0"/>
              <a:t>aus Daten ein Eco-System </a:t>
            </a:r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622C4241-AC17-4954-9CA3-4DC5538B465C}"/>
              </a:ext>
            </a:extLst>
          </p:cNvPr>
          <p:cNvSpPr>
            <a:spLocks noChangeAspect="1"/>
          </p:cNvSpPr>
          <p:nvPr/>
        </p:nvSpPr>
        <p:spPr>
          <a:xfrm>
            <a:off x="2823527" y="4334718"/>
            <a:ext cx="574415" cy="574415"/>
          </a:xfrm>
          <a:custGeom>
            <a:avLst/>
            <a:gdLst>
              <a:gd name="connsiteX0" fmla="*/ 528371 w 525780"/>
              <a:gd name="connsiteY0" fmla="*/ 264185 h 525780"/>
              <a:gd name="connsiteX1" fmla="*/ 264185 w 525780"/>
              <a:gd name="connsiteY1" fmla="*/ 528371 h 525780"/>
              <a:gd name="connsiteX2" fmla="*/ 0 w 525780"/>
              <a:gd name="connsiteY2" fmla="*/ 264185 h 525780"/>
              <a:gd name="connsiteX3" fmla="*/ 264185 w 525780"/>
              <a:gd name="connsiteY3" fmla="*/ 0 h 525780"/>
              <a:gd name="connsiteX4" fmla="*/ 528371 w 525780"/>
              <a:gd name="connsiteY4" fmla="*/ 264185 h 525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5780" h="525780">
                <a:moveTo>
                  <a:pt x="528371" y="264185"/>
                </a:moveTo>
                <a:cubicBezTo>
                  <a:pt x="528371" y="410091"/>
                  <a:pt x="410091" y="528371"/>
                  <a:pt x="264185" y="528371"/>
                </a:cubicBezTo>
                <a:cubicBezTo>
                  <a:pt x="118280" y="528371"/>
                  <a:pt x="0" y="410091"/>
                  <a:pt x="0" y="264185"/>
                </a:cubicBezTo>
                <a:cubicBezTo>
                  <a:pt x="0" y="118280"/>
                  <a:pt x="118280" y="0"/>
                  <a:pt x="264185" y="0"/>
                </a:cubicBezTo>
                <a:cubicBezTo>
                  <a:pt x="410091" y="0"/>
                  <a:pt x="528371" y="118280"/>
                  <a:pt x="528371" y="264185"/>
                </a:cubicBezTo>
                <a:close/>
              </a:path>
            </a:pathLst>
          </a:custGeom>
          <a:solidFill>
            <a:srgbClr val="A5E1E1"/>
          </a:solidFill>
          <a:ln w="12700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de-DE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78" name="Freeform: Shape 1177">
            <a:extLst>
              <a:ext uri="{FF2B5EF4-FFF2-40B4-BE49-F238E27FC236}">
                <a16:creationId xmlns:a16="http://schemas.microsoft.com/office/drawing/2014/main" id="{E760551F-041B-45F8-B2CB-BBE55312CF10}"/>
              </a:ext>
            </a:extLst>
          </p:cNvPr>
          <p:cNvSpPr>
            <a:spLocks noChangeAspect="1"/>
          </p:cNvSpPr>
          <p:nvPr/>
        </p:nvSpPr>
        <p:spPr>
          <a:xfrm>
            <a:off x="4339688" y="3850005"/>
            <a:ext cx="761108" cy="761108"/>
          </a:xfrm>
          <a:custGeom>
            <a:avLst/>
            <a:gdLst>
              <a:gd name="connsiteX0" fmla="*/ 528371 w 525780"/>
              <a:gd name="connsiteY0" fmla="*/ 264185 h 525780"/>
              <a:gd name="connsiteX1" fmla="*/ 264185 w 525780"/>
              <a:gd name="connsiteY1" fmla="*/ 528371 h 525780"/>
              <a:gd name="connsiteX2" fmla="*/ 0 w 525780"/>
              <a:gd name="connsiteY2" fmla="*/ 264185 h 525780"/>
              <a:gd name="connsiteX3" fmla="*/ 264185 w 525780"/>
              <a:gd name="connsiteY3" fmla="*/ 0 h 525780"/>
              <a:gd name="connsiteX4" fmla="*/ 528371 w 525780"/>
              <a:gd name="connsiteY4" fmla="*/ 264185 h 525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5780" h="525780">
                <a:moveTo>
                  <a:pt x="528371" y="264185"/>
                </a:moveTo>
                <a:cubicBezTo>
                  <a:pt x="528371" y="410091"/>
                  <a:pt x="410091" y="528371"/>
                  <a:pt x="264185" y="528371"/>
                </a:cubicBezTo>
                <a:cubicBezTo>
                  <a:pt x="118280" y="528371"/>
                  <a:pt x="0" y="410091"/>
                  <a:pt x="0" y="264185"/>
                </a:cubicBezTo>
                <a:cubicBezTo>
                  <a:pt x="0" y="118280"/>
                  <a:pt x="118280" y="0"/>
                  <a:pt x="264185" y="0"/>
                </a:cubicBezTo>
                <a:cubicBezTo>
                  <a:pt x="410091" y="0"/>
                  <a:pt x="528371" y="118280"/>
                  <a:pt x="528371" y="264185"/>
                </a:cubicBezTo>
                <a:close/>
              </a:path>
            </a:pathLst>
          </a:custGeom>
          <a:solidFill>
            <a:srgbClr val="A5E1E1"/>
          </a:solidFill>
          <a:ln w="12700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de-DE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80" name="Freeform: Shape 1179">
            <a:extLst>
              <a:ext uri="{FF2B5EF4-FFF2-40B4-BE49-F238E27FC236}">
                <a16:creationId xmlns:a16="http://schemas.microsoft.com/office/drawing/2014/main" id="{9F89CDA5-79E0-459E-B1D0-0D4E60BA116D}"/>
              </a:ext>
            </a:extLst>
          </p:cNvPr>
          <p:cNvSpPr>
            <a:spLocks noChangeAspect="1"/>
          </p:cNvSpPr>
          <p:nvPr/>
        </p:nvSpPr>
        <p:spPr>
          <a:xfrm>
            <a:off x="6042543" y="3304050"/>
            <a:ext cx="875274" cy="875274"/>
          </a:xfrm>
          <a:custGeom>
            <a:avLst/>
            <a:gdLst>
              <a:gd name="connsiteX0" fmla="*/ 528371 w 525780"/>
              <a:gd name="connsiteY0" fmla="*/ 264185 h 525780"/>
              <a:gd name="connsiteX1" fmla="*/ 264185 w 525780"/>
              <a:gd name="connsiteY1" fmla="*/ 528371 h 525780"/>
              <a:gd name="connsiteX2" fmla="*/ 0 w 525780"/>
              <a:gd name="connsiteY2" fmla="*/ 264185 h 525780"/>
              <a:gd name="connsiteX3" fmla="*/ 264185 w 525780"/>
              <a:gd name="connsiteY3" fmla="*/ 0 h 525780"/>
              <a:gd name="connsiteX4" fmla="*/ 528371 w 525780"/>
              <a:gd name="connsiteY4" fmla="*/ 264185 h 525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5780" h="525780">
                <a:moveTo>
                  <a:pt x="528371" y="264185"/>
                </a:moveTo>
                <a:cubicBezTo>
                  <a:pt x="528371" y="410091"/>
                  <a:pt x="410091" y="528371"/>
                  <a:pt x="264185" y="528371"/>
                </a:cubicBezTo>
                <a:cubicBezTo>
                  <a:pt x="118280" y="528371"/>
                  <a:pt x="0" y="410091"/>
                  <a:pt x="0" y="264185"/>
                </a:cubicBezTo>
                <a:cubicBezTo>
                  <a:pt x="0" y="118280"/>
                  <a:pt x="118280" y="0"/>
                  <a:pt x="264185" y="0"/>
                </a:cubicBezTo>
                <a:cubicBezTo>
                  <a:pt x="410091" y="0"/>
                  <a:pt x="528371" y="118280"/>
                  <a:pt x="528371" y="264185"/>
                </a:cubicBezTo>
                <a:close/>
              </a:path>
            </a:pathLst>
          </a:custGeom>
          <a:solidFill>
            <a:srgbClr val="00646E"/>
          </a:solidFill>
          <a:ln w="12700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de-DE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1202" name="Group 1201">
            <a:extLst>
              <a:ext uri="{FF2B5EF4-FFF2-40B4-BE49-F238E27FC236}">
                <a16:creationId xmlns:a16="http://schemas.microsoft.com/office/drawing/2014/main" id="{57D12C76-2B4E-4226-8E69-03D93890302B}"/>
              </a:ext>
            </a:extLst>
          </p:cNvPr>
          <p:cNvGrpSpPr/>
          <p:nvPr/>
        </p:nvGrpSpPr>
        <p:grpSpPr>
          <a:xfrm>
            <a:off x="10012927" y="5781594"/>
            <a:ext cx="1632338" cy="338718"/>
            <a:chOff x="4263517" y="6308976"/>
            <a:chExt cx="1632716" cy="338796"/>
          </a:xfrm>
        </p:grpSpPr>
        <p:grpSp>
          <p:nvGrpSpPr>
            <p:cNvPr id="1200" name="Group 1199">
              <a:extLst>
                <a:ext uri="{FF2B5EF4-FFF2-40B4-BE49-F238E27FC236}">
                  <a16:creationId xmlns:a16="http://schemas.microsoft.com/office/drawing/2014/main" id="{2DE727A9-1C50-4077-A0AA-ECCD8F6D5093}"/>
                </a:ext>
              </a:extLst>
            </p:cNvPr>
            <p:cNvGrpSpPr/>
            <p:nvPr/>
          </p:nvGrpSpPr>
          <p:grpSpPr>
            <a:xfrm>
              <a:off x="4263517" y="6308976"/>
              <a:ext cx="340465" cy="338796"/>
              <a:chOff x="1277122" y="1586875"/>
              <a:chExt cx="606659" cy="603684"/>
            </a:xfrm>
          </p:grpSpPr>
          <p:sp>
            <p:nvSpPr>
              <p:cNvPr id="1184" name="Freeform: Shape 1183">
                <a:extLst>
                  <a:ext uri="{FF2B5EF4-FFF2-40B4-BE49-F238E27FC236}">
                    <a16:creationId xmlns:a16="http://schemas.microsoft.com/office/drawing/2014/main" id="{F5461D56-618A-4BB1-A0FF-883C50CAA40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277122" y="1586875"/>
                <a:ext cx="603684" cy="603684"/>
              </a:xfrm>
              <a:custGeom>
                <a:avLst/>
                <a:gdLst>
                  <a:gd name="connsiteX0" fmla="*/ 528371 w 525780"/>
                  <a:gd name="connsiteY0" fmla="*/ 264185 h 525780"/>
                  <a:gd name="connsiteX1" fmla="*/ 264185 w 525780"/>
                  <a:gd name="connsiteY1" fmla="*/ 528371 h 525780"/>
                  <a:gd name="connsiteX2" fmla="*/ 0 w 525780"/>
                  <a:gd name="connsiteY2" fmla="*/ 264185 h 525780"/>
                  <a:gd name="connsiteX3" fmla="*/ 264185 w 525780"/>
                  <a:gd name="connsiteY3" fmla="*/ 0 h 525780"/>
                  <a:gd name="connsiteX4" fmla="*/ 528371 w 525780"/>
                  <a:gd name="connsiteY4" fmla="*/ 264185 h 525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5780" h="525780">
                    <a:moveTo>
                      <a:pt x="528371" y="264185"/>
                    </a:moveTo>
                    <a:cubicBezTo>
                      <a:pt x="528371" y="410091"/>
                      <a:pt x="410091" y="528371"/>
                      <a:pt x="264185" y="528371"/>
                    </a:cubicBezTo>
                    <a:cubicBezTo>
                      <a:pt x="118280" y="528371"/>
                      <a:pt x="0" y="410091"/>
                      <a:pt x="0" y="264185"/>
                    </a:cubicBezTo>
                    <a:cubicBezTo>
                      <a:pt x="0" y="118280"/>
                      <a:pt x="118280" y="0"/>
                      <a:pt x="264185" y="0"/>
                    </a:cubicBezTo>
                    <a:cubicBezTo>
                      <a:pt x="410091" y="0"/>
                      <a:pt x="528371" y="118280"/>
                      <a:pt x="528371" y="264185"/>
                    </a:cubicBezTo>
                    <a:close/>
                  </a:path>
                </a:pathLst>
              </a:custGeom>
              <a:solidFill>
                <a:srgbClr val="0F8287"/>
              </a:solidFill>
              <a:ln w="9525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chemeClr val="bg1"/>
                  </a:solidFill>
                  <a:latin typeface="+mn-lt"/>
                </a:endParaRPr>
              </a:p>
            </p:txBody>
          </p:sp>
          <p:cxnSp>
            <p:nvCxnSpPr>
              <p:cNvPr id="1186" name="Straight Arrow Connector 1185">
                <a:extLst>
                  <a:ext uri="{FF2B5EF4-FFF2-40B4-BE49-F238E27FC236}">
                    <a16:creationId xmlns:a16="http://schemas.microsoft.com/office/drawing/2014/main" id="{BF4CD343-AE38-4B56-BE79-4EBBB4077430}"/>
                  </a:ext>
                </a:extLst>
              </p:cNvPr>
              <p:cNvCxnSpPr>
                <a:stCxn id="1184" idx="2"/>
                <a:endCxn id="1184" idx="0"/>
              </p:cNvCxnSpPr>
              <p:nvPr/>
            </p:nvCxnSpPr>
            <p:spPr bwMode="auto">
              <a:xfrm>
                <a:off x="1277122" y="1890204"/>
                <a:ext cx="606659" cy="0"/>
              </a:xfrm>
              <a:prstGeom prst="straightConnector1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triangle" w="med" len="med"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1189" name="TextBox 1188">
              <a:extLst>
                <a:ext uri="{FF2B5EF4-FFF2-40B4-BE49-F238E27FC236}">
                  <a16:creationId xmlns:a16="http://schemas.microsoft.com/office/drawing/2014/main" id="{362CDA6A-12D6-4D20-B09A-FB2E824D7392}"/>
                </a:ext>
              </a:extLst>
            </p:cNvPr>
            <p:cNvSpPr txBox="1"/>
            <p:nvPr/>
          </p:nvSpPr>
          <p:spPr>
            <a:xfrm>
              <a:off x="4696353" y="6381734"/>
              <a:ext cx="1199880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buClr>
                  <a:schemeClr val="accent1"/>
                </a:buClr>
              </a:pPr>
              <a:r>
                <a:rPr lang="de-DE" sz="140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Netzwerkeffekt</a:t>
              </a:r>
            </a:p>
          </p:txBody>
        </p:sp>
      </p:grpSp>
      <p:pic>
        <p:nvPicPr>
          <p:cNvPr id="1193" name="Picture 1192">
            <a:extLst>
              <a:ext uri="{FF2B5EF4-FFF2-40B4-BE49-F238E27FC236}">
                <a16:creationId xmlns:a16="http://schemas.microsoft.com/office/drawing/2014/main" id="{C4C0D816-3DC1-4DFB-A620-CC3DA51AB5B5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lum bright="27000"/>
          </a:blip>
          <a:srcRect l="-541" t="43901" r="12975" b="-580"/>
          <a:stretch/>
        </p:blipFill>
        <p:spPr>
          <a:xfrm>
            <a:off x="8030413" y="0"/>
            <a:ext cx="4166526" cy="2693448"/>
          </a:xfrm>
          <a:prstGeom prst="rect">
            <a:avLst/>
          </a:prstGeom>
        </p:spPr>
      </p:pic>
      <p:sp>
        <p:nvSpPr>
          <p:cNvPr id="1162" name="Rectangle 1161">
            <a:extLst>
              <a:ext uri="{FF2B5EF4-FFF2-40B4-BE49-F238E27FC236}">
                <a16:creationId xmlns:a16="http://schemas.microsoft.com/office/drawing/2014/main" id="{4B76A3E3-813B-4E76-B988-9DD1211B3E5F}"/>
              </a:ext>
            </a:extLst>
          </p:cNvPr>
          <p:cNvSpPr/>
          <p:nvPr/>
        </p:nvSpPr>
        <p:spPr bwMode="auto">
          <a:xfrm>
            <a:off x="9210172" y="803010"/>
            <a:ext cx="2131518" cy="647171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72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de-DE" sz="14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it Hilfe eines eigenen Eco-Systems, Wert durch </a:t>
            </a:r>
            <a:r>
              <a:rPr lang="de-DE" sz="14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Netzwerkeffekte</a:t>
            </a:r>
            <a:r>
              <a:rPr lang="de-DE" sz="14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schaffen</a:t>
            </a:r>
          </a:p>
        </p:txBody>
      </p:sp>
      <p:sp>
        <p:nvSpPr>
          <p:cNvPr id="1203" name="TextBox 1202">
            <a:extLst>
              <a:ext uri="{FF2B5EF4-FFF2-40B4-BE49-F238E27FC236}">
                <a16:creationId xmlns:a16="http://schemas.microsoft.com/office/drawing/2014/main" id="{B2D66C24-B2EB-4D89-9A74-458056C4D9EF}"/>
              </a:ext>
            </a:extLst>
          </p:cNvPr>
          <p:cNvSpPr txBox="1"/>
          <p:nvPr/>
        </p:nvSpPr>
        <p:spPr>
          <a:xfrm>
            <a:off x="573398" y="4175955"/>
            <a:ext cx="1768254" cy="456564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7200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lnSpc>
                <a:spcPct val="110000"/>
              </a:lnSpc>
              <a:spcBef>
                <a:spcPct val="0"/>
              </a:spcBef>
              <a:defRPr sz="1200" b="1">
                <a:solidFill>
                  <a:srgbClr val="00646E"/>
                </a:solidFill>
                <a:latin typeface="Siemens Sans" pitchFamily="2" charset="0"/>
                <a:ea typeface="Arial Unicode MS" panose="020B0604020202020204" pitchFamily="34" charset="-128"/>
              </a:defRPr>
            </a:lvl1pPr>
          </a:lstStyle>
          <a:p>
            <a:pPr algn="l"/>
            <a:r>
              <a:rPr lang="de-DE" sz="1800" dirty="0">
                <a:solidFill>
                  <a:schemeClr val="bg1"/>
                </a:solidFill>
                <a:latin typeface="+mn-lt"/>
              </a:rPr>
              <a:t>Digitale Reif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75636B9-573B-4A3D-81E8-32D9686644C6}"/>
              </a:ext>
            </a:extLst>
          </p:cNvPr>
          <p:cNvCxnSpPr>
            <a:cxnSpLocks/>
          </p:cNvCxnSpPr>
          <p:nvPr/>
        </p:nvCxnSpPr>
        <p:spPr bwMode="auto">
          <a:xfrm flipV="1">
            <a:off x="3112149" y="4960458"/>
            <a:ext cx="0" cy="540552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81" name="Freeform: Shape 1180">
            <a:extLst>
              <a:ext uri="{FF2B5EF4-FFF2-40B4-BE49-F238E27FC236}">
                <a16:creationId xmlns:a16="http://schemas.microsoft.com/office/drawing/2014/main" id="{FCC3F183-9D6F-4B98-8157-86AB52AEF403}"/>
              </a:ext>
            </a:extLst>
          </p:cNvPr>
          <p:cNvSpPr>
            <a:spLocks noChangeAspect="1"/>
          </p:cNvSpPr>
          <p:nvPr/>
        </p:nvSpPr>
        <p:spPr>
          <a:xfrm>
            <a:off x="7859563" y="2372658"/>
            <a:ext cx="1006566" cy="1006566"/>
          </a:xfrm>
          <a:custGeom>
            <a:avLst/>
            <a:gdLst>
              <a:gd name="connsiteX0" fmla="*/ 528371 w 525780"/>
              <a:gd name="connsiteY0" fmla="*/ 264185 h 525780"/>
              <a:gd name="connsiteX1" fmla="*/ 264185 w 525780"/>
              <a:gd name="connsiteY1" fmla="*/ 528371 h 525780"/>
              <a:gd name="connsiteX2" fmla="*/ 0 w 525780"/>
              <a:gd name="connsiteY2" fmla="*/ 264185 h 525780"/>
              <a:gd name="connsiteX3" fmla="*/ 264185 w 525780"/>
              <a:gd name="connsiteY3" fmla="*/ 0 h 525780"/>
              <a:gd name="connsiteX4" fmla="*/ 528371 w 525780"/>
              <a:gd name="connsiteY4" fmla="*/ 264185 h 525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5780" h="525780">
                <a:moveTo>
                  <a:pt x="528371" y="264185"/>
                </a:moveTo>
                <a:cubicBezTo>
                  <a:pt x="528371" y="410091"/>
                  <a:pt x="410091" y="528371"/>
                  <a:pt x="264185" y="528371"/>
                </a:cubicBezTo>
                <a:cubicBezTo>
                  <a:pt x="118280" y="528371"/>
                  <a:pt x="0" y="410091"/>
                  <a:pt x="0" y="264185"/>
                </a:cubicBezTo>
                <a:cubicBezTo>
                  <a:pt x="0" y="118280"/>
                  <a:pt x="118280" y="0"/>
                  <a:pt x="264185" y="0"/>
                </a:cubicBezTo>
                <a:cubicBezTo>
                  <a:pt x="410091" y="0"/>
                  <a:pt x="528371" y="118280"/>
                  <a:pt x="528371" y="264185"/>
                </a:cubicBezTo>
                <a:close/>
              </a:path>
            </a:pathLst>
          </a:custGeom>
          <a:solidFill>
            <a:srgbClr val="00646E"/>
          </a:solidFill>
          <a:ln w="12700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de-DE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ED10C657-148A-49B3-A1E5-43E38A021463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8948767" y="2995924"/>
            <a:ext cx="374779" cy="101573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3F6B63E6-7EF9-41C4-96A9-F86AC8359CCC}"/>
              </a:ext>
            </a:extLst>
          </p:cNvPr>
          <p:cNvCxnSpPr>
            <a:cxnSpLocks/>
          </p:cNvCxnSpPr>
          <p:nvPr/>
        </p:nvCxnSpPr>
        <p:spPr bwMode="auto">
          <a:xfrm flipV="1">
            <a:off x="6482335" y="2885480"/>
            <a:ext cx="0" cy="35268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7" name="Rectangle 96">
            <a:extLst>
              <a:ext uri="{FF2B5EF4-FFF2-40B4-BE49-F238E27FC236}">
                <a16:creationId xmlns:a16="http://schemas.microsoft.com/office/drawing/2014/main" id="{9A6878F5-9CDE-4633-BFBA-A94C30143A8D}"/>
              </a:ext>
            </a:extLst>
          </p:cNvPr>
          <p:cNvSpPr/>
          <p:nvPr/>
        </p:nvSpPr>
        <p:spPr bwMode="auto">
          <a:xfrm>
            <a:off x="8208857" y="4794178"/>
            <a:ext cx="1647629" cy="45617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72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de-DE" sz="140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Neue, IoT-basierte Geschäftsmodelle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8C347870-E878-4452-A0A3-C54793E8BEF3}"/>
              </a:ext>
            </a:extLst>
          </p:cNvPr>
          <p:cNvSpPr/>
          <p:nvPr/>
        </p:nvSpPr>
        <p:spPr bwMode="auto">
          <a:xfrm>
            <a:off x="2364674" y="2790820"/>
            <a:ext cx="1647629" cy="45617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72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de-DE" sz="14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Innengerichtete</a:t>
            </a:r>
            <a:r>
              <a:rPr lang="de-DE" sz="14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Lernphase</a:t>
            </a: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FAEF4EE0-9183-440C-98C5-9A8F63D807EC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5021605" y="4589931"/>
            <a:ext cx="409352" cy="338533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68" name="Isosceles Triangle 1167">
            <a:extLst>
              <a:ext uri="{FF2B5EF4-FFF2-40B4-BE49-F238E27FC236}">
                <a16:creationId xmlns:a16="http://schemas.microsoft.com/office/drawing/2014/main" id="{4645EF8C-1C30-4A66-ACC5-750D84823620}"/>
              </a:ext>
            </a:extLst>
          </p:cNvPr>
          <p:cNvSpPr/>
          <p:nvPr/>
        </p:nvSpPr>
        <p:spPr bwMode="auto">
          <a:xfrm rot="4710908">
            <a:off x="2682192" y="4604152"/>
            <a:ext cx="110937" cy="211467"/>
          </a:xfrm>
          <a:prstGeom prst="triangle">
            <a:avLst/>
          </a:prstGeom>
          <a:solidFill>
            <a:srgbClr val="FFFFFF"/>
          </a:solidFill>
          <a:ln>
            <a:solidFill>
              <a:srgbClr val="FFFFFF"/>
            </a:solidFill>
          </a:ln>
          <a:effectLst/>
        </p:spPr>
        <p:txBody>
          <a:bodyPr rot="0" spcFirstLastPara="0" vertOverflow="overflow" horzOverflow="overflow" vert="horz" wrap="square" lIns="107975" tIns="53988" rIns="107975" bIns="53988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07" name="Isosceles Triangle 106">
            <a:extLst>
              <a:ext uri="{FF2B5EF4-FFF2-40B4-BE49-F238E27FC236}">
                <a16:creationId xmlns:a16="http://schemas.microsoft.com/office/drawing/2014/main" id="{2B21E943-34E0-400C-A814-5E4E3E021497}"/>
              </a:ext>
            </a:extLst>
          </p:cNvPr>
          <p:cNvSpPr/>
          <p:nvPr/>
        </p:nvSpPr>
        <p:spPr bwMode="auto">
          <a:xfrm rot="4568976">
            <a:off x="4205839" y="4250007"/>
            <a:ext cx="110937" cy="211467"/>
          </a:xfrm>
          <a:prstGeom prst="triangle">
            <a:avLst/>
          </a:prstGeom>
          <a:solidFill>
            <a:srgbClr val="FFFFFF"/>
          </a:solidFill>
          <a:ln>
            <a:solidFill>
              <a:srgbClr val="FFFFFF"/>
            </a:solidFill>
          </a:ln>
          <a:effectLst/>
        </p:spPr>
        <p:txBody>
          <a:bodyPr rot="0" spcFirstLastPara="0" vertOverflow="overflow" horzOverflow="overflow" vert="horz" wrap="square" lIns="107975" tIns="53988" rIns="107975" bIns="53988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08" name="Isosceles Triangle 107">
            <a:extLst>
              <a:ext uri="{FF2B5EF4-FFF2-40B4-BE49-F238E27FC236}">
                <a16:creationId xmlns:a16="http://schemas.microsoft.com/office/drawing/2014/main" id="{3FE1193C-E557-4BC2-B40B-1FCBD9551D2E}"/>
              </a:ext>
            </a:extLst>
          </p:cNvPr>
          <p:cNvSpPr/>
          <p:nvPr/>
        </p:nvSpPr>
        <p:spPr bwMode="auto">
          <a:xfrm rot="4384385">
            <a:off x="5918322" y="3823776"/>
            <a:ext cx="110937" cy="211467"/>
          </a:xfrm>
          <a:prstGeom prst="triangle">
            <a:avLst/>
          </a:prstGeom>
          <a:solidFill>
            <a:srgbClr val="FFFFFF"/>
          </a:solidFill>
          <a:ln>
            <a:solidFill>
              <a:srgbClr val="FFFFFF"/>
            </a:solidFill>
          </a:ln>
          <a:effectLst/>
        </p:spPr>
        <p:txBody>
          <a:bodyPr rot="0" spcFirstLastPara="0" vertOverflow="overflow" horzOverflow="overflow" vert="horz" wrap="square" lIns="107975" tIns="53988" rIns="107975" bIns="53988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11" name="Isosceles Triangle 110">
            <a:extLst>
              <a:ext uri="{FF2B5EF4-FFF2-40B4-BE49-F238E27FC236}">
                <a16:creationId xmlns:a16="http://schemas.microsoft.com/office/drawing/2014/main" id="{9D3D0F31-45D2-4680-94D3-36DC90886A37}"/>
              </a:ext>
            </a:extLst>
          </p:cNvPr>
          <p:cNvSpPr/>
          <p:nvPr/>
        </p:nvSpPr>
        <p:spPr bwMode="auto">
          <a:xfrm rot="3764190">
            <a:off x="7787523" y="3073049"/>
            <a:ext cx="110937" cy="211467"/>
          </a:xfrm>
          <a:prstGeom prst="triangle">
            <a:avLst/>
          </a:prstGeom>
          <a:solidFill>
            <a:srgbClr val="FFFFFF"/>
          </a:solidFill>
          <a:ln>
            <a:solidFill>
              <a:srgbClr val="FFFFFF"/>
            </a:solidFill>
          </a:ln>
          <a:effectLst/>
        </p:spPr>
        <p:txBody>
          <a:bodyPr rot="0" spcFirstLastPara="0" vertOverflow="overflow" horzOverflow="overflow" vert="horz" wrap="square" lIns="107975" tIns="53988" rIns="107975" bIns="53988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12" name="Isosceles Triangle 111">
            <a:extLst>
              <a:ext uri="{FF2B5EF4-FFF2-40B4-BE49-F238E27FC236}">
                <a16:creationId xmlns:a16="http://schemas.microsoft.com/office/drawing/2014/main" id="{21D15F47-616C-4A07-B6DB-6BEFDF5F6004}"/>
              </a:ext>
            </a:extLst>
          </p:cNvPr>
          <p:cNvSpPr/>
          <p:nvPr/>
        </p:nvSpPr>
        <p:spPr bwMode="auto">
          <a:xfrm rot="2634271">
            <a:off x="8988397" y="2225001"/>
            <a:ext cx="110937" cy="211467"/>
          </a:xfrm>
          <a:prstGeom prst="triangle">
            <a:avLst/>
          </a:prstGeom>
          <a:solidFill>
            <a:srgbClr val="FFFFFF"/>
          </a:solidFill>
          <a:ln>
            <a:solidFill>
              <a:srgbClr val="FFFFFF"/>
            </a:solidFill>
          </a:ln>
          <a:effectLst/>
        </p:spPr>
        <p:txBody>
          <a:bodyPr rot="0" spcFirstLastPara="0" vertOverflow="overflow" horzOverflow="overflow" vert="horz" wrap="square" lIns="107975" tIns="53988" rIns="107975" bIns="53988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A64E675F-9300-4377-9027-F7D16D36306E}"/>
              </a:ext>
            </a:extLst>
          </p:cNvPr>
          <p:cNvGrpSpPr/>
          <p:nvPr/>
        </p:nvGrpSpPr>
        <p:grpSpPr>
          <a:xfrm>
            <a:off x="1295795" y="3465498"/>
            <a:ext cx="3805002" cy="413046"/>
            <a:chOff x="1295795" y="3465498"/>
            <a:chExt cx="3805002" cy="413046"/>
          </a:xfrm>
        </p:grpSpPr>
        <p:sp>
          <p:nvSpPr>
            <p:cNvPr id="90" name="Rechteck 1">
              <a:extLst>
                <a:ext uri="{FF2B5EF4-FFF2-40B4-BE49-F238E27FC236}">
                  <a16:creationId xmlns:a16="http://schemas.microsoft.com/office/drawing/2014/main" id="{32980801-39F4-44E3-8959-DCBBE56CCFC2}"/>
                </a:ext>
              </a:extLst>
            </p:cNvPr>
            <p:cNvSpPr/>
            <p:nvPr/>
          </p:nvSpPr>
          <p:spPr bwMode="auto">
            <a:xfrm>
              <a:off x="1295795" y="3628093"/>
              <a:ext cx="3805002" cy="250451"/>
            </a:xfrm>
            <a:custGeom>
              <a:avLst/>
              <a:gdLst>
                <a:gd name="connsiteX0" fmla="*/ 0 w 3805002"/>
                <a:gd name="connsiteY0" fmla="*/ 0 h 385267"/>
                <a:gd name="connsiteX1" fmla="*/ 3805002 w 3805002"/>
                <a:gd name="connsiteY1" fmla="*/ 0 h 385267"/>
                <a:gd name="connsiteX2" fmla="*/ 3805002 w 3805002"/>
                <a:gd name="connsiteY2" fmla="*/ 385267 h 385267"/>
                <a:gd name="connsiteX3" fmla="*/ 0 w 3805002"/>
                <a:gd name="connsiteY3" fmla="*/ 385267 h 385267"/>
                <a:gd name="connsiteX4" fmla="*/ 0 w 3805002"/>
                <a:gd name="connsiteY4" fmla="*/ 0 h 385267"/>
                <a:gd name="connsiteX0" fmla="*/ 0 w 3805002"/>
                <a:gd name="connsiteY0" fmla="*/ 385267 h 476707"/>
                <a:gd name="connsiteX1" fmla="*/ 0 w 3805002"/>
                <a:gd name="connsiteY1" fmla="*/ 0 h 476707"/>
                <a:gd name="connsiteX2" fmla="*/ 3805002 w 3805002"/>
                <a:gd name="connsiteY2" fmla="*/ 0 h 476707"/>
                <a:gd name="connsiteX3" fmla="*/ 3805002 w 3805002"/>
                <a:gd name="connsiteY3" fmla="*/ 385267 h 476707"/>
                <a:gd name="connsiteX4" fmla="*/ 91440 w 3805002"/>
                <a:gd name="connsiteY4" fmla="*/ 476707 h 476707"/>
                <a:gd name="connsiteX0" fmla="*/ 0 w 3805002"/>
                <a:gd name="connsiteY0" fmla="*/ 385267 h 385267"/>
                <a:gd name="connsiteX1" fmla="*/ 0 w 3805002"/>
                <a:gd name="connsiteY1" fmla="*/ 0 h 385267"/>
                <a:gd name="connsiteX2" fmla="*/ 3805002 w 3805002"/>
                <a:gd name="connsiteY2" fmla="*/ 0 h 385267"/>
                <a:gd name="connsiteX3" fmla="*/ 3805002 w 3805002"/>
                <a:gd name="connsiteY3" fmla="*/ 385267 h 385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05002" h="385267">
                  <a:moveTo>
                    <a:pt x="0" y="385267"/>
                  </a:moveTo>
                  <a:lnTo>
                    <a:pt x="0" y="0"/>
                  </a:lnTo>
                  <a:lnTo>
                    <a:pt x="3805002" y="0"/>
                  </a:lnTo>
                  <a:lnTo>
                    <a:pt x="3805002" y="385267"/>
                  </a:lnTo>
                </a:path>
              </a:pathLst>
            </a:custGeom>
            <a:noFill/>
            <a:ln w="19050" cap="sq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91" name="Gleichschenkliges Dreieck 90">
              <a:extLst>
                <a:ext uri="{FF2B5EF4-FFF2-40B4-BE49-F238E27FC236}">
                  <a16:creationId xmlns:a16="http://schemas.microsoft.com/office/drawing/2014/main" id="{579F2EB8-6471-4318-A300-A6682A22DEED}"/>
                </a:ext>
              </a:extLst>
            </p:cNvPr>
            <p:cNvSpPr/>
            <p:nvPr/>
          </p:nvSpPr>
          <p:spPr bwMode="auto">
            <a:xfrm rot="10800000" flipV="1">
              <a:off x="3024853" y="3465498"/>
              <a:ext cx="346888" cy="162595"/>
            </a:xfrm>
            <a:prstGeom prst="triangle">
              <a:avLst/>
            </a:prstGeom>
            <a:solidFill>
              <a:srgbClr val="FFFFFF"/>
            </a:solidFill>
            <a:ln w="19050" cap="sq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98" name="Rechteck 1">
            <a:extLst>
              <a:ext uri="{FF2B5EF4-FFF2-40B4-BE49-F238E27FC236}">
                <a16:creationId xmlns:a16="http://schemas.microsoft.com/office/drawing/2014/main" id="{15343A64-3408-4C0A-9AF2-0A06959639CC}"/>
              </a:ext>
            </a:extLst>
          </p:cNvPr>
          <p:cNvSpPr/>
          <p:nvPr/>
        </p:nvSpPr>
        <p:spPr bwMode="auto">
          <a:xfrm flipV="1">
            <a:off x="6040256" y="4209776"/>
            <a:ext cx="5984830" cy="250451"/>
          </a:xfrm>
          <a:custGeom>
            <a:avLst/>
            <a:gdLst>
              <a:gd name="connsiteX0" fmla="*/ 0 w 3805002"/>
              <a:gd name="connsiteY0" fmla="*/ 0 h 385267"/>
              <a:gd name="connsiteX1" fmla="*/ 3805002 w 3805002"/>
              <a:gd name="connsiteY1" fmla="*/ 0 h 385267"/>
              <a:gd name="connsiteX2" fmla="*/ 3805002 w 3805002"/>
              <a:gd name="connsiteY2" fmla="*/ 385267 h 385267"/>
              <a:gd name="connsiteX3" fmla="*/ 0 w 3805002"/>
              <a:gd name="connsiteY3" fmla="*/ 385267 h 385267"/>
              <a:gd name="connsiteX4" fmla="*/ 0 w 3805002"/>
              <a:gd name="connsiteY4" fmla="*/ 0 h 385267"/>
              <a:gd name="connsiteX0" fmla="*/ 0 w 3805002"/>
              <a:gd name="connsiteY0" fmla="*/ 385267 h 476707"/>
              <a:gd name="connsiteX1" fmla="*/ 0 w 3805002"/>
              <a:gd name="connsiteY1" fmla="*/ 0 h 476707"/>
              <a:gd name="connsiteX2" fmla="*/ 3805002 w 3805002"/>
              <a:gd name="connsiteY2" fmla="*/ 0 h 476707"/>
              <a:gd name="connsiteX3" fmla="*/ 3805002 w 3805002"/>
              <a:gd name="connsiteY3" fmla="*/ 385267 h 476707"/>
              <a:gd name="connsiteX4" fmla="*/ 91440 w 3805002"/>
              <a:gd name="connsiteY4" fmla="*/ 476707 h 476707"/>
              <a:gd name="connsiteX0" fmla="*/ 0 w 3805002"/>
              <a:gd name="connsiteY0" fmla="*/ 385267 h 385267"/>
              <a:gd name="connsiteX1" fmla="*/ 0 w 3805002"/>
              <a:gd name="connsiteY1" fmla="*/ 0 h 385267"/>
              <a:gd name="connsiteX2" fmla="*/ 3805002 w 3805002"/>
              <a:gd name="connsiteY2" fmla="*/ 0 h 385267"/>
              <a:gd name="connsiteX3" fmla="*/ 3805002 w 3805002"/>
              <a:gd name="connsiteY3" fmla="*/ 385267 h 3852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5002" h="385267">
                <a:moveTo>
                  <a:pt x="0" y="385267"/>
                </a:moveTo>
                <a:lnTo>
                  <a:pt x="0" y="0"/>
                </a:lnTo>
                <a:lnTo>
                  <a:pt x="3805002" y="0"/>
                </a:lnTo>
                <a:lnTo>
                  <a:pt x="3805002" y="385267"/>
                </a:lnTo>
              </a:path>
            </a:pathLst>
          </a:custGeom>
          <a:noFill/>
          <a:ln w="19050" cap="sq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99" name="Gleichschenkliges Dreieck 98">
            <a:extLst>
              <a:ext uri="{FF2B5EF4-FFF2-40B4-BE49-F238E27FC236}">
                <a16:creationId xmlns:a16="http://schemas.microsoft.com/office/drawing/2014/main" id="{E489B68D-F1B3-4264-99F1-0CE10FDDAD30}"/>
              </a:ext>
            </a:extLst>
          </p:cNvPr>
          <p:cNvSpPr/>
          <p:nvPr/>
        </p:nvSpPr>
        <p:spPr bwMode="auto">
          <a:xfrm rot="10800000">
            <a:off x="8859227" y="4460228"/>
            <a:ext cx="346888" cy="162595"/>
          </a:xfrm>
          <a:prstGeom prst="triangle">
            <a:avLst/>
          </a:prstGeom>
          <a:solidFill>
            <a:srgbClr val="FFFFFF"/>
          </a:solidFill>
          <a:ln w="19050" cap="sq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28297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43DC290-2C3E-4B4D-A7BC-A8B352A79C97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5" name="think-cell Folie" r:id="rId7" imgW="622" imgH="623" progId="TCLayout.ActiveDocument.1">
                  <p:embed/>
                </p:oleObj>
              </mc:Choice>
              <mc:Fallback>
                <p:oleObj name="think-cell Folie" r:id="rId7" imgW="622" imgH="62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43DC290-2C3E-4B4D-A7BC-A8B352A79C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64C8CD95-A7A6-4FCB-BA87-E46E28A14526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400" b="1" dirty="0" err="1"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D60F6601-DC1A-492D-8E88-2BD6185F853D}"/>
              </a:ext>
            </a:extLst>
          </p:cNvPr>
          <p:cNvSpPr txBox="1"/>
          <p:nvPr/>
        </p:nvSpPr>
        <p:spPr>
          <a:xfrm>
            <a:off x="732445" y="5727616"/>
            <a:ext cx="11084531" cy="619869"/>
          </a:xfrm>
          <a:prstGeom prst="rect">
            <a:avLst/>
          </a:prstGeom>
          <a:noFill/>
          <a:ln w="12700">
            <a:noFill/>
            <a:prstDash val="dash"/>
          </a:ln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08000" tIns="71983" rIns="72000" bIns="0" rtlCol="0" anchor="ctr">
            <a:no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defRPr sz="1400" b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 algn="ctr">
              <a:lnSpc>
                <a:spcPct val="106000"/>
              </a:lnSpc>
            </a:pPr>
            <a:r>
              <a:rPr lang="de-DE" sz="2000" b="1" dirty="0">
                <a:solidFill>
                  <a:schemeClr val="bg1"/>
                </a:solidFill>
              </a:rPr>
              <a:t>Mit Smart Finance die richtigen Lösungen im digitalen Reifeprozess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3D721320-748B-4018-9154-C685F77CE06A}"/>
              </a:ext>
            </a:extLst>
          </p:cNvPr>
          <p:cNvSpPr/>
          <p:nvPr/>
        </p:nvSpPr>
        <p:spPr bwMode="auto">
          <a:xfrm>
            <a:off x="9522694" y="5412729"/>
            <a:ext cx="2177412" cy="251942"/>
          </a:xfrm>
          <a:prstGeom prst="rect">
            <a:avLst/>
          </a:prstGeom>
          <a:solidFill>
            <a:srgbClr val="AAB414"/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n-lt"/>
              </a:rPr>
              <a:t>Vermittlungsgebühr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9163CFD-A0DD-4152-9AD2-7D2526FA14FE}"/>
              </a:ext>
            </a:extLst>
          </p:cNvPr>
          <p:cNvCxnSpPr>
            <a:cxnSpLocks/>
          </p:cNvCxnSpPr>
          <p:nvPr/>
        </p:nvCxnSpPr>
        <p:spPr bwMode="auto">
          <a:xfrm>
            <a:off x="350714" y="4224511"/>
            <a:ext cx="11353577" cy="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619B5E0C-6C60-4B94-AA71-CCF99F751E3F}"/>
              </a:ext>
            </a:extLst>
          </p:cNvPr>
          <p:cNvSpPr txBox="1"/>
          <p:nvPr/>
        </p:nvSpPr>
        <p:spPr>
          <a:xfrm rot="16200000">
            <a:off x="-210603" y="4857836"/>
            <a:ext cx="1398984" cy="276349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300"/>
              </a:spcBef>
              <a:buClr>
                <a:schemeClr val="accent1"/>
              </a:buClr>
            </a:pPr>
            <a:r>
              <a:rPr lang="de-DE" sz="140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onetarisierung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98C4420F-67FA-40E5-90E1-74EAB63F721C}"/>
              </a:ext>
            </a:extLst>
          </p:cNvPr>
          <p:cNvSpPr txBox="1"/>
          <p:nvPr/>
        </p:nvSpPr>
        <p:spPr>
          <a:xfrm rot="16200000">
            <a:off x="-454581" y="3058294"/>
            <a:ext cx="1886941" cy="276349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300"/>
              </a:spcBef>
              <a:buClr>
                <a:schemeClr val="accent1"/>
              </a:buClr>
            </a:pPr>
            <a:r>
              <a:rPr lang="de-DE" sz="14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Beschreibu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3F60F9A-1B2E-4704-8015-9472D5C420FD}"/>
              </a:ext>
            </a:extLst>
          </p:cNvPr>
          <p:cNvSpPr txBox="1"/>
          <p:nvPr/>
        </p:nvSpPr>
        <p:spPr>
          <a:xfrm rot="16200000">
            <a:off x="9857305" y="4087654"/>
            <a:ext cx="407323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  <a:buClr>
                <a:schemeClr val="accent1"/>
              </a:buClr>
            </a:pPr>
            <a:r>
              <a:rPr lang="de-DE" sz="100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ource: Marcus Fehling – DI SW CAS in accordance with Bruce Sinclair</a:t>
            </a:r>
          </a:p>
        </p:txBody>
      </p:sp>
      <p:sp>
        <p:nvSpPr>
          <p:cNvPr id="103" name="Arrow: Chevron 102">
            <a:extLst>
              <a:ext uri="{FF2B5EF4-FFF2-40B4-BE49-F238E27FC236}">
                <a16:creationId xmlns:a16="http://schemas.microsoft.com/office/drawing/2014/main" id="{2D360368-8E50-4AB7-9E46-5EA11BEE7CA8}"/>
              </a:ext>
            </a:extLst>
          </p:cNvPr>
          <p:cNvSpPr/>
          <p:nvPr/>
        </p:nvSpPr>
        <p:spPr bwMode="auto">
          <a:xfrm>
            <a:off x="615571" y="1585095"/>
            <a:ext cx="2265742" cy="485888"/>
          </a:xfrm>
          <a:prstGeom prst="chevron">
            <a:avLst>
              <a:gd name="adj" fmla="val 21085"/>
            </a:avLst>
          </a:prstGeom>
          <a:solidFill>
            <a:srgbClr val="00646E"/>
          </a:solidFill>
          <a:ln w="12700">
            <a:solidFill>
              <a:srgbClr val="FFFFFF"/>
            </a:solidFill>
          </a:ln>
          <a:effectLst/>
        </p:spPr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>
                <a:solidFill>
                  <a:schemeClr val="bg1"/>
                </a:solidFill>
                <a:latin typeface="+mn-lt"/>
              </a:rPr>
              <a:t>IoTize Produkt</a:t>
            </a:r>
          </a:p>
        </p:txBody>
      </p:sp>
      <p:sp>
        <p:nvSpPr>
          <p:cNvPr id="105" name="Arrow: Chevron 104">
            <a:extLst>
              <a:ext uri="{FF2B5EF4-FFF2-40B4-BE49-F238E27FC236}">
                <a16:creationId xmlns:a16="http://schemas.microsoft.com/office/drawing/2014/main" id="{36FE82BF-7597-407C-AEC6-9D94C67B01DC}"/>
              </a:ext>
            </a:extLst>
          </p:cNvPr>
          <p:cNvSpPr/>
          <p:nvPr/>
        </p:nvSpPr>
        <p:spPr bwMode="auto">
          <a:xfrm>
            <a:off x="2836725" y="1585095"/>
            <a:ext cx="2265742" cy="485888"/>
          </a:xfrm>
          <a:prstGeom prst="chevron">
            <a:avLst>
              <a:gd name="adj" fmla="val 22556"/>
            </a:avLst>
          </a:prstGeom>
          <a:solidFill>
            <a:srgbClr val="00646E"/>
          </a:solidFill>
          <a:ln w="12700">
            <a:solidFill>
              <a:srgbClr val="FFFFFF"/>
            </a:solidFill>
          </a:ln>
          <a:effectLst/>
        </p:spPr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>
                <a:solidFill>
                  <a:schemeClr val="bg1"/>
                </a:solidFill>
                <a:latin typeface="+mn-lt"/>
              </a:rPr>
              <a:t>Produkt Service Systeme (PSS)</a:t>
            </a:r>
          </a:p>
        </p:txBody>
      </p:sp>
      <p:sp>
        <p:nvSpPr>
          <p:cNvPr id="115" name="Arrow: Chevron 114">
            <a:extLst>
              <a:ext uri="{FF2B5EF4-FFF2-40B4-BE49-F238E27FC236}">
                <a16:creationId xmlns:a16="http://schemas.microsoft.com/office/drawing/2014/main" id="{D99B6183-9F33-4F1E-AFD7-1C0E6329727C}"/>
              </a:ext>
            </a:extLst>
          </p:cNvPr>
          <p:cNvSpPr/>
          <p:nvPr/>
        </p:nvSpPr>
        <p:spPr bwMode="auto">
          <a:xfrm>
            <a:off x="5057879" y="1585095"/>
            <a:ext cx="2263144" cy="485888"/>
          </a:xfrm>
          <a:prstGeom prst="chevron">
            <a:avLst>
              <a:gd name="adj" fmla="val 22555"/>
            </a:avLst>
          </a:prstGeom>
          <a:solidFill>
            <a:srgbClr val="00646E"/>
          </a:solidFill>
          <a:ln w="12700">
            <a:solidFill>
              <a:srgbClr val="FFFFFF"/>
            </a:solidFill>
          </a:ln>
          <a:effectLst/>
        </p:spPr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>
                <a:solidFill>
                  <a:schemeClr val="bg1"/>
                </a:solidFill>
                <a:latin typeface="+mn-lt"/>
              </a:rPr>
              <a:t>Produkt als Service (XaaS)</a:t>
            </a:r>
          </a:p>
        </p:txBody>
      </p:sp>
      <p:sp>
        <p:nvSpPr>
          <p:cNvPr id="116" name="Arrow: Chevron 115">
            <a:extLst>
              <a:ext uri="{FF2B5EF4-FFF2-40B4-BE49-F238E27FC236}">
                <a16:creationId xmlns:a16="http://schemas.microsoft.com/office/drawing/2014/main" id="{E331605E-923B-43AE-B61B-940A95D58B86}"/>
              </a:ext>
            </a:extLst>
          </p:cNvPr>
          <p:cNvSpPr/>
          <p:nvPr/>
        </p:nvSpPr>
        <p:spPr bwMode="auto">
          <a:xfrm>
            <a:off x="7276435" y="1585095"/>
            <a:ext cx="2277275" cy="485888"/>
          </a:xfrm>
          <a:prstGeom prst="chevron">
            <a:avLst>
              <a:gd name="adj" fmla="val 22065"/>
            </a:avLst>
          </a:prstGeom>
          <a:solidFill>
            <a:srgbClr val="00646E"/>
          </a:solidFill>
          <a:ln w="12700">
            <a:solidFill>
              <a:srgbClr val="FFFFFF"/>
            </a:solidFill>
          </a:ln>
          <a:effectLst/>
        </p:spPr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>
                <a:solidFill>
                  <a:schemeClr val="bg1"/>
                </a:solidFill>
                <a:latin typeface="+mn-lt"/>
              </a:rPr>
              <a:t>XaaS + Leistung</a:t>
            </a:r>
          </a:p>
        </p:txBody>
      </p:sp>
      <p:sp>
        <p:nvSpPr>
          <p:cNvPr id="117" name="Arrow: Chevron 116">
            <a:extLst>
              <a:ext uri="{FF2B5EF4-FFF2-40B4-BE49-F238E27FC236}">
                <a16:creationId xmlns:a16="http://schemas.microsoft.com/office/drawing/2014/main" id="{6D8CED11-6797-4713-8F77-B38108FCCE25}"/>
              </a:ext>
            </a:extLst>
          </p:cNvPr>
          <p:cNvSpPr/>
          <p:nvPr/>
        </p:nvSpPr>
        <p:spPr bwMode="auto">
          <a:xfrm>
            <a:off x="9509123" y="1585095"/>
            <a:ext cx="2220507" cy="485888"/>
          </a:xfrm>
          <a:prstGeom prst="chevron">
            <a:avLst>
              <a:gd name="adj" fmla="val 19942"/>
            </a:avLst>
          </a:prstGeom>
          <a:solidFill>
            <a:srgbClr val="004C54"/>
          </a:solidFill>
          <a:ln w="12700">
            <a:solidFill>
              <a:srgbClr val="FFFFFF"/>
            </a:solidFill>
          </a:ln>
          <a:effectLst/>
        </p:spPr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>
                <a:solidFill>
                  <a:schemeClr val="bg1"/>
                </a:solidFill>
                <a:latin typeface="+mn-lt"/>
              </a:rPr>
              <a:t>Eco-System</a:t>
            </a:r>
          </a:p>
        </p:txBody>
      </p:sp>
      <p:cxnSp>
        <p:nvCxnSpPr>
          <p:cNvPr id="91" name="Straight Connector 6">
            <a:extLst>
              <a:ext uri="{FF2B5EF4-FFF2-40B4-BE49-F238E27FC236}">
                <a16:creationId xmlns:a16="http://schemas.microsoft.com/office/drawing/2014/main" id="{9B795093-F7B4-4E62-9A95-EEC5B99F8155}"/>
              </a:ext>
            </a:extLst>
          </p:cNvPr>
          <p:cNvCxnSpPr>
            <a:cxnSpLocks/>
          </p:cNvCxnSpPr>
          <p:nvPr/>
        </p:nvCxnSpPr>
        <p:spPr bwMode="auto">
          <a:xfrm>
            <a:off x="350714" y="5767511"/>
            <a:ext cx="11353577" cy="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7" name="Straight Connector 6">
            <a:extLst>
              <a:ext uri="{FF2B5EF4-FFF2-40B4-BE49-F238E27FC236}">
                <a16:creationId xmlns:a16="http://schemas.microsoft.com/office/drawing/2014/main" id="{05874066-7DE0-4481-A3D4-8513C7CF115C}"/>
              </a:ext>
            </a:extLst>
          </p:cNvPr>
          <p:cNvCxnSpPr>
            <a:cxnSpLocks/>
          </p:cNvCxnSpPr>
          <p:nvPr/>
        </p:nvCxnSpPr>
        <p:spPr bwMode="auto">
          <a:xfrm>
            <a:off x="350714" y="2186237"/>
            <a:ext cx="11353577" cy="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CF4569F1-6544-4C94-B692-4FE9EB0CFC3E}"/>
              </a:ext>
            </a:extLst>
          </p:cNvPr>
          <p:cNvGrpSpPr/>
          <p:nvPr/>
        </p:nvGrpSpPr>
        <p:grpSpPr>
          <a:xfrm>
            <a:off x="8972415" y="2778095"/>
            <a:ext cx="1100560" cy="1228724"/>
            <a:chOff x="3851275" y="5856288"/>
            <a:chExt cx="2740026" cy="3059112"/>
          </a:xfrm>
          <a:solidFill>
            <a:schemeClr val="bg1"/>
          </a:solidFill>
        </p:grpSpPr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C7D31E16-10AA-4C7C-98DA-4B8BAD26BC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9313" y="6924675"/>
              <a:ext cx="1166813" cy="847725"/>
            </a:xfrm>
            <a:custGeom>
              <a:avLst/>
              <a:gdLst>
                <a:gd name="T0" fmla="*/ 3482 w 6616"/>
                <a:gd name="T1" fmla="*/ 2238 h 4808"/>
                <a:gd name="T2" fmla="*/ 3649 w 6616"/>
                <a:gd name="T3" fmla="*/ 2316 h 4808"/>
                <a:gd name="T4" fmla="*/ 3733 w 6616"/>
                <a:gd name="T5" fmla="*/ 2236 h 4808"/>
                <a:gd name="T6" fmla="*/ 3841 w 6616"/>
                <a:gd name="T7" fmla="*/ 2089 h 4808"/>
                <a:gd name="T8" fmla="*/ 4091 w 6616"/>
                <a:gd name="T9" fmla="*/ 1876 h 4808"/>
                <a:gd name="T10" fmla="*/ 4726 w 6616"/>
                <a:gd name="T11" fmla="*/ 1635 h 4808"/>
                <a:gd name="T12" fmla="*/ 5394 w 6616"/>
                <a:gd name="T13" fmla="*/ 1751 h 4808"/>
                <a:gd name="T14" fmla="*/ 5910 w 6616"/>
                <a:gd name="T15" fmla="*/ 2175 h 4808"/>
                <a:gd name="T16" fmla="*/ 6146 w 6616"/>
                <a:gd name="T17" fmla="*/ 2825 h 4808"/>
                <a:gd name="T18" fmla="*/ 6061 w 6616"/>
                <a:gd name="T19" fmla="*/ 3409 h 4808"/>
                <a:gd name="T20" fmla="*/ 5769 w 6616"/>
                <a:gd name="T21" fmla="*/ 3835 h 4808"/>
                <a:gd name="T22" fmla="*/ 5314 w 6616"/>
                <a:gd name="T23" fmla="*/ 4106 h 4808"/>
                <a:gd name="T24" fmla="*/ 4742 w 6616"/>
                <a:gd name="T25" fmla="*/ 4213 h 4808"/>
                <a:gd name="T26" fmla="*/ 1289 w 6616"/>
                <a:gd name="T27" fmla="*/ 4177 h 4808"/>
                <a:gd name="T28" fmla="*/ 938 w 6616"/>
                <a:gd name="T29" fmla="*/ 4020 h 4808"/>
                <a:gd name="T30" fmla="*/ 676 w 6616"/>
                <a:gd name="T31" fmla="*/ 3760 h 4808"/>
                <a:gd name="T32" fmla="*/ 548 w 6616"/>
                <a:gd name="T33" fmla="*/ 3420 h 4808"/>
                <a:gd name="T34" fmla="*/ 619 w 6616"/>
                <a:gd name="T35" fmla="*/ 2777 h 4808"/>
                <a:gd name="T36" fmla="*/ 923 w 6616"/>
                <a:gd name="T37" fmla="*/ 2386 h 4808"/>
                <a:gd name="T38" fmla="*/ 1384 w 6616"/>
                <a:gd name="T39" fmla="*/ 2256 h 4808"/>
                <a:gd name="T40" fmla="*/ 2065 w 6616"/>
                <a:gd name="T41" fmla="*/ 2249 h 4808"/>
                <a:gd name="T42" fmla="*/ 1954 w 6616"/>
                <a:gd name="T43" fmla="*/ 1787 h 4808"/>
                <a:gd name="T44" fmla="*/ 1917 w 6616"/>
                <a:gd name="T45" fmla="*/ 1422 h 4808"/>
                <a:gd name="T46" fmla="*/ 2050 w 6616"/>
                <a:gd name="T47" fmla="*/ 1020 h 4808"/>
                <a:gd name="T48" fmla="*/ 2693 w 6616"/>
                <a:gd name="T49" fmla="*/ 529 h 4808"/>
                <a:gd name="T50" fmla="*/ 3241 w 6616"/>
                <a:gd name="T51" fmla="*/ 533 h 4808"/>
                <a:gd name="T52" fmla="*/ 3679 w 6616"/>
                <a:gd name="T53" fmla="*/ 768 h 4808"/>
                <a:gd name="T54" fmla="*/ 3945 w 6616"/>
                <a:gd name="T55" fmla="*/ 1096 h 4808"/>
                <a:gd name="T56" fmla="*/ 3993 w 6616"/>
                <a:gd name="T57" fmla="*/ 1315 h 4808"/>
                <a:gd name="T58" fmla="*/ 3949 w 6616"/>
                <a:gd name="T59" fmla="*/ 1393 h 4808"/>
                <a:gd name="T60" fmla="*/ 3781 w 6616"/>
                <a:gd name="T61" fmla="*/ 1503 h 4808"/>
                <a:gd name="T62" fmla="*/ 3472 w 6616"/>
                <a:gd name="T63" fmla="*/ 1791 h 4808"/>
                <a:gd name="T64" fmla="*/ 1433 w 6616"/>
                <a:gd name="T65" fmla="*/ 1731 h 4808"/>
                <a:gd name="T66" fmla="*/ 898 w 6616"/>
                <a:gd name="T67" fmla="*/ 1862 h 4808"/>
                <a:gd name="T68" fmla="*/ 444 w 6616"/>
                <a:gd name="T69" fmla="*/ 2195 h 4808"/>
                <a:gd name="T70" fmla="*/ 127 w 6616"/>
                <a:gd name="T71" fmla="*/ 2677 h 4808"/>
                <a:gd name="T72" fmla="*/ 0 w 6616"/>
                <a:gd name="T73" fmla="*/ 3255 h 4808"/>
                <a:gd name="T74" fmla="*/ 58 w 6616"/>
                <a:gd name="T75" fmla="*/ 3679 h 4808"/>
                <a:gd name="T76" fmla="*/ 231 w 6616"/>
                <a:gd name="T77" fmla="*/ 4067 h 4808"/>
                <a:gd name="T78" fmla="*/ 496 w 6616"/>
                <a:gd name="T79" fmla="*/ 4395 h 4808"/>
                <a:gd name="T80" fmla="*/ 826 w 6616"/>
                <a:gd name="T81" fmla="*/ 4635 h 4808"/>
                <a:gd name="T82" fmla="*/ 1106 w 6616"/>
                <a:gd name="T83" fmla="*/ 4752 h 4808"/>
                <a:gd name="T84" fmla="*/ 1433 w 6616"/>
                <a:gd name="T85" fmla="*/ 4808 h 4808"/>
                <a:gd name="T86" fmla="*/ 5431 w 6616"/>
                <a:gd name="T87" fmla="*/ 4667 h 4808"/>
                <a:gd name="T88" fmla="*/ 6120 w 6616"/>
                <a:gd name="T89" fmla="*/ 4190 h 4808"/>
                <a:gd name="T90" fmla="*/ 6562 w 6616"/>
                <a:gd name="T91" fmla="*/ 3421 h 4808"/>
                <a:gd name="T92" fmla="*/ 6520 w 6616"/>
                <a:gd name="T93" fmla="*/ 2406 h 4808"/>
                <a:gd name="T94" fmla="*/ 6334 w 6616"/>
                <a:gd name="T95" fmla="*/ 2002 h 4808"/>
                <a:gd name="T96" fmla="*/ 6129 w 6616"/>
                <a:gd name="T97" fmla="*/ 1740 h 4808"/>
                <a:gd name="T98" fmla="*/ 5879 w 6616"/>
                <a:gd name="T99" fmla="*/ 1519 h 4808"/>
                <a:gd name="T100" fmla="*/ 5594 w 6616"/>
                <a:gd name="T101" fmla="*/ 1341 h 4808"/>
                <a:gd name="T102" fmla="*/ 5225 w 6616"/>
                <a:gd name="T103" fmla="*/ 1192 h 4808"/>
                <a:gd name="T104" fmla="*/ 4929 w 6616"/>
                <a:gd name="T105" fmla="*/ 1145 h 4808"/>
                <a:gd name="T106" fmla="*/ 4620 w 6616"/>
                <a:gd name="T107" fmla="*/ 1164 h 4808"/>
                <a:gd name="T108" fmla="*/ 4333 w 6616"/>
                <a:gd name="T109" fmla="*/ 784 h 4808"/>
                <a:gd name="T110" fmla="*/ 3617 w 6616"/>
                <a:gd name="T111" fmla="*/ 127 h 4808"/>
                <a:gd name="T112" fmla="*/ 2675 w 6616"/>
                <a:gd name="T113" fmla="*/ 26 h 4808"/>
                <a:gd name="T114" fmla="*/ 1834 w 6616"/>
                <a:gd name="T115" fmla="*/ 470 h 4808"/>
                <a:gd name="T116" fmla="*/ 1423 w 6616"/>
                <a:gd name="T117" fmla="*/ 1583 h 4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616" h="4808">
                  <a:moveTo>
                    <a:pt x="3252" y="2064"/>
                  </a:moveTo>
                  <a:lnTo>
                    <a:pt x="3276" y="2081"/>
                  </a:lnTo>
                  <a:lnTo>
                    <a:pt x="3300" y="2098"/>
                  </a:lnTo>
                  <a:lnTo>
                    <a:pt x="3325" y="2118"/>
                  </a:lnTo>
                  <a:lnTo>
                    <a:pt x="3350" y="2137"/>
                  </a:lnTo>
                  <a:lnTo>
                    <a:pt x="3401" y="2179"/>
                  </a:lnTo>
                  <a:lnTo>
                    <a:pt x="3455" y="2220"/>
                  </a:lnTo>
                  <a:lnTo>
                    <a:pt x="3482" y="2238"/>
                  </a:lnTo>
                  <a:lnTo>
                    <a:pt x="3511" y="2257"/>
                  </a:lnTo>
                  <a:lnTo>
                    <a:pt x="3540" y="2274"/>
                  </a:lnTo>
                  <a:lnTo>
                    <a:pt x="3570" y="2288"/>
                  </a:lnTo>
                  <a:lnTo>
                    <a:pt x="3586" y="2296"/>
                  </a:lnTo>
                  <a:lnTo>
                    <a:pt x="3601" y="2301"/>
                  </a:lnTo>
                  <a:lnTo>
                    <a:pt x="3617" y="2307"/>
                  </a:lnTo>
                  <a:lnTo>
                    <a:pt x="3632" y="2312"/>
                  </a:lnTo>
                  <a:lnTo>
                    <a:pt x="3649" y="2316"/>
                  </a:lnTo>
                  <a:lnTo>
                    <a:pt x="3665" y="2320"/>
                  </a:lnTo>
                  <a:lnTo>
                    <a:pt x="3682" y="2322"/>
                  </a:lnTo>
                  <a:lnTo>
                    <a:pt x="3698" y="2324"/>
                  </a:lnTo>
                  <a:lnTo>
                    <a:pt x="3704" y="2307"/>
                  </a:lnTo>
                  <a:lnTo>
                    <a:pt x="3709" y="2288"/>
                  </a:lnTo>
                  <a:lnTo>
                    <a:pt x="3717" y="2271"/>
                  </a:lnTo>
                  <a:lnTo>
                    <a:pt x="3725" y="2253"/>
                  </a:lnTo>
                  <a:lnTo>
                    <a:pt x="3733" y="2236"/>
                  </a:lnTo>
                  <a:lnTo>
                    <a:pt x="3743" y="2220"/>
                  </a:lnTo>
                  <a:lnTo>
                    <a:pt x="3753" y="2203"/>
                  </a:lnTo>
                  <a:lnTo>
                    <a:pt x="3764" y="2185"/>
                  </a:lnTo>
                  <a:lnTo>
                    <a:pt x="3776" y="2169"/>
                  </a:lnTo>
                  <a:lnTo>
                    <a:pt x="3787" y="2153"/>
                  </a:lnTo>
                  <a:lnTo>
                    <a:pt x="3800" y="2136"/>
                  </a:lnTo>
                  <a:lnTo>
                    <a:pt x="3814" y="2120"/>
                  </a:lnTo>
                  <a:lnTo>
                    <a:pt x="3841" y="2089"/>
                  </a:lnTo>
                  <a:lnTo>
                    <a:pt x="3870" y="2058"/>
                  </a:lnTo>
                  <a:lnTo>
                    <a:pt x="3900" y="2028"/>
                  </a:lnTo>
                  <a:lnTo>
                    <a:pt x="3932" y="2000"/>
                  </a:lnTo>
                  <a:lnTo>
                    <a:pt x="3964" y="1973"/>
                  </a:lnTo>
                  <a:lnTo>
                    <a:pt x="3996" y="1947"/>
                  </a:lnTo>
                  <a:lnTo>
                    <a:pt x="4028" y="1922"/>
                  </a:lnTo>
                  <a:lnTo>
                    <a:pt x="4060" y="1898"/>
                  </a:lnTo>
                  <a:lnTo>
                    <a:pt x="4091" y="1876"/>
                  </a:lnTo>
                  <a:lnTo>
                    <a:pt x="4121" y="1856"/>
                  </a:lnTo>
                  <a:lnTo>
                    <a:pt x="4205" y="1804"/>
                  </a:lnTo>
                  <a:lnTo>
                    <a:pt x="4291" y="1758"/>
                  </a:lnTo>
                  <a:lnTo>
                    <a:pt x="4377" y="1720"/>
                  </a:lnTo>
                  <a:lnTo>
                    <a:pt x="4464" y="1689"/>
                  </a:lnTo>
                  <a:lnTo>
                    <a:pt x="4552" y="1665"/>
                  </a:lnTo>
                  <a:lnTo>
                    <a:pt x="4640" y="1646"/>
                  </a:lnTo>
                  <a:lnTo>
                    <a:pt x="4726" y="1635"/>
                  </a:lnTo>
                  <a:lnTo>
                    <a:pt x="4814" y="1629"/>
                  </a:lnTo>
                  <a:lnTo>
                    <a:pt x="4901" y="1630"/>
                  </a:lnTo>
                  <a:lnTo>
                    <a:pt x="4987" y="1637"/>
                  </a:lnTo>
                  <a:lnTo>
                    <a:pt x="5072" y="1649"/>
                  </a:lnTo>
                  <a:lnTo>
                    <a:pt x="5154" y="1666"/>
                  </a:lnTo>
                  <a:lnTo>
                    <a:pt x="5237" y="1689"/>
                  </a:lnTo>
                  <a:lnTo>
                    <a:pt x="5316" y="1717"/>
                  </a:lnTo>
                  <a:lnTo>
                    <a:pt x="5394" y="1751"/>
                  </a:lnTo>
                  <a:lnTo>
                    <a:pt x="5470" y="1788"/>
                  </a:lnTo>
                  <a:lnTo>
                    <a:pt x="5543" y="1831"/>
                  </a:lnTo>
                  <a:lnTo>
                    <a:pt x="5612" y="1878"/>
                  </a:lnTo>
                  <a:lnTo>
                    <a:pt x="5680" y="1929"/>
                  </a:lnTo>
                  <a:lnTo>
                    <a:pt x="5743" y="1986"/>
                  </a:lnTo>
                  <a:lnTo>
                    <a:pt x="5802" y="2045"/>
                  </a:lnTo>
                  <a:lnTo>
                    <a:pt x="5859" y="2108"/>
                  </a:lnTo>
                  <a:lnTo>
                    <a:pt x="5910" y="2175"/>
                  </a:lnTo>
                  <a:lnTo>
                    <a:pt x="5957" y="2247"/>
                  </a:lnTo>
                  <a:lnTo>
                    <a:pt x="6001" y="2321"/>
                  </a:lnTo>
                  <a:lnTo>
                    <a:pt x="6039" y="2398"/>
                  </a:lnTo>
                  <a:lnTo>
                    <a:pt x="6071" y="2478"/>
                  </a:lnTo>
                  <a:lnTo>
                    <a:pt x="6099" y="2560"/>
                  </a:lnTo>
                  <a:lnTo>
                    <a:pt x="6120" y="2646"/>
                  </a:lnTo>
                  <a:lnTo>
                    <a:pt x="6137" y="2734"/>
                  </a:lnTo>
                  <a:lnTo>
                    <a:pt x="6146" y="2825"/>
                  </a:lnTo>
                  <a:lnTo>
                    <a:pt x="6150" y="2917"/>
                  </a:lnTo>
                  <a:lnTo>
                    <a:pt x="6147" y="2994"/>
                  </a:lnTo>
                  <a:lnTo>
                    <a:pt x="6142" y="3069"/>
                  </a:lnTo>
                  <a:lnTo>
                    <a:pt x="6132" y="3141"/>
                  </a:lnTo>
                  <a:lnTo>
                    <a:pt x="6119" y="3212"/>
                  </a:lnTo>
                  <a:lnTo>
                    <a:pt x="6103" y="3280"/>
                  </a:lnTo>
                  <a:lnTo>
                    <a:pt x="6083" y="3346"/>
                  </a:lnTo>
                  <a:lnTo>
                    <a:pt x="6061" y="3409"/>
                  </a:lnTo>
                  <a:lnTo>
                    <a:pt x="6035" y="3471"/>
                  </a:lnTo>
                  <a:lnTo>
                    <a:pt x="6005" y="3530"/>
                  </a:lnTo>
                  <a:lnTo>
                    <a:pt x="5973" y="3587"/>
                  </a:lnTo>
                  <a:lnTo>
                    <a:pt x="5938" y="3641"/>
                  </a:lnTo>
                  <a:lnTo>
                    <a:pt x="5899" y="3693"/>
                  </a:lnTo>
                  <a:lnTo>
                    <a:pt x="5859" y="3743"/>
                  </a:lnTo>
                  <a:lnTo>
                    <a:pt x="5814" y="3790"/>
                  </a:lnTo>
                  <a:lnTo>
                    <a:pt x="5769" y="3835"/>
                  </a:lnTo>
                  <a:lnTo>
                    <a:pt x="5720" y="3878"/>
                  </a:lnTo>
                  <a:lnTo>
                    <a:pt x="5669" y="3918"/>
                  </a:lnTo>
                  <a:lnTo>
                    <a:pt x="5614" y="3955"/>
                  </a:lnTo>
                  <a:lnTo>
                    <a:pt x="5559" y="3991"/>
                  </a:lnTo>
                  <a:lnTo>
                    <a:pt x="5500" y="4024"/>
                  </a:lnTo>
                  <a:lnTo>
                    <a:pt x="5441" y="4054"/>
                  </a:lnTo>
                  <a:lnTo>
                    <a:pt x="5378" y="4081"/>
                  </a:lnTo>
                  <a:lnTo>
                    <a:pt x="5314" y="4106"/>
                  </a:lnTo>
                  <a:lnTo>
                    <a:pt x="5249" y="4129"/>
                  </a:lnTo>
                  <a:lnTo>
                    <a:pt x="5180" y="4149"/>
                  </a:lnTo>
                  <a:lnTo>
                    <a:pt x="5111" y="4167"/>
                  </a:lnTo>
                  <a:lnTo>
                    <a:pt x="5040" y="4181"/>
                  </a:lnTo>
                  <a:lnTo>
                    <a:pt x="4967" y="4193"/>
                  </a:lnTo>
                  <a:lnTo>
                    <a:pt x="4894" y="4202"/>
                  </a:lnTo>
                  <a:lnTo>
                    <a:pt x="4818" y="4209"/>
                  </a:lnTo>
                  <a:lnTo>
                    <a:pt x="4742" y="4213"/>
                  </a:lnTo>
                  <a:lnTo>
                    <a:pt x="4663" y="4214"/>
                  </a:lnTo>
                  <a:lnTo>
                    <a:pt x="1582" y="4214"/>
                  </a:lnTo>
                  <a:lnTo>
                    <a:pt x="1532" y="4213"/>
                  </a:lnTo>
                  <a:lnTo>
                    <a:pt x="1483" y="4210"/>
                  </a:lnTo>
                  <a:lnTo>
                    <a:pt x="1433" y="4205"/>
                  </a:lnTo>
                  <a:lnTo>
                    <a:pt x="1384" y="4198"/>
                  </a:lnTo>
                  <a:lnTo>
                    <a:pt x="1336" y="4188"/>
                  </a:lnTo>
                  <a:lnTo>
                    <a:pt x="1289" y="4177"/>
                  </a:lnTo>
                  <a:lnTo>
                    <a:pt x="1241" y="4163"/>
                  </a:lnTo>
                  <a:lnTo>
                    <a:pt x="1195" y="4148"/>
                  </a:lnTo>
                  <a:lnTo>
                    <a:pt x="1150" y="4131"/>
                  </a:lnTo>
                  <a:lnTo>
                    <a:pt x="1105" y="4112"/>
                  </a:lnTo>
                  <a:lnTo>
                    <a:pt x="1062" y="4092"/>
                  </a:lnTo>
                  <a:lnTo>
                    <a:pt x="1019" y="4069"/>
                  </a:lnTo>
                  <a:lnTo>
                    <a:pt x="978" y="4045"/>
                  </a:lnTo>
                  <a:lnTo>
                    <a:pt x="938" y="4020"/>
                  </a:lnTo>
                  <a:lnTo>
                    <a:pt x="900" y="3992"/>
                  </a:lnTo>
                  <a:lnTo>
                    <a:pt x="863" y="3964"/>
                  </a:lnTo>
                  <a:lnTo>
                    <a:pt x="827" y="3934"/>
                  </a:lnTo>
                  <a:lnTo>
                    <a:pt x="794" y="3901"/>
                  </a:lnTo>
                  <a:lnTo>
                    <a:pt x="761" y="3869"/>
                  </a:lnTo>
                  <a:lnTo>
                    <a:pt x="731" y="3834"/>
                  </a:lnTo>
                  <a:lnTo>
                    <a:pt x="702" y="3798"/>
                  </a:lnTo>
                  <a:lnTo>
                    <a:pt x="676" y="3760"/>
                  </a:lnTo>
                  <a:lnTo>
                    <a:pt x="652" y="3722"/>
                  </a:lnTo>
                  <a:lnTo>
                    <a:pt x="630" y="3682"/>
                  </a:lnTo>
                  <a:lnTo>
                    <a:pt x="610" y="3641"/>
                  </a:lnTo>
                  <a:lnTo>
                    <a:pt x="593" y="3599"/>
                  </a:lnTo>
                  <a:lnTo>
                    <a:pt x="578" y="3555"/>
                  </a:lnTo>
                  <a:lnTo>
                    <a:pt x="565" y="3512"/>
                  </a:lnTo>
                  <a:lnTo>
                    <a:pt x="555" y="3466"/>
                  </a:lnTo>
                  <a:lnTo>
                    <a:pt x="548" y="3420"/>
                  </a:lnTo>
                  <a:lnTo>
                    <a:pt x="544" y="3373"/>
                  </a:lnTo>
                  <a:lnTo>
                    <a:pt x="542" y="3324"/>
                  </a:lnTo>
                  <a:lnTo>
                    <a:pt x="545" y="3216"/>
                  </a:lnTo>
                  <a:lnTo>
                    <a:pt x="551" y="3114"/>
                  </a:lnTo>
                  <a:lnTo>
                    <a:pt x="562" y="3019"/>
                  </a:lnTo>
                  <a:lnTo>
                    <a:pt x="578" y="2932"/>
                  </a:lnTo>
                  <a:lnTo>
                    <a:pt x="596" y="2851"/>
                  </a:lnTo>
                  <a:lnTo>
                    <a:pt x="619" y="2777"/>
                  </a:lnTo>
                  <a:lnTo>
                    <a:pt x="646" y="2709"/>
                  </a:lnTo>
                  <a:lnTo>
                    <a:pt x="676" y="2647"/>
                  </a:lnTo>
                  <a:lnTo>
                    <a:pt x="710" y="2591"/>
                  </a:lnTo>
                  <a:lnTo>
                    <a:pt x="746" y="2541"/>
                  </a:lnTo>
                  <a:lnTo>
                    <a:pt x="786" y="2494"/>
                  </a:lnTo>
                  <a:lnTo>
                    <a:pt x="828" y="2454"/>
                  </a:lnTo>
                  <a:lnTo>
                    <a:pt x="874" y="2417"/>
                  </a:lnTo>
                  <a:lnTo>
                    <a:pt x="923" y="2386"/>
                  </a:lnTo>
                  <a:lnTo>
                    <a:pt x="973" y="2359"/>
                  </a:lnTo>
                  <a:lnTo>
                    <a:pt x="1026" y="2335"/>
                  </a:lnTo>
                  <a:lnTo>
                    <a:pt x="1081" y="2314"/>
                  </a:lnTo>
                  <a:lnTo>
                    <a:pt x="1138" y="2297"/>
                  </a:lnTo>
                  <a:lnTo>
                    <a:pt x="1197" y="2283"/>
                  </a:lnTo>
                  <a:lnTo>
                    <a:pt x="1258" y="2271"/>
                  </a:lnTo>
                  <a:lnTo>
                    <a:pt x="1320" y="2262"/>
                  </a:lnTo>
                  <a:lnTo>
                    <a:pt x="1384" y="2256"/>
                  </a:lnTo>
                  <a:lnTo>
                    <a:pt x="1448" y="2251"/>
                  </a:lnTo>
                  <a:lnTo>
                    <a:pt x="1514" y="2248"/>
                  </a:lnTo>
                  <a:lnTo>
                    <a:pt x="1582" y="2246"/>
                  </a:lnTo>
                  <a:lnTo>
                    <a:pt x="1649" y="2245"/>
                  </a:lnTo>
                  <a:lnTo>
                    <a:pt x="1717" y="2246"/>
                  </a:lnTo>
                  <a:lnTo>
                    <a:pt x="1787" y="2246"/>
                  </a:lnTo>
                  <a:lnTo>
                    <a:pt x="1926" y="2248"/>
                  </a:lnTo>
                  <a:lnTo>
                    <a:pt x="2065" y="2249"/>
                  </a:lnTo>
                  <a:lnTo>
                    <a:pt x="2060" y="2216"/>
                  </a:lnTo>
                  <a:lnTo>
                    <a:pt x="2055" y="2181"/>
                  </a:lnTo>
                  <a:lnTo>
                    <a:pt x="2048" y="2145"/>
                  </a:lnTo>
                  <a:lnTo>
                    <a:pt x="2040" y="2108"/>
                  </a:lnTo>
                  <a:lnTo>
                    <a:pt x="2020" y="2032"/>
                  </a:lnTo>
                  <a:lnTo>
                    <a:pt x="1997" y="1953"/>
                  </a:lnTo>
                  <a:lnTo>
                    <a:pt x="1975" y="1872"/>
                  </a:lnTo>
                  <a:lnTo>
                    <a:pt x="1954" y="1787"/>
                  </a:lnTo>
                  <a:lnTo>
                    <a:pt x="1944" y="1744"/>
                  </a:lnTo>
                  <a:lnTo>
                    <a:pt x="1936" y="1700"/>
                  </a:lnTo>
                  <a:lnTo>
                    <a:pt x="1928" y="1655"/>
                  </a:lnTo>
                  <a:lnTo>
                    <a:pt x="1921" y="1610"/>
                  </a:lnTo>
                  <a:lnTo>
                    <a:pt x="1917" y="1564"/>
                  </a:lnTo>
                  <a:lnTo>
                    <a:pt x="1915" y="1517"/>
                  </a:lnTo>
                  <a:lnTo>
                    <a:pt x="1915" y="1470"/>
                  </a:lnTo>
                  <a:lnTo>
                    <a:pt x="1917" y="1422"/>
                  </a:lnTo>
                  <a:lnTo>
                    <a:pt x="1923" y="1373"/>
                  </a:lnTo>
                  <a:lnTo>
                    <a:pt x="1930" y="1325"/>
                  </a:lnTo>
                  <a:lnTo>
                    <a:pt x="1941" y="1275"/>
                  </a:lnTo>
                  <a:lnTo>
                    <a:pt x="1955" y="1225"/>
                  </a:lnTo>
                  <a:lnTo>
                    <a:pt x="1972" y="1174"/>
                  </a:lnTo>
                  <a:lnTo>
                    <a:pt x="1994" y="1123"/>
                  </a:lnTo>
                  <a:lnTo>
                    <a:pt x="2019" y="1072"/>
                  </a:lnTo>
                  <a:lnTo>
                    <a:pt x="2050" y="1020"/>
                  </a:lnTo>
                  <a:lnTo>
                    <a:pt x="2084" y="967"/>
                  </a:lnTo>
                  <a:lnTo>
                    <a:pt x="2123" y="914"/>
                  </a:lnTo>
                  <a:lnTo>
                    <a:pt x="2167" y="861"/>
                  </a:lnTo>
                  <a:lnTo>
                    <a:pt x="2216" y="806"/>
                  </a:lnTo>
                  <a:lnTo>
                    <a:pt x="2472" y="617"/>
                  </a:lnTo>
                  <a:lnTo>
                    <a:pt x="2546" y="581"/>
                  </a:lnTo>
                  <a:lnTo>
                    <a:pt x="2619" y="553"/>
                  </a:lnTo>
                  <a:lnTo>
                    <a:pt x="2693" y="529"/>
                  </a:lnTo>
                  <a:lnTo>
                    <a:pt x="2766" y="513"/>
                  </a:lnTo>
                  <a:lnTo>
                    <a:pt x="2838" y="501"/>
                  </a:lnTo>
                  <a:lnTo>
                    <a:pt x="2908" y="494"/>
                  </a:lnTo>
                  <a:lnTo>
                    <a:pt x="2978" y="493"/>
                  </a:lnTo>
                  <a:lnTo>
                    <a:pt x="3045" y="496"/>
                  </a:lnTo>
                  <a:lnTo>
                    <a:pt x="3112" y="505"/>
                  </a:lnTo>
                  <a:lnTo>
                    <a:pt x="3177" y="517"/>
                  </a:lnTo>
                  <a:lnTo>
                    <a:pt x="3241" y="533"/>
                  </a:lnTo>
                  <a:lnTo>
                    <a:pt x="3303" y="553"/>
                  </a:lnTo>
                  <a:lnTo>
                    <a:pt x="3364" y="576"/>
                  </a:lnTo>
                  <a:lnTo>
                    <a:pt x="3422" y="602"/>
                  </a:lnTo>
                  <a:lnTo>
                    <a:pt x="3478" y="631"/>
                  </a:lnTo>
                  <a:lnTo>
                    <a:pt x="3532" y="662"/>
                  </a:lnTo>
                  <a:lnTo>
                    <a:pt x="3583" y="696"/>
                  </a:lnTo>
                  <a:lnTo>
                    <a:pt x="3632" y="731"/>
                  </a:lnTo>
                  <a:lnTo>
                    <a:pt x="3679" y="768"/>
                  </a:lnTo>
                  <a:lnTo>
                    <a:pt x="3723" y="807"/>
                  </a:lnTo>
                  <a:lnTo>
                    <a:pt x="3765" y="847"/>
                  </a:lnTo>
                  <a:lnTo>
                    <a:pt x="3803" y="888"/>
                  </a:lnTo>
                  <a:lnTo>
                    <a:pt x="3837" y="929"/>
                  </a:lnTo>
                  <a:lnTo>
                    <a:pt x="3869" y="971"/>
                  </a:lnTo>
                  <a:lnTo>
                    <a:pt x="3898" y="1013"/>
                  </a:lnTo>
                  <a:lnTo>
                    <a:pt x="3923" y="1055"/>
                  </a:lnTo>
                  <a:lnTo>
                    <a:pt x="3945" y="1096"/>
                  </a:lnTo>
                  <a:lnTo>
                    <a:pt x="3962" y="1136"/>
                  </a:lnTo>
                  <a:lnTo>
                    <a:pt x="3976" y="1176"/>
                  </a:lnTo>
                  <a:lnTo>
                    <a:pt x="3987" y="1214"/>
                  </a:lnTo>
                  <a:lnTo>
                    <a:pt x="3994" y="1251"/>
                  </a:lnTo>
                  <a:lnTo>
                    <a:pt x="3996" y="1286"/>
                  </a:lnTo>
                  <a:lnTo>
                    <a:pt x="3995" y="1295"/>
                  </a:lnTo>
                  <a:lnTo>
                    <a:pt x="3995" y="1305"/>
                  </a:lnTo>
                  <a:lnTo>
                    <a:pt x="3993" y="1315"/>
                  </a:lnTo>
                  <a:lnTo>
                    <a:pt x="3992" y="1323"/>
                  </a:lnTo>
                  <a:lnTo>
                    <a:pt x="3988" y="1332"/>
                  </a:lnTo>
                  <a:lnTo>
                    <a:pt x="3986" y="1340"/>
                  </a:lnTo>
                  <a:lnTo>
                    <a:pt x="3983" y="1347"/>
                  </a:lnTo>
                  <a:lnTo>
                    <a:pt x="3979" y="1355"/>
                  </a:lnTo>
                  <a:lnTo>
                    <a:pt x="3971" y="1369"/>
                  </a:lnTo>
                  <a:lnTo>
                    <a:pt x="3960" y="1381"/>
                  </a:lnTo>
                  <a:lnTo>
                    <a:pt x="3949" y="1393"/>
                  </a:lnTo>
                  <a:lnTo>
                    <a:pt x="3936" y="1404"/>
                  </a:lnTo>
                  <a:lnTo>
                    <a:pt x="3923" y="1414"/>
                  </a:lnTo>
                  <a:lnTo>
                    <a:pt x="3909" y="1424"/>
                  </a:lnTo>
                  <a:lnTo>
                    <a:pt x="3895" y="1433"/>
                  </a:lnTo>
                  <a:lnTo>
                    <a:pt x="3880" y="1443"/>
                  </a:lnTo>
                  <a:lnTo>
                    <a:pt x="3848" y="1460"/>
                  </a:lnTo>
                  <a:lnTo>
                    <a:pt x="3818" y="1478"/>
                  </a:lnTo>
                  <a:lnTo>
                    <a:pt x="3781" y="1503"/>
                  </a:lnTo>
                  <a:lnTo>
                    <a:pt x="3743" y="1532"/>
                  </a:lnTo>
                  <a:lnTo>
                    <a:pt x="3705" y="1563"/>
                  </a:lnTo>
                  <a:lnTo>
                    <a:pt x="3666" y="1597"/>
                  </a:lnTo>
                  <a:lnTo>
                    <a:pt x="3626" y="1632"/>
                  </a:lnTo>
                  <a:lnTo>
                    <a:pt x="3587" y="1670"/>
                  </a:lnTo>
                  <a:lnTo>
                    <a:pt x="3548" y="1709"/>
                  </a:lnTo>
                  <a:lnTo>
                    <a:pt x="3508" y="1749"/>
                  </a:lnTo>
                  <a:lnTo>
                    <a:pt x="3472" y="1791"/>
                  </a:lnTo>
                  <a:lnTo>
                    <a:pt x="3435" y="1832"/>
                  </a:lnTo>
                  <a:lnTo>
                    <a:pt x="3399" y="1873"/>
                  </a:lnTo>
                  <a:lnTo>
                    <a:pt x="3365" y="1913"/>
                  </a:lnTo>
                  <a:lnTo>
                    <a:pt x="3334" y="1953"/>
                  </a:lnTo>
                  <a:lnTo>
                    <a:pt x="3304" y="1992"/>
                  </a:lnTo>
                  <a:lnTo>
                    <a:pt x="3277" y="2029"/>
                  </a:lnTo>
                  <a:lnTo>
                    <a:pt x="3252" y="2064"/>
                  </a:lnTo>
                  <a:close/>
                  <a:moveTo>
                    <a:pt x="1433" y="1731"/>
                  </a:moveTo>
                  <a:lnTo>
                    <a:pt x="1363" y="1734"/>
                  </a:lnTo>
                  <a:lnTo>
                    <a:pt x="1294" y="1742"/>
                  </a:lnTo>
                  <a:lnTo>
                    <a:pt x="1226" y="1753"/>
                  </a:lnTo>
                  <a:lnTo>
                    <a:pt x="1158" y="1768"/>
                  </a:lnTo>
                  <a:lnTo>
                    <a:pt x="1091" y="1786"/>
                  </a:lnTo>
                  <a:lnTo>
                    <a:pt x="1026" y="1808"/>
                  </a:lnTo>
                  <a:lnTo>
                    <a:pt x="961" y="1833"/>
                  </a:lnTo>
                  <a:lnTo>
                    <a:pt x="898" y="1862"/>
                  </a:lnTo>
                  <a:lnTo>
                    <a:pt x="835" y="1894"/>
                  </a:lnTo>
                  <a:lnTo>
                    <a:pt x="774" y="1928"/>
                  </a:lnTo>
                  <a:lnTo>
                    <a:pt x="714" y="1966"/>
                  </a:lnTo>
                  <a:lnTo>
                    <a:pt x="657" y="2006"/>
                  </a:lnTo>
                  <a:lnTo>
                    <a:pt x="601" y="2050"/>
                  </a:lnTo>
                  <a:lnTo>
                    <a:pt x="547" y="2096"/>
                  </a:lnTo>
                  <a:lnTo>
                    <a:pt x="494" y="2144"/>
                  </a:lnTo>
                  <a:lnTo>
                    <a:pt x="444" y="2195"/>
                  </a:lnTo>
                  <a:lnTo>
                    <a:pt x="396" y="2248"/>
                  </a:lnTo>
                  <a:lnTo>
                    <a:pt x="350" y="2303"/>
                  </a:lnTo>
                  <a:lnTo>
                    <a:pt x="306" y="2362"/>
                  </a:lnTo>
                  <a:lnTo>
                    <a:pt x="265" y="2421"/>
                  </a:lnTo>
                  <a:lnTo>
                    <a:pt x="227" y="2482"/>
                  </a:lnTo>
                  <a:lnTo>
                    <a:pt x="191" y="2546"/>
                  </a:lnTo>
                  <a:lnTo>
                    <a:pt x="157" y="2611"/>
                  </a:lnTo>
                  <a:lnTo>
                    <a:pt x="127" y="2677"/>
                  </a:lnTo>
                  <a:lnTo>
                    <a:pt x="100" y="2746"/>
                  </a:lnTo>
                  <a:lnTo>
                    <a:pt x="76" y="2815"/>
                  </a:lnTo>
                  <a:lnTo>
                    <a:pt x="54" y="2885"/>
                  </a:lnTo>
                  <a:lnTo>
                    <a:pt x="37" y="2958"/>
                  </a:lnTo>
                  <a:lnTo>
                    <a:pt x="22" y="3031"/>
                  </a:lnTo>
                  <a:lnTo>
                    <a:pt x="11" y="3104"/>
                  </a:lnTo>
                  <a:lnTo>
                    <a:pt x="3" y="3179"/>
                  </a:lnTo>
                  <a:lnTo>
                    <a:pt x="0" y="3255"/>
                  </a:lnTo>
                  <a:lnTo>
                    <a:pt x="0" y="3309"/>
                  </a:lnTo>
                  <a:lnTo>
                    <a:pt x="2" y="3362"/>
                  </a:lnTo>
                  <a:lnTo>
                    <a:pt x="7" y="3417"/>
                  </a:lnTo>
                  <a:lnTo>
                    <a:pt x="12" y="3470"/>
                  </a:lnTo>
                  <a:lnTo>
                    <a:pt x="21" y="3523"/>
                  </a:lnTo>
                  <a:lnTo>
                    <a:pt x="30" y="3575"/>
                  </a:lnTo>
                  <a:lnTo>
                    <a:pt x="43" y="3627"/>
                  </a:lnTo>
                  <a:lnTo>
                    <a:pt x="58" y="3679"/>
                  </a:lnTo>
                  <a:lnTo>
                    <a:pt x="73" y="3730"/>
                  </a:lnTo>
                  <a:lnTo>
                    <a:pt x="90" y="3780"/>
                  </a:lnTo>
                  <a:lnTo>
                    <a:pt x="110" y="3830"/>
                  </a:lnTo>
                  <a:lnTo>
                    <a:pt x="131" y="3879"/>
                  </a:lnTo>
                  <a:lnTo>
                    <a:pt x="154" y="3927"/>
                  </a:lnTo>
                  <a:lnTo>
                    <a:pt x="178" y="3975"/>
                  </a:lnTo>
                  <a:lnTo>
                    <a:pt x="204" y="4021"/>
                  </a:lnTo>
                  <a:lnTo>
                    <a:pt x="231" y="4067"/>
                  </a:lnTo>
                  <a:lnTo>
                    <a:pt x="259" y="4112"/>
                  </a:lnTo>
                  <a:lnTo>
                    <a:pt x="290" y="4156"/>
                  </a:lnTo>
                  <a:lnTo>
                    <a:pt x="321" y="4199"/>
                  </a:lnTo>
                  <a:lnTo>
                    <a:pt x="354" y="4240"/>
                  </a:lnTo>
                  <a:lnTo>
                    <a:pt x="388" y="4282"/>
                  </a:lnTo>
                  <a:lnTo>
                    <a:pt x="423" y="4321"/>
                  </a:lnTo>
                  <a:lnTo>
                    <a:pt x="459" y="4358"/>
                  </a:lnTo>
                  <a:lnTo>
                    <a:pt x="496" y="4395"/>
                  </a:lnTo>
                  <a:lnTo>
                    <a:pt x="534" y="4430"/>
                  </a:lnTo>
                  <a:lnTo>
                    <a:pt x="574" y="4465"/>
                  </a:lnTo>
                  <a:lnTo>
                    <a:pt x="614" y="4497"/>
                  </a:lnTo>
                  <a:lnTo>
                    <a:pt x="655" y="4528"/>
                  </a:lnTo>
                  <a:lnTo>
                    <a:pt x="697" y="4557"/>
                  </a:lnTo>
                  <a:lnTo>
                    <a:pt x="739" y="4585"/>
                  </a:lnTo>
                  <a:lnTo>
                    <a:pt x="783" y="4611"/>
                  </a:lnTo>
                  <a:lnTo>
                    <a:pt x="826" y="4635"/>
                  </a:lnTo>
                  <a:lnTo>
                    <a:pt x="857" y="4651"/>
                  </a:lnTo>
                  <a:lnTo>
                    <a:pt x="888" y="4666"/>
                  </a:lnTo>
                  <a:lnTo>
                    <a:pt x="921" y="4681"/>
                  </a:lnTo>
                  <a:lnTo>
                    <a:pt x="955" y="4697"/>
                  </a:lnTo>
                  <a:lnTo>
                    <a:pt x="991" y="4712"/>
                  </a:lnTo>
                  <a:lnTo>
                    <a:pt x="1029" y="4726"/>
                  </a:lnTo>
                  <a:lnTo>
                    <a:pt x="1067" y="4739"/>
                  </a:lnTo>
                  <a:lnTo>
                    <a:pt x="1106" y="4752"/>
                  </a:lnTo>
                  <a:lnTo>
                    <a:pt x="1146" y="4764"/>
                  </a:lnTo>
                  <a:lnTo>
                    <a:pt x="1187" y="4775"/>
                  </a:lnTo>
                  <a:lnTo>
                    <a:pt x="1228" y="4784"/>
                  </a:lnTo>
                  <a:lnTo>
                    <a:pt x="1269" y="4792"/>
                  </a:lnTo>
                  <a:lnTo>
                    <a:pt x="1310" y="4799"/>
                  </a:lnTo>
                  <a:lnTo>
                    <a:pt x="1352" y="4804"/>
                  </a:lnTo>
                  <a:lnTo>
                    <a:pt x="1393" y="4807"/>
                  </a:lnTo>
                  <a:lnTo>
                    <a:pt x="1433" y="4808"/>
                  </a:lnTo>
                  <a:lnTo>
                    <a:pt x="4812" y="4808"/>
                  </a:lnTo>
                  <a:lnTo>
                    <a:pt x="4895" y="4805"/>
                  </a:lnTo>
                  <a:lnTo>
                    <a:pt x="4980" y="4796"/>
                  </a:lnTo>
                  <a:lnTo>
                    <a:pt x="5068" y="4781"/>
                  </a:lnTo>
                  <a:lnTo>
                    <a:pt x="5157" y="4762"/>
                  </a:lnTo>
                  <a:lnTo>
                    <a:pt x="5249" y="4736"/>
                  </a:lnTo>
                  <a:lnTo>
                    <a:pt x="5340" y="4704"/>
                  </a:lnTo>
                  <a:lnTo>
                    <a:pt x="5431" y="4667"/>
                  </a:lnTo>
                  <a:lnTo>
                    <a:pt x="5523" y="4625"/>
                  </a:lnTo>
                  <a:lnTo>
                    <a:pt x="5614" y="4579"/>
                  </a:lnTo>
                  <a:lnTo>
                    <a:pt x="5703" y="4526"/>
                  </a:lnTo>
                  <a:lnTo>
                    <a:pt x="5792" y="4469"/>
                  </a:lnTo>
                  <a:lnTo>
                    <a:pt x="5878" y="4406"/>
                  </a:lnTo>
                  <a:lnTo>
                    <a:pt x="5962" y="4339"/>
                  </a:lnTo>
                  <a:lnTo>
                    <a:pt x="6043" y="4267"/>
                  </a:lnTo>
                  <a:lnTo>
                    <a:pt x="6120" y="4190"/>
                  </a:lnTo>
                  <a:lnTo>
                    <a:pt x="6194" y="4109"/>
                  </a:lnTo>
                  <a:lnTo>
                    <a:pt x="6264" y="4024"/>
                  </a:lnTo>
                  <a:lnTo>
                    <a:pt x="6328" y="3934"/>
                  </a:lnTo>
                  <a:lnTo>
                    <a:pt x="6387" y="3839"/>
                  </a:lnTo>
                  <a:lnTo>
                    <a:pt x="6441" y="3741"/>
                  </a:lnTo>
                  <a:lnTo>
                    <a:pt x="6487" y="3639"/>
                  </a:lnTo>
                  <a:lnTo>
                    <a:pt x="6528" y="3531"/>
                  </a:lnTo>
                  <a:lnTo>
                    <a:pt x="6562" y="3421"/>
                  </a:lnTo>
                  <a:lnTo>
                    <a:pt x="6588" y="3307"/>
                  </a:lnTo>
                  <a:lnTo>
                    <a:pt x="6606" y="3189"/>
                  </a:lnTo>
                  <a:lnTo>
                    <a:pt x="6615" y="3066"/>
                  </a:lnTo>
                  <a:lnTo>
                    <a:pt x="6616" y="2942"/>
                  </a:lnTo>
                  <a:lnTo>
                    <a:pt x="6608" y="2813"/>
                  </a:lnTo>
                  <a:lnTo>
                    <a:pt x="6588" y="2681"/>
                  </a:lnTo>
                  <a:lnTo>
                    <a:pt x="6559" y="2545"/>
                  </a:lnTo>
                  <a:lnTo>
                    <a:pt x="6520" y="2406"/>
                  </a:lnTo>
                  <a:lnTo>
                    <a:pt x="6469" y="2264"/>
                  </a:lnTo>
                  <a:lnTo>
                    <a:pt x="6452" y="2225"/>
                  </a:lnTo>
                  <a:lnTo>
                    <a:pt x="6435" y="2186"/>
                  </a:lnTo>
                  <a:lnTo>
                    <a:pt x="6417" y="2148"/>
                  </a:lnTo>
                  <a:lnTo>
                    <a:pt x="6397" y="2110"/>
                  </a:lnTo>
                  <a:lnTo>
                    <a:pt x="6378" y="2074"/>
                  </a:lnTo>
                  <a:lnTo>
                    <a:pt x="6356" y="2038"/>
                  </a:lnTo>
                  <a:lnTo>
                    <a:pt x="6334" y="2002"/>
                  </a:lnTo>
                  <a:lnTo>
                    <a:pt x="6311" y="1967"/>
                  </a:lnTo>
                  <a:lnTo>
                    <a:pt x="6289" y="1933"/>
                  </a:lnTo>
                  <a:lnTo>
                    <a:pt x="6264" y="1899"/>
                  </a:lnTo>
                  <a:lnTo>
                    <a:pt x="6239" y="1865"/>
                  </a:lnTo>
                  <a:lnTo>
                    <a:pt x="6213" y="1833"/>
                  </a:lnTo>
                  <a:lnTo>
                    <a:pt x="6185" y="1801"/>
                  </a:lnTo>
                  <a:lnTo>
                    <a:pt x="6158" y="1770"/>
                  </a:lnTo>
                  <a:lnTo>
                    <a:pt x="6129" y="1740"/>
                  </a:lnTo>
                  <a:lnTo>
                    <a:pt x="6101" y="1709"/>
                  </a:lnTo>
                  <a:lnTo>
                    <a:pt x="6070" y="1680"/>
                  </a:lnTo>
                  <a:lnTo>
                    <a:pt x="6040" y="1652"/>
                  </a:lnTo>
                  <a:lnTo>
                    <a:pt x="6010" y="1624"/>
                  </a:lnTo>
                  <a:lnTo>
                    <a:pt x="5978" y="1597"/>
                  </a:lnTo>
                  <a:lnTo>
                    <a:pt x="5946" y="1570"/>
                  </a:lnTo>
                  <a:lnTo>
                    <a:pt x="5913" y="1543"/>
                  </a:lnTo>
                  <a:lnTo>
                    <a:pt x="5879" y="1519"/>
                  </a:lnTo>
                  <a:lnTo>
                    <a:pt x="5845" y="1494"/>
                  </a:lnTo>
                  <a:lnTo>
                    <a:pt x="5811" y="1470"/>
                  </a:lnTo>
                  <a:lnTo>
                    <a:pt x="5775" y="1446"/>
                  </a:lnTo>
                  <a:lnTo>
                    <a:pt x="5740" y="1424"/>
                  </a:lnTo>
                  <a:lnTo>
                    <a:pt x="5705" y="1403"/>
                  </a:lnTo>
                  <a:lnTo>
                    <a:pt x="5668" y="1381"/>
                  </a:lnTo>
                  <a:lnTo>
                    <a:pt x="5631" y="1360"/>
                  </a:lnTo>
                  <a:lnTo>
                    <a:pt x="5594" y="1341"/>
                  </a:lnTo>
                  <a:lnTo>
                    <a:pt x="5556" y="1321"/>
                  </a:lnTo>
                  <a:lnTo>
                    <a:pt x="5504" y="1296"/>
                  </a:lnTo>
                  <a:lnTo>
                    <a:pt x="5454" y="1274"/>
                  </a:lnTo>
                  <a:lnTo>
                    <a:pt x="5405" y="1254"/>
                  </a:lnTo>
                  <a:lnTo>
                    <a:pt x="5357" y="1236"/>
                  </a:lnTo>
                  <a:lnTo>
                    <a:pt x="5312" y="1219"/>
                  </a:lnTo>
                  <a:lnTo>
                    <a:pt x="5268" y="1204"/>
                  </a:lnTo>
                  <a:lnTo>
                    <a:pt x="5225" y="1192"/>
                  </a:lnTo>
                  <a:lnTo>
                    <a:pt x="5183" y="1181"/>
                  </a:lnTo>
                  <a:lnTo>
                    <a:pt x="5143" y="1172"/>
                  </a:lnTo>
                  <a:lnTo>
                    <a:pt x="5105" y="1164"/>
                  </a:lnTo>
                  <a:lnTo>
                    <a:pt x="5067" y="1158"/>
                  </a:lnTo>
                  <a:lnTo>
                    <a:pt x="5031" y="1152"/>
                  </a:lnTo>
                  <a:lnTo>
                    <a:pt x="4996" y="1149"/>
                  </a:lnTo>
                  <a:lnTo>
                    <a:pt x="4962" y="1146"/>
                  </a:lnTo>
                  <a:lnTo>
                    <a:pt x="4929" y="1145"/>
                  </a:lnTo>
                  <a:lnTo>
                    <a:pt x="4897" y="1144"/>
                  </a:lnTo>
                  <a:lnTo>
                    <a:pt x="4865" y="1144"/>
                  </a:lnTo>
                  <a:lnTo>
                    <a:pt x="4836" y="1145"/>
                  </a:lnTo>
                  <a:lnTo>
                    <a:pt x="4806" y="1146"/>
                  </a:lnTo>
                  <a:lnTo>
                    <a:pt x="4777" y="1148"/>
                  </a:lnTo>
                  <a:lnTo>
                    <a:pt x="4722" y="1152"/>
                  </a:lnTo>
                  <a:lnTo>
                    <a:pt x="4670" y="1158"/>
                  </a:lnTo>
                  <a:lnTo>
                    <a:pt x="4620" y="1164"/>
                  </a:lnTo>
                  <a:lnTo>
                    <a:pt x="4571" y="1170"/>
                  </a:lnTo>
                  <a:lnTo>
                    <a:pt x="4547" y="1172"/>
                  </a:lnTo>
                  <a:lnTo>
                    <a:pt x="4525" y="1173"/>
                  </a:lnTo>
                  <a:lnTo>
                    <a:pt x="4501" y="1174"/>
                  </a:lnTo>
                  <a:lnTo>
                    <a:pt x="4478" y="1174"/>
                  </a:lnTo>
                  <a:lnTo>
                    <a:pt x="4440" y="1035"/>
                  </a:lnTo>
                  <a:lnTo>
                    <a:pt x="4391" y="905"/>
                  </a:lnTo>
                  <a:lnTo>
                    <a:pt x="4333" y="784"/>
                  </a:lnTo>
                  <a:lnTo>
                    <a:pt x="4267" y="671"/>
                  </a:lnTo>
                  <a:lnTo>
                    <a:pt x="4193" y="567"/>
                  </a:lnTo>
                  <a:lnTo>
                    <a:pt x="4111" y="471"/>
                  </a:lnTo>
                  <a:lnTo>
                    <a:pt x="4023" y="386"/>
                  </a:lnTo>
                  <a:lnTo>
                    <a:pt x="3929" y="308"/>
                  </a:lnTo>
                  <a:lnTo>
                    <a:pt x="3830" y="238"/>
                  </a:lnTo>
                  <a:lnTo>
                    <a:pt x="3726" y="179"/>
                  </a:lnTo>
                  <a:lnTo>
                    <a:pt x="3617" y="127"/>
                  </a:lnTo>
                  <a:lnTo>
                    <a:pt x="3504" y="85"/>
                  </a:lnTo>
                  <a:lnTo>
                    <a:pt x="3390" y="50"/>
                  </a:lnTo>
                  <a:lnTo>
                    <a:pt x="3273" y="25"/>
                  </a:lnTo>
                  <a:lnTo>
                    <a:pt x="3154" y="8"/>
                  </a:lnTo>
                  <a:lnTo>
                    <a:pt x="3034" y="0"/>
                  </a:lnTo>
                  <a:lnTo>
                    <a:pt x="2914" y="0"/>
                  </a:lnTo>
                  <a:lnTo>
                    <a:pt x="2794" y="9"/>
                  </a:lnTo>
                  <a:lnTo>
                    <a:pt x="2675" y="26"/>
                  </a:lnTo>
                  <a:lnTo>
                    <a:pt x="2558" y="52"/>
                  </a:lnTo>
                  <a:lnTo>
                    <a:pt x="2442" y="87"/>
                  </a:lnTo>
                  <a:lnTo>
                    <a:pt x="2331" y="129"/>
                  </a:lnTo>
                  <a:lnTo>
                    <a:pt x="2222" y="181"/>
                  </a:lnTo>
                  <a:lnTo>
                    <a:pt x="2117" y="241"/>
                  </a:lnTo>
                  <a:lnTo>
                    <a:pt x="2017" y="309"/>
                  </a:lnTo>
                  <a:lnTo>
                    <a:pt x="1923" y="386"/>
                  </a:lnTo>
                  <a:lnTo>
                    <a:pt x="1834" y="470"/>
                  </a:lnTo>
                  <a:lnTo>
                    <a:pt x="1752" y="564"/>
                  </a:lnTo>
                  <a:lnTo>
                    <a:pt x="1677" y="665"/>
                  </a:lnTo>
                  <a:lnTo>
                    <a:pt x="1610" y="775"/>
                  </a:lnTo>
                  <a:lnTo>
                    <a:pt x="1551" y="894"/>
                  </a:lnTo>
                  <a:lnTo>
                    <a:pt x="1502" y="1021"/>
                  </a:lnTo>
                  <a:lnTo>
                    <a:pt x="1422" y="1551"/>
                  </a:lnTo>
                  <a:lnTo>
                    <a:pt x="1422" y="1566"/>
                  </a:lnTo>
                  <a:lnTo>
                    <a:pt x="1423" y="1583"/>
                  </a:lnTo>
                  <a:lnTo>
                    <a:pt x="1424" y="1600"/>
                  </a:lnTo>
                  <a:lnTo>
                    <a:pt x="1426" y="1619"/>
                  </a:lnTo>
                  <a:lnTo>
                    <a:pt x="1429" y="1642"/>
                  </a:lnTo>
                  <a:lnTo>
                    <a:pt x="1431" y="1667"/>
                  </a:lnTo>
                  <a:lnTo>
                    <a:pt x="1432" y="1696"/>
                  </a:lnTo>
                  <a:lnTo>
                    <a:pt x="1433" y="173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30E0F916-AC77-4356-A54A-8F1160EC28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5375" y="8288338"/>
              <a:ext cx="628650" cy="627062"/>
            </a:xfrm>
            <a:custGeom>
              <a:avLst/>
              <a:gdLst>
                <a:gd name="T0" fmla="*/ 637 w 3565"/>
                <a:gd name="T1" fmla="*/ 1692 h 3554"/>
                <a:gd name="T2" fmla="*/ 652 w 3565"/>
                <a:gd name="T3" fmla="*/ 1539 h 3554"/>
                <a:gd name="T4" fmla="*/ 676 w 3565"/>
                <a:gd name="T5" fmla="*/ 1425 h 3554"/>
                <a:gd name="T6" fmla="*/ 712 w 3565"/>
                <a:gd name="T7" fmla="*/ 1317 h 3554"/>
                <a:gd name="T8" fmla="*/ 761 w 3565"/>
                <a:gd name="T9" fmla="*/ 1211 h 3554"/>
                <a:gd name="T10" fmla="*/ 827 w 3565"/>
                <a:gd name="T11" fmla="*/ 1106 h 3554"/>
                <a:gd name="T12" fmla="*/ 912 w 3565"/>
                <a:gd name="T13" fmla="*/ 1002 h 3554"/>
                <a:gd name="T14" fmla="*/ 1116 w 3565"/>
                <a:gd name="T15" fmla="*/ 827 h 3554"/>
                <a:gd name="T16" fmla="*/ 1407 w 3565"/>
                <a:gd name="T17" fmla="*/ 690 h 3554"/>
                <a:gd name="T18" fmla="*/ 1733 w 3565"/>
                <a:gd name="T19" fmla="*/ 631 h 3554"/>
                <a:gd name="T20" fmla="*/ 2065 w 3565"/>
                <a:gd name="T21" fmla="*/ 657 h 3554"/>
                <a:gd name="T22" fmla="*/ 2378 w 3565"/>
                <a:gd name="T23" fmla="*/ 775 h 3554"/>
                <a:gd name="T24" fmla="*/ 2644 w 3565"/>
                <a:gd name="T25" fmla="*/ 995 h 3554"/>
                <a:gd name="T26" fmla="*/ 2838 w 3565"/>
                <a:gd name="T27" fmla="*/ 1322 h 3554"/>
                <a:gd name="T28" fmla="*/ 2930 w 3565"/>
                <a:gd name="T29" fmla="*/ 1766 h 3554"/>
                <a:gd name="T30" fmla="*/ 2907 w 3565"/>
                <a:gd name="T31" fmla="*/ 2097 h 3554"/>
                <a:gd name="T32" fmla="*/ 2796 w 3565"/>
                <a:gd name="T33" fmla="*/ 2357 h 3554"/>
                <a:gd name="T34" fmla="*/ 2613 w 3565"/>
                <a:gd name="T35" fmla="*/ 2589 h 3554"/>
                <a:gd name="T36" fmla="*/ 2369 w 3565"/>
                <a:gd name="T37" fmla="*/ 2777 h 3554"/>
                <a:gd name="T38" fmla="*/ 2079 w 3565"/>
                <a:gd name="T39" fmla="*/ 2899 h 3554"/>
                <a:gd name="T40" fmla="*/ 1756 w 3565"/>
                <a:gd name="T41" fmla="*/ 2938 h 3554"/>
                <a:gd name="T42" fmla="*/ 1414 w 3565"/>
                <a:gd name="T43" fmla="*/ 2874 h 3554"/>
                <a:gd name="T44" fmla="*/ 1066 w 3565"/>
                <a:gd name="T45" fmla="*/ 2689 h 3554"/>
                <a:gd name="T46" fmla="*/ 936 w 3565"/>
                <a:gd name="T47" fmla="*/ 2581 h 3554"/>
                <a:gd name="T48" fmla="*/ 876 w 3565"/>
                <a:gd name="T49" fmla="*/ 2511 h 3554"/>
                <a:gd name="T50" fmla="*/ 816 w 3565"/>
                <a:gd name="T51" fmla="*/ 2428 h 3554"/>
                <a:gd name="T52" fmla="*/ 761 w 3565"/>
                <a:gd name="T53" fmla="*/ 2335 h 3554"/>
                <a:gd name="T54" fmla="*/ 712 w 3565"/>
                <a:gd name="T55" fmla="*/ 2234 h 3554"/>
                <a:gd name="T56" fmla="*/ 672 w 3565"/>
                <a:gd name="T57" fmla="*/ 2129 h 3554"/>
                <a:gd name="T58" fmla="*/ 645 w 3565"/>
                <a:gd name="T59" fmla="*/ 2023 h 3554"/>
                <a:gd name="T60" fmla="*/ 632 w 3565"/>
                <a:gd name="T61" fmla="*/ 1921 h 3554"/>
                <a:gd name="T62" fmla="*/ 5 w 3565"/>
                <a:gd name="T63" fmla="*/ 1885 h 3554"/>
                <a:gd name="T64" fmla="*/ 46 w 3565"/>
                <a:gd name="T65" fmla="*/ 2152 h 3554"/>
                <a:gd name="T66" fmla="*/ 124 w 3565"/>
                <a:gd name="T67" fmla="*/ 2406 h 3554"/>
                <a:gd name="T68" fmla="*/ 233 w 3565"/>
                <a:gd name="T69" fmla="*/ 2643 h 3554"/>
                <a:gd name="T70" fmla="*/ 372 w 3565"/>
                <a:gd name="T71" fmla="*/ 2859 h 3554"/>
                <a:gd name="T72" fmla="*/ 536 w 3565"/>
                <a:gd name="T73" fmla="*/ 3050 h 3554"/>
                <a:gd name="T74" fmla="*/ 721 w 3565"/>
                <a:gd name="T75" fmla="*/ 3211 h 3554"/>
                <a:gd name="T76" fmla="*/ 922 w 3565"/>
                <a:gd name="T77" fmla="*/ 3339 h 3554"/>
                <a:gd name="T78" fmla="*/ 1280 w 3565"/>
                <a:gd name="T79" fmla="*/ 3480 h 3554"/>
                <a:gd name="T80" fmla="*/ 1765 w 3565"/>
                <a:gd name="T81" fmla="*/ 3554 h 3554"/>
                <a:gd name="T82" fmla="*/ 2217 w 3565"/>
                <a:gd name="T83" fmla="*/ 3502 h 3554"/>
                <a:gd name="T84" fmla="*/ 2623 w 3565"/>
                <a:gd name="T85" fmla="*/ 3344 h 3554"/>
                <a:gd name="T86" fmla="*/ 2970 w 3565"/>
                <a:gd name="T87" fmla="*/ 3098 h 3554"/>
                <a:gd name="T88" fmla="*/ 3249 w 3565"/>
                <a:gd name="T89" fmla="*/ 2783 h 3554"/>
                <a:gd name="T90" fmla="*/ 3447 w 3565"/>
                <a:gd name="T91" fmla="*/ 2419 h 3554"/>
                <a:gd name="T92" fmla="*/ 3551 w 3565"/>
                <a:gd name="T93" fmla="*/ 2025 h 3554"/>
                <a:gd name="T94" fmla="*/ 3544 w 3565"/>
                <a:gd name="T95" fmla="*/ 1535 h 3554"/>
                <a:gd name="T96" fmla="*/ 3386 w 3565"/>
                <a:gd name="T97" fmla="*/ 1018 h 3554"/>
                <a:gd name="T98" fmla="*/ 3099 w 3565"/>
                <a:gd name="T99" fmla="*/ 589 h 3554"/>
                <a:gd name="T100" fmla="*/ 2712 w 3565"/>
                <a:gd name="T101" fmla="*/ 265 h 3554"/>
                <a:gd name="T102" fmla="*/ 2253 w 3565"/>
                <a:gd name="T103" fmla="*/ 64 h 3554"/>
                <a:gd name="T104" fmla="*/ 1753 w 3565"/>
                <a:gd name="T105" fmla="*/ 0 h 3554"/>
                <a:gd name="T106" fmla="*/ 1240 w 3565"/>
                <a:gd name="T107" fmla="*/ 90 h 3554"/>
                <a:gd name="T108" fmla="*/ 744 w 3565"/>
                <a:gd name="T109" fmla="*/ 351 h 3554"/>
                <a:gd name="T110" fmla="*/ 460 w 3565"/>
                <a:gd name="T111" fmla="*/ 604 h 3554"/>
                <a:gd name="T112" fmla="*/ 363 w 3565"/>
                <a:gd name="T113" fmla="*/ 716 h 3554"/>
                <a:gd name="T114" fmla="*/ 271 w 3565"/>
                <a:gd name="T115" fmla="*/ 843 h 3554"/>
                <a:gd name="T116" fmla="*/ 190 w 3565"/>
                <a:gd name="T117" fmla="*/ 981 h 3554"/>
                <a:gd name="T118" fmla="*/ 121 w 3565"/>
                <a:gd name="T119" fmla="*/ 1130 h 3554"/>
                <a:gd name="T120" fmla="*/ 64 w 3565"/>
                <a:gd name="T121" fmla="*/ 1293 h 3554"/>
                <a:gd name="T122" fmla="*/ 24 w 3565"/>
                <a:gd name="T123" fmla="*/ 1466 h 3554"/>
                <a:gd name="T124" fmla="*/ 3 w 3565"/>
                <a:gd name="T125" fmla="*/ 1651 h 3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65" h="3554">
                  <a:moveTo>
                    <a:pt x="632" y="1896"/>
                  </a:moveTo>
                  <a:lnTo>
                    <a:pt x="632" y="1825"/>
                  </a:lnTo>
                  <a:lnTo>
                    <a:pt x="634" y="1757"/>
                  </a:lnTo>
                  <a:lnTo>
                    <a:pt x="637" y="1692"/>
                  </a:lnTo>
                  <a:lnTo>
                    <a:pt x="642" y="1629"/>
                  </a:lnTo>
                  <a:lnTo>
                    <a:pt x="645" y="1599"/>
                  </a:lnTo>
                  <a:lnTo>
                    <a:pt x="648" y="1569"/>
                  </a:lnTo>
                  <a:lnTo>
                    <a:pt x="652" y="1539"/>
                  </a:lnTo>
                  <a:lnTo>
                    <a:pt x="658" y="1510"/>
                  </a:lnTo>
                  <a:lnTo>
                    <a:pt x="663" y="1482"/>
                  </a:lnTo>
                  <a:lnTo>
                    <a:pt x="670" y="1453"/>
                  </a:lnTo>
                  <a:lnTo>
                    <a:pt x="676" y="1425"/>
                  </a:lnTo>
                  <a:lnTo>
                    <a:pt x="684" y="1398"/>
                  </a:lnTo>
                  <a:lnTo>
                    <a:pt x="693" y="1370"/>
                  </a:lnTo>
                  <a:lnTo>
                    <a:pt x="701" y="1343"/>
                  </a:lnTo>
                  <a:lnTo>
                    <a:pt x="712" y="1317"/>
                  </a:lnTo>
                  <a:lnTo>
                    <a:pt x="723" y="1290"/>
                  </a:lnTo>
                  <a:lnTo>
                    <a:pt x="735" y="1264"/>
                  </a:lnTo>
                  <a:lnTo>
                    <a:pt x="748" y="1237"/>
                  </a:lnTo>
                  <a:lnTo>
                    <a:pt x="761" y="1211"/>
                  </a:lnTo>
                  <a:lnTo>
                    <a:pt x="776" y="1185"/>
                  </a:lnTo>
                  <a:lnTo>
                    <a:pt x="792" y="1158"/>
                  </a:lnTo>
                  <a:lnTo>
                    <a:pt x="809" y="1132"/>
                  </a:lnTo>
                  <a:lnTo>
                    <a:pt x="827" y="1106"/>
                  </a:lnTo>
                  <a:lnTo>
                    <a:pt x="847" y="1080"/>
                  </a:lnTo>
                  <a:lnTo>
                    <a:pt x="867" y="1054"/>
                  </a:lnTo>
                  <a:lnTo>
                    <a:pt x="889" y="1028"/>
                  </a:lnTo>
                  <a:lnTo>
                    <a:pt x="912" y="1002"/>
                  </a:lnTo>
                  <a:lnTo>
                    <a:pt x="937" y="976"/>
                  </a:lnTo>
                  <a:lnTo>
                    <a:pt x="991" y="922"/>
                  </a:lnTo>
                  <a:lnTo>
                    <a:pt x="1052" y="872"/>
                  </a:lnTo>
                  <a:lnTo>
                    <a:pt x="1116" y="827"/>
                  </a:lnTo>
                  <a:lnTo>
                    <a:pt x="1183" y="786"/>
                  </a:lnTo>
                  <a:lnTo>
                    <a:pt x="1255" y="749"/>
                  </a:lnTo>
                  <a:lnTo>
                    <a:pt x="1330" y="717"/>
                  </a:lnTo>
                  <a:lnTo>
                    <a:pt x="1407" y="690"/>
                  </a:lnTo>
                  <a:lnTo>
                    <a:pt x="1486" y="667"/>
                  </a:lnTo>
                  <a:lnTo>
                    <a:pt x="1566" y="650"/>
                  </a:lnTo>
                  <a:lnTo>
                    <a:pt x="1649" y="638"/>
                  </a:lnTo>
                  <a:lnTo>
                    <a:pt x="1733" y="631"/>
                  </a:lnTo>
                  <a:lnTo>
                    <a:pt x="1816" y="628"/>
                  </a:lnTo>
                  <a:lnTo>
                    <a:pt x="1900" y="633"/>
                  </a:lnTo>
                  <a:lnTo>
                    <a:pt x="1982" y="641"/>
                  </a:lnTo>
                  <a:lnTo>
                    <a:pt x="2065" y="657"/>
                  </a:lnTo>
                  <a:lnTo>
                    <a:pt x="2146" y="677"/>
                  </a:lnTo>
                  <a:lnTo>
                    <a:pt x="2225" y="703"/>
                  </a:lnTo>
                  <a:lnTo>
                    <a:pt x="2304" y="737"/>
                  </a:lnTo>
                  <a:lnTo>
                    <a:pt x="2378" y="775"/>
                  </a:lnTo>
                  <a:lnTo>
                    <a:pt x="2450" y="820"/>
                  </a:lnTo>
                  <a:lnTo>
                    <a:pt x="2518" y="871"/>
                  </a:lnTo>
                  <a:lnTo>
                    <a:pt x="2584" y="930"/>
                  </a:lnTo>
                  <a:lnTo>
                    <a:pt x="2644" y="995"/>
                  </a:lnTo>
                  <a:lnTo>
                    <a:pt x="2701" y="1066"/>
                  </a:lnTo>
                  <a:lnTo>
                    <a:pt x="2752" y="1144"/>
                  </a:lnTo>
                  <a:lnTo>
                    <a:pt x="2797" y="1229"/>
                  </a:lnTo>
                  <a:lnTo>
                    <a:pt x="2838" y="1322"/>
                  </a:lnTo>
                  <a:lnTo>
                    <a:pt x="2871" y="1422"/>
                  </a:lnTo>
                  <a:lnTo>
                    <a:pt x="2897" y="1528"/>
                  </a:lnTo>
                  <a:lnTo>
                    <a:pt x="2917" y="1643"/>
                  </a:lnTo>
                  <a:lnTo>
                    <a:pt x="2930" y="1766"/>
                  </a:lnTo>
                  <a:lnTo>
                    <a:pt x="2933" y="1896"/>
                  </a:lnTo>
                  <a:lnTo>
                    <a:pt x="2931" y="1963"/>
                  </a:lnTo>
                  <a:lnTo>
                    <a:pt x="2922" y="2030"/>
                  </a:lnTo>
                  <a:lnTo>
                    <a:pt x="2907" y="2097"/>
                  </a:lnTo>
                  <a:lnTo>
                    <a:pt x="2888" y="2163"/>
                  </a:lnTo>
                  <a:lnTo>
                    <a:pt x="2863" y="2229"/>
                  </a:lnTo>
                  <a:lnTo>
                    <a:pt x="2832" y="2293"/>
                  </a:lnTo>
                  <a:lnTo>
                    <a:pt x="2796" y="2357"/>
                  </a:lnTo>
                  <a:lnTo>
                    <a:pt x="2757" y="2418"/>
                  </a:lnTo>
                  <a:lnTo>
                    <a:pt x="2713" y="2478"/>
                  </a:lnTo>
                  <a:lnTo>
                    <a:pt x="2665" y="2535"/>
                  </a:lnTo>
                  <a:lnTo>
                    <a:pt x="2613" y="2589"/>
                  </a:lnTo>
                  <a:lnTo>
                    <a:pt x="2558" y="2641"/>
                  </a:lnTo>
                  <a:lnTo>
                    <a:pt x="2498" y="2690"/>
                  </a:lnTo>
                  <a:lnTo>
                    <a:pt x="2435" y="2736"/>
                  </a:lnTo>
                  <a:lnTo>
                    <a:pt x="2369" y="2777"/>
                  </a:lnTo>
                  <a:lnTo>
                    <a:pt x="2300" y="2814"/>
                  </a:lnTo>
                  <a:lnTo>
                    <a:pt x="2229" y="2847"/>
                  </a:lnTo>
                  <a:lnTo>
                    <a:pt x="2155" y="2875"/>
                  </a:lnTo>
                  <a:lnTo>
                    <a:pt x="2079" y="2899"/>
                  </a:lnTo>
                  <a:lnTo>
                    <a:pt x="2001" y="2918"/>
                  </a:lnTo>
                  <a:lnTo>
                    <a:pt x="1920" y="2930"/>
                  </a:lnTo>
                  <a:lnTo>
                    <a:pt x="1839" y="2937"/>
                  </a:lnTo>
                  <a:lnTo>
                    <a:pt x="1756" y="2938"/>
                  </a:lnTo>
                  <a:lnTo>
                    <a:pt x="1672" y="2932"/>
                  </a:lnTo>
                  <a:lnTo>
                    <a:pt x="1587" y="2920"/>
                  </a:lnTo>
                  <a:lnTo>
                    <a:pt x="1500" y="2900"/>
                  </a:lnTo>
                  <a:lnTo>
                    <a:pt x="1414" y="2874"/>
                  </a:lnTo>
                  <a:lnTo>
                    <a:pt x="1328" y="2840"/>
                  </a:lnTo>
                  <a:lnTo>
                    <a:pt x="1240" y="2798"/>
                  </a:lnTo>
                  <a:lnTo>
                    <a:pt x="1153" y="2748"/>
                  </a:lnTo>
                  <a:lnTo>
                    <a:pt x="1066" y="2689"/>
                  </a:lnTo>
                  <a:lnTo>
                    <a:pt x="980" y="2622"/>
                  </a:lnTo>
                  <a:lnTo>
                    <a:pt x="966" y="2610"/>
                  </a:lnTo>
                  <a:lnTo>
                    <a:pt x="951" y="2596"/>
                  </a:lnTo>
                  <a:lnTo>
                    <a:pt x="936" y="2581"/>
                  </a:lnTo>
                  <a:lnTo>
                    <a:pt x="921" y="2564"/>
                  </a:lnTo>
                  <a:lnTo>
                    <a:pt x="905" y="2548"/>
                  </a:lnTo>
                  <a:lnTo>
                    <a:pt x="891" y="2530"/>
                  </a:lnTo>
                  <a:lnTo>
                    <a:pt x="876" y="2511"/>
                  </a:lnTo>
                  <a:lnTo>
                    <a:pt x="861" y="2492"/>
                  </a:lnTo>
                  <a:lnTo>
                    <a:pt x="846" y="2471"/>
                  </a:lnTo>
                  <a:lnTo>
                    <a:pt x="830" y="2449"/>
                  </a:lnTo>
                  <a:lnTo>
                    <a:pt x="816" y="2428"/>
                  </a:lnTo>
                  <a:lnTo>
                    <a:pt x="802" y="2405"/>
                  </a:lnTo>
                  <a:lnTo>
                    <a:pt x="788" y="2382"/>
                  </a:lnTo>
                  <a:lnTo>
                    <a:pt x="774" y="2358"/>
                  </a:lnTo>
                  <a:lnTo>
                    <a:pt x="761" y="2335"/>
                  </a:lnTo>
                  <a:lnTo>
                    <a:pt x="748" y="2310"/>
                  </a:lnTo>
                  <a:lnTo>
                    <a:pt x="735" y="2285"/>
                  </a:lnTo>
                  <a:lnTo>
                    <a:pt x="723" y="2260"/>
                  </a:lnTo>
                  <a:lnTo>
                    <a:pt x="712" y="2234"/>
                  </a:lnTo>
                  <a:lnTo>
                    <a:pt x="701" y="2208"/>
                  </a:lnTo>
                  <a:lnTo>
                    <a:pt x="690" y="2182"/>
                  </a:lnTo>
                  <a:lnTo>
                    <a:pt x="682" y="2156"/>
                  </a:lnTo>
                  <a:lnTo>
                    <a:pt x="672" y="2129"/>
                  </a:lnTo>
                  <a:lnTo>
                    <a:pt x="664" y="2103"/>
                  </a:lnTo>
                  <a:lnTo>
                    <a:pt x="657" y="2077"/>
                  </a:lnTo>
                  <a:lnTo>
                    <a:pt x="650" y="2049"/>
                  </a:lnTo>
                  <a:lnTo>
                    <a:pt x="645" y="2023"/>
                  </a:lnTo>
                  <a:lnTo>
                    <a:pt x="641" y="1997"/>
                  </a:lnTo>
                  <a:lnTo>
                    <a:pt x="636" y="1971"/>
                  </a:lnTo>
                  <a:lnTo>
                    <a:pt x="634" y="1945"/>
                  </a:lnTo>
                  <a:lnTo>
                    <a:pt x="632" y="1921"/>
                  </a:lnTo>
                  <a:lnTo>
                    <a:pt x="632" y="1896"/>
                  </a:lnTo>
                  <a:close/>
                  <a:moveTo>
                    <a:pt x="0" y="1747"/>
                  </a:moveTo>
                  <a:lnTo>
                    <a:pt x="1" y="1815"/>
                  </a:lnTo>
                  <a:lnTo>
                    <a:pt x="5" y="1885"/>
                  </a:lnTo>
                  <a:lnTo>
                    <a:pt x="12" y="1952"/>
                  </a:lnTo>
                  <a:lnTo>
                    <a:pt x="21" y="2019"/>
                  </a:lnTo>
                  <a:lnTo>
                    <a:pt x="33" y="2086"/>
                  </a:lnTo>
                  <a:lnTo>
                    <a:pt x="46" y="2152"/>
                  </a:lnTo>
                  <a:lnTo>
                    <a:pt x="62" y="2216"/>
                  </a:lnTo>
                  <a:lnTo>
                    <a:pt x="80" y="2281"/>
                  </a:lnTo>
                  <a:lnTo>
                    <a:pt x="101" y="2344"/>
                  </a:lnTo>
                  <a:lnTo>
                    <a:pt x="124" y="2406"/>
                  </a:lnTo>
                  <a:lnTo>
                    <a:pt x="148" y="2467"/>
                  </a:lnTo>
                  <a:lnTo>
                    <a:pt x="175" y="2528"/>
                  </a:lnTo>
                  <a:lnTo>
                    <a:pt x="203" y="2586"/>
                  </a:lnTo>
                  <a:lnTo>
                    <a:pt x="233" y="2643"/>
                  </a:lnTo>
                  <a:lnTo>
                    <a:pt x="266" y="2699"/>
                  </a:lnTo>
                  <a:lnTo>
                    <a:pt x="300" y="2754"/>
                  </a:lnTo>
                  <a:lnTo>
                    <a:pt x="335" y="2807"/>
                  </a:lnTo>
                  <a:lnTo>
                    <a:pt x="372" y="2859"/>
                  </a:lnTo>
                  <a:lnTo>
                    <a:pt x="411" y="2909"/>
                  </a:lnTo>
                  <a:lnTo>
                    <a:pt x="452" y="2958"/>
                  </a:lnTo>
                  <a:lnTo>
                    <a:pt x="493" y="3004"/>
                  </a:lnTo>
                  <a:lnTo>
                    <a:pt x="536" y="3050"/>
                  </a:lnTo>
                  <a:lnTo>
                    <a:pt x="581" y="3092"/>
                  </a:lnTo>
                  <a:lnTo>
                    <a:pt x="626" y="3135"/>
                  </a:lnTo>
                  <a:lnTo>
                    <a:pt x="673" y="3174"/>
                  </a:lnTo>
                  <a:lnTo>
                    <a:pt x="721" y="3211"/>
                  </a:lnTo>
                  <a:lnTo>
                    <a:pt x="770" y="3246"/>
                  </a:lnTo>
                  <a:lnTo>
                    <a:pt x="820" y="3280"/>
                  </a:lnTo>
                  <a:lnTo>
                    <a:pt x="871" y="3311"/>
                  </a:lnTo>
                  <a:lnTo>
                    <a:pt x="922" y="3339"/>
                  </a:lnTo>
                  <a:lnTo>
                    <a:pt x="975" y="3366"/>
                  </a:lnTo>
                  <a:lnTo>
                    <a:pt x="1028" y="3390"/>
                  </a:lnTo>
                  <a:lnTo>
                    <a:pt x="1154" y="3440"/>
                  </a:lnTo>
                  <a:lnTo>
                    <a:pt x="1280" y="3480"/>
                  </a:lnTo>
                  <a:lnTo>
                    <a:pt x="1404" y="3512"/>
                  </a:lnTo>
                  <a:lnTo>
                    <a:pt x="1526" y="3533"/>
                  </a:lnTo>
                  <a:lnTo>
                    <a:pt x="1647" y="3547"/>
                  </a:lnTo>
                  <a:lnTo>
                    <a:pt x="1765" y="3554"/>
                  </a:lnTo>
                  <a:lnTo>
                    <a:pt x="1881" y="3552"/>
                  </a:lnTo>
                  <a:lnTo>
                    <a:pt x="1995" y="3542"/>
                  </a:lnTo>
                  <a:lnTo>
                    <a:pt x="2107" y="3526"/>
                  </a:lnTo>
                  <a:lnTo>
                    <a:pt x="2217" y="3502"/>
                  </a:lnTo>
                  <a:lnTo>
                    <a:pt x="2323" y="3472"/>
                  </a:lnTo>
                  <a:lnTo>
                    <a:pt x="2426" y="3435"/>
                  </a:lnTo>
                  <a:lnTo>
                    <a:pt x="2526" y="3392"/>
                  </a:lnTo>
                  <a:lnTo>
                    <a:pt x="2623" y="3344"/>
                  </a:lnTo>
                  <a:lnTo>
                    <a:pt x="2715" y="3290"/>
                  </a:lnTo>
                  <a:lnTo>
                    <a:pt x="2804" y="3231"/>
                  </a:lnTo>
                  <a:lnTo>
                    <a:pt x="2890" y="3167"/>
                  </a:lnTo>
                  <a:lnTo>
                    <a:pt x="2970" y="3098"/>
                  </a:lnTo>
                  <a:lnTo>
                    <a:pt x="3047" y="3025"/>
                  </a:lnTo>
                  <a:lnTo>
                    <a:pt x="3119" y="2948"/>
                  </a:lnTo>
                  <a:lnTo>
                    <a:pt x="3187" y="2868"/>
                  </a:lnTo>
                  <a:lnTo>
                    <a:pt x="3249" y="2783"/>
                  </a:lnTo>
                  <a:lnTo>
                    <a:pt x="3307" y="2697"/>
                  </a:lnTo>
                  <a:lnTo>
                    <a:pt x="3359" y="2607"/>
                  </a:lnTo>
                  <a:lnTo>
                    <a:pt x="3405" y="2513"/>
                  </a:lnTo>
                  <a:lnTo>
                    <a:pt x="3447" y="2419"/>
                  </a:lnTo>
                  <a:lnTo>
                    <a:pt x="3482" y="2323"/>
                  </a:lnTo>
                  <a:lnTo>
                    <a:pt x="3512" y="2224"/>
                  </a:lnTo>
                  <a:lnTo>
                    <a:pt x="3535" y="2124"/>
                  </a:lnTo>
                  <a:lnTo>
                    <a:pt x="3551" y="2025"/>
                  </a:lnTo>
                  <a:lnTo>
                    <a:pt x="3562" y="1923"/>
                  </a:lnTo>
                  <a:lnTo>
                    <a:pt x="3565" y="1821"/>
                  </a:lnTo>
                  <a:lnTo>
                    <a:pt x="3560" y="1676"/>
                  </a:lnTo>
                  <a:lnTo>
                    <a:pt x="3544" y="1535"/>
                  </a:lnTo>
                  <a:lnTo>
                    <a:pt x="3518" y="1398"/>
                  </a:lnTo>
                  <a:lnTo>
                    <a:pt x="3484" y="1266"/>
                  </a:lnTo>
                  <a:lnTo>
                    <a:pt x="3439" y="1139"/>
                  </a:lnTo>
                  <a:lnTo>
                    <a:pt x="3386" y="1018"/>
                  </a:lnTo>
                  <a:lnTo>
                    <a:pt x="3325" y="902"/>
                  </a:lnTo>
                  <a:lnTo>
                    <a:pt x="3257" y="791"/>
                  </a:lnTo>
                  <a:lnTo>
                    <a:pt x="3182" y="687"/>
                  </a:lnTo>
                  <a:lnTo>
                    <a:pt x="3099" y="589"/>
                  </a:lnTo>
                  <a:lnTo>
                    <a:pt x="3010" y="498"/>
                  </a:lnTo>
                  <a:lnTo>
                    <a:pt x="2916" y="414"/>
                  </a:lnTo>
                  <a:lnTo>
                    <a:pt x="2816" y="336"/>
                  </a:lnTo>
                  <a:lnTo>
                    <a:pt x="2712" y="265"/>
                  </a:lnTo>
                  <a:lnTo>
                    <a:pt x="2602" y="204"/>
                  </a:lnTo>
                  <a:lnTo>
                    <a:pt x="2489" y="148"/>
                  </a:lnTo>
                  <a:lnTo>
                    <a:pt x="2373" y="102"/>
                  </a:lnTo>
                  <a:lnTo>
                    <a:pt x="2253" y="64"/>
                  </a:lnTo>
                  <a:lnTo>
                    <a:pt x="2131" y="34"/>
                  </a:lnTo>
                  <a:lnTo>
                    <a:pt x="2006" y="13"/>
                  </a:lnTo>
                  <a:lnTo>
                    <a:pt x="1880" y="2"/>
                  </a:lnTo>
                  <a:lnTo>
                    <a:pt x="1753" y="0"/>
                  </a:lnTo>
                  <a:lnTo>
                    <a:pt x="1624" y="7"/>
                  </a:lnTo>
                  <a:lnTo>
                    <a:pt x="1496" y="25"/>
                  </a:lnTo>
                  <a:lnTo>
                    <a:pt x="1368" y="52"/>
                  </a:lnTo>
                  <a:lnTo>
                    <a:pt x="1240" y="90"/>
                  </a:lnTo>
                  <a:lnTo>
                    <a:pt x="1113" y="139"/>
                  </a:lnTo>
                  <a:lnTo>
                    <a:pt x="988" y="198"/>
                  </a:lnTo>
                  <a:lnTo>
                    <a:pt x="864" y="269"/>
                  </a:lnTo>
                  <a:lnTo>
                    <a:pt x="744" y="351"/>
                  </a:lnTo>
                  <a:lnTo>
                    <a:pt x="625" y="445"/>
                  </a:lnTo>
                  <a:lnTo>
                    <a:pt x="510" y="550"/>
                  </a:lnTo>
                  <a:lnTo>
                    <a:pt x="485" y="576"/>
                  </a:lnTo>
                  <a:lnTo>
                    <a:pt x="460" y="604"/>
                  </a:lnTo>
                  <a:lnTo>
                    <a:pt x="435" y="631"/>
                  </a:lnTo>
                  <a:lnTo>
                    <a:pt x="410" y="658"/>
                  </a:lnTo>
                  <a:lnTo>
                    <a:pt x="386" y="687"/>
                  </a:lnTo>
                  <a:lnTo>
                    <a:pt x="363" y="716"/>
                  </a:lnTo>
                  <a:lnTo>
                    <a:pt x="339" y="747"/>
                  </a:lnTo>
                  <a:lnTo>
                    <a:pt x="316" y="778"/>
                  </a:lnTo>
                  <a:lnTo>
                    <a:pt x="294" y="809"/>
                  </a:lnTo>
                  <a:lnTo>
                    <a:pt x="271" y="843"/>
                  </a:lnTo>
                  <a:lnTo>
                    <a:pt x="251" y="876"/>
                  </a:lnTo>
                  <a:lnTo>
                    <a:pt x="230" y="910"/>
                  </a:lnTo>
                  <a:lnTo>
                    <a:pt x="210" y="945"/>
                  </a:lnTo>
                  <a:lnTo>
                    <a:pt x="190" y="981"/>
                  </a:lnTo>
                  <a:lnTo>
                    <a:pt x="172" y="1018"/>
                  </a:lnTo>
                  <a:lnTo>
                    <a:pt x="153" y="1054"/>
                  </a:lnTo>
                  <a:lnTo>
                    <a:pt x="137" y="1092"/>
                  </a:lnTo>
                  <a:lnTo>
                    <a:pt x="121" y="1130"/>
                  </a:lnTo>
                  <a:lnTo>
                    <a:pt x="104" y="1170"/>
                  </a:lnTo>
                  <a:lnTo>
                    <a:pt x="90" y="1211"/>
                  </a:lnTo>
                  <a:lnTo>
                    <a:pt x="76" y="1251"/>
                  </a:lnTo>
                  <a:lnTo>
                    <a:pt x="64" y="1293"/>
                  </a:lnTo>
                  <a:lnTo>
                    <a:pt x="52" y="1335"/>
                  </a:lnTo>
                  <a:lnTo>
                    <a:pt x="41" y="1377"/>
                  </a:lnTo>
                  <a:lnTo>
                    <a:pt x="33" y="1422"/>
                  </a:lnTo>
                  <a:lnTo>
                    <a:pt x="24" y="1466"/>
                  </a:lnTo>
                  <a:lnTo>
                    <a:pt x="17" y="1511"/>
                  </a:lnTo>
                  <a:lnTo>
                    <a:pt x="11" y="1556"/>
                  </a:lnTo>
                  <a:lnTo>
                    <a:pt x="7" y="1603"/>
                  </a:lnTo>
                  <a:lnTo>
                    <a:pt x="3" y="1651"/>
                  </a:lnTo>
                  <a:lnTo>
                    <a:pt x="1" y="1698"/>
                  </a:lnTo>
                  <a:lnTo>
                    <a:pt x="0" y="17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D370F716-4F27-4388-97D3-2614043D1B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5375" y="5856288"/>
              <a:ext cx="630238" cy="622300"/>
            </a:xfrm>
            <a:custGeom>
              <a:avLst/>
              <a:gdLst>
                <a:gd name="T0" fmla="*/ 636 w 3568"/>
                <a:gd name="T1" fmla="*/ 1647 h 3526"/>
                <a:gd name="T2" fmla="*/ 649 w 3568"/>
                <a:gd name="T3" fmla="*/ 1524 h 3526"/>
                <a:gd name="T4" fmla="*/ 672 w 3568"/>
                <a:gd name="T5" fmla="*/ 1410 h 3526"/>
                <a:gd name="T6" fmla="*/ 708 w 3568"/>
                <a:gd name="T7" fmla="*/ 1304 h 3526"/>
                <a:gd name="T8" fmla="*/ 759 w 3568"/>
                <a:gd name="T9" fmla="*/ 1202 h 3526"/>
                <a:gd name="T10" fmla="*/ 826 w 3568"/>
                <a:gd name="T11" fmla="*/ 1100 h 3526"/>
                <a:gd name="T12" fmla="*/ 913 w 3568"/>
                <a:gd name="T13" fmla="*/ 997 h 3526"/>
                <a:gd name="T14" fmla="*/ 1099 w 3568"/>
                <a:gd name="T15" fmla="*/ 825 h 3526"/>
                <a:gd name="T16" fmla="*/ 1535 w 3568"/>
                <a:gd name="T17" fmla="*/ 606 h 3526"/>
                <a:gd name="T18" fmla="*/ 1968 w 3568"/>
                <a:gd name="T19" fmla="*/ 595 h 3526"/>
                <a:gd name="T20" fmla="*/ 2362 w 3568"/>
                <a:gd name="T21" fmla="*/ 753 h 3526"/>
                <a:gd name="T22" fmla="*/ 2681 w 3568"/>
                <a:gd name="T23" fmla="*/ 1041 h 3526"/>
                <a:gd name="T24" fmla="*/ 2888 w 3568"/>
                <a:gd name="T25" fmla="*/ 1418 h 3526"/>
                <a:gd name="T26" fmla="*/ 2948 w 3568"/>
                <a:gd name="T27" fmla="*/ 1843 h 3526"/>
                <a:gd name="T28" fmla="*/ 2825 w 3568"/>
                <a:gd name="T29" fmla="*/ 2278 h 3526"/>
                <a:gd name="T30" fmla="*/ 2520 w 3568"/>
                <a:gd name="T31" fmla="*/ 2652 h 3526"/>
                <a:gd name="T32" fmla="*/ 2213 w 3568"/>
                <a:gd name="T33" fmla="*/ 2839 h 3526"/>
                <a:gd name="T34" fmla="*/ 1888 w 3568"/>
                <a:gd name="T35" fmla="*/ 2919 h 3526"/>
                <a:gd name="T36" fmla="*/ 1563 w 3568"/>
                <a:gd name="T37" fmla="*/ 2901 h 3526"/>
                <a:gd name="T38" fmla="*/ 1258 w 3568"/>
                <a:gd name="T39" fmla="*/ 2797 h 3526"/>
                <a:gd name="T40" fmla="*/ 993 w 3568"/>
                <a:gd name="T41" fmla="*/ 2617 h 3526"/>
                <a:gd name="T42" fmla="*/ 788 w 3568"/>
                <a:gd name="T43" fmla="*/ 2371 h 3526"/>
                <a:gd name="T44" fmla="*/ 662 w 3568"/>
                <a:gd name="T45" fmla="*/ 2071 h 3526"/>
                <a:gd name="T46" fmla="*/ 0 w 3568"/>
                <a:gd name="T47" fmla="*/ 1743 h 3526"/>
                <a:gd name="T48" fmla="*/ 13 w 3568"/>
                <a:gd name="T49" fmla="*/ 1978 h 3526"/>
                <a:gd name="T50" fmla="*/ 51 w 3568"/>
                <a:gd name="T51" fmla="*/ 2193 h 3526"/>
                <a:gd name="T52" fmla="*/ 112 w 3568"/>
                <a:gd name="T53" fmla="*/ 2389 h 3526"/>
                <a:gd name="T54" fmla="*/ 193 w 3568"/>
                <a:gd name="T55" fmla="*/ 2569 h 3526"/>
                <a:gd name="T56" fmla="*/ 295 w 3568"/>
                <a:gd name="T57" fmla="*/ 2735 h 3526"/>
                <a:gd name="T58" fmla="*/ 414 w 3568"/>
                <a:gd name="T59" fmla="*/ 2888 h 3526"/>
                <a:gd name="T60" fmla="*/ 548 w 3568"/>
                <a:gd name="T61" fmla="*/ 3029 h 3526"/>
                <a:gd name="T62" fmla="*/ 697 w 3568"/>
                <a:gd name="T63" fmla="*/ 3161 h 3526"/>
                <a:gd name="T64" fmla="*/ 981 w 3568"/>
                <a:gd name="T65" fmla="*/ 3345 h 3526"/>
                <a:gd name="T66" fmla="*/ 1296 w 3568"/>
                <a:gd name="T67" fmla="*/ 3464 h 3526"/>
                <a:gd name="T68" fmla="*/ 1628 w 3568"/>
                <a:gd name="T69" fmla="*/ 3521 h 3526"/>
                <a:gd name="T70" fmla="*/ 1965 w 3568"/>
                <a:gd name="T71" fmla="*/ 3516 h 3526"/>
                <a:gd name="T72" fmla="*/ 2292 w 3568"/>
                <a:gd name="T73" fmla="*/ 3457 h 3526"/>
                <a:gd name="T74" fmla="*/ 2597 w 3568"/>
                <a:gd name="T75" fmla="*/ 3344 h 3526"/>
                <a:gd name="T76" fmla="*/ 2867 w 3568"/>
                <a:gd name="T77" fmla="*/ 3181 h 3526"/>
                <a:gd name="T78" fmla="*/ 3088 w 3568"/>
                <a:gd name="T79" fmla="*/ 2972 h 3526"/>
                <a:gd name="T80" fmla="*/ 3422 w 3568"/>
                <a:gd name="T81" fmla="*/ 2442 h 3526"/>
                <a:gd name="T82" fmla="*/ 3561 w 3568"/>
                <a:gd name="T83" fmla="*/ 1917 h 3526"/>
                <a:gd name="T84" fmla="*/ 3533 w 3568"/>
                <a:gd name="T85" fmla="*/ 1417 h 3526"/>
                <a:gd name="T86" fmla="*/ 3372 w 3568"/>
                <a:gd name="T87" fmla="*/ 960 h 3526"/>
                <a:gd name="T88" fmla="*/ 3105 w 3568"/>
                <a:gd name="T89" fmla="*/ 571 h 3526"/>
                <a:gd name="T90" fmla="*/ 2762 w 3568"/>
                <a:gd name="T91" fmla="*/ 268 h 3526"/>
                <a:gd name="T92" fmla="*/ 2373 w 3568"/>
                <a:gd name="T93" fmla="*/ 70 h 3526"/>
                <a:gd name="T94" fmla="*/ 1968 w 3568"/>
                <a:gd name="T95" fmla="*/ 0 h 3526"/>
                <a:gd name="T96" fmla="*/ 1652 w 3568"/>
                <a:gd name="T97" fmla="*/ 9 h 3526"/>
                <a:gd name="T98" fmla="*/ 1452 w 3568"/>
                <a:gd name="T99" fmla="*/ 27 h 3526"/>
                <a:gd name="T100" fmla="*/ 1260 w 3568"/>
                <a:gd name="T101" fmla="*/ 63 h 3526"/>
                <a:gd name="T102" fmla="*/ 1075 w 3568"/>
                <a:gd name="T103" fmla="*/ 119 h 3526"/>
                <a:gd name="T104" fmla="*/ 896 w 3568"/>
                <a:gd name="T105" fmla="*/ 202 h 3526"/>
                <a:gd name="T106" fmla="*/ 723 w 3568"/>
                <a:gd name="T107" fmla="*/ 313 h 3526"/>
                <a:gd name="T108" fmla="*/ 556 w 3568"/>
                <a:gd name="T109" fmla="*/ 460 h 3526"/>
                <a:gd name="T110" fmla="*/ 428 w 3568"/>
                <a:gd name="T111" fmla="*/ 601 h 3526"/>
                <a:gd name="T112" fmla="*/ 340 w 3568"/>
                <a:gd name="T113" fmla="*/ 716 h 3526"/>
                <a:gd name="T114" fmla="*/ 256 w 3568"/>
                <a:gd name="T115" fmla="*/ 845 h 3526"/>
                <a:gd name="T116" fmla="*/ 180 w 3568"/>
                <a:gd name="T117" fmla="*/ 985 h 3526"/>
                <a:gd name="T118" fmla="*/ 114 w 3568"/>
                <a:gd name="T119" fmla="*/ 1136 h 3526"/>
                <a:gd name="T120" fmla="*/ 61 w 3568"/>
                <a:gd name="T121" fmla="*/ 1297 h 3526"/>
                <a:gd name="T122" fmla="*/ 23 w 3568"/>
                <a:gd name="T123" fmla="*/ 1469 h 3526"/>
                <a:gd name="T124" fmla="*/ 3 w 3568"/>
                <a:gd name="T125" fmla="*/ 1649 h 3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68" h="3526">
                  <a:moveTo>
                    <a:pt x="632" y="1817"/>
                  </a:moveTo>
                  <a:lnTo>
                    <a:pt x="632" y="1746"/>
                  </a:lnTo>
                  <a:lnTo>
                    <a:pt x="634" y="1678"/>
                  </a:lnTo>
                  <a:lnTo>
                    <a:pt x="636" y="1647"/>
                  </a:lnTo>
                  <a:lnTo>
                    <a:pt x="638" y="1614"/>
                  </a:lnTo>
                  <a:lnTo>
                    <a:pt x="642" y="1584"/>
                  </a:lnTo>
                  <a:lnTo>
                    <a:pt x="645" y="1553"/>
                  </a:lnTo>
                  <a:lnTo>
                    <a:pt x="649" y="1524"/>
                  </a:lnTo>
                  <a:lnTo>
                    <a:pt x="654" y="1495"/>
                  </a:lnTo>
                  <a:lnTo>
                    <a:pt x="659" y="1465"/>
                  </a:lnTo>
                  <a:lnTo>
                    <a:pt x="665" y="1438"/>
                  </a:lnTo>
                  <a:lnTo>
                    <a:pt x="672" y="1410"/>
                  </a:lnTo>
                  <a:lnTo>
                    <a:pt x="680" y="1383"/>
                  </a:lnTo>
                  <a:lnTo>
                    <a:pt x="688" y="1357"/>
                  </a:lnTo>
                  <a:lnTo>
                    <a:pt x="698" y="1330"/>
                  </a:lnTo>
                  <a:lnTo>
                    <a:pt x="708" y="1304"/>
                  </a:lnTo>
                  <a:lnTo>
                    <a:pt x="719" y="1278"/>
                  </a:lnTo>
                  <a:lnTo>
                    <a:pt x="731" y="1253"/>
                  </a:lnTo>
                  <a:lnTo>
                    <a:pt x="745" y="1227"/>
                  </a:lnTo>
                  <a:lnTo>
                    <a:pt x="759" y="1202"/>
                  </a:lnTo>
                  <a:lnTo>
                    <a:pt x="774" y="1176"/>
                  </a:lnTo>
                  <a:lnTo>
                    <a:pt x="790" y="1151"/>
                  </a:lnTo>
                  <a:lnTo>
                    <a:pt x="808" y="1126"/>
                  </a:lnTo>
                  <a:lnTo>
                    <a:pt x="826" y="1100"/>
                  </a:lnTo>
                  <a:lnTo>
                    <a:pt x="846" y="1075"/>
                  </a:lnTo>
                  <a:lnTo>
                    <a:pt x="867" y="1049"/>
                  </a:lnTo>
                  <a:lnTo>
                    <a:pt x="889" y="1023"/>
                  </a:lnTo>
                  <a:lnTo>
                    <a:pt x="913" y="997"/>
                  </a:lnTo>
                  <a:lnTo>
                    <a:pt x="938" y="970"/>
                  </a:lnTo>
                  <a:lnTo>
                    <a:pt x="965" y="944"/>
                  </a:lnTo>
                  <a:lnTo>
                    <a:pt x="992" y="917"/>
                  </a:lnTo>
                  <a:lnTo>
                    <a:pt x="1099" y="825"/>
                  </a:lnTo>
                  <a:lnTo>
                    <a:pt x="1206" y="748"/>
                  </a:lnTo>
                  <a:lnTo>
                    <a:pt x="1315" y="687"/>
                  </a:lnTo>
                  <a:lnTo>
                    <a:pt x="1425" y="640"/>
                  </a:lnTo>
                  <a:lnTo>
                    <a:pt x="1535" y="606"/>
                  </a:lnTo>
                  <a:lnTo>
                    <a:pt x="1646" y="585"/>
                  </a:lnTo>
                  <a:lnTo>
                    <a:pt x="1754" y="577"/>
                  </a:lnTo>
                  <a:lnTo>
                    <a:pt x="1863" y="581"/>
                  </a:lnTo>
                  <a:lnTo>
                    <a:pt x="1968" y="595"/>
                  </a:lnTo>
                  <a:lnTo>
                    <a:pt x="2072" y="621"/>
                  </a:lnTo>
                  <a:lnTo>
                    <a:pt x="2172" y="656"/>
                  </a:lnTo>
                  <a:lnTo>
                    <a:pt x="2270" y="700"/>
                  </a:lnTo>
                  <a:lnTo>
                    <a:pt x="2362" y="753"/>
                  </a:lnTo>
                  <a:lnTo>
                    <a:pt x="2450" y="815"/>
                  </a:lnTo>
                  <a:lnTo>
                    <a:pt x="2534" y="883"/>
                  </a:lnTo>
                  <a:lnTo>
                    <a:pt x="2611" y="959"/>
                  </a:lnTo>
                  <a:lnTo>
                    <a:pt x="2681" y="1041"/>
                  </a:lnTo>
                  <a:lnTo>
                    <a:pt x="2744" y="1128"/>
                  </a:lnTo>
                  <a:lnTo>
                    <a:pt x="2801" y="1221"/>
                  </a:lnTo>
                  <a:lnTo>
                    <a:pt x="2848" y="1317"/>
                  </a:lnTo>
                  <a:lnTo>
                    <a:pt x="2888" y="1418"/>
                  </a:lnTo>
                  <a:lnTo>
                    <a:pt x="2918" y="1521"/>
                  </a:lnTo>
                  <a:lnTo>
                    <a:pt x="2939" y="1627"/>
                  </a:lnTo>
                  <a:lnTo>
                    <a:pt x="2948" y="1734"/>
                  </a:lnTo>
                  <a:lnTo>
                    <a:pt x="2948" y="1843"/>
                  </a:lnTo>
                  <a:lnTo>
                    <a:pt x="2936" y="1952"/>
                  </a:lnTo>
                  <a:lnTo>
                    <a:pt x="2911" y="2062"/>
                  </a:lnTo>
                  <a:lnTo>
                    <a:pt x="2875" y="2171"/>
                  </a:lnTo>
                  <a:lnTo>
                    <a:pt x="2825" y="2278"/>
                  </a:lnTo>
                  <a:lnTo>
                    <a:pt x="2762" y="2385"/>
                  </a:lnTo>
                  <a:lnTo>
                    <a:pt x="2683" y="2488"/>
                  </a:lnTo>
                  <a:lnTo>
                    <a:pt x="2591" y="2587"/>
                  </a:lnTo>
                  <a:lnTo>
                    <a:pt x="2520" y="2652"/>
                  </a:lnTo>
                  <a:lnTo>
                    <a:pt x="2447" y="2710"/>
                  </a:lnTo>
                  <a:lnTo>
                    <a:pt x="2371" y="2760"/>
                  </a:lnTo>
                  <a:lnTo>
                    <a:pt x="2293" y="2803"/>
                  </a:lnTo>
                  <a:lnTo>
                    <a:pt x="2213" y="2839"/>
                  </a:lnTo>
                  <a:lnTo>
                    <a:pt x="2133" y="2869"/>
                  </a:lnTo>
                  <a:lnTo>
                    <a:pt x="2052" y="2892"/>
                  </a:lnTo>
                  <a:lnTo>
                    <a:pt x="1970" y="2908"/>
                  </a:lnTo>
                  <a:lnTo>
                    <a:pt x="1888" y="2919"/>
                  </a:lnTo>
                  <a:lnTo>
                    <a:pt x="1806" y="2922"/>
                  </a:lnTo>
                  <a:lnTo>
                    <a:pt x="1724" y="2921"/>
                  </a:lnTo>
                  <a:lnTo>
                    <a:pt x="1644" y="2914"/>
                  </a:lnTo>
                  <a:lnTo>
                    <a:pt x="1563" y="2901"/>
                  </a:lnTo>
                  <a:lnTo>
                    <a:pt x="1484" y="2882"/>
                  </a:lnTo>
                  <a:lnTo>
                    <a:pt x="1407" y="2858"/>
                  </a:lnTo>
                  <a:lnTo>
                    <a:pt x="1332" y="2830"/>
                  </a:lnTo>
                  <a:lnTo>
                    <a:pt x="1258" y="2797"/>
                  </a:lnTo>
                  <a:lnTo>
                    <a:pt x="1188" y="2758"/>
                  </a:lnTo>
                  <a:lnTo>
                    <a:pt x="1119" y="2715"/>
                  </a:lnTo>
                  <a:lnTo>
                    <a:pt x="1055" y="2668"/>
                  </a:lnTo>
                  <a:lnTo>
                    <a:pt x="993" y="2617"/>
                  </a:lnTo>
                  <a:lnTo>
                    <a:pt x="936" y="2560"/>
                  </a:lnTo>
                  <a:lnTo>
                    <a:pt x="883" y="2501"/>
                  </a:lnTo>
                  <a:lnTo>
                    <a:pt x="833" y="2438"/>
                  </a:lnTo>
                  <a:lnTo>
                    <a:pt x="788" y="2371"/>
                  </a:lnTo>
                  <a:lnTo>
                    <a:pt x="748" y="2300"/>
                  </a:lnTo>
                  <a:lnTo>
                    <a:pt x="714" y="2227"/>
                  </a:lnTo>
                  <a:lnTo>
                    <a:pt x="685" y="2151"/>
                  </a:lnTo>
                  <a:lnTo>
                    <a:pt x="662" y="2071"/>
                  </a:lnTo>
                  <a:lnTo>
                    <a:pt x="645" y="1989"/>
                  </a:lnTo>
                  <a:lnTo>
                    <a:pt x="635" y="1904"/>
                  </a:lnTo>
                  <a:lnTo>
                    <a:pt x="632" y="1817"/>
                  </a:lnTo>
                  <a:close/>
                  <a:moveTo>
                    <a:pt x="0" y="1743"/>
                  </a:moveTo>
                  <a:lnTo>
                    <a:pt x="1" y="1804"/>
                  </a:lnTo>
                  <a:lnTo>
                    <a:pt x="3" y="1863"/>
                  </a:lnTo>
                  <a:lnTo>
                    <a:pt x="8" y="1921"/>
                  </a:lnTo>
                  <a:lnTo>
                    <a:pt x="13" y="1978"/>
                  </a:lnTo>
                  <a:lnTo>
                    <a:pt x="21" y="2033"/>
                  </a:lnTo>
                  <a:lnTo>
                    <a:pt x="29" y="2088"/>
                  </a:lnTo>
                  <a:lnTo>
                    <a:pt x="39" y="2141"/>
                  </a:lnTo>
                  <a:lnTo>
                    <a:pt x="51" y="2193"/>
                  </a:lnTo>
                  <a:lnTo>
                    <a:pt x="64" y="2244"/>
                  </a:lnTo>
                  <a:lnTo>
                    <a:pt x="78" y="2294"/>
                  </a:lnTo>
                  <a:lnTo>
                    <a:pt x="94" y="2341"/>
                  </a:lnTo>
                  <a:lnTo>
                    <a:pt x="112" y="2389"/>
                  </a:lnTo>
                  <a:lnTo>
                    <a:pt x="130" y="2436"/>
                  </a:lnTo>
                  <a:lnTo>
                    <a:pt x="150" y="2481"/>
                  </a:lnTo>
                  <a:lnTo>
                    <a:pt x="172" y="2526"/>
                  </a:lnTo>
                  <a:lnTo>
                    <a:pt x="193" y="2569"/>
                  </a:lnTo>
                  <a:lnTo>
                    <a:pt x="217" y="2612"/>
                  </a:lnTo>
                  <a:lnTo>
                    <a:pt x="242" y="2653"/>
                  </a:lnTo>
                  <a:lnTo>
                    <a:pt x="268" y="2695"/>
                  </a:lnTo>
                  <a:lnTo>
                    <a:pt x="295" y="2735"/>
                  </a:lnTo>
                  <a:lnTo>
                    <a:pt x="322" y="2774"/>
                  </a:lnTo>
                  <a:lnTo>
                    <a:pt x="352" y="2813"/>
                  </a:lnTo>
                  <a:lnTo>
                    <a:pt x="382" y="2851"/>
                  </a:lnTo>
                  <a:lnTo>
                    <a:pt x="414" y="2888"/>
                  </a:lnTo>
                  <a:lnTo>
                    <a:pt x="446" y="2923"/>
                  </a:lnTo>
                  <a:lnTo>
                    <a:pt x="479" y="2959"/>
                  </a:lnTo>
                  <a:lnTo>
                    <a:pt x="513" y="2994"/>
                  </a:lnTo>
                  <a:lnTo>
                    <a:pt x="548" y="3029"/>
                  </a:lnTo>
                  <a:lnTo>
                    <a:pt x="584" y="3062"/>
                  </a:lnTo>
                  <a:lnTo>
                    <a:pt x="621" y="3096"/>
                  </a:lnTo>
                  <a:lnTo>
                    <a:pt x="659" y="3128"/>
                  </a:lnTo>
                  <a:lnTo>
                    <a:pt x="697" y="3161"/>
                  </a:lnTo>
                  <a:lnTo>
                    <a:pt x="764" y="3213"/>
                  </a:lnTo>
                  <a:lnTo>
                    <a:pt x="835" y="3262"/>
                  </a:lnTo>
                  <a:lnTo>
                    <a:pt x="908" y="3306"/>
                  </a:lnTo>
                  <a:lnTo>
                    <a:pt x="981" y="3345"/>
                  </a:lnTo>
                  <a:lnTo>
                    <a:pt x="1058" y="3381"/>
                  </a:lnTo>
                  <a:lnTo>
                    <a:pt x="1137" y="3413"/>
                  </a:lnTo>
                  <a:lnTo>
                    <a:pt x="1216" y="3440"/>
                  </a:lnTo>
                  <a:lnTo>
                    <a:pt x="1296" y="3464"/>
                  </a:lnTo>
                  <a:lnTo>
                    <a:pt x="1379" y="3484"/>
                  </a:lnTo>
                  <a:lnTo>
                    <a:pt x="1461" y="3500"/>
                  </a:lnTo>
                  <a:lnTo>
                    <a:pt x="1545" y="3512"/>
                  </a:lnTo>
                  <a:lnTo>
                    <a:pt x="1628" y="3521"/>
                  </a:lnTo>
                  <a:lnTo>
                    <a:pt x="1713" y="3525"/>
                  </a:lnTo>
                  <a:lnTo>
                    <a:pt x="1797" y="3526"/>
                  </a:lnTo>
                  <a:lnTo>
                    <a:pt x="1881" y="3523"/>
                  </a:lnTo>
                  <a:lnTo>
                    <a:pt x="1965" y="3516"/>
                  </a:lnTo>
                  <a:lnTo>
                    <a:pt x="2047" y="3507"/>
                  </a:lnTo>
                  <a:lnTo>
                    <a:pt x="2130" y="3494"/>
                  </a:lnTo>
                  <a:lnTo>
                    <a:pt x="2211" y="3477"/>
                  </a:lnTo>
                  <a:lnTo>
                    <a:pt x="2292" y="3457"/>
                  </a:lnTo>
                  <a:lnTo>
                    <a:pt x="2371" y="3433"/>
                  </a:lnTo>
                  <a:lnTo>
                    <a:pt x="2448" y="3407"/>
                  </a:lnTo>
                  <a:lnTo>
                    <a:pt x="2523" y="3376"/>
                  </a:lnTo>
                  <a:lnTo>
                    <a:pt x="2597" y="3344"/>
                  </a:lnTo>
                  <a:lnTo>
                    <a:pt x="2668" y="3308"/>
                  </a:lnTo>
                  <a:lnTo>
                    <a:pt x="2737" y="3269"/>
                  </a:lnTo>
                  <a:lnTo>
                    <a:pt x="2803" y="3227"/>
                  </a:lnTo>
                  <a:lnTo>
                    <a:pt x="2867" y="3181"/>
                  </a:lnTo>
                  <a:lnTo>
                    <a:pt x="2927" y="3134"/>
                  </a:lnTo>
                  <a:lnTo>
                    <a:pt x="2984" y="3083"/>
                  </a:lnTo>
                  <a:lnTo>
                    <a:pt x="3038" y="3029"/>
                  </a:lnTo>
                  <a:lnTo>
                    <a:pt x="3088" y="2972"/>
                  </a:lnTo>
                  <a:lnTo>
                    <a:pt x="3192" y="2841"/>
                  </a:lnTo>
                  <a:lnTo>
                    <a:pt x="3282" y="2709"/>
                  </a:lnTo>
                  <a:lnTo>
                    <a:pt x="3358" y="2575"/>
                  </a:lnTo>
                  <a:lnTo>
                    <a:pt x="3422" y="2442"/>
                  </a:lnTo>
                  <a:lnTo>
                    <a:pt x="3474" y="2310"/>
                  </a:lnTo>
                  <a:lnTo>
                    <a:pt x="3514" y="2178"/>
                  </a:lnTo>
                  <a:lnTo>
                    <a:pt x="3542" y="2046"/>
                  </a:lnTo>
                  <a:lnTo>
                    <a:pt x="3561" y="1917"/>
                  </a:lnTo>
                  <a:lnTo>
                    <a:pt x="3568" y="1788"/>
                  </a:lnTo>
                  <a:lnTo>
                    <a:pt x="3566" y="1663"/>
                  </a:lnTo>
                  <a:lnTo>
                    <a:pt x="3554" y="1538"/>
                  </a:lnTo>
                  <a:lnTo>
                    <a:pt x="3533" y="1417"/>
                  </a:lnTo>
                  <a:lnTo>
                    <a:pt x="3505" y="1297"/>
                  </a:lnTo>
                  <a:lnTo>
                    <a:pt x="3468" y="1181"/>
                  </a:lnTo>
                  <a:lnTo>
                    <a:pt x="3424" y="1070"/>
                  </a:lnTo>
                  <a:lnTo>
                    <a:pt x="3372" y="960"/>
                  </a:lnTo>
                  <a:lnTo>
                    <a:pt x="3314" y="856"/>
                  </a:lnTo>
                  <a:lnTo>
                    <a:pt x="3250" y="757"/>
                  </a:lnTo>
                  <a:lnTo>
                    <a:pt x="3180" y="661"/>
                  </a:lnTo>
                  <a:lnTo>
                    <a:pt x="3105" y="571"/>
                  </a:lnTo>
                  <a:lnTo>
                    <a:pt x="3025" y="487"/>
                  </a:lnTo>
                  <a:lnTo>
                    <a:pt x="2941" y="408"/>
                  </a:lnTo>
                  <a:lnTo>
                    <a:pt x="2853" y="334"/>
                  </a:lnTo>
                  <a:lnTo>
                    <a:pt x="2762" y="268"/>
                  </a:lnTo>
                  <a:lnTo>
                    <a:pt x="2668" y="207"/>
                  </a:lnTo>
                  <a:lnTo>
                    <a:pt x="2572" y="154"/>
                  </a:lnTo>
                  <a:lnTo>
                    <a:pt x="2473" y="108"/>
                  </a:lnTo>
                  <a:lnTo>
                    <a:pt x="2373" y="70"/>
                  </a:lnTo>
                  <a:lnTo>
                    <a:pt x="2272" y="40"/>
                  </a:lnTo>
                  <a:lnTo>
                    <a:pt x="2171" y="18"/>
                  </a:lnTo>
                  <a:lnTo>
                    <a:pt x="2069" y="4"/>
                  </a:lnTo>
                  <a:lnTo>
                    <a:pt x="1968" y="0"/>
                  </a:lnTo>
                  <a:lnTo>
                    <a:pt x="1861" y="1"/>
                  </a:lnTo>
                  <a:lnTo>
                    <a:pt x="1755" y="3"/>
                  </a:lnTo>
                  <a:lnTo>
                    <a:pt x="1703" y="5"/>
                  </a:lnTo>
                  <a:lnTo>
                    <a:pt x="1652" y="9"/>
                  </a:lnTo>
                  <a:lnTo>
                    <a:pt x="1601" y="12"/>
                  </a:lnTo>
                  <a:lnTo>
                    <a:pt x="1551" y="16"/>
                  </a:lnTo>
                  <a:lnTo>
                    <a:pt x="1501" y="22"/>
                  </a:lnTo>
                  <a:lnTo>
                    <a:pt x="1452" y="27"/>
                  </a:lnTo>
                  <a:lnTo>
                    <a:pt x="1404" y="35"/>
                  </a:lnTo>
                  <a:lnTo>
                    <a:pt x="1355" y="43"/>
                  </a:lnTo>
                  <a:lnTo>
                    <a:pt x="1307" y="52"/>
                  </a:lnTo>
                  <a:lnTo>
                    <a:pt x="1260" y="63"/>
                  </a:lnTo>
                  <a:lnTo>
                    <a:pt x="1213" y="75"/>
                  </a:lnTo>
                  <a:lnTo>
                    <a:pt x="1167" y="88"/>
                  </a:lnTo>
                  <a:lnTo>
                    <a:pt x="1120" y="103"/>
                  </a:lnTo>
                  <a:lnTo>
                    <a:pt x="1075" y="119"/>
                  </a:lnTo>
                  <a:lnTo>
                    <a:pt x="1029" y="138"/>
                  </a:lnTo>
                  <a:lnTo>
                    <a:pt x="985" y="157"/>
                  </a:lnTo>
                  <a:lnTo>
                    <a:pt x="940" y="178"/>
                  </a:lnTo>
                  <a:lnTo>
                    <a:pt x="896" y="202"/>
                  </a:lnTo>
                  <a:lnTo>
                    <a:pt x="852" y="227"/>
                  </a:lnTo>
                  <a:lnTo>
                    <a:pt x="809" y="254"/>
                  </a:lnTo>
                  <a:lnTo>
                    <a:pt x="766" y="282"/>
                  </a:lnTo>
                  <a:lnTo>
                    <a:pt x="723" y="313"/>
                  </a:lnTo>
                  <a:lnTo>
                    <a:pt x="681" y="346"/>
                  </a:lnTo>
                  <a:lnTo>
                    <a:pt x="638" y="382"/>
                  </a:lnTo>
                  <a:lnTo>
                    <a:pt x="597" y="419"/>
                  </a:lnTo>
                  <a:lnTo>
                    <a:pt x="556" y="460"/>
                  </a:lnTo>
                  <a:lnTo>
                    <a:pt x="515" y="502"/>
                  </a:lnTo>
                  <a:lnTo>
                    <a:pt x="473" y="547"/>
                  </a:lnTo>
                  <a:lnTo>
                    <a:pt x="451" y="573"/>
                  </a:lnTo>
                  <a:lnTo>
                    <a:pt x="428" y="601"/>
                  </a:lnTo>
                  <a:lnTo>
                    <a:pt x="406" y="629"/>
                  </a:lnTo>
                  <a:lnTo>
                    <a:pt x="383" y="657"/>
                  </a:lnTo>
                  <a:lnTo>
                    <a:pt x="362" y="686"/>
                  </a:lnTo>
                  <a:lnTo>
                    <a:pt x="340" y="716"/>
                  </a:lnTo>
                  <a:lnTo>
                    <a:pt x="318" y="748"/>
                  </a:lnTo>
                  <a:lnTo>
                    <a:pt x="296" y="779"/>
                  </a:lnTo>
                  <a:lnTo>
                    <a:pt x="276" y="812"/>
                  </a:lnTo>
                  <a:lnTo>
                    <a:pt x="256" y="845"/>
                  </a:lnTo>
                  <a:lnTo>
                    <a:pt x="236" y="879"/>
                  </a:lnTo>
                  <a:lnTo>
                    <a:pt x="217" y="914"/>
                  </a:lnTo>
                  <a:lnTo>
                    <a:pt x="198" y="948"/>
                  </a:lnTo>
                  <a:lnTo>
                    <a:pt x="180" y="985"/>
                  </a:lnTo>
                  <a:lnTo>
                    <a:pt x="163" y="1022"/>
                  </a:lnTo>
                  <a:lnTo>
                    <a:pt x="146" y="1059"/>
                  </a:lnTo>
                  <a:lnTo>
                    <a:pt x="129" y="1097"/>
                  </a:lnTo>
                  <a:lnTo>
                    <a:pt x="114" y="1136"/>
                  </a:lnTo>
                  <a:lnTo>
                    <a:pt x="100" y="1175"/>
                  </a:lnTo>
                  <a:lnTo>
                    <a:pt x="86" y="1215"/>
                  </a:lnTo>
                  <a:lnTo>
                    <a:pt x="73" y="1255"/>
                  </a:lnTo>
                  <a:lnTo>
                    <a:pt x="61" y="1297"/>
                  </a:lnTo>
                  <a:lnTo>
                    <a:pt x="50" y="1339"/>
                  </a:lnTo>
                  <a:lnTo>
                    <a:pt x="40" y="1381"/>
                  </a:lnTo>
                  <a:lnTo>
                    <a:pt x="30" y="1424"/>
                  </a:lnTo>
                  <a:lnTo>
                    <a:pt x="23" y="1469"/>
                  </a:lnTo>
                  <a:lnTo>
                    <a:pt x="16" y="1512"/>
                  </a:lnTo>
                  <a:lnTo>
                    <a:pt x="11" y="1558"/>
                  </a:lnTo>
                  <a:lnTo>
                    <a:pt x="7" y="1603"/>
                  </a:lnTo>
                  <a:lnTo>
                    <a:pt x="3" y="1649"/>
                  </a:lnTo>
                  <a:lnTo>
                    <a:pt x="1" y="1695"/>
                  </a:lnTo>
                  <a:lnTo>
                    <a:pt x="0" y="17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2D2E084F-76F0-49B1-89DC-E715EDDE4B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1275" y="7680325"/>
              <a:ext cx="628650" cy="622300"/>
            </a:xfrm>
            <a:custGeom>
              <a:avLst/>
              <a:gdLst>
                <a:gd name="T0" fmla="*/ 1663 w 3563"/>
                <a:gd name="T1" fmla="*/ 2927 h 3529"/>
                <a:gd name="T2" fmla="*/ 1521 w 3563"/>
                <a:gd name="T3" fmla="*/ 2904 h 3529"/>
                <a:gd name="T4" fmla="*/ 1388 w 3563"/>
                <a:gd name="T5" fmla="*/ 2864 h 3529"/>
                <a:gd name="T6" fmla="*/ 1267 w 3563"/>
                <a:gd name="T7" fmla="*/ 2811 h 3529"/>
                <a:gd name="T8" fmla="*/ 1157 w 3563"/>
                <a:gd name="T9" fmla="*/ 2748 h 3529"/>
                <a:gd name="T10" fmla="*/ 1062 w 3563"/>
                <a:gd name="T11" fmla="*/ 2675 h 3529"/>
                <a:gd name="T12" fmla="*/ 900 w 3563"/>
                <a:gd name="T13" fmla="*/ 2513 h 3529"/>
                <a:gd name="T14" fmla="*/ 795 w 3563"/>
                <a:gd name="T15" fmla="*/ 2384 h 3529"/>
                <a:gd name="T16" fmla="*/ 720 w 3563"/>
                <a:gd name="T17" fmla="*/ 2262 h 3529"/>
                <a:gd name="T18" fmla="*/ 672 w 3563"/>
                <a:gd name="T19" fmla="*/ 2135 h 3529"/>
                <a:gd name="T20" fmla="*/ 645 w 3563"/>
                <a:gd name="T21" fmla="*/ 1994 h 3529"/>
                <a:gd name="T22" fmla="*/ 632 w 3563"/>
                <a:gd name="T23" fmla="*/ 1789 h 3529"/>
                <a:gd name="T24" fmla="*/ 638 w 3563"/>
                <a:gd name="T25" fmla="*/ 1583 h 3529"/>
                <a:gd name="T26" fmla="*/ 667 w 3563"/>
                <a:gd name="T27" fmla="*/ 1439 h 3529"/>
                <a:gd name="T28" fmla="*/ 711 w 3563"/>
                <a:gd name="T29" fmla="*/ 1309 h 3529"/>
                <a:gd name="T30" fmla="*/ 772 w 3563"/>
                <a:gd name="T31" fmla="*/ 1191 h 3529"/>
                <a:gd name="T32" fmla="*/ 843 w 3563"/>
                <a:gd name="T33" fmla="*/ 1086 h 3529"/>
                <a:gd name="T34" fmla="*/ 1057 w 3563"/>
                <a:gd name="T35" fmla="*/ 864 h 3529"/>
                <a:gd name="T36" fmla="*/ 1513 w 3563"/>
                <a:gd name="T37" fmla="*/ 635 h 3529"/>
                <a:gd name="T38" fmla="*/ 1990 w 3563"/>
                <a:gd name="T39" fmla="*/ 631 h 3529"/>
                <a:gd name="T40" fmla="*/ 2425 w 3563"/>
                <a:gd name="T41" fmla="*/ 815 h 3529"/>
                <a:gd name="T42" fmla="*/ 2758 w 3563"/>
                <a:gd name="T43" fmla="*/ 1150 h 3529"/>
                <a:gd name="T44" fmla="*/ 2929 w 3563"/>
                <a:gd name="T45" fmla="*/ 1600 h 3529"/>
                <a:gd name="T46" fmla="*/ 2877 w 3563"/>
                <a:gd name="T47" fmla="*/ 2129 h 3529"/>
                <a:gd name="T48" fmla="*/ 2788 w 3563"/>
                <a:gd name="T49" fmla="*/ 2329 h 3529"/>
                <a:gd name="T50" fmla="*/ 2637 w 3563"/>
                <a:gd name="T51" fmla="*/ 2541 h 3529"/>
                <a:gd name="T52" fmla="*/ 2561 w 3563"/>
                <a:gd name="T53" fmla="*/ 2620 h 3529"/>
                <a:gd name="T54" fmla="*/ 2465 w 3563"/>
                <a:gd name="T55" fmla="*/ 2692 h 3529"/>
                <a:gd name="T56" fmla="*/ 2237 w 3563"/>
                <a:gd name="T57" fmla="*/ 2817 h 3529"/>
                <a:gd name="T58" fmla="*/ 2094 w 3563"/>
                <a:gd name="T59" fmla="*/ 2873 h 3529"/>
                <a:gd name="T60" fmla="*/ 1949 w 3563"/>
                <a:gd name="T61" fmla="*/ 2914 h 3529"/>
                <a:gd name="T62" fmla="*/ 1809 w 3563"/>
                <a:gd name="T63" fmla="*/ 2933 h 3529"/>
                <a:gd name="T64" fmla="*/ 12 w 3563"/>
                <a:gd name="T65" fmla="*/ 1979 h 3529"/>
                <a:gd name="T66" fmla="*/ 83 w 3563"/>
                <a:gd name="T67" fmla="*/ 2289 h 3529"/>
                <a:gd name="T68" fmla="*/ 207 w 3563"/>
                <a:gd name="T69" fmla="*/ 2575 h 3529"/>
                <a:gd name="T70" fmla="*/ 378 w 3563"/>
                <a:gd name="T71" fmla="*/ 2832 h 3529"/>
                <a:gd name="T72" fmla="*/ 586 w 3563"/>
                <a:gd name="T73" fmla="*/ 3055 h 3529"/>
                <a:gd name="T74" fmla="*/ 823 w 3563"/>
                <a:gd name="T75" fmla="*/ 3239 h 3529"/>
                <a:gd name="T76" fmla="*/ 1091 w 3563"/>
                <a:gd name="T77" fmla="*/ 3384 h 3529"/>
                <a:gd name="T78" fmla="*/ 1420 w 3563"/>
                <a:gd name="T79" fmla="*/ 3489 h 3529"/>
                <a:gd name="T80" fmla="*/ 1753 w 3563"/>
                <a:gd name="T81" fmla="*/ 3529 h 3529"/>
                <a:gd name="T82" fmla="*/ 2084 w 3563"/>
                <a:gd name="T83" fmla="*/ 3503 h 3529"/>
                <a:gd name="T84" fmla="*/ 2402 w 3563"/>
                <a:gd name="T85" fmla="*/ 3416 h 3529"/>
                <a:gd name="T86" fmla="*/ 2700 w 3563"/>
                <a:gd name="T87" fmla="*/ 3269 h 3529"/>
                <a:gd name="T88" fmla="*/ 2968 w 3563"/>
                <a:gd name="T89" fmla="*/ 3064 h 3529"/>
                <a:gd name="T90" fmla="*/ 3252 w 3563"/>
                <a:gd name="T91" fmla="*/ 2735 h 3529"/>
                <a:gd name="T92" fmla="*/ 3453 w 3563"/>
                <a:gd name="T93" fmla="*/ 2353 h 3529"/>
                <a:gd name="T94" fmla="*/ 3552 w 3563"/>
                <a:gd name="T95" fmla="*/ 1952 h 3529"/>
                <a:gd name="T96" fmla="*/ 3549 w 3563"/>
                <a:gd name="T97" fmla="*/ 1543 h 3529"/>
                <a:gd name="T98" fmla="*/ 3442 w 3563"/>
                <a:gd name="T99" fmla="*/ 1141 h 3529"/>
                <a:gd name="T100" fmla="*/ 3234 w 3563"/>
                <a:gd name="T101" fmla="*/ 760 h 3529"/>
                <a:gd name="T102" fmla="*/ 2813 w 3563"/>
                <a:gd name="T103" fmla="*/ 330 h 3529"/>
                <a:gd name="T104" fmla="*/ 2641 w 3563"/>
                <a:gd name="T105" fmla="*/ 215 h 3529"/>
                <a:gd name="T106" fmla="*/ 2242 w 3563"/>
                <a:gd name="T107" fmla="*/ 57 h 3529"/>
                <a:gd name="T108" fmla="*/ 1681 w 3563"/>
                <a:gd name="T109" fmla="*/ 3 h 3529"/>
                <a:gd name="T110" fmla="*/ 1146 w 3563"/>
                <a:gd name="T111" fmla="*/ 120 h 3529"/>
                <a:gd name="T112" fmla="*/ 672 w 3563"/>
                <a:gd name="T113" fmla="*/ 388 h 3529"/>
                <a:gd name="T114" fmla="*/ 299 w 3563"/>
                <a:gd name="T115" fmla="*/ 788 h 3529"/>
                <a:gd name="T116" fmla="*/ 63 w 3563"/>
                <a:gd name="T117" fmla="*/ 1303 h 3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563" h="3529">
                  <a:moveTo>
                    <a:pt x="1782" y="2933"/>
                  </a:moveTo>
                  <a:lnTo>
                    <a:pt x="1752" y="2933"/>
                  </a:lnTo>
                  <a:lnTo>
                    <a:pt x="1722" y="2932"/>
                  </a:lnTo>
                  <a:lnTo>
                    <a:pt x="1692" y="2930"/>
                  </a:lnTo>
                  <a:lnTo>
                    <a:pt x="1663" y="2927"/>
                  </a:lnTo>
                  <a:lnTo>
                    <a:pt x="1634" y="2923"/>
                  </a:lnTo>
                  <a:lnTo>
                    <a:pt x="1606" y="2920"/>
                  </a:lnTo>
                  <a:lnTo>
                    <a:pt x="1576" y="2914"/>
                  </a:lnTo>
                  <a:lnTo>
                    <a:pt x="1549" y="2909"/>
                  </a:lnTo>
                  <a:lnTo>
                    <a:pt x="1521" y="2904"/>
                  </a:lnTo>
                  <a:lnTo>
                    <a:pt x="1494" y="2896"/>
                  </a:lnTo>
                  <a:lnTo>
                    <a:pt x="1467" y="2890"/>
                  </a:lnTo>
                  <a:lnTo>
                    <a:pt x="1441" y="2881"/>
                  </a:lnTo>
                  <a:lnTo>
                    <a:pt x="1414" y="2873"/>
                  </a:lnTo>
                  <a:lnTo>
                    <a:pt x="1388" y="2864"/>
                  </a:lnTo>
                  <a:lnTo>
                    <a:pt x="1363" y="2855"/>
                  </a:lnTo>
                  <a:lnTo>
                    <a:pt x="1338" y="2844"/>
                  </a:lnTo>
                  <a:lnTo>
                    <a:pt x="1315" y="2833"/>
                  </a:lnTo>
                  <a:lnTo>
                    <a:pt x="1291" y="2822"/>
                  </a:lnTo>
                  <a:lnTo>
                    <a:pt x="1267" y="2811"/>
                  </a:lnTo>
                  <a:lnTo>
                    <a:pt x="1244" y="2800"/>
                  </a:lnTo>
                  <a:lnTo>
                    <a:pt x="1222" y="2787"/>
                  </a:lnTo>
                  <a:lnTo>
                    <a:pt x="1200" y="2774"/>
                  </a:lnTo>
                  <a:lnTo>
                    <a:pt x="1179" y="2761"/>
                  </a:lnTo>
                  <a:lnTo>
                    <a:pt x="1157" y="2748"/>
                  </a:lnTo>
                  <a:lnTo>
                    <a:pt x="1138" y="2733"/>
                  </a:lnTo>
                  <a:lnTo>
                    <a:pt x="1118" y="2719"/>
                  </a:lnTo>
                  <a:lnTo>
                    <a:pt x="1099" y="2705"/>
                  </a:lnTo>
                  <a:lnTo>
                    <a:pt x="1080" y="2690"/>
                  </a:lnTo>
                  <a:lnTo>
                    <a:pt x="1062" y="2675"/>
                  </a:lnTo>
                  <a:lnTo>
                    <a:pt x="1044" y="2660"/>
                  </a:lnTo>
                  <a:lnTo>
                    <a:pt x="1027" y="2643"/>
                  </a:lnTo>
                  <a:lnTo>
                    <a:pt x="1011" y="2628"/>
                  </a:lnTo>
                  <a:lnTo>
                    <a:pt x="952" y="2569"/>
                  </a:lnTo>
                  <a:lnTo>
                    <a:pt x="900" y="2513"/>
                  </a:lnTo>
                  <a:lnTo>
                    <a:pt x="876" y="2486"/>
                  </a:lnTo>
                  <a:lnTo>
                    <a:pt x="853" y="2460"/>
                  </a:lnTo>
                  <a:lnTo>
                    <a:pt x="833" y="2434"/>
                  </a:lnTo>
                  <a:lnTo>
                    <a:pt x="813" y="2409"/>
                  </a:lnTo>
                  <a:lnTo>
                    <a:pt x="795" y="2384"/>
                  </a:lnTo>
                  <a:lnTo>
                    <a:pt x="777" y="2359"/>
                  </a:lnTo>
                  <a:lnTo>
                    <a:pt x="761" y="2335"/>
                  </a:lnTo>
                  <a:lnTo>
                    <a:pt x="746" y="2311"/>
                  </a:lnTo>
                  <a:lnTo>
                    <a:pt x="733" y="2286"/>
                  </a:lnTo>
                  <a:lnTo>
                    <a:pt x="720" y="2262"/>
                  </a:lnTo>
                  <a:lnTo>
                    <a:pt x="708" y="2237"/>
                  </a:lnTo>
                  <a:lnTo>
                    <a:pt x="698" y="2212"/>
                  </a:lnTo>
                  <a:lnTo>
                    <a:pt x="688" y="2187"/>
                  </a:lnTo>
                  <a:lnTo>
                    <a:pt x="680" y="2161"/>
                  </a:lnTo>
                  <a:lnTo>
                    <a:pt x="672" y="2135"/>
                  </a:lnTo>
                  <a:lnTo>
                    <a:pt x="664" y="2108"/>
                  </a:lnTo>
                  <a:lnTo>
                    <a:pt x="659" y="2081"/>
                  </a:lnTo>
                  <a:lnTo>
                    <a:pt x="653" y="2053"/>
                  </a:lnTo>
                  <a:lnTo>
                    <a:pt x="648" y="2023"/>
                  </a:lnTo>
                  <a:lnTo>
                    <a:pt x="645" y="1994"/>
                  </a:lnTo>
                  <a:lnTo>
                    <a:pt x="640" y="1963"/>
                  </a:lnTo>
                  <a:lnTo>
                    <a:pt x="638" y="1930"/>
                  </a:lnTo>
                  <a:lnTo>
                    <a:pt x="636" y="1898"/>
                  </a:lnTo>
                  <a:lnTo>
                    <a:pt x="634" y="1863"/>
                  </a:lnTo>
                  <a:lnTo>
                    <a:pt x="632" y="1789"/>
                  </a:lnTo>
                  <a:lnTo>
                    <a:pt x="632" y="1709"/>
                  </a:lnTo>
                  <a:lnTo>
                    <a:pt x="632" y="1677"/>
                  </a:lnTo>
                  <a:lnTo>
                    <a:pt x="633" y="1645"/>
                  </a:lnTo>
                  <a:lnTo>
                    <a:pt x="635" y="1614"/>
                  </a:lnTo>
                  <a:lnTo>
                    <a:pt x="638" y="1583"/>
                  </a:lnTo>
                  <a:lnTo>
                    <a:pt x="643" y="1553"/>
                  </a:lnTo>
                  <a:lnTo>
                    <a:pt x="647" y="1524"/>
                  </a:lnTo>
                  <a:lnTo>
                    <a:pt x="652" y="1495"/>
                  </a:lnTo>
                  <a:lnTo>
                    <a:pt x="659" y="1466"/>
                  </a:lnTo>
                  <a:lnTo>
                    <a:pt x="667" y="1439"/>
                  </a:lnTo>
                  <a:lnTo>
                    <a:pt x="674" y="1412"/>
                  </a:lnTo>
                  <a:lnTo>
                    <a:pt x="683" y="1385"/>
                  </a:lnTo>
                  <a:lnTo>
                    <a:pt x="691" y="1359"/>
                  </a:lnTo>
                  <a:lnTo>
                    <a:pt x="701" y="1334"/>
                  </a:lnTo>
                  <a:lnTo>
                    <a:pt x="711" y="1309"/>
                  </a:lnTo>
                  <a:lnTo>
                    <a:pt x="723" y="1284"/>
                  </a:lnTo>
                  <a:lnTo>
                    <a:pt x="734" y="1260"/>
                  </a:lnTo>
                  <a:lnTo>
                    <a:pt x="746" y="1237"/>
                  </a:lnTo>
                  <a:lnTo>
                    <a:pt x="759" y="1214"/>
                  </a:lnTo>
                  <a:lnTo>
                    <a:pt x="772" y="1191"/>
                  </a:lnTo>
                  <a:lnTo>
                    <a:pt x="785" y="1169"/>
                  </a:lnTo>
                  <a:lnTo>
                    <a:pt x="799" y="1148"/>
                  </a:lnTo>
                  <a:lnTo>
                    <a:pt x="813" y="1127"/>
                  </a:lnTo>
                  <a:lnTo>
                    <a:pt x="828" y="1106"/>
                  </a:lnTo>
                  <a:lnTo>
                    <a:pt x="843" y="1086"/>
                  </a:lnTo>
                  <a:lnTo>
                    <a:pt x="874" y="1047"/>
                  </a:lnTo>
                  <a:lnTo>
                    <a:pt x="906" y="1009"/>
                  </a:lnTo>
                  <a:lnTo>
                    <a:pt x="940" y="973"/>
                  </a:lnTo>
                  <a:lnTo>
                    <a:pt x="974" y="938"/>
                  </a:lnTo>
                  <a:lnTo>
                    <a:pt x="1057" y="864"/>
                  </a:lnTo>
                  <a:lnTo>
                    <a:pt x="1144" y="798"/>
                  </a:lnTo>
                  <a:lnTo>
                    <a:pt x="1233" y="742"/>
                  </a:lnTo>
                  <a:lnTo>
                    <a:pt x="1325" y="698"/>
                  </a:lnTo>
                  <a:lnTo>
                    <a:pt x="1419" y="662"/>
                  </a:lnTo>
                  <a:lnTo>
                    <a:pt x="1513" y="635"/>
                  </a:lnTo>
                  <a:lnTo>
                    <a:pt x="1609" y="618"/>
                  </a:lnTo>
                  <a:lnTo>
                    <a:pt x="1705" y="609"/>
                  </a:lnTo>
                  <a:lnTo>
                    <a:pt x="1801" y="608"/>
                  </a:lnTo>
                  <a:lnTo>
                    <a:pt x="1895" y="615"/>
                  </a:lnTo>
                  <a:lnTo>
                    <a:pt x="1990" y="631"/>
                  </a:lnTo>
                  <a:lnTo>
                    <a:pt x="2082" y="654"/>
                  </a:lnTo>
                  <a:lnTo>
                    <a:pt x="2172" y="684"/>
                  </a:lnTo>
                  <a:lnTo>
                    <a:pt x="2259" y="721"/>
                  </a:lnTo>
                  <a:lnTo>
                    <a:pt x="2344" y="765"/>
                  </a:lnTo>
                  <a:lnTo>
                    <a:pt x="2425" y="815"/>
                  </a:lnTo>
                  <a:lnTo>
                    <a:pt x="2501" y="871"/>
                  </a:lnTo>
                  <a:lnTo>
                    <a:pt x="2574" y="933"/>
                  </a:lnTo>
                  <a:lnTo>
                    <a:pt x="2641" y="1000"/>
                  </a:lnTo>
                  <a:lnTo>
                    <a:pt x="2703" y="1073"/>
                  </a:lnTo>
                  <a:lnTo>
                    <a:pt x="2758" y="1150"/>
                  </a:lnTo>
                  <a:lnTo>
                    <a:pt x="2807" y="1232"/>
                  </a:lnTo>
                  <a:lnTo>
                    <a:pt x="2850" y="1318"/>
                  </a:lnTo>
                  <a:lnTo>
                    <a:pt x="2884" y="1409"/>
                  </a:lnTo>
                  <a:lnTo>
                    <a:pt x="2910" y="1502"/>
                  </a:lnTo>
                  <a:lnTo>
                    <a:pt x="2929" y="1600"/>
                  </a:lnTo>
                  <a:lnTo>
                    <a:pt x="2939" y="1700"/>
                  </a:lnTo>
                  <a:lnTo>
                    <a:pt x="2939" y="1805"/>
                  </a:lnTo>
                  <a:lnTo>
                    <a:pt x="2929" y="1911"/>
                  </a:lnTo>
                  <a:lnTo>
                    <a:pt x="2908" y="2019"/>
                  </a:lnTo>
                  <a:lnTo>
                    <a:pt x="2877" y="2129"/>
                  </a:lnTo>
                  <a:lnTo>
                    <a:pt x="2834" y="2241"/>
                  </a:lnTo>
                  <a:lnTo>
                    <a:pt x="2826" y="2261"/>
                  </a:lnTo>
                  <a:lnTo>
                    <a:pt x="2815" y="2283"/>
                  </a:lnTo>
                  <a:lnTo>
                    <a:pt x="2802" y="2305"/>
                  </a:lnTo>
                  <a:lnTo>
                    <a:pt x="2788" y="2329"/>
                  </a:lnTo>
                  <a:lnTo>
                    <a:pt x="2757" y="2378"/>
                  </a:lnTo>
                  <a:lnTo>
                    <a:pt x="2724" y="2428"/>
                  </a:lnTo>
                  <a:lnTo>
                    <a:pt x="2688" y="2475"/>
                  </a:lnTo>
                  <a:lnTo>
                    <a:pt x="2653" y="2521"/>
                  </a:lnTo>
                  <a:lnTo>
                    <a:pt x="2637" y="2541"/>
                  </a:lnTo>
                  <a:lnTo>
                    <a:pt x="2620" y="2560"/>
                  </a:lnTo>
                  <a:lnTo>
                    <a:pt x="2605" y="2576"/>
                  </a:lnTo>
                  <a:lnTo>
                    <a:pt x="2591" y="2591"/>
                  </a:lnTo>
                  <a:lnTo>
                    <a:pt x="2577" y="2606"/>
                  </a:lnTo>
                  <a:lnTo>
                    <a:pt x="2561" y="2620"/>
                  </a:lnTo>
                  <a:lnTo>
                    <a:pt x="2544" y="2634"/>
                  </a:lnTo>
                  <a:lnTo>
                    <a:pt x="2526" y="2648"/>
                  </a:lnTo>
                  <a:lnTo>
                    <a:pt x="2506" y="2663"/>
                  </a:lnTo>
                  <a:lnTo>
                    <a:pt x="2487" y="2677"/>
                  </a:lnTo>
                  <a:lnTo>
                    <a:pt x="2465" y="2692"/>
                  </a:lnTo>
                  <a:lnTo>
                    <a:pt x="2442" y="2706"/>
                  </a:lnTo>
                  <a:lnTo>
                    <a:pt x="2396" y="2736"/>
                  </a:lnTo>
                  <a:lnTo>
                    <a:pt x="2345" y="2764"/>
                  </a:lnTo>
                  <a:lnTo>
                    <a:pt x="2293" y="2791"/>
                  </a:lnTo>
                  <a:lnTo>
                    <a:pt x="2237" y="2817"/>
                  </a:lnTo>
                  <a:lnTo>
                    <a:pt x="2209" y="2830"/>
                  </a:lnTo>
                  <a:lnTo>
                    <a:pt x="2181" y="2841"/>
                  </a:lnTo>
                  <a:lnTo>
                    <a:pt x="2152" y="2853"/>
                  </a:lnTo>
                  <a:lnTo>
                    <a:pt x="2123" y="2864"/>
                  </a:lnTo>
                  <a:lnTo>
                    <a:pt x="2094" y="2873"/>
                  </a:lnTo>
                  <a:lnTo>
                    <a:pt x="2065" y="2883"/>
                  </a:lnTo>
                  <a:lnTo>
                    <a:pt x="2035" y="2892"/>
                  </a:lnTo>
                  <a:lnTo>
                    <a:pt x="2006" y="2900"/>
                  </a:lnTo>
                  <a:lnTo>
                    <a:pt x="1978" y="2908"/>
                  </a:lnTo>
                  <a:lnTo>
                    <a:pt x="1949" y="2914"/>
                  </a:lnTo>
                  <a:lnTo>
                    <a:pt x="1920" y="2920"/>
                  </a:lnTo>
                  <a:lnTo>
                    <a:pt x="1892" y="2924"/>
                  </a:lnTo>
                  <a:lnTo>
                    <a:pt x="1864" y="2929"/>
                  </a:lnTo>
                  <a:lnTo>
                    <a:pt x="1836" y="2931"/>
                  </a:lnTo>
                  <a:lnTo>
                    <a:pt x="1809" y="2933"/>
                  </a:lnTo>
                  <a:lnTo>
                    <a:pt x="1782" y="2933"/>
                  </a:lnTo>
                  <a:close/>
                  <a:moveTo>
                    <a:pt x="0" y="1784"/>
                  </a:moveTo>
                  <a:lnTo>
                    <a:pt x="1" y="1849"/>
                  </a:lnTo>
                  <a:lnTo>
                    <a:pt x="5" y="1914"/>
                  </a:lnTo>
                  <a:lnTo>
                    <a:pt x="12" y="1979"/>
                  </a:lnTo>
                  <a:lnTo>
                    <a:pt x="22" y="2043"/>
                  </a:lnTo>
                  <a:lnTo>
                    <a:pt x="33" y="2106"/>
                  </a:lnTo>
                  <a:lnTo>
                    <a:pt x="47" y="2168"/>
                  </a:lnTo>
                  <a:lnTo>
                    <a:pt x="63" y="2228"/>
                  </a:lnTo>
                  <a:lnTo>
                    <a:pt x="83" y="2289"/>
                  </a:lnTo>
                  <a:lnTo>
                    <a:pt x="103" y="2348"/>
                  </a:lnTo>
                  <a:lnTo>
                    <a:pt x="126" y="2406"/>
                  </a:lnTo>
                  <a:lnTo>
                    <a:pt x="151" y="2464"/>
                  </a:lnTo>
                  <a:lnTo>
                    <a:pt x="178" y="2520"/>
                  </a:lnTo>
                  <a:lnTo>
                    <a:pt x="207" y="2575"/>
                  </a:lnTo>
                  <a:lnTo>
                    <a:pt x="238" y="2628"/>
                  </a:lnTo>
                  <a:lnTo>
                    <a:pt x="270" y="2681"/>
                  </a:lnTo>
                  <a:lnTo>
                    <a:pt x="305" y="2733"/>
                  </a:lnTo>
                  <a:lnTo>
                    <a:pt x="341" y="2783"/>
                  </a:lnTo>
                  <a:lnTo>
                    <a:pt x="378" y="2832"/>
                  </a:lnTo>
                  <a:lnTo>
                    <a:pt x="417" y="2880"/>
                  </a:lnTo>
                  <a:lnTo>
                    <a:pt x="457" y="2925"/>
                  </a:lnTo>
                  <a:lnTo>
                    <a:pt x="499" y="2970"/>
                  </a:lnTo>
                  <a:lnTo>
                    <a:pt x="542" y="3013"/>
                  </a:lnTo>
                  <a:lnTo>
                    <a:pt x="586" y="3055"/>
                  </a:lnTo>
                  <a:lnTo>
                    <a:pt x="632" y="3095"/>
                  </a:lnTo>
                  <a:lnTo>
                    <a:pt x="677" y="3133"/>
                  </a:lnTo>
                  <a:lnTo>
                    <a:pt x="725" y="3170"/>
                  </a:lnTo>
                  <a:lnTo>
                    <a:pt x="774" y="3205"/>
                  </a:lnTo>
                  <a:lnTo>
                    <a:pt x="823" y="3239"/>
                  </a:lnTo>
                  <a:lnTo>
                    <a:pt x="873" y="3270"/>
                  </a:lnTo>
                  <a:lnTo>
                    <a:pt x="924" y="3300"/>
                  </a:lnTo>
                  <a:lnTo>
                    <a:pt x="975" y="3329"/>
                  </a:lnTo>
                  <a:lnTo>
                    <a:pt x="1027" y="3355"/>
                  </a:lnTo>
                  <a:lnTo>
                    <a:pt x="1091" y="3384"/>
                  </a:lnTo>
                  <a:lnTo>
                    <a:pt x="1156" y="3410"/>
                  </a:lnTo>
                  <a:lnTo>
                    <a:pt x="1221" y="3434"/>
                  </a:lnTo>
                  <a:lnTo>
                    <a:pt x="1287" y="3455"/>
                  </a:lnTo>
                  <a:lnTo>
                    <a:pt x="1354" y="3474"/>
                  </a:lnTo>
                  <a:lnTo>
                    <a:pt x="1420" y="3489"/>
                  </a:lnTo>
                  <a:lnTo>
                    <a:pt x="1486" y="3502"/>
                  </a:lnTo>
                  <a:lnTo>
                    <a:pt x="1553" y="3513"/>
                  </a:lnTo>
                  <a:lnTo>
                    <a:pt x="1620" y="3520"/>
                  </a:lnTo>
                  <a:lnTo>
                    <a:pt x="1687" y="3526"/>
                  </a:lnTo>
                  <a:lnTo>
                    <a:pt x="1753" y="3529"/>
                  </a:lnTo>
                  <a:lnTo>
                    <a:pt x="1820" y="3529"/>
                  </a:lnTo>
                  <a:lnTo>
                    <a:pt x="1887" y="3526"/>
                  </a:lnTo>
                  <a:lnTo>
                    <a:pt x="1953" y="3521"/>
                  </a:lnTo>
                  <a:lnTo>
                    <a:pt x="2019" y="3514"/>
                  </a:lnTo>
                  <a:lnTo>
                    <a:pt x="2084" y="3503"/>
                  </a:lnTo>
                  <a:lnTo>
                    <a:pt x="2149" y="3491"/>
                  </a:lnTo>
                  <a:lnTo>
                    <a:pt x="2213" y="3476"/>
                  </a:lnTo>
                  <a:lnTo>
                    <a:pt x="2277" y="3459"/>
                  </a:lnTo>
                  <a:lnTo>
                    <a:pt x="2340" y="3439"/>
                  </a:lnTo>
                  <a:lnTo>
                    <a:pt x="2402" y="3416"/>
                  </a:lnTo>
                  <a:lnTo>
                    <a:pt x="2464" y="3391"/>
                  </a:lnTo>
                  <a:lnTo>
                    <a:pt x="2524" y="3364"/>
                  </a:lnTo>
                  <a:lnTo>
                    <a:pt x="2584" y="3335"/>
                  </a:lnTo>
                  <a:lnTo>
                    <a:pt x="2642" y="3304"/>
                  </a:lnTo>
                  <a:lnTo>
                    <a:pt x="2700" y="3269"/>
                  </a:lnTo>
                  <a:lnTo>
                    <a:pt x="2756" y="3233"/>
                  </a:lnTo>
                  <a:lnTo>
                    <a:pt x="2812" y="3194"/>
                  </a:lnTo>
                  <a:lnTo>
                    <a:pt x="2865" y="3153"/>
                  </a:lnTo>
                  <a:lnTo>
                    <a:pt x="2917" y="3110"/>
                  </a:lnTo>
                  <a:lnTo>
                    <a:pt x="2968" y="3064"/>
                  </a:lnTo>
                  <a:lnTo>
                    <a:pt x="3017" y="3016"/>
                  </a:lnTo>
                  <a:lnTo>
                    <a:pt x="3082" y="2948"/>
                  </a:lnTo>
                  <a:lnTo>
                    <a:pt x="3143" y="2879"/>
                  </a:lnTo>
                  <a:lnTo>
                    <a:pt x="3199" y="2807"/>
                  </a:lnTo>
                  <a:lnTo>
                    <a:pt x="3252" y="2735"/>
                  </a:lnTo>
                  <a:lnTo>
                    <a:pt x="3300" y="2661"/>
                  </a:lnTo>
                  <a:lnTo>
                    <a:pt x="3345" y="2585"/>
                  </a:lnTo>
                  <a:lnTo>
                    <a:pt x="3385" y="2509"/>
                  </a:lnTo>
                  <a:lnTo>
                    <a:pt x="3422" y="2431"/>
                  </a:lnTo>
                  <a:lnTo>
                    <a:pt x="3453" y="2353"/>
                  </a:lnTo>
                  <a:lnTo>
                    <a:pt x="3481" y="2274"/>
                  </a:lnTo>
                  <a:lnTo>
                    <a:pt x="3505" y="2194"/>
                  </a:lnTo>
                  <a:lnTo>
                    <a:pt x="3525" y="2113"/>
                  </a:lnTo>
                  <a:lnTo>
                    <a:pt x="3540" y="2033"/>
                  </a:lnTo>
                  <a:lnTo>
                    <a:pt x="3552" y="1952"/>
                  </a:lnTo>
                  <a:lnTo>
                    <a:pt x="3559" y="1870"/>
                  </a:lnTo>
                  <a:lnTo>
                    <a:pt x="3563" y="1788"/>
                  </a:lnTo>
                  <a:lnTo>
                    <a:pt x="3562" y="1707"/>
                  </a:lnTo>
                  <a:lnTo>
                    <a:pt x="3557" y="1625"/>
                  </a:lnTo>
                  <a:lnTo>
                    <a:pt x="3549" y="1543"/>
                  </a:lnTo>
                  <a:lnTo>
                    <a:pt x="3536" y="1462"/>
                  </a:lnTo>
                  <a:lnTo>
                    <a:pt x="3518" y="1381"/>
                  </a:lnTo>
                  <a:lnTo>
                    <a:pt x="3497" y="1300"/>
                  </a:lnTo>
                  <a:lnTo>
                    <a:pt x="3472" y="1220"/>
                  </a:lnTo>
                  <a:lnTo>
                    <a:pt x="3442" y="1141"/>
                  </a:lnTo>
                  <a:lnTo>
                    <a:pt x="3409" y="1063"/>
                  </a:lnTo>
                  <a:lnTo>
                    <a:pt x="3371" y="986"/>
                  </a:lnTo>
                  <a:lnTo>
                    <a:pt x="3329" y="909"/>
                  </a:lnTo>
                  <a:lnTo>
                    <a:pt x="3284" y="833"/>
                  </a:lnTo>
                  <a:lnTo>
                    <a:pt x="3234" y="760"/>
                  </a:lnTo>
                  <a:lnTo>
                    <a:pt x="3180" y="687"/>
                  </a:lnTo>
                  <a:lnTo>
                    <a:pt x="3121" y="615"/>
                  </a:lnTo>
                  <a:lnTo>
                    <a:pt x="3059" y="546"/>
                  </a:lnTo>
                  <a:lnTo>
                    <a:pt x="2844" y="353"/>
                  </a:lnTo>
                  <a:lnTo>
                    <a:pt x="2813" y="330"/>
                  </a:lnTo>
                  <a:lnTo>
                    <a:pt x="2780" y="307"/>
                  </a:lnTo>
                  <a:lnTo>
                    <a:pt x="2746" y="283"/>
                  </a:lnTo>
                  <a:lnTo>
                    <a:pt x="2712" y="259"/>
                  </a:lnTo>
                  <a:lnTo>
                    <a:pt x="2676" y="236"/>
                  </a:lnTo>
                  <a:lnTo>
                    <a:pt x="2641" y="215"/>
                  </a:lnTo>
                  <a:lnTo>
                    <a:pt x="2606" y="196"/>
                  </a:lnTo>
                  <a:lnTo>
                    <a:pt x="2573" y="179"/>
                  </a:lnTo>
                  <a:lnTo>
                    <a:pt x="2463" y="130"/>
                  </a:lnTo>
                  <a:lnTo>
                    <a:pt x="2352" y="90"/>
                  </a:lnTo>
                  <a:lnTo>
                    <a:pt x="2242" y="57"/>
                  </a:lnTo>
                  <a:lnTo>
                    <a:pt x="2130" y="32"/>
                  </a:lnTo>
                  <a:lnTo>
                    <a:pt x="2017" y="14"/>
                  </a:lnTo>
                  <a:lnTo>
                    <a:pt x="1905" y="3"/>
                  </a:lnTo>
                  <a:lnTo>
                    <a:pt x="1793" y="0"/>
                  </a:lnTo>
                  <a:lnTo>
                    <a:pt x="1681" y="3"/>
                  </a:lnTo>
                  <a:lnTo>
                    <a:pt x="1572" y="14"/>
                  </a:lnTo>
                  <a:lnTo>
                    <a:pt x="1462" y="30"/>
                  </a:lnTo>
                  <a:lnTo>
                    <a:pt x="1355" y="54"/>
                  </a:lnTo>
                  <a:lnTo>
                    <a:pt x="1249" y="84"/>
                  </a:lnTo>
                  <a:lnTo>
                    <a:pt x="1146" y="120"/>
                  </a:lnTo>
                  <a:lnTo>
                    <a:pt x="1045" y="161"/>
                  </a:lnTo>
                  <a:lnTo>
                    <a:pt x="947" y="210"/>
                  </a:lnTo>
                  <a:lnTo>
                    <a:pt x="852" y="263"/>
                  </a:lnTo>
                  <a:lnTo>
                    <a:pt x="760" y="323"/>
                  </a:lnTo>
                  <a:lnTo>
                    <a:pt x="672" y="388"/>
                  </a:lnTo>
                  <a:lnTo>
                    <a:pt x="588" y="457"/>
                  </a:lnTo>
                  <a:lnTo>
                    <a:pt x="508" y="533"/>
                  </a:lnTo>
                  <a:lnTo>
                    <a:pt x="433" y="613"/>
                  </a:lnTo>
                  <a:lnTo>
                    <a:pt x="364" y="698"/>
                  </a:lnTo>
                  <a:lnTo>
                    <a:pt x="299" y="788"/>
                  </a:lnTo>
                  <a:lnTo>
                    <a:pt x="239" y="882"/>
                  </a:lnTo>
                  <a:lnTo>
                    <a:pt x="186" y="981"/>
                  </a:lnTo>
                  <a:lnTo>
                    <a:pt x="138" y="1084"/>
                  </a:lnTo>
                  <a:lnTo>
                    <a:pt x="98" y="1191"/>
                  </a:lnTo>
                  <a:lnTo>
                    <a:pt x="63" y="1303"/>
                  </a:lnTo>
                  <a:lnTo>
                    <a:pt x="36" y="1418"/>
                  </a:lnTo>
                  <a:lnTo>
                    <a:pt x="16" y="1536"/>
                  </a:lnTo>
                  <a:lnTo>
                    <a:pt x="4" y="1658"/>
                  </a:lnTo>
                  <a:lnTo>
                    <a:pt x="0" y="17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2E2900AA-E8E2-47B2-A84E-A8BA557C3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1275" y="6464300"/>
              <a:ext cx="622300" cy="620712"/>
            </a:xfrm>
            <a:custGeom>
              <a:avLst/>
              <a:gdLst>
                <a:gd name="T0" fmla="*/ 1613 w 3532"/>
                <a:gd name="T1" fmla="*/ 2916 h 3522"/>
                <a:gd name="T2" fmla="*/ 1398 w 3532"/>
                <a:gd name="T3" fmla="*/ 2857 h 3522"/>
                <a:gd name="T4" fmla="*/ 1198 w 3532"/>
                <a:gd name="T5" fmla="*/ 2759 h 3522"/>
                <a:gd name="T6" fmla="*/ 1019 w 3532"/>
                <a:gd name="T7" fmla="*/ 2630 h 3522"/>
                <a:gd name="T8" fmla="*/ 868 w 3532"/>
                <a:gd name="T9" fmla="*/ 2476 h 3522"/>
                <a:gd name="T10" fmla="*/ 750 w 3532"/>
                <a:gd name="T11" fmla="*/ 2303 h 3522"/>
                <a:gd name="T12" fmla="*/ 670 w 3532"/>
                <a:gd name="T13" fmla="*/ 2122 h 3522"/>
                <a:gd name="T14" fmla="*/ 633 w 3532"/>
                <a:gd name="T15" fmla="*/ 1937 h 3522"/>
                <a:gd name="T16" fmla="*/ 634 w 3532"/>
                <a:gd name="T17" fmla="*/ 1666 h 3522"/>
                <a:gd name="T18" fmla="*/ 648 w 3532"/>
                <a:gd name="T19" fmla="*/ 1506 h 3522"/>
                <a:gd name="T20" fmla="*/ 673 w 3532"/>
                <a:gd name="T21" fmla="*/ 1389 h 3522"/>
                <a:gd name="T22" fmla="*/ 714 w 3532"/>
                <a:gd name="T23" fmla="*/ 1277 h 3522"/>
                <a:gd name="T24" fmla="*/ 775 w 3532"/>
                <a:gd name="T25" fmla="*/ 1166 h 3522"/>
                <a:gd name="T26" fmla="*/ 862 w 3532"/>
                <a:gd name="T27" fmla="*/ 1053 h 3522"/>
                <a:gd name="T28" fmla="*/ 977 w 3532"/>
                <a:gd name="T29" fmla="*/ 931 h 3522"/>
                <a:gd name="T30" fmla="*/ 1221 w 3532"/>
                <a:gd name="T31" fmla="*/ 745 h 3522"/>
                <a:gd name="T32" fmla="*/ 1530 w 3532"/>
                <a:gd name="T33" fmla="*/ 629 h 3522"/>
                <a:gd name="T34" fmla="*/ 1850 w 3532"/>
                <a:gd name="T35" fmla="*/ 609 h 3522"/>
                <a:gd name="T36" fmla="*/ 2162 w 3532"/>
                <a:gd name="T37" fmla="*/ 677 h 3522"/>
                <a:gd name="T38" fmla="*/ 2447 w 3532"/>
                <a:gd name="T39" fmla="*/ 827 h 3522"/>
                <a:gd name="T40" fmla="*/ 2683 w 3532"/>
                <a:gd name="T41" fmla="*/ 1050 h 3522"/>
                <a:gd name="T42" fmla="*/ 2851 w 3532"/>
                <a:gd name="T43" fmla="*/ 1339 h 3522"/>
                <a:gd name="T44" fmla="*/ 2930 w 3532"/>
                <a:gd name="T45" fmla="*/ 1686 h 3522"/>
                <a:gd name="T46" fmla="*/ 2920 w 3532"/>
                <a:gd name="T47" fmla="*/ 1952 h 3522"/>
                <a:gd name="T48" fmla="*/ 2863 w 3532"/>
                <a:gd name="T49" fmla="*/ 2170 h 3522"/>
                <a:gd name="T50" fmla="*/ 2764 w 3532"/>
                <a:gd name="T51" fmla="*/ 2371 h 3522"/>
                <a:gd name="T52" fmla="*/ 2630 w 3532"/>
                <a:gd name="T53" fmla="*/ 2548 h 3522"/>
                <a:gd name="T54" fmla="*/ 2465 w 3532"/>
                <a:gd name="T55" fmla="*/ 2698 h 3522"/>
                <a:gd name="T56" fmla="*/ 2275 w 3532"/>
                <a:gd name="T57" fmla="*/ 2814 h 3522"/>
                <a:gd name="T58" fmla="*/ 2066 w 3532"/>
                <a:gd name="T59" fmla="*/ 2893 h 3522"/>
                <a:gd name="T60" fmla="*/ 1840 w 3532"/>
                <a:gd name="T61" fmla="*/ 2928 h 3522"/>
                <a:gd name="T62" fmla="*/ 4 w 3532"/>
                <a:gd name="T63" fmla="*/ 1859 h 3522"/>
                <a:gd name="T64" fmla="*/ 16 w 3532"/>
                <a:gd name="T65" fmla="*/ 2003 h 3522"/>
                <a:gd name="T66" fmla="*/ 39 w 3532"/>
                <a:gd name="T67" fmla="*/ 2140 h 3522"/>
                <a:gd name="T68" fmla="*/ 71 w 3532"/>
                <a:gd name="T69" fmla="*/ 2271 h 3522"/>
                <a:gd name="T70" fmla="*/ 113 w 3532"/>
                <a:gd name="T71" fmla="*/ 2397 h 3522"/>
                <a:gd name="T72" fmla="*/ 167 w 3532"/>
                <a:gd name="T73" fmla="*/ 2520 h 3522"/>
                <a:gd name="T74" fmla="*/ 233 w 3532"/>
                <a:gd name="T75" fmla="*/ 2643 h 3522"/>
                <a:gd name="T76" fmla="*/ 314 w 3532"/>
                <a:gd name="T77" fmla="*/ 2765 h 3522"/>
                <a:gd name="T78" fmla="*/ 695 w 3532"/>
                <a:gd name="T79" fmla="*/ 3181 h 3522"/>
                <a:gd name="T80" fmla="*/ 980 w 3532"/>
                <a:gd name="T81" fmla="*/ 3355 h 3522"/>
                <a:gd name="T82" fmla="*/ 1298 w 3532"/>
                <a:gd name="T83" fmla="*/ 3468 h 3522"/>
                <a:gd name="T84" fmla="*/ 1637 w 3532"/>
                <a:gd name="T85" fmla="*/ 3518 h 3522"/>
                <a:gd name="T86" fmla="*/ 1983 w 3532"/>
                <a:gd name="T87" fmla="*/ 3508 h 3522"/>
                <a:gd name="T88" fmla="*/ 2323 w 3532"/>
                <a:gd name="T89" fmla="*/ 3434 h 3522"/>
                <a:gd name="T90" fmla="*/ 2644 w 3532"/>
                <a:gd name="T91" fmla="*/ 3296 h 3522"/>
                <a:gd name="T92" fmla="*/ 2934 w 3532"/>
                <a:gd name="T93" fmla="*/ 3094 h 3522"/>
                <a:gd name="T94" fmla="*/ 3272 w 3532"/>
                <a:gd name="T95" fmla="*/ 2696 h 3522"/>
                <a:gd name="T96" fmla="*/ 3481 w 3532"/>
                <a:gd name="T97" fmla="*/ 2207 h 3522"/>
                <a:gd name="T98" fmla="*/ 3531 w 3532"/>
                <a:gd name="T99" fmla="*/ 1701 h 3522"/>
                <a:gd name="T100" fmla="*/ 3438 w 3532"/>
                <a:gd name="T101" fmla="*/ 1209 h 3522"/>
                <a:gd name="T102" fmla="*/ 3220 w 3532"/>
                <a:gd name="T103" fmla="*/ 762 h 3522"/>
                <a:gd name="T104" fmla="*/ 2894 w 3532"/>
                <a:gd name="T105" fmla="*/ 391 h 3522"/>
                <a:gd name="T106" fmla="*/ 2477 w 3532"/>
                <a:gd name="T107" fmla="*/ 129 h 3522"/>
                <a:gd name="T108" fmla="*/ 1989 w 3532"/>
                <a:gd name="T109" fmla="*/ 5 h 3522"/>
                <a:gd name="T110" fmla="*/ 1560 w 3532"/>
                <a:gd name="T111" fmla="*/ 20 h 3522"/>
                <a:gd name="T112" fmla="*/ 1193 w 3532"/>
                <a:gd name="T113" fmla="*/ 104 h 3522"/>
                <a:gd name="T114" fmla="*/ 866 w 3532"/>
                <a:gd name="T115" fmla="*/ 247 h 3522"/>
                <a:gd name="T116" fmla="*/ 583 w 3532"/>
                <a:gd name="T117" fmla="*/ 443 h 3522"/>
                <a:gd name="T118" fmla="*/ 351 w 3532"/>
                <a:gd name="T119" fmla="*/ 686 h 3522"/>
                <a:gd name="T120" fmla="*/ 173 w 3532"/>
                <a:gd name="T121" fmla="*/ 967 h 3522"/>
                <a:gd name="T122" fmla="*/ 54 w 3532"/>
                <a:gd name="T123" fmla="*/ 1280 h 3522"/>
                <a:gd name="T124" fmla="*/ 2 w 3532"/>
                <a:gd name="T125" fmla="*/ 1618 h 3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32" h="3522">
                  <a:moveTo>
                    <a:pt x="1782" y="2930"/>
                  </a:moveTo>
                  <a:lnTo>
                    <a:pt x="1726" y="2928"/>
                  </a:lnTo>
                  <a:lnTo>
                    <a:pt x="1670" y="2923"/>
                  </a:lnTo>
                  <a:lnTo>
                    <a:pt x="1613" y="2916"/>
                  </a:lnTo>
                  <a:lnTo>
                    <a:pt x="1559" y="2905"/>
                  </a:lnTo>
                  <a:lnTo>
                    <a:pt x="1505" y="2892"/>
                  </a:lnTo>
                  <a:lnTo>
                    <a:pt x="1450" y="2876"/>
                  </a:lnTo>
                  <a:lnTo>
                    <a:pt x="1398" y="2857"/>
                  </a:lnTo>
                  <a:lnTo>
                    <a:pt x="1346" y="2836"/>
                  </a:lnTo>
                  <a:lnTo>
                    <a:pt x="1295" y="2813"/>
                  </a:lnTo>
                  <a:lnTo>
                    <a:pt x="1246" y="2787"/>
                  </a:lnTo>
                  <a:lnTo>
                    <a:pt x="1198" y="2759"/>
                  </a:lnTo>
                  <a:lnTo>
                    <a:pt x="1151" y="2729"/>
                  </a:lnTo>
                  <a:lnTo>
                    <a:pt x="1106" y="2698"/>
                  </a:lnTo>
                  <a:lnTo>
                    <a:pt x="1062" y="2664"/>
                  </a:lnTo>
                  <a:lnTo>
                    <a:pt x="1019" y="2630"/>
                  </a:lnTo>
                  <a:lnTo>
                    <a:pt x="979" y="2593"/>
                  </a:lnTo>
                  <a:lnTo>
                    <a:pt x="940" y="2555"/>
                  </a:lnTo>
                  <a:lnTo>
                    <a:pt x="903" y="2516"/>
                  </a:lnTo>
                  <a:lnTo>
                    <a:pt x="868" y="2476"/>
                  </a:lnTo>
                  <a:lnTo>
                    <a:pt x="835" y="2433"/>
                  </a:lnTo>
                  <a:lnTo>
                    <a:pt x="804" y="2391"/>
                  </a:lnTo>
                  <a:lnTo>
                    <a:pt x="776" y="2348"/>
                  </a:lnTo>
                  <a:lnTo>
                    <a:pt x="750" y="2303"/>
                  </a:lnTo>
                  <a:lnTo>
                    <a:pt x="725" y="2259"/>
                  </a:lnTo>
                  <a:lnTo>
                    <a:pt x="705" y="2213"/>
                  </a:lnTo>
                  <a:lnTo>
                    <a:pt x="685" y="2168"/>
                  </a:lnTo>
                  <a:lnTo>
                    <a:pt x="670" y="2122"/>
                  </a:lnTo>
                  <a:lnTo>
                    <a:pt x="656" y="2076"/>
                  </a:lnTo>
                  <a:lnTo>
                    <a:pt x="645" y="2029"/>
                  </a:lnTo>
                  <a:lnTo>
                    <a:pt x="637" y="1984"/>
                  </a:lnTo>
                  <a:lnTo>
                    <a:pt x="633" y="1937"/>
                  </a:lnTo>
                  <a:lnTo>
                    <a:pt x="632" y="1891"/>
                  </a:lnTo>
                  <a:lnTo>
                    <a:pt x="632" y="1811"/>
                  </a:lnTo>
                  <a:lnTo>
                    <a:pt x="632" y="1736"/>
                  </a:lnTo>
                  <a:lnTo>
                    <a:pt x="634" y="1666"/>
                  </a:lnTo>
                  <a:lnTo>
                    <a:pt x="638" y="1600"/>
                  </a:lnTo>
                  <a:lnTo>
                    <a:pt x="640" y="1567"/>
                  </a:lnTo>
                  <a:lnTo>
                    <a:pt x="645" y="1536"/>
                  </a:lnTo>
                  <a:lnTo>
                    <a:pt x="648" y="1506"/>
                  </a:lnTo>
                  <a:lnTo>
                    <a:pt x="653" y="1475"/>
                  </a:lnTo>
                  <a:lnTo>
                    <a:pt x="659" y="1446"/>
                  </a:lnTo>
                  <a:lnTo>
                    <a:pt x="665" y="1417"/>
                  </a:lnTo>
                  <a:lnTo>
                    <a:pt x="673" y="1389"/>
                  </a:lnTo>
                  <a:lnTo>
                    <a:pt x="682" y="1360"/>
                  </a:lnTo>
                  <a:lnTo>
                    <a:pt x="691" y="1332"/>
                  </a:lnTo>
                  <a:lnTo>
                    <a:pt x="702" y="1304"/>
                  </a:lnTo>
                  <a:lnTo>
                    <a:pt x="714" y="1277"/>
                  </a:lnTo>
                  <a:lnTo>
                    <a:pt x="727" y="1249"/>
                  </a:lnTo>
                  <a:lnTo>
                    <a:pt x="741" y="1222"/>
                  </a:lnTo>
                  <a:lnTo>
                    <a:pt x="758" y="1193"/>
                  </a:lnTo>
                  <a:lnTo>
                    <a:pt x="775" y="1166"/>
                  </a:lnTo>
                  <a:lnTo>
                    <a:pt x="795" y="1138"/>
                  </a:lnTo>
                  <a:lnTo>
                    <a:pt x="815" y="1110"/>
                  </a:lnTo>
                  <a:lnTo>
                    <a:pt x="838" y="1082"/>
                  </a:lnTo>
                  <a:lnTo>
                    <a:pt x="862" y="1053"/>
                  </a:lnTo>
                  <a:lnTo>
                    <a:pt x="888" y="1023"/>
                  </a:lnTo>
                  <a:lnTo>
                    <a:pt x="916" y="993"/>
                  </a:lnTo>
                  <a:lnTo>
                    <a:pt x="946" y="963"/>
                  </a:lnTo>
                  <a:lnTo>
                    <a:pt x="977" y="931"/>
                  </a:lnTo>
                  <a:lnTo>
                    <a:pt x="1011" y="899"/>
                  </a:lnTo>
                  <a:lnTo>
                    <a:pt x="1079" y="841"/>
                  </a:lnTo>
                  <a:lnTo>
                    <a:pt x="1148" y="789"/>
                  </a:lnTo>
                  <a:lnTo>
                    <a:pt x="1221" y="745"/>
                  </a:lnTo>
                  <a:lnTo>
                    <a:pt x="1296" y="706"/>
                  </a:lnTo>
                  <a:lnTo>
                    <a:pt x="1373" y="674"/>
                  </a:lnTo>
                  <a:lnTo>
                    <a:pt x="1450" y="648"/>
                  </a:lnTo>
                  <a:lnTo>
                    <a:pt x="1530" y="629"/>
                  </a:lnTo>
                  <a:lnTo>
                    <a:pt x="1609" y="616"/>
                  </a:lnTo>
                  <a:lnTo>
                    <a:pt x="1689" y="607"/>
                  </a:lnTo>
                  <a:lnTo>
                    <a:pt x="1769" y="606"/>
                  </a:lnTo>
                  <a:lnTo>
                    <a:pt x="1850" y="609"/>
                  </a:lnTo>
                  <a:lnTo>
                    <a:pt x="1929" y="619"/>
                  </a:lnTo>
                  <a:lnTo>
                    <a:pt x="2008" y="633"/>
                  </a:lnTo>
                  <a:lnTo>
                    <a:pt x="2086" y="653"/>
                  </a:lnTo>
                  <a:lnTo>
                    <a:pt x="2162" y="677"/>
                  </a:lnTo>
                  <a:lnTo>
                    <a:pt x="2237" y="708"/>
                  </a:lnTo>
                  <a:lnTo>
                    <a:pt x="2309" y="744"/>
                  </a:lnTo>
                  <a:lnTo>
                    <a:pt x="2379" y="783"/>
                  </a:lnTo>
                  <a:lnTo>
                    <a:pt x="2447" y="827"/>
                  </a:lnTo>
                  <a:lnTo>
                    <a:pt x="2511" y="877"/>
                  </a:lnTo>
                  <a:lnTo>
                    <a:pt x="2573" y="930"/>
                  </a:lnTo>
                  <a:lnTo>
                    <a:pt x="2629" y="989"/>
                  </a:lnTo>
                  <a:lnTo>
                    <a:pt x="2683" y="1050"/>
                  </a:lnTo>
                  <a:lnTo>
                    <a:pt x="2732" y="1116"/>
                  </a:lnTo>
                  <a:lnTo>
                    <a:pt x="2777" y="1187"/>
                  </a:lnTo>
                  <a:lnTo>
                    <a:pt x="2817" y="1261"/>
                  </a:lnTo>
                  <a:lnTo>
                    <a:pt x="2851" y="1339"/>
                  </a:lnTo>
                  <a:lnTo>
                    <a:pt x="2880" y="1420"/>
                  </a:lnTo>
                  <a:lnTo>
                    <a:pt x="2903" y="1506"/>
                  </a:lnTo>
                  <a:lnTo>
                    <a:pt x="2920" y="1593"/>
                  </a:lnTo>
                  <a:lnTo>
                    <a:pt x="2930" y="1686"/>
                  </a:lnTo>
                  <a:lnTo>
                    <a:pt x="2933" y="1780"/>
                  </a:lnTo>
                  <a:lnTo>
                    <a:pt x="2932" y="1838"/>
                  </a:lnTo>
                  <a:lnTo>
                    <a:pt x="2928" y="1896"/>
                  </a:lnTo>
                  <a:lnTo>
                    <a:pt x="2920" y="1952"/>
                  </a:lnTo>
                  <a:lnTo>
                    <a:pt x="2909" y="2009"/>
                  </a:lnTo>
                  <a:lnTo>
                    <a:pt x="2896" y="2063"/>
                  </a:lnTo>
                  <a:lnTo>
                    <a:pt x="2881" y="2117"/>
                  </a:lnTo>
                  <a:lnTo>
                    <a:pt x="2863" y="2170"/>
                  </a:lnTo>
                  <a:lnTo>
                    <a:pt x="2841" y="2222"/>
                  </a:lnTo>
                  <a:lnTo>
                    <a:pt x="2818" y="2273"/>
                  </a:lnTo>
                  <a:lnTo>
                    <a:pt x="2792" y="2322"/>
                  </a:lnTo>
                  <a:lnTo>
                    <a:pt x="2764" y="2371"/>
                  </a:lnTo>
                  <a:lnTo>
                    <a:pt x="2733" y="2417"/>
                  </a:lnTo>
                  <a:lnTo>
                    <a:pt x="2701" y="2463"/>
                  </a:lnTo>
                  <a:lnTo>
                    <a:pt x="2666" y="2506"/>
                  </a:lnTo>
                  <a:lnTo>
                    <a:pt x="2630" y="2548"/>
                  </a:lnTo>
                  <a:lnTo>
                    <a:pt x="2591" y="2588"/>
                  </a:lnTo>
                  <a:lnTo>
                    <a:pt x="2551" y="2626"/>
                  </a:lnTo>
                  <a:lnTo>
                    <a:pt x="2509" y="2663"/>
                  </a:lnTo>
                  <a:lnTo>
                    <a:pt x="2465" y="2698"/>
                  </a:lnTo>
                  <a:lnTo>
                    <a:pt x="2421" y="2729"/>
                  </a:lnTo>
                  <a:lnTo>
                    <a:pt x="2374" y="2760"/>
                  </a:lnTo>
                  <a:lnTo>
                    <a:pt x="2325" y="2788"/>
                  </a:lnTo>
                  <a:lnTo>
                    <a:pt x="2275" y="2814"/>
                  </a:lnTo>
                  <a:lnTo>
                    <a:pt x="2225" y="2838"/>
                  </a:lnTo>
                  <a:lnTo>
                    <a:pt x="2173" y="2858"/>
                  </a:lnTo>
                  <a:lnTo>
                    <a:pt x="2120" y="2877"/>
                  </a:lnTo>
                  <a:lnTo>
                    <a:pt x="2066" y="2893"/>
                  </a:lnTo>
                  <a:lnTo>
                    <a:pt x="2010" y="2906"/>
                  </a:lnTo>
                  <a:lnTo>
                    <a:pt x="1955" y="2916"/>
                  </a:lnTo>
                  <a:lnTo>
                    <a:pt x="1898" y="2923"/>
                  </a:lnTo>
                  <a:lnTo>
                    <a:pt x="1840" y="2928"/>
                  </a:lnTo>
                  <a:lnTo>
                    <a:pt x="1782" y="2930"/>
                  </a:lnTo>
                  <a:close/>
                  <a:moveTo>
                    <a:pt x="0" y="1706"/>
                  </a:moveTo>
                  <a:lnTo>
                    <a:pt x="1" y="1784"/>
                  </a:lnTo>
                  <a:lnTo>
                    <a:pt x="4" y="1859"/>
                  </a:lnTo>
                  <a:lnTo>
                    <a:pt x="7" y="1896"/>
                  </a:lnTo>
                  <a:lnTo>
                    <a:pt x="10" y="1933"/>
                  </a:lnTo>
                  <a:lnTo>
                    <a:pt x="13" y="1968"/>
                  </a:lnTo>
                  <a:lnTo>
                    <a:pt x="16" y="2003"/>
                  </a:lnTo>
                  <a:lnTo>
                    <a:pt x="22" y="2038"/>
                  </a:lnTo>
                  <a:lnTo>
                    <a:pt x="26" y="2072"/>
                  </a:lnTo>
                  <a:lnTo>
                    <a:pt x="33" y="2106"/>
                  </a:lnTo>
                  <a:lnTo>
                    <a:pt x="39" y="2140"/>
                  </a:lnTo>
                  <a:lnTo>
                    <a:pt x="46" y="2173"/>
                  </a:lnTo>
                  <a:lnTo>
                    <a:pt x="53" y="2206"/>
                  </a:lnTo>
                  <a:lnTo>
                    <a:pt x="62" y="2238"/>
                  </a:lnTo>
                  <a:lnTo>
                    <a:pt x="71" y="2271"/>
                  </a:lnTo>
                  <a:lnTo>
                    <a:pt x="80" y="2302"/>
                  </a:lnTo>
                  <a:lnTo>
                    <a:pt x="90" y="2334"/>
                  </a:lnTo>
                  <a:lnTo>
                    <a:pt x="102" y="2365"/>
                  </a:lnTo>
                  <a:lnTo>
                    <a:pt x="113" y="2397"/>
                  </a:lnTo>
                  <a:lnTo>
                    <a:pt x="126" y="2428"/>
                  </a:lnTo>
                  <a:lnTo>
                    <a:pt x="139" y="2458"/>
                  </a:lnTo>
                  <a:lnTo>
                    <a:pt x="153" y="2490"/>
                  </a:lnTo>
                  <a:lnTo>
                    <a:pt x="167" y="2520"/>
                  </a:lnTo>
                  <a:lnTo>
                    <a:pt x="182" y="2551"/>
                  </a:lnTo>
                  <a:lnTo>
                    <a:pt x="199" y="2581"/>
                  </a:lnTo>
                  <a:lnTo>
                    <a:pt x="216" y="2612"/>
                  </a:lnTo>
                  <a:lnTo>
                    <a:pt x="233" y="2643"/>
                  </a:lnTo>
                  <a:lnTo>
                    <a:pt x="253" y="2673"/>
                  </a:lnTo>
                  <a:lnTo>
                    <a:pt x="271" y="2703"/>
                  </a:lnTo>
                  <a:lnTo>
                    <a:pt x="292" y="2735"/>
                  </a:lnTo>
                  <a:lnTo>
                    <a:pt x="314" y="2765"/>
                  </a:lnTo>
                  <a:lnTo>
                    <a:pt x="510" y="3013"/>
                  </a:lnTo>
                  <a:lnTo>
                    <a:pt x="569" y="3073"/>
                  </a:lnTo>
                  <a:lnTo>
                    <a:pt x="630" y="3129"/>
                  </a:lnTo>
                  <a:lnTo>
                    <a:pt x="695" y="3181"/>
                  </a:lnTo>
                  <a:lnTo>
                    <a:pt x="762" y="3230"/>
                  </a:lnTo>
                  <a:lnTo>
                    <a:pt x="833" y="3276"/>
                  </a:lnTo>
                  <a:lnTo>
                    <a:pt x="905" y="3317"/>
                  </a:lnTo>
                  <a:lnTo>
                    <a:pt x="980" y="3355"/>
                  </a:lnTo>
                  <a:lnTo>
                    <a:pt x="1057" y="3388"/>
                  </a:lnTo>
                  <a:lnTo>
                    <a:pt x="1135" y="3419"/>
                  </a:lnTo>
                  <a:lnTo>
                    <a:pt x="1217" y="3445"/>
                  </a:lnTo>
                  <a:lnTo>
                    <a:pt x="1298" y="3468"/>
                  </a:lnTo>
                  <a:lnTo>
                    <a:pt x="1382" y="3486"/>
                  </a:lnTo>
                  <a:lnTo>
                    <a:pt x="1467" y="3501"/>
                  </a:lnTo>
                  <a:lnTo>
                    <a:pt x="1551" y="3512"/>
                  </a:lnTo>
                  <a:lnTo>
                    <a:pt x="1637" y="3518"/>
                  </a:lnTo>
                  <a:lnTo>
                    <a:pt x="1724" y="3522"/>
                  </a:lnTo>
                  <a:lnTo>
                    <a:pt x="1811" y="3521"/>
                  </a:lnTo>
                  <a:lnTo>
                    <a:pt x="1896" y="3516"/>
                  </a:lnTo>
                  <a:lnTo>
                    <a:pt x="1983" y="3508"/>
                  </a:lnTo>
                  <a:lnTo>
                    <a:pt x="2069" y="3496"/>
                  </a:lnTo>
                  <a:lnTo>
                    <a:pt x="2155" y="3479"/>
                  </a:lnTo>
                  <a:lnTo>
                    <a:pt x="2239" y="3459"/>
                  </a:lnTo>
                  <a:lnTo>
                    <a:pt x="2323" y="3434"/>
                  </a:lnTo>
                  <a:lnTo>
                    <a:pt x="2407" y="3406"/>
                  </a:lnTo>
                  <a:lnTo>
                    <a:pt x="2487" y="3373"/>
                  </a:lnTo>
                  <a:lnTo>
                    <a:pt x="2567" y="3336"/>
                  </a:lnTo>
                  <a:lnTo>
                    <a:pt x="2644" y="3296"/>
                  </a:lnTo>
                  <a:lnTo>
                    <a:pt x="2720" y="3252"/>
                  </a:lnTo>
                  <a:lnTo>
                    <a:pt x="2794" y="3203"/>
                  </a:lnTo>
                  <a:lnTo>
                    <a:pt x="2865" y="3150"/>
                  </a:lnTo>
                  <a:lnTo>
                    <a:pt x="2934" y="3094"/>
                  </a:lnTo>
                  <a:lnTo>
                    <a:pt x="2999" y="3033"/>
                  </a:lnTo>
                  <a:lnTo>
                    <a:pt x="3101" y="2924"/>
                  </a:lnTo>
                  <a:lnTo>
                    <a:pt x="3193" y="2812"/>
                  </a:lnTo>
                  <a:lnTo>
                    <a:pt x="3272" y="2696"/>
                  </a:lnTo>
                  <a:lnTo>
                    <a:pt x="3340" y="2577"/>
                  </a:lnTo>
                  <a:lnTo>
                    <a:pt x="3398" y="2455"/>
                  </a:lnTo>
                  <a:lnTo>
                    <a:pt x="3444" y="2332"/>
                  </a:lnTo>
                  <a:lnTo>
                    <a:pt x="3481" y="2207"/>
                  </a:lnTo>
                  <a:lnTo>
                    <a:pt x="3508" y="2080"/>
                  </a:lnTo>
                  <a:lnTo>
                    <a:pt x="3525" y="1954"/>
                  </a:lnTo>
                  <a:lnTo>
                    <a:pt x="3532" y="1828"/>
                  </a:lnTo>
                  <a:lnTo>
                    <a:pt x="3531" y="1701"/>
                  </a:lnTo>
                  <a:lnTo>
                    <a:pt x="3520" y="1575"/>
                  </a:lnTo>
                  <a:lnTo>
                    <a:pt x="3501" y="1450"/>
                  </a:lnTo>
                  <a:lnTo>
                    <a:pt x="3474" y="1329"/>
                  </a:lnTo>
                  <a:lnTo>
                    <a:pt x="3438" y="1209"/>
                  </a:lnTo>
                  <a:lnTo>
                    <a:pt x="3394" y="1092"/>
                  </a:lnTo>
                  <a:lnTo>
                    <a:pt x="3343" y="978"/>
                  </a:lnTo>
                  <a:lnTo>
                    <a:pt x="3285" y="867"/>
                  </a:lnTo>
                  <a:lnTo>
                    <a:pt x="3220" y="762"/>
                  </a:lnTo>
                  <a:lnTo>
                    <a:pt x="3148" y="661"/>
                  </a:lnTo>
                  <a:lnTo>
                    <a:pt x="3069" y="565"/>
                  </a:lnTo>
                  <a:lnTo>
                    <a:pt x="2984" y="475"/>
                  </a:lnTo>
                  <a:lnTo>
                    <a:pt x="2894" y="391"/>
                  </a:lnTo>
                  <a:lnTo>
                    <a:pt x="2797" y="314"/>
                  </a:lnTo>
                  <a:lnTo>
                    <a:pt x="2695" y="245"/>
                  </a:lnTo>
                  <a:lnTo>
                    <a:pt x="2589" y="183"/>
                  </a:lnTo>
                  <a:lnTo>
                    <a:pt x="2477" y="129"/>
                  </a:lnTo>
                  <a:lnTo>
                    <a:pt x="2361" y="85"/>
                  </a:lnTo>
                  <a:lnTo>
                    <a:pt x="2241" y="48"/>
                  </a:lnTo>
                  <a:lnTo>
                    <a:pt x="2117" y="22"/>
                  </a:lnTo>
                  <a:lnTo>
                    <a:pt x="1989" y="5"/>
                  </a:lnTo>
                  <a:lnTo>
                    <a:pt x="1856" y="0"/>
                  </a:lnTo>
                  <a:lnTo>
                    <a:pt x="1755" y="2"/>
                  </a:lnTo>
                  <a:lnTo>
                    <a:pt x="1657" y="9"/>
                  </a:lnTo>
                  <a:lnTo>
                    <a:pt x="1560" y="20"/>
                  </a:lnTo>
                  <a:lnTo>
                    <a:pt x="1464" y="35"/>
                  </a:lnTo>
                  <a:lnTo>
                    <a:pt x="1372" y="54"/>
                  </a:lnTo>
                  <a:lnTo>
                    <a:pt x="1281" y="77"/>
                  </a:lnTo>
                  <a:lnTo>
                    <a:pt x="1193" y="104"/>
                  </a:lnTo>
                  <a:lnTo>
                    <a:pt x="1107" y="134"/>
                  </a:lnTo>
                  <a:lnTo>
                    <a:pt x="1025" y="169"/>
                  </a:lnTo>
                  <a:lnTo>
                    <a:pt x="944" y="206"/>
                  </a:lnTo>
                  <a:lnTo>
                    <a:pt x="866" y="247"/>
                  </a:lnTo>
                  <a:lnTo>
                    <a:pt x="791" y="292"/>
                  </a:lnTo>
                  <a:lnTo>
                    <a:pt x="719" y="339"/>
                  </a:lnTo>
                  <a:lnTo>
                    <a:pt x="649" y="390"/>
                  </a:lnTo>
                  <a:lnTo>
                    <a:pt x="583" y="443"/>
                  </a:lnTo>
                  <a:lnTo>
                    <a:pt x="520" y="501"/>
                  </a:lnTo>
                  <a:lnTo>
                    <a:pt x="460" y="559"/>
                  </a:lnTo>
                  <a:lnTo>
                    <a:pt x="404" y="621"/>
                  </a:lnTo>
                  <a:lnTo>
                    <a:pt x="351" y="686"/>
                  </a:lnTo>
                  <a:lnTo>
                    <a:pt x="301" y="752"/>
                  </a:lnTo>
                  <a:lnTo>
                    <a:pt x="254" y="822"/>
                  </a:lnTo>
                  <a:lnTo>
                    <a:pt x="212" y="893"/>
                  </a:lnTo>
                  <a:lnTo>
                    <a:pt x="173" y="967"/>
                  </a:lnTo>
                  <a:lnTo>
                    <a:pt x="137" y="1043"/>
                  </a:lnTo>
                  <a:lnTo>
                    <a:pt x="105" y="1120"/>
                  </a:lnTo>
                  <a:lnTo>
                    <a:pt x="78" y="1199"/>
                  </a:lnTo>
                  <a:lnTo>
                    <a:pt x="54" y="1280"/>
                  </a:lnTo>
                  <a:lnTo>
                    <a:pt x="35" y="1363"/>
                  </a:lnTo>
                  <a:lnTo>
                    <a:pt x="20" y="1446"/>
                  </a:lnTo>
                  <a:lnTo>
                    <a:pt x="9" y="1532"/>
                  </a:lnTo>
                  <a:lnTo>
                    <a:pt x="2" y="1618"/>
                  </a:lnTo>
                  <a:lnTo>
                    <a:pt x="0" y="17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B20A40E9-4A6B-4296-963F-63981BFBDE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67413" y="6464300"/>
              <a:ext cx="623888" cy="622300"/>
            </a:xfrm>
            <a:custGeom>
              <a:avLst/>
              <a:gdLst>
                <a:gd name="T0" fmla="*/ 606 w 3539"/>
                <a:gd name="T1" fmla="*/ 1637 h 3531"/>
                <a:gd name="T2" fmla="*/ 656 w 3539"/>
                <a:gd name="T3" fmla="*/ 1413 h 3531"/>
                <a:gd name="T4" fmla="*/ 741 w 3539"/>
                <a:gd name="T5" fmla="*/ 1212 h 3531"/>
                <a:gd name="T6" fmla="*/ 860 w 3539"/>
                <a:gd name="T7" fmla="*/ 1036 h 3531"/>
                <a:gd name="T8" fmla="*/ 1009 w 3539"/>
                <a:gd name="T9" fmla="*/ 887 h 3531"/>
                <a:gd name="T10" fmla="*/ 1182 w 3539"/>
                <a:gd name="T11" fmla="*/ 767 h 3531"/>
                <a:gd name="T12" fmla="*/ 1378 w 3539"/>
                <a:gd name="T13" fmla="*/ 677 h 3531"/>
                <a:gd name="T14" fmla="*/ 1593 w 3539"/>
                <a:gd name="T15" fmla="*/ 620 h 3531"/>
                <a:gd name="T16" fmla="*/ 1810 w 3539"/>
                <a:gd name="T17" fmla="*/ 602 h 3531"/>
                <a:gd name="T18" fmla="*/ 2027 w 3539"/>
                <a:gd name="T19" fmla="*/ 638 h 3531"/>
                <a:gd name="T20" fmla="*/ 2240 w 3539"/>
                <a:gd name="T21" fmla="*/ 720 h 3531"/>
                <a:gd name="T22" fmla="*/ 2437 w 3539"/>
                <a:gd name="T23" fmla="*/ 842 h 3531"/>
                <a:gd name="T24" fmla="*/ 2611 w 3539"/>
                <a:gd name="T25" fmla="*/ 996 h 3531"/>
                <a:gd name="T26" fmla="*/ 2752 w 3539"/>
                <a:gd name="T27" fmla="*/ 1176 h 3531"/>
                <a:gd name="T28" fmla="*/ 2849 w 3539"/>
                <a:gd name="T29" fmla="*/ 1373 h 3531"/>
                <a:gd name="T30" fmla="*/ 2894 w 3539"/>
                <a:gd name="T31" fmla="*/ 1582 h 3531"/>
                <a:gd name="T32" fmla="*/ 2893 w 3539"/>
                <a:gd name="T33" fmla="*/ 1848 h 3531"/>
                <a:gd name="T34" fmla="*/ 2879 w 3539"/>
                <a:gd name="T35" fmla="*/ 2005 h 3531"/>
                <a:gd name="T36" fmla="*/ 2855 w 3539"/>
                <a:gd name="T37" fmla="*/ 2121 h 3531"/>
                <a:gd name="T38" fmla="*/ 2816 w 3539"/>
                <a:gd name="T39" fmla="*/ 2234 h 3531"/>
                <a:gd name="T40" fmla="*/ 2757 w 3539"/>
                <a:gd name="T41" fmla="*/ 2345 h 3531"/>
                <a:gd name="T42" fmla="*/ 2676 w 3539"/>
                <a:gd name="T43" fmla="*/ 2459 h 3531"/>
                <a:gd name="T44" fmla="*/ 2566 w 3539"/>
                <a:gd name="T45" fmla="*/ 2578 h 3531"/>
                <a:gd name="T46" fmla="*/ 2306 w 3539"/>
                <a:gd name="T47" fmla="*/ 2784 h 3531"/>
                <a:gd name="T48" fmla="*/ 1982 w 3539"/>
                <a:gd name="T49" fmla="*/ 2911 h 3531"/>
                <a:gd name="T50" fmla="*/ 1656 w 3539"/>
                <a:gd name="T51" fmla="*/ 2930 h 3531"/>
                <a:gd name="T52" fmla="*/ 1344 w 3539"/>
                <a:gd name="T53" fmla="*/ 2854 h 3531"/>
                <a:gd name="T54" fmla="*/ 1064 w 3539"/>
                <a:gd name="T55" fmla="*/ 2699 h 3531"/>
                <a:gd name="T56" fmla="*/ 834 w 3539"/>
                <a:gd name="T57" fmla="*/ 2479 h 3531"/>
                <a:gd name="T58" fmla="*/ 672 w 3539"/>
                <a:gd name="T59" fmla="*/ 2208 h 3531"/>
                <a:gd name="T60" fmla="*/ 597 w 3539"/>
                <a:gd name="T61" fmla="*/ 1902 h 3531"/>
                <a:gd name="T62" fmla="*/ 1 w 3539"/>
                <a:gd name="T63" fmla="*/ 1705 h 3531"/>
                <a:gd name="T64" fmla="*/ 12 w 3539"/>
                <a:gd name="T65" fmla="*/ 1910 h 3531"/>
                <a:gd name="T66" fmla="*/ 36 w 3539"/>
                <a:gd name="T67" fmla="*/ 2106 h 3531"/>
                <a:gd name="T68" fmla="*/ 77 w 3539"/>
                <a:gd name="T69" fmla="*/ 2294 h 3531"/>
                <a:gd name="T70" fmla="*/ 136 w 3539"/>
                <a:gd name="T71" fmla="*/ 2473 h 3531"/>
                <a:gd name="T72" fmla="*/ 216 w 3539"/>
                <a:gd name="T73" fmla="*/ 2644 h 3531"/>
                <a:gd name="T74" fmla="*/ 320 w 3539"/>
                <a:gd name="T75" fmla="*/ 2807 h 3531"/>
                <a:gd name="T76" fmla="*/ 452 w 3539"/>
                <a:gd name="T77" fmla="*/ 2962 h 3531"/>
                <a:gd name="T78" fmla="*/ 809 w 3539"/>
                <a:gd name="T79" fmla="*/ 3253 h 3531"/>
                <a:gd name="T80" fmla="*/ 1397 w 3539"/>
                <a:gd name="T81" fmla="*/ 3496 h 3531"/>
                <a:gd name="T82" fmla="*/ 1990 w 3539"/>
                <a:gd name="T83" fmla="*/ 3514 h 3531"/>
                <a:gd name="T84" fmla="*/ 2541 w 3539"/>
                <a:gd name="T85" fmla="*/ 3338 h 3531"/>
                <a:gd name="T86" fmla="*/ 3009 w 3539"/>
                <a:gd name="T87" fmla="*/ 3002 h 3531"/>
                <a:gd name="T88" fmla="*/ 3352 w 3539"/>
                <a:gd name="T89" fmla="*/ 2539 h 3531"/>
                <a:gd name="T90" fmla="*/ 3527 w 3539"/>
                <a:gd name="T91" fmla="*/ 1982 h 3531"/>
                <a:gd name="T92" fmla="*/ 3490 w 3539"/>
                <a:gd name="T93" fmla="*/ 1364 h 3531"/>
                <a:gd name="T94" fmla="*/ 3275 w 3539"/>
                <a:gd name="T95" fmla="*/ 843 h 3531"/>
                <a:gd name="T96" fmla="*/ 3006 w 3539"/>
                <a:gd name="T97" fmla="*/ 506 h 3531"/>
                <a:gd name="T98" fmla="*/ 2673 w 3539"/>
                <a:gd name="T99" fmla="*/ 251 h 3531"/>
                <a:gd name="T100" fmla="*/ 2294 w 3539"/>
                <a:gd name="T101" fmla="*/ 82 h 3531"/>
                <a:gd name="T102" fmla="*/ 1888 w 3539"/>
                <a:gd name="T103" fmla="*/ 4 h 3531"/>
                <a:gd name="T104" fmla="*/ 1474 w 3539"/>
                <a:gd name="T105" fmla="*/ 20 h 3531"/>
                <a:gd name="T106" fmla="*/ 1071 w 3539"/>
                <a:gd name="T107" fmla="*/ 134 h 3531"/>
                <a:gd name="T108" fmla="*/ 698 w 3539"/>
                <a:gd name="T109" fmla="*/ 349 h 3531"/>
                <a:gd name="T110" fmla="*/ 483 w 3539"/>
                <a:gd name="T111" fmla="*/ 541 h 3531"/>
                <a:gd name="T112" fmla="*/ 391 w 3539"/>
                <a:gd name="T113" fmla="*/ 645 h 3531"/>
                <a:gd name="T114" fmla="*/ 301 w 3539"/>
                <a:gd name="T115" fmla="*/ 763 h 3531"/>
                <a:gd name="T116" fmla="*/ 215 w 3539"/>
                <a:gd name="T117" fmla="*/ 895 h 3531"/>
                <a:gd name="T118" fmla="*/ 138 w 3539"/>
                <a:gd name="T119" fmla="*/ 1038 h 3531"/>
                <a:gd name="T120" fmla="*/ 75 w 3539"/>
                <a:gd name="T121" fmla="*/ 1191 h 3531"/>
                <a:gd name="T122" fmla="*/ 28 w 3539"/>
                <a:gd name="T123" fmla="*/ 1350 h 3531"/>
                <a:gd name="T124" fmla="*/ 3 w 3539"/>
                <a:gd name="T125" fmla="*/ 1515 h 3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39" h="3531">
                  <a:moveTo>
                    <a:pt x="594" y="1821"/>
                  </a:moveTo>
                  <a:lnTo>
                    <a:pt x="595" y="1759"/>
                  </a:lnTo>
                  <a:lnTo>
                    <a:pt x="599" y="1697"/>
                  </a:lnTo>
                  <a:lnTo>
                    <a:pt x="606" y="1637"/>
                  </a:lnTo>
                  <a:lnTo>
                    <a:pt x="614" y="1579"/>
                  </a:lnTo>
                  <a:lnTo>
                    <a:pt x="625" y="1523"/>
                  </a:lnTo>
                  <a:lnTo>
                    <a:pt x="639" y="1466"/>
                  </a:lnTo>
                  <a:lnTo>
                    <a:pt x="656" y="1413"/>
                  </a:lnTo>
                  <a:lnTo>
                    <a:pt x="673" y="1360"/>
                  </a:lnTo>
                  <a:lnTo>
                    <a:pt x="694" y="1309"/>
                  </a:lnTo>
                  <a:lnTo>
                    <a:pt x="717" y="1259"/>
                  </a:lnTo>
                  <a:lnTo>
                    <a:pt x="741" y="1212"/>
                  </a:lnTo>
                  <a:lnTo>
                    <a:pt x="769" y="1165"/>
                  </a:lnTo>
                  <a:lnTo>
                    <a:pt x="797" y="1120"/>
                  </a:lnTo>
                  <a:lnTo>
                    <a:pt x="827" y="1077"/>
                  </a:lnTo>
                  <a:lnTo>
                    <a:pt x="860" y="1036"/>
                  </a:lnTo>
                  <a:lnTo>
                    <a:pt x="895" y="997"/>
                  </a:lnTo>
                  <a:lnTo>
                    <a:pt x="930" y="958"/>
                  </a:lnTo>
                  <a:lnTo>
                    <a:pt x="968" y="922"/>
                  </a:lnTo>
                  <a:lnTo>
                    <a:pt x="1009" y="887"/>
                  </a:lnTo>
                  <a:lnTo>
                    <a:pt x="1050" y="855"/>
                  </a:lnTo>
                  <a:lnTo>
                    <a:pt x="1092" y="823"/>
                  </a:lnTo>
                  <a:lnTo>
                    <a:pt x="1137" y="795"/>
                  </a:lnTo>
                  <a:lnTo>
                    <a:pt x="1182" y="767"/>
                  </a:lnTo>
                  <a:lnTo>
                    <a:pt x="1229" y="742"/>
                  </a:lnTo>
                  <a:lnTo>
                    <a:pt x="1278" y="718"/>
                  </a:lnTo>
                  <a:lnTo>
                    <a:pt x="1327" y="698"/>
                  </a:lnTo>
                  <a:lnTo>
                    <a:pt x="1378" y="677"/>
                  </a:lnTo>
                  <a:lnTo>
                    <a:pt x="1430" y="660"/>
                  </a:lnTo>
                  <a:lnTo>
                    <a:pt x="1483" y="645"/>
                  </a:lnTo>
                  <a:lnTo>
                    <a:pt x="1537" y="631"/>
                  </a:lnTo>
                  <a:lnTo>
                    <a:pt x="1593" y="620"/>
                  </a:lnTo>
                  <a:lnTo>
                    <a:pt x="1649" y="610"/>
                  </a:lnTo>
                  <a:lnTo>
                    <a:pt x="1702" y="605"/>
                  </a:lnTo>
                  <a:lnTo>
                    <a:pt x="1755" y="601"/>
                  </a:lnTo>
                  <a:lnTo>
                    <a:pt x="1810" y="602"/>
                  </a:lnTo>
                  <a:lnTo>
                    <a:pt x="1864" y="607"/>
                  </a:lnTo>
                  <a:lnTo>
                    <a:pt x="1918" y="614"/>
                  </a:lnTo>
                  <a:lnTo>
                    <a:pt x="1972" y="625"/>
                  </a:lnTo>
                  <a:lnTo>
                    <a:pt x="2027" y="638"/>
                  </a:lnTo>
                  <a:lnTo>
                    <a:pt x="2081" y="655"/>
                  </a:lnTo>
                  <a:lnTo>
                    <a:pt x="2134" y="674"/>
                  </a:lnTo>
                  <a:lnTo>
                    <a:pt x="2187" y="697"/>
                  </a:lnTo>
                  <a:lnTo>
                    <a:pt x="2240" y="720"/>
                  </a:lnTo>
                  <a:lnTo>
                    <a:pt x="2291" y="748"/>
                  </a:lnTo>
                  <a:lnTo>
                    <a:pt x="2340" y="777"/>
                  </a:lnTo>
                  <a:lnTo>
                    <a:pt x="2389" y="808"/>
                  </a:lnTo>
                  <a:lnTo>
                    <a:pt x="2437" y="842"/>
                  </a:lnTo>
                  <a:lnTo>
                    <a:pt x="2484" y="878"/>
                  </a:lnTo>
                  <a:lnTo>
                    <a:pt x="2527" y="916"/>
                  </a:lnTo>
                  <a:lnTo>
                    <a:pt x="2571" y="955"/>
                  </a:lnTo>
                  <a:lnTo>
                    <a:pt x="2611" y="996"/>
                  </a:lnTo>
                  <a:lnTo>
                    <a:pt x="2650" y="1039"/>
                  </a:lnTo>
                  <a:lnTo>
                    <a:pt x="2686" y="1083"/>
                  </a:lnTo>
                  <a:lnTo>
                    <a:pt x="2720" y="1129"/>
                  </a:lnTo>
                  <a:lnTo>
                    <a:pt x="2752" y="1176"/>
                  </a:lnTo>
                  <a:lnTo>
                    <a:pt x="2780" y="1223"/>
                  </a:lnTo>
                  <a:lnTo>
                    <a:pt x="2806" y="1272"/>
                  </a:lnTo>
                  <a:lnTo>
                    <a:pt x="2829" y="1322"/>
                  </a:lnTo>
                  <a:lnTo>
                    <a:pt x="2849" y="1373"/>
                  </a:lnTo>
                  <a:lnTo>
                    <a:pt x="2866" y="1425"/>
                  </a:lnTo>
                  <a:lnTo>
                    <a:pt x="2879" y="1477"/>
                  </a:lnTo>
                  <a:lnTo>
                    <a:pt x="2888" y="1529"/>
                  </a:lnTo>
                  <a:lnTo>
                    <a:pt x="2894" y="1582"/>
                  </a:lnTo>
                  <a:lnTo>
                    <a:pt x="2896" y="1635"/>
                  </a:lnTo>
                  <a:lnTo>
                    <a:pt x="2895" y="1710"/>
                  </a:lnTo>
                  <a:lnTo>
                    <a:pt x="2895" y="1781"/>
                  </a:lnTo>
                  <a:lnTo>
                    <a:pt x="2893" y="1848"/>
                  </a:lnTo>
                  <a:lnTo>
                    <a:pt x="2889" y="1913"/>
                  </a:lnTo>
                  <a:lnTo>
                    <a:pt x="2887" y="1944"/>
                  </a:lnTo>
                  <a:lnTo>
                    <a:pt x="2883" y="1975"/>
                  </a:lnTo>
                  <a:lnTo>
                    <a:pt x="2879" y="2005"/>
                  </a:lnTo>
                  <a:lnTo>
                    <a:pt x="2875" y="2034"/>
                  </a:lnTo>
                  <a:lnTo>
                    <a:pt x="2869" y="2063"/>
                  </a:lnTo>
                  <a:lnTo>
                    <a:pt x="2863" y="2093"/>
                  </a:lnTo>
                  <a:lnTo>
                    <a:pt x="2855" y="2121"/>
                  </a:lnTo>
                  <a:lnTo>
                    <a:pt x="2847" y="2150"/>
                  </a:lnTo>
                  <a:lnTo>
                    <a:pt x="2838" y="2178"/>
                  </a:lnTo>
                  <a:lnTo>
                    <a:pt x="2828" y="2205"/>
                  </a:lnTo>
                  <a:lnTo>
                    <a:pt x="2816" y="2234"/>
                  </a:lnTo>
                  <a:lnTo>
                    <a:pt x="2803" y="2262"/>
                  </a:lnTo>
                  <a:lnTo>
                    <a:pt x="2790" y="2289"/>
                  </a:lnTo>
                  <a:lnTo>
                    <a:pt x="2774" y="2317"/>
                  </a:lnTo>
                  <a:lnTo>
                    <a:pt x="2757" y="2345"/>
                  </a:lnTo>
                  <a:lnTo>
                    <a:pt x="2739" y="2373"/>
                  </a:lnTo>
                  <a:lnTo>
                    <a:pt x="2719" y="2402"/>
                  </a:lnTo>
                  <a:lnTo>
                    <a:pt x="2699" y="2430"/>
                  </a:lnTo>
                  <a:lnTo>
                    <a:pt x="2676" y="2459"/>
                  </a:lnTo>
                  <a:lnTo>
                    <a:pt x="2651" y="2488"/>
                  </a:lnTo>
                  <a:lnTo>
                    <a:pt x="2625" y="2518"/>
                  </a:lnTo>
                  <a:lnTo>
                    <a:pt x="2597" y="2548"/>
                  </a:lnTo>
                  <a:lnTo>
                    <a:pt x="2566" y="2578"/>
                  </a:lnTo>
                  <a:lnTo>
                    <a:pt x="2535" y="2610"/>
                  </a:lnTo>
                  <a:lnTo>
                    <a:pt x="2460" y="2676"/>
                  </a:lnTo>
                  <a:lnTo>
                    <a:pt x="2384" y="2734"/>
                  </a:lnTo>
                  <a:lnTo>
                    <a:pt x="2306" y="2784"/>
                  </a:lnTo>
                  <a:lnTo>
                    <a:pt x="2225" y="2828"/>
                  </a:lnTo>
                  <a:lnTo>
                    <a:pt x="2145" y="2862"/>
                  </a:lnTo>
                  <a:lnTo>
                    <a:pt x="2064" y="2891"/>
                  </a:lnTo>
                  <a:lnTo>
                    <a:pt x="1982" y="2911"/>
                  </a:lnTo>
                  <a:lnTo>
                    <a:pt x="1900" y="2925"/>
                  </a:lnTo>
                  <a:lnTo>
                    <a:pt x="1818" y="2933"/>
                  </a:lnTo>
                  <a:lnTo>
                    <a:pt x="1737" y="2934"/>
                  </a:lnTo>
                  <a:lnTo>
                    <a:pt x="1656" y="2930"/>
                  </a:lnTo>
                  <a:lnTo>
                    <a:pt x="1575" y="2919"/>
                  </a:lnTo>
                  <a:lnTo>
                    <a:pt x="1497" y="2902"/>
                  </a:lnTo>
                  <a:lnTo>
                    <a:pt x="1419" y="2881"/>
                  </a:lnTo>
                  <a:lnTo>
                    <a:pt x="1344" y="2854"/>
                  </a:lnTo>
                  <a:lnTo>
                    <a:pt x="1270" y="2821"/>
                  </a:lnTo>
                  <a:lnTo>
                    <a:pt x="1199" y="2785"/>
                  </a:lnTo>
                  <a:lnTo>
                    <a:pt x="1129" y="2744"/>
                  </a:lnTo>
                  <a:lnTo>
                    <a:pt x="1064" y="2699"/>
                  </a:lnTo>
                  <a:lnTo>
                    <a:pt x="1001" y="2649"/>
                  </a:lnTo>
                  <a:lnTo>
                    <a:pt x="941" y="2596"/>
                  </a:lnTo>
                  <a:lnTo>
                    <a:pt x="886" y="2538"/>
                  </a:lnTo>
                  <a:lnTo>
                    <a:pt x="834" y="2479"/>
                  </a:lnTo>
                  <a:lnTo>
                    <a:pt x="786" y="2415"/>
                  </a:lnTo>
                  <a:lnTo>
                    <a:pt x="744" y="2349"/>
                  </a:lnTo>
                  <a:lnTo>
                    <a:pt x="706" y="2279"/>
                  </a:lnTo>
                  <a:lnTo>
                    <a:pt x="672" y="2208"/>
                  </a:lnTo>
                  <a:lnTo>
                    <a:pt x="645" y="2134"/>
                  </a:lnTo>
                  <a:lnTo>
                    <a:pt x="623" y="2058"/>
                  </a:lnTo>
                  <a:lnTo>
                    <a:pt x="607" y="1981"/>
                  </a:lnTo>
                  <a:lnTo>
                    <a:pt x="597" y="1902"/>
                  </a:lnTo>
                  <a:lnTo>
                    <a:pt x="594" y="1821"/>
                  </a:lnTo>
                  <a:close/>
                  <a:moveTo>
                    <a:pt x="0" y="1598"/>
                  </a:moveTo>
                  <a:lnTo>
                    <a:pt x="0" y="1652"/>
                  </a:lnTo>
                  <a:lnTo>
                    <a:pt x="1" y="1705"/>
                  </a:lnTo>
                  <a:lnTo>
                    <a:pt x="2" y="1757"/>
                  </a:lnTo>
                  <a:lnTo>
                    <a:pt x="4" y="1808"/>
                  </a:lnTo>
                  <a:lnTo>
                    <a:pt x="8" y="1860"/>
                  </a:lnTo>
                  <a:lnTo>
                    <a:pt x="12" y="1910"/>
                  </a:lnTo>
                  <a:lnTo>
                    <a:pt x="16" y="1959"/>
                  </a:lnTo>
                  <a:lnTo>
                    <a:pt x="22" y="2009"/>
                  </a:lnTo>
                  <a:lnTo>
                    <a:pt x="28" y="2058"/>
                  </a:lnTo>
                  <a:lnTo>
                    <a:pt x="36" y="2106"/>
                  </a:lnTo>
                  <a:lnTo>
                    <a:pt x="45" y="2153"/>
                  </a:lnTo>
                  <a:lnTo>
                    <a:pt x="54" y="2201"/>
                  </a:lnTo>
                  <a:lnTo>
                    <a:pt x="65" y="2248"/>
                  </a:lnTo>
                  <a:lnTo>
                    <a:pt x="77" y="2294"/>
                  </a:lnTo>
                  <a:lnTo>
                    <a:pt x="89" y="2340"/>
                  </a:lnTo>
                  <a:lnTo>
                    <a:pt x="103" y="2384"/>
                  </a:lnTo>
                  <a:lnTo>
                    <a:pt x="119" y="2429"/>
                  </a:lnTo>
                  <a:lnTo>
                    <a:pt x="136" y="2473"/>
                  </a:lnTo>
                  <a:lnTo>
                    <a:pt x="154" y="2517"/>
                  </a:lnTo>
                  <a:lnTo>
                    <a:pt x="173" y="2560"/>
                  </a:lnTo>
                  <a:lnTo>
                    <a:pt x="194" y="2602"/>
                  </a:lnTo>
                  <a:lnTo>
                    <a:pt x="216" y="2644"/>
                  </a:lnTo>
                  <a:lnTo>
                    <a:pt x="240" y="2686"/>
                  </a:lnTo>
                  <a:lnTo>
                    <a:pt x="265" y="2727"/>
                  </a:lnTo>
                  <a:lnTo>
                    <a:pt x="292" y="2767"/>
                  </a:lnTo>
                  <a:lnTo>
                    <a:pt x="320" y="2807"/>
                  </a:lnTo>
                  <a:lnTo>
                    <a:pt x="351" y="2847"/>
                  </a:lnTo>
                  <a:lnTo>
                    <a:pt x="382" y="2885"/>
                  </a:lnTo>
                  <a:lnTo>
                    <a:pt x="416" y="2924"/>
                  </a:lnTo>
                  <a:lnTo>
                    <a:pt x="452" y="2962"/>
                  </a:lnTo>
                  <a:lnTo>
                    <a:pt x="489" y="2999"/>
                  </a:lnTo>
                  <a:lnTo>
                    <a:pt x="528" y="3036"/>
                  </a:lnTo>
                  <a:lnTo>
                    <a:pt x="667" y="3153"/>
                  </a:lnTo>
                  <a:lnTo>
                    <a:pt x="809" y="3253"/>
                  </a:lnTo>
                  <a:lnTo>
                    <a:pt x="953" y="3337"/>
                  </a:lnTo>
                  <a:lnTo>
                    <a:pt x="1100" y="3404"/>
                  </a:lnTo>
                  <a:lnTo>
                    <a:pt x="1248" y="3457"/>
                  </a:lnTo>
                  <a:lnTo>
                    <a:pt x="1397" y="3496"/>
                  </a:lnTo>
                  <a:lnTo>
                    <a:pt x="1547" y="3520"/>
                  </a:lnTo>
                  <a:lnTo>
                    <a:pt x="1696" y="3531"/>
                  </a:lnTo>
                  <a:lnTo>
                    <a:pt x="1843" y="3529"/>
                  </a:lnTo>
                  <a:lnTo>
                    <a:pt x="1990" y="3514"/>
                  </a:lnTo>
                  <a:lnTo>
                    <a:pt x="2133" y="3487"/>
                  </a:lnTo>
                  <a:lnTo>
                    <a:pt x="2273" y="3448"/>
                  </a:lnTo>
                  <a:lnTo>
                    <a:pt x="2409" y="3398"/>
                  </a:lnTo>
                  <a:lnTo>
                    <a:pt x="2541" y="3338"/>
                  </a:lnTo>
                  <a:lnTo>
                    <a:pt x="2667" y="3268"/>
                  </a:lnTo>
                  <a:lnTo>
                    <a:pt x="2789" y="3189"/>
                  </a:lnTo>
                  <a:lnTo>
                    <a:pt x="2903" y="3100"/>
                  </a:lnTo>
                  <a:lnTo>
                    <a:pt x="3009" y="3002"/>
                  </a:lnTo>
                  <a:lnTo>
                    <a:pt x="3109" y="2897"/>
                  </a:lnTo>
                  <a:lnTo>
                    <a:pt x="3199" y="2785"/>
                  </a:lnTo>
                  <a:lnTo>
                    <a:pt x="3281" y="2665"/>
                  </a:lnTo>
                  <a:lnTo>
                    <a:pt x="3352" y="2539"/>
                  </a:lnTo>
                  <a:lnTo>
                    <a:pt x="3413" y="2408"/>
                  </a:lnTo>
                  <a:lnTo>
                    <a:pt x="3463" y="2271"/>
                  </a:lnTo>
                  <a:lnTo>
                    <a:pt x="3501" y="2129"/>
                  </a:lnTo>
                  <a:lnTo>
                    <a:pt x="3527" y="1982"/>
                  </a:lnTo>
                  <a:lnTo>
                    <a:pt x="3539" y="1833"/>
                  </a:lnTo>
                  <a:lnTo>
                    <a:pt x="3538" y="1679"/>
                  </a:lnTo>
                  <a:lnTo>
                    <a:pt x="3522" y="1523"/>
                  </a:lnTo>
                  <a:lnTo>
                    <a:pt x="3490" y="1364"/>
                  </a:lnTo>
                  <a:lnTo>
                    <a:pt x="3442" y="1204"/>
                  </a:lnTo>
                  <a:lnTo>
                    <a:pt x="3379" y="1042"/>
                  </a:lnTo>
                  <a:lnTo>
                    <a:pt x="3329" y="941"/>
                  </a:lnTo>
                  <a:lnTo>
                    <a:pt x="3275" y="843"/>
                  </a:lnTo>
                  <a:lnTo>
                    <a:pt x="3214" y="751"/>
                  </a:lnTo>
                  <a:lnTo>
                    <a:pt x="3149" y="664"/>
                  </a:lnTo>
                  <a:lnTo>
                    <a:pt x="3080" y="583"/>
                  </a:lnTo>
                  <a:lnTo>
                    <a:pt x="3006" y="506"/>
                  </a:lnTo>
                  <a:lnTo>
                    <a:pt x="2928" y="434"/>
                  </a:lnTo>
                  <a:lnTo>
                    <a:pt x="2846" y="367"/>
                  </a:lnTo>
                  <a:lnTo>
                    <a:pt x="2762" y="306"/>
                  </a:lnTo>
                  <a:lnTo>
                    <a:pt x="2673" y="251"/>
                  </a:lnTo>
                  <a:lnTo>
                    <a:pt x="2581" y="200"/>
                  </a:lnTo>
                  <a:lnTo>
                    <a:pt x="2488" y="156"/>
                  </a:lnTo>
                  <a:lnTo>
                    <a:pt x="2392" y="117"/>
                  </a:lnTo>
                  <a:lnTo>
                    <a:pt x="2294" y="82"/>
                  </a:lnTo>
                  <a:lnTo>
                    <a:pt x="2194" y="54"/>
                  </a:lnTo>
                  <a:lnTo>
                    <a:pt x="2093" y="32"/>
                  </a:lnTo>
                  <a:lnTo>
                    <a:pt x="1991" y="15"/>
                  </a:lnTo>
                  <a:lnTo>
                    <a:pt x="1888" y="4"/>
                  </a:lnTo>
                  <a:lnTo>
                    <a:pt x="1785" y="0"/>
                  </a:lnTo>
                  <a:lnTo>
                    <a:pt x="1680" y="1"/>
                  </a:lnTo>
                  <a:lnTo>
                    <a:pt x="1577" y="7"/>
                  </a:lnTo>
                  <a:lnTo>
                    <a:pt x="1474" y="20"/>
                  </a:lnTo>
                  <a:lnTo>
                    <a:pt x="1371" y="40"/>
                  </a:lnTo>
                  <a:lnTo>
                    <a:pt x="1270" y="65"/>
                  </a:lnTo>
                  <a:lnTo>
                    <a:pt x="1170" y="96"/>
                  </a:lnTo>
                  <a:lnTo>
                    <a:pt x="1071" y="134"/>
                  </a:lnTo>
                  <a:lnTo>
                    <a:pt x="974" y="177"/>
                  </a:lnTo>
                  <a:lnTo>
                    <a:pt x="879" y="228"/>
                  </a:lnTo>
                  <a:lnTo>
                    <a:pt x="787" y="285"/>
                  </a:lnTo>
                  <a:lnTo>
                    <a:pt x="698" y="349"/>
                  </a:lnTo>
                  <a:lnTo>
                    <a:pt x="611" y="418"/>
                  </a:lnTo>
                  <a:lnTo>
                    <a:pt x="528" y="495"/>
                  </a:lnTo>
                  <a:lnTo>
                    <a:pt x="506" y="517"/>
                  </a:lnTo>
                  <a:lnTo>
                    <a:pt x="483" y="541"/>
                  </a:lnTo>
                  <a:lnTo>
                    <a:pt x="460" y="564"/>
                  </a:lnTo>
                  <a:lnTo>
                    <a:pt x="438" y="590"/>
                  </a:lnTo>
                  <a:lnTo>
                    <a:pt x="415" y="616"/>
                  </a:lnTo>
                  <a:lnTo>
                    <a:pt x="391" y="645"/>
                  </a:lnTo>
                  <a:lnTo>
                    <a:pt x="368" y="673"/>
                  </a:lnTo>
                  <a:lnTo>
                    <a:pt x="345" y="702"/>
                  </a:lnTo>
                  <a:lnTo>
                    <a:pt x="322" y="732"/>
                  </a:lnTo>
                  <a:lnTo>
                    <a:pt x="301" y="763"/>
                  </a:lnTo>
                  <a:lnTo>
                    <a:pt x="278" y="795"/>
                  </a:lnTo>
                  <a:lnTo>
                    <a:pt x="256" y="828"/>
                  </a:lnTo>
                  <a:lnTo>
                    <a:pt x="236" y="861"/>
                  </a:lnTo>
                  <a:lnTo>
                    <a:pt x="215" y="895"/>
                  </a:lnTo>
                  <a:lnTo>
                    <a:pt x="194" y="930"/>
                  </a:lnTo>
                  <a:lnTo>
                    <a:pt x="175" y="965"/>
                  </a:lnTo>
                  <a:lnTo>
                    <a:pt x="156" y="1001"/>
                  </a:lnTo>
                  <a:lnTo>
                    <a:pt x="138" y="1038"/>
                  </a:lnTo>
                  <a:lnTo>
                    <a:pt x="121" y="1075"/>
                  </a:lnTo>
                  <a:lnTo>
                    <a:pt x="104" y="1113"/>
                  </a:lnTo>
                  <a:lnTo>
                    <a:pt x="89" y="1152"/>
                  </a:lnTo>
                  <a:lnTo>
                    <a:pt x="75" y="1191"/>
                  </a:lnTo>
                  <a:lnTo>
                    <a:pt x="61" y="1230"/>
                  </a:lnTo>
                  <a:lnTo>
                    <a:pt x="49" y="1269"/>
                  </a:lnTo>
                  <a:lnTo>
                    <a:pt x="38" y="1309"/>
                  </a:lnTo>
                  <a:lnTo>
                    <a:pt x="28" y="1350"/>
                  </a:lnTo>
                  <a:lnTo>
                    <a:pt x="20" y="1390"/>
                  </a:lnTo>
                  <a:lnTo>
                    <a:pt x="13" y="1432"/>
                  </a:lnTo>
                  <a:lnTo>
                    <a:pt x="7" y="1473"/>
                  </a:lnTo>
                  <a:lnTo>
                    <a:pt x="3" y="1515"/>
                  </a:lnTo>
                  <a:lnTo>
                    <a:pt x="0" y="1556"/>
                  </a:lnTo>
                  <a:lnTo>
                    <a:pt x="0" y="15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6B6CEE42-D892-4CAF-B01E-5BDDA05AD3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59475" y="7680325"/>
              <a:ext cx="628650" cy="622300"/>
            </a:xfrm>
            <a:custGeom>
              <a:avLst/>
              <a:gdLst>
                <a:gd name="T0" fmla="*/ 1527 w 3556"/>
                <a:gd name="T1" fmla="*/ 2895 h 3527"/>
                <a:gd name="T2" fmla="*/ 1195 w 3556"/>
                <a:gd name="T3" fmla="*/ 2760 h 3527"/>
                <a:gd name="T4" fmla="*/ 934 w 3556"/>
                <a:gd name="T5" fmla="*/ 2540 h 3527"/>
                <a:gd name="T6" fmla="*/ 750 w 3556"/>
                <a:gd name="T7" fmla="*/ 2260 h 3527"/>
                <a:gd name="T8" fmla="*/ 649 w 3556"/>
                <a:gd name="T9" fmla="*/ 1943 h 3527"/>
                <a:gd name="T10" fmla="*/ 638 w 3556"/>
                <a:gd name="T11" fmla="*/ 1612 h 3527"/>
                <a:gd name="T12" fmla="*/ 723 w 3556"/>
                <a:gd name="T13" fmla="*/ 1290 h 3527"/>
                <a:gd name="T14" fmla="*/ 911 w 3556"/>
                <a:gd name="T15" fmla="*/ 999 h 3527"/>
                <a:gd name="T16" fmla="*/ 1312 w 3556"/>
                <a:gd name="T17" fmla="*/ 699 h 3527"/>
                <a:gd name="T18" fmla="*/ 1774 w 3556"/>
                <a:gd name="T19" fmla="*/ 594 h 3527"/>
                <a:gd name="T20" fmla="*/ 2209 w 3556"/>
                <a:gd name="T21" fmla="*/ 688 h 3527"/>
                <a:gd name="T22" fmla="*/ 2577 w 3556"/>
                <a:gd name="T23" fmla="*/ 937 h 3527"/>
                <a:gd name="T24" fmla="*/ 2840 w 3556"/>
                <a:gd name="T25" fmla="*/ 1296 h 3527"/>
                <a:gd name="T26" fmla="*/ 2957 w 3556"/>
                <a:gd name="T27" fmla="*/ 1722 h 3527"/>
                <a:gd name="T28" fmla="*/ 2888 w 3556"/>
                <a:gd name="T29" fmla="*/ 2171 h 3527"/>
                <a:gd name="T30" fmla="*/ 2592 w 3556"/>
                <a:gd name="T31" fmla="*/ 2598 h 3527"/>
                <a:gd name="T32" fmla="*/ 2378 w 3556"/>
                <a:gd name="T33" fmla="*/ 2762 h 3527"/>
                <a:gd name="T34" fmla="*/ 2213 w 3556"/>
                <a:gd name="T35" fmla="*/ 2841 h 3527"/>
                <a:gd name="T36" fmla="*/ 2033 w 3556"/>
                <a:gd name="T37" fmla="*/ 2900 h 3527"/>
                <a:gd name="T38" fmla="*/ 1880 w 3556"/>
                <a:gd name="T39" fmla="*/ 2926 h 3527"/>
                <a:gd name="T40" fmla="*/ 0 w 3556"/>
                <a:gd name="T41" fmla="*/ 1780 h 3527"/>
                <a:gd name="T42" fmla="*/ 81 w 3556"/>
                <a:gd name="T43" fmla="*/ 2286 h 3527"/>
                <a:gd name="T44" fmla="*/ 305 w 3556"/>
                <a:gd name="T45" fmla="*/ 2734 h 3527"/>
                <a:gd name="T46" fmla="*/ 644 w 3556"/>
                <a:gd name="T47" fmla="*/ 3100 h 3527"/>
                <a:gd name="T48" fmla="*/ 1067 w 3556"/>
                <a:gd name="T49" fmla="*/ 3366 h 3527"/>
                <a:gd name="T50" fmla="*/ 1547 w 3556"/>
                <a:gd name="T51" fmla="*/ 3509 h 3527"/>
                <a:gd name="T52" fmla="*/ 2055 w 3556"/>
                <a:gd name="T53" fmla="*/ 3508 h 3527"/>
                <a:gd name="T54" fmla="*/ 2561 w 3556"/>
                <a:gd name="T55" fmla="*/ 3344 h 3527"/>
                <a:gd name="T56" fmla="*/ 3036 w 3556"/>
                <a:gd name="T57" fmla="*/ 2994 h 3527"/>
                <a:gd name="T58" fmla="*/ 3262 w 3556"/>
                <a:gd name="T59" fmla="*/ 2721 h 3527"/>
                <a:gd name="T60" fmla="*/ 3424 w 3556"/>
                <a:gd name="T61" fmla="*/ 2419 h 3527"/>
                <a:gd name="T62" fmla="*/ 3522 w 3556"/>
                <a:gd name="T63" fmla="*/ 2098 h 3527"/>
                <a:gd name="T64" fmla="*/ 3556 w 3556"/>
                <a:gd name="T65" fmla="*/ 1767 h 3527"/>
                <a:gd name="T66" fmla="*/ 3528 w 3556"/>
                <a:gd name="T67" fmla="*/ 1437 h 3527"/>
                <a:gd name="T68" fmla="*/ 3435 w 3556"/>
                <a:gd name="T69" fmla="*/ 1118 h 3527"/>
                <a:gd name="T70" fmla="*/ 3277 w 3556"/>
                <a:gd name="T71" fmla="*/ 817 h 3527"/>
                <a:gd name="T72" fmla="*/ 3055 w 3556"/>
                <a:gd name="T73" fmla="*/ 546 h 3527"/>
                <a:gd name="T74" fmla="*/ 2908 w 3556"/>
                <a:gd name="T75" fmla="*/ 408 h 3527"/>
                <a:gd name="T76" fmla="*/ 2767 w 3556"/>
                <a:gd name="T77" fmla="*/ 292 h 3527"/>
                <a:gd name="T78" fmla="*/ 2625 w 3556"/>
                <a:gd name="T79" fmla="*/ 197 h 3527"/>
                <a:gd name="T80" fmla="*/ 2477 w 3556"/>
                <a:gd name="T81" fmla="*/ 123 h 3527"/>
                <a:gd name="T82" fmla="*/ 2318 w 3556"/>
                <a:gd name="T83" fmla="*/ 67 h 3527"/>
                <a:gd name="T84" fmla="*/ 2141 w 3556"/>
                <a:gd name="T85" fmla="*/ 29 h 3527"/>
                <a:gd name="T86" fmla="*/ 1939 w 3556"/>
                <a:gd name="T87" fmla="*/ 7 h 3527"/>
                <a:gd name="T88" fmla="*/ 1709 w 3556"/>
                <a:gd name="T89" fmla="*/ 0 h 3527"/>
                <a:gd name="T90" fmla="*/ 1520 w 3556"/>
                <a:gd name="T91" fmla="*/ 13 h 3527"/>
                <a:gd name="T92" fmla="*/ 1334 w 3556"/>
                <a:gd name="T93" fmla="*/ 48 h 3527"/>
                <a:gd name="T94" fmla="*/ 1162 w 3556"/>
                <a:gd name="T95" fmla="*/ 99 h 3527"/>
                <a:gd name="T96" fmla="*/ 1015 w 3556"/>
                <a:gd name="T97" fmla="*/ 159 h 3527"/>
                <a:gd name="T98" fmla="*/ 495 w 3556"/>
                <a:gd name="T99" fmla="*/ 554 h 3527"/>
                <a:gd name="T100" fmla="*/ 384 w 3556"/>
                <a:gd name="T101" fmla="*/ 684 h 3527"/>
                <a:gd name="T102" fmla="*/ 286 w 3556"/>
                <a:gd name="T103" fmla="*/ 825 h 3527"/>
                <a:gd name="T104" fmla="*/ 200 w 3556"/>
                <a:gd name="T105" fmla="*/ 975 h 3527"/>
                <a:gd name="T106" fmla="*/ 127 w 3556"/>
                <a:gd name="T107" fmla="*/ 1132 h 3527"/>
                <a:gd name="T108" fmla="*/ 71 w 3556"/>
                <a:gd name="T109" fmla="*/ 1296 h 3527"/>
                <a:gd name="T110" fmla="*/ 29 w 3556"/>
                <a:gd name="T111" fmla="*/ 1467 h 3527"/>
                <a:gd name="T112" fmla="*/ 6 w 3556"/>
                <a:gd name="T113" fmla="*/ 1643 h 3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56" h="3527">
                  <a:moveTo>
                    <a:pt x="1819" y="2929"/>
                  </a:moveTo>
                  <a:lnTo>
                    <a:pt x="1718" y="2926"/>
                  </a:lnTo>
                  <a:lnTo>
                    <a:pt x="1621" y="2914"/>
                  </a:lnTo>
                  <a:lnTo>
                    <a:pt x="1527" y="2895"/>
                  </a:lnTo>
                  <a:lnTo>
                    <a:pt x="1438" y="2870"/>
                  </a:lnTo>
                  <a:lnTo>
                    <a:pt x="1353" y="2840"/>
                  </a:lnTo>
                  <a:lnTo>
                    <a:pt x="1272" y="2802"/>
                  </a:lnTo>
                  <a:lnTo>
                    <a:pt x="1195" y="2760"/>
                  </a:lnTo>
                  <a:lnTo>
                    <a:pt x="1124" y="2712"/>
                  </a:lnTo>
                  <a:lnTo>
                    <a:pt x="1055" y="2659"/>
                  </a:lnTo>
                  <a:lnTo>
                    <a:pt x="992" y="2602"/>
                  </a:lnTo>
                  <a:lnTo>
                    <a:pt x="934" y="2540"/>
                  </a:lnTo>
                  <a:lnTo>
                    <a:pt x="880" y="2475"/>
                  </a:lnTo>
                  <a:lnTo>
                    <a:pt x="832" y="2406"/>
                  </a:lnTo>
                  <a:lnTo>
                    <a:pt x="788" y="2335"/>
                  </a:lnTo>
                  <a:lnTo>
                    <a:pt x="750" y="2260"/>
                  </a:lnTo>
                  <a:lnTo>
                    <a:pt x="717" y="2183"/>
                  </a:lnTo>
                  <a:lnTo>
                    <a:pt x="689" y="2105"/>
                  </a:lnTo>
                  <a:lnTo>
                    <a:pt x="667" y="2025"/>
                  </a:lnTo>
                  <a:lnTo>
                    <a:pt x="649" y="1943"/>
                  </a:lnTo>
                  <a:lnTo>
                    <a:pt x="638" y="1860"/>
                  </a:lnTo>
                  <a:lnTo>
                    <a:pt x="633" y="1778"/>
                  </a:lnTo>
                  <a:lnTo>
                    <a:pt x="633" y="1694"/>
                  </a:lnTo>
                  <a:lnTo>
                    <a:pt x="638" y="1612"/>
                  </a:lnTo>
                  <a:lnTo>
                    <a:pt x="650" y="1530"/>
                  </a:lnTo>
                  <a:lnTo>
                    <a:pt x="669" y="1448"/>
                  </a:lnTo>
                  <a:lnTo>
                    <a:pt x="693" y="1368"/>
                  </a:lnTo>
                  <a:lnTo>
                    <a:pt x="723" y="1290"/>
                  </a:lnTo>
                  <a:lnTo>
                    <a:pt x="760" y="1213"/>
                  </a:lnTo>
                  <a:lnTo>
                    <a:pt x="803" y="1139"/>
                  </a:lnTo>
                  <a:lnTo>
                    <a:pt x="853" y="1068"/>
                  </a:lnTo>
                  <a:lnTo>
                    <a:pt x="911" y="999"/>
                  </a:lnTo>
                  <a:lnTo>
                    <a:pt x="974" y="934"/>
                  </a:lnTo>
                  <a:lnTo>
                    <a:pt x="1085" y="840"/>
                  </a:lnTo>
                  <a:lnTo>
                    <a:pt x="1199" y="761"/>
                  </a:lnTo>
                  <a:lnTo>
                    <a:pt x="1312" y="699"/>
                  </a:lnTo>
                  <a:lnTo>
                    <a:pt x="1429" y="652"/>
                  </a:lnTo>
                  <a:lnTo>
                    <a:pt x="1544" y="619"/>
                  </a:lnTo>
                  <a:lnTo>
                    <a:pt x="1660" y="600"/>
                  </a:lnTo>
                  <a:lnTo>
                    <a:pt x="1774" y="594"/>
                  </a:lnTo>
                  <a:lnTo>
                    <a:pt x="1887" y="601"/>
                  </a:lnTo>
                  <a:lnTo>
                    <a:pt x="1997" y="619"/>
                  </a:lnTo>
                  <a:lnTo>
                    <a:pt x="2105" y="648"/>
                  </a:lnTo>
                  <a:lnTo>
                    <a:pt x="2209" y="688"/>
                  </a:lnTo>
                  <a:lnTo>
                    <a:pt x="2309" y="737"/>
                  </a:lnTo>
                  <a:lnTo>
                    <a:pt x="2403" y="796"/>
                  </a:lnTo>
                  <a:lnTo>
                    <a:pt x="2494" y="863"/>
                  </a:lnTo>
                  <a:lnTo>
                    <a:pt x="2577" y="937"/>
                  </a:lnTo>
                  <a:lnTo>
                    <a:pt x="2654" y="1018"/>
                  </a:lnTo>
                  <a:lnTo>
                    <a:pt x="2725" y="1106"/>
                  </a:lnTo>
                  <a:lnTo>
                    <a:pt x="2787" y="1199"/>
                  </a:lnTo>
                  <a:lnTo>
                    <a:pt x="2840" y="1296"/>
                  </a:lnTo>
                  <a:lnTo>
                    <a:pt x="2884" y="1398"/>
                  </a:lnTo>
                  <a:lnTo>
                    <a:pt x="2919" y="1504"/>
                  </a:lnTo>
                  <a:lnTo>
                    <a:pt x="2943" y="1612"/>
                  </a:lnTo>
                  <a:lnTo>
                    <a:pt x="2957" y="1722"/>
                  </a:lnTo>
                  <a:lnTo>
                    <a:pt x="2958" y="1834"/>
                  </a:lnTo>
                  <a:lnTo>
                    <a:pt x="2947" y="1947"/>
                  </a:lnTo>
                  <a:lnTo>
                    <a:pt x="2925" y="2060"/>
                  </a:lnTo>
                  <a:lnTo>
                    <a:pt x="2888" y="2171"/>
                  </a:lnTo>
                  <a:lnTo>
                    <a:pt x="2837" y="2282"/>
                  </a:lnTo>
                  <a:lnTo>
                    <a:pt x="2770" y="2390"/>
                  </a:lnTo>
                  <a:lnTo>
                    <a:pt x="2689" y="2496"/>
                  </a:lnTo>
                  <a:lnTo>
                    <a:pt x="2592" y="2598"/>
                  </a:lnTo>
                  <a:lnTo>
                    <a:pt x="2478" y="2697"/>
                  </a:lnTo>
                  <a:lnTo>
                    <a:pt x="2448" y="2719"/>
                  </a:lnTo>
                  <a:lnTo>
                    <a:pt x="2414" y="2741"/>
                  </a:lnTo>
                  <a:lnTo>
                    <a:pt x="2378" y="2762"/>
                  </a:lnTo>
                  <a:lnTo>
                    <a:pt x="2339" y="2784"/>
                  </a:lnTo>
                  <a:lnTo>
                    <a:pt x="2299" y="2803"/>
                  </a:lnTo>
                  <a:lnTo>
                    <a:pt x="2257" y="2823"/>
                  </a:lnTo>
                  <a:lnTo>
                    <a:pt x="2213" y="2841"/>
                  </a:lnTo>
                  <a:lnTo>
                    <a:pt x="2169" y="2857"/>
                  </a:lnTo>
                  <a:lnTo>
                    <a:pt x="2123" y="2874"/>
                  </a:lnTo>
                  <a:lnTo>
                    <a:pt x="2078" y="2887"/>
                  </a:lnTo>
                  <a:lnTo>
                    <a:pt x="2033" y="2900"/>
                  </a:lnTo>
                  <a:lnTo>
                    <a:pt x="1988" y="2909"/>
                  </a:lnTo>
                  <a:lnTo>
                    <a:pt x="1944" y="2918"/>
                  </a:lnTo>
                  <a:lnTo>
                    <a:pt x="1901" y="2923"/>
                  </a:lnTo>
                  <a:lnTo>
                    <a:pt x="1880" y="2926"/>
                  </a:lnTo>
                  <a:lnTo>
                    <a:pt x="1860" y="2928"/>
                  </a:lnTo>
                  <a:lnTo>
                    <a:pt x="1839" y="2929"/>
                  </a:lnTo>
                  <a:lnTo>
                    <a:pt x="1819" y="2929"/>
                  </a:lnTo>
                  <a:close/>
                  <a:moveTo>
                    <a:pt x="0" y="1780"/>
                  </a:moveTo>
                  <a:lnTo>
                    <a:pt x="6" y="1911"/>
                  </a:lnTo>
                  <a:lnTo>
                    <a:pt x="22" y="2039"/>
                  </a:lnTo>
                  <a:lnTo>
                    <a:pt x="47" y="2165"/>
                  </a:lnTo>
                  <a:lnTo>
                    <a:pt x="81" y="2286"/>
                  </a:lnTo>
                  <a:lnTo>
                    <a:pt x="125" y="2404"/>
                  </a:lnTo>
                  <a:lnTo>
                    <a:pt x="177" y="2519"/>
                  </a:lnTo>
                  <a:lnTo>
                    <a:pt x="238" y="2629"/>
                  </a:lnTo>
                  <a:lnTo>
                    <a:pt x="305" y="2734"/>
                  </a:lnTo>
                  <a:lnTo>
                    <a:pt x="381" y="2834"/>
                  </a:lnTo>
                  <a:lnTo>
                    <a:pt x="463" y="2928"/>
                  </a:lnTo>
                  <a:lnTo>
                    <a:pt x="550" y="3017"/>
                  </a:lnTo>
                  <a:lnTo>
                    <a:pt x="644" y="3100"/>
                  </a:lnTo>
                  <a:lnTo>
                    <a:pt x="743" y="3177"/>
                  </a:lnTo>
                  <a:lnTo>
                    <a:pt x="847" y="3246"/>
                  </a:lnTo>
                  <a:lnTo>
                    <a:pt x="955" y="3309"/>
                  </a:lnTo>
                  <a:lnTo>
                    <a:pt x="1067" y="3366"/>
                  </a:lnTo>
                  <a:lnTo>
                    <a:pt x="1183" y="3413"/>
                  </a:lnTo>
                  <a:lnTo>
                    <a:pt x="1302" y="3454"/>
                  </a:lnTo>
                  <a:lnTo>
                    <a:pt x="1423" y="3485"/>
                  </a:lnTo>
                  <a:lnTo>
                    <a:pt x="1547" y="3509"/>
                  </a:lnTo>
                  <a:lnTo>
                    <a:pt x="1673" y="3523"/>
                  </a:lnTo>
                  <a:lnTo>
                    <a:pt x="1799" y="3527"/>
                  </a:lnTo>
                  <a:lnTo>
                    <a:pt x="1927" y="3523"/>
                  </a:lnTo>
                  <a:lnTo>
                    <a:pt x="2055" y="3508"/>
                  </a:lnTo>
                  <a:lnTo>
                    <a:pt x="2182" y="3483"/>
                  </a:lnTo>
                  <a:lnTo>
                    <a:pt x="2309" y="3448"/>
                  </a:lnTo>
                  <a:lnTo>
                    <a:pt x="2436" y="3401"/>
                  </a:lnTo>
                  <a:lnTo>
                    <a:pt x="2561" y="3344"/>
                  </a:lnTo>
                  <a:lnTo>
                    <a:pt x="2684" y="3275"/>
                  </a:lnTo>
                  <a:lnTo>
                    <a:pt x="2804" y="3193"/>
                  </a:lnTo>
                  <a:lnTo>
                    <a:pt x="2922" y="3100"/>
                  </a:lnTo>
                  <a:lnTo>
                    <a:pt x="3036" y="2994"/>
                  </a:lnTo>
                  <a:lnTo>
                    <a:pt x="3098" y="2929"/>
                  </a:lnTo>
                  <a:lnTo>
                    <a:pt x="3157" y="2862"/>
                  </a:lnTo>
                  <a:lnTo>
                    <a:pt x="3211" y="2792"/>
                  </a:lnTo>
                  <a:lnTo>
                    <a:pt x="3262" y="2721"/>
                  </a:lnTo>
                  <a:lnTo>
                    <a:pt x="3308" y="2648"/>
                  </a:lnTo>
                  <a:lnTo>
                    <a:pt x="3350" y="2573"/>
                  </a:lnTo>
                  <a:lnTo>
                    <a:pt x="3389" y="2496"/>
                  </a:lnTo>
                  <a:lnTo>
                    <a:pt x="3424" y="2419"/>
                  </a:lnTo>
                  <a:lnTo>
                    <a:pt x="3454" y="2340"/>
                  </a:lnTo>
                  <a:lnTo>
                    <a:pt x="3480" y="2260"/>
                  </a:lnTo>
                  <a:lnTo>
                    <a:pt x="3503" y="2180"/>
                  </a:lnTo>
                  <a:lnTo>
                    <a:pt x="3522" y="2098"/>
                  </a:lnTo>
                  <a:lnTo>
                    <a:pt x="3537" y="2016"/>
                  </a:lnTo>
                  <a:lnTo>
                    <a:pt x="3548" y="1933"/>
                  </a:lnTo>
                  <a:lnTo>
                    <a:pt x="3554" y="1850"/>
                  </a:lnTo>
                  <a:lnTo>
                    <a:pt x="3556" y="1767"/>
                  </a:lnTo>
                  <a:lnTo>
                    <a:pt x="3555" y="1685"/>
                  </a:lnTo>
                  <a:lnTo>
                    <a:pt x="3550" y="1602"/>
                  </a:lnTo>
                  <a:lnTo>
                    <a:pt x="3541" y="1519"/>
                  </a:lnTo>
                  <a:lnTo>
                    <a:pt x="3528" y="1437"/>
                  </a:lnTo>
                  <a:lnTo>
                    <a:pt x="3511" y="1356"/>
                  </a:lnTo>
                  <a:lnTo>
                    <a:pt x="3489" y="1275"/>
                  </a:lnTo>
                  <a:lnTo>
                    <a:pt x="3464" y="1196"/>
                  </a:lnTo>
                  <a:lnTo>
                    <a:pt x="3435" y="1118"/>
                  </a:lnTo>
                  <a:lnTo>
                    <a:pt x="3401" y="1040"/>
                  </a:lnTo>
                  <a:lnTo>
                    <a:pt x="3364" y="964"/>
                  </a:lnTo>
                  <a:lnTo>
                    <a:pt x="3322" y="890"/>
                  </a:lnTo>
                  <a:lnTo>
                    <a:pt x="3277" y="817"/>
                  </a:lnTo>
                  <a:lnTo>
                    <a:pt x="3227" y="746"/>
                  </a:lnTo>
                  <a:lnTo>
                    <a:pt x="3174" y="678"/>
                  </a:lnTo>
                  <a:lnTo>
                    <a:pt x="3117" y="610"/>
                  </a:lnTo>
                  <a:lnTo>
                    <a:pt x="3055" y="546"/>
                  </a:lnTo>
                  <a:lnTo>
                    <a:pt x="3017" y="510"/>
                  </a:lnTo>
                  <a:lnTo>
                    <a:pt x="2980" y="475"/>
                  </a:lnTo>
                  <a:lnTo>
                    <a:pt x="2944" y="440"/>
                  </a:lnTo>
                  <a:lnTo>
                    <a:pt x="2908" y="408"/>
                  </a:lnTo>
                  <a:lnTo>
                    <a:pt x="2872" y="377"/>
                  </a:lnTo>
                  <a:lnTo>
                    <a:pt x="2837" y="347"/>
                  </a:lnTo>
                  <a:lnTo>
                    <a:pt x="2802" y="319"/>
                  </a:lnTo>
                  <a:lnTo>
                    <a:pt x="2767" y="292"/>
                  </a:lnTo>
                  <a:lnTo>
                    <a:pt x="2731" y="267"/>
                  </a:lnTo>
                  <a:lnTo>
                    <a:pt x="2697" y="242"/>
                  </a:lnTo>
                  <a:lnTo>
                    <a:pt x="2661" y="219"/>
                  </a:lnTo>
                  <a:lnTo>
                    <a:pt x="2625" y="197"/>
                  </a:lnTo>
                  <a:lnTo>
                    <a:pt x="2589" y="177"/>
                  </a:lnTo>
                  <a:lnTo>
                    <a:pt x="2552" y="157"/>
                  </a:lnTo>
                  <a:lnTo>
                    <a:pt x="2515" y="140"/>
                  </a:lnTo>
                  <a:lnTo>
                    <a:pt x="2477" y="123"/>
                  </a:lnTo>
                  <a:lnTo>
                    <a:pt x="2439" y="107"/>
                  </a:lnTo>
                  <a:lnTo>
                    <a:pt x="2399" y="92"/>
                  </a:lnTo>
                  <a:lnTo>
                    <a:pt x="2359" y="79"/>
                  </a:lnTo>
                  <a:lnTo>
                    <a:pt x="2318" y="67"/>
                  </a:lnTo>
                  <a:lnTo>
                    <a:pt x="2275" y="56"/>
                  </a:lnTo>
                  <a:lnTo>
                    <a:pt x="2232" y="46"/>
                  </a:lnTo>
                  <a:lnTo>
                    <a:pt x="2186" y="37"/>
                  </a:lnTo>
                  <a:lnTo>
                    <a:pt x="2141" y="29"/>
                  </a:lnTo>
                  <a:lnTo>
                    <a:pt x="2093" y="22"/>
                  </a:lnTo>
                  <a:lnTo>
                    <a:pt x="2043" y="16"/>
                  </a:lnTo>
                  <a:lnTo>
                    <a:pt x="1992" y="11"/>
                  </a:lnTo>
                  <a:lnTo>
                    <a:pt x="1939" y="7"/>
                  </a:lnTo>
                  <a:lnTo>
                    <a:pt x="1885" y="3"/>
                  </a:lnTo>
                  <a:lnTo>
                    <a:pt x="1828" y="1"/>
                  </a:lnTo>
                  <a:lnTo>
                    <a:pt x="1769" y="0"/>
                  </a:lnTo>
                  <a:lnTo>
                    <a:pt x="1709" y="0"/>
                  </a:lnTo>
                  <a:lnTo>
                    <a:pt x="1662" y="1"/>
                  </a:lnTo>
                  <a:lnTo>
                    <a:pt x="1615" y="3"/>
                  </a:lnTo>
                  <a:lnTo>
                    <a:pt x="1568" y="8"/>
                  </a:lnTo>
                  <a:lnTo>
                    <a:pt x="1520" y="13"/>
                  </a:lnTo>
                  <a:lnTo>
                    <a:pt x="1473" y="20"/>
                  </a:lnTo>
                  <a:lnTo>
                    <a:pt x="1426" y="27"/>
                  </a:lnTo>
                  <a:lnTo>
                    <a:pt x="1380" y="37"/>
                  </a:lnTo>
                  <a:lnTo>
                    <a:pt x="1334" y="48"/>
                  </a:lnTo>
                  <a:lnTo>
                    <a:pt x="1289" y="59"/>
                  </a:lnTo>
                  <a:lnTo>
                    <a:pt x="1245" y="71"/>
                  </a:lnTo>
                  <a:lnTo>
                    <a:pt x="1203" y="85"/>
                  </a:lnTo>
                  <a:lnTo>
                    <a:pt x="1162" y="99"/>
                  </a:lnTo>
                  <a:lnTo>
                    <a:pt x="1121" y="113"/>
                  </a:lnTo>
                  <a:lnTo>
                    <a:pt x="1083" y="128"/>
                  </a:lnTo>
                  <a:lnTo>
                    <a:pt x="1049" y="143"/>
                  </a:lnTo>
                  <a:lnTo>
                    <a:pt x="1015" y="159"/>
                  </a:lnTo>
                  <a:lnTo>
                    <a:pt x="542" y="504"/>
                  </a:lnTo>
                  <a:lnTo>
                    <a:pt x="533" y="513"/>
                  </a:lnTo>
                  <a:lnTo>
                    <a:pt x="524" y="523"/>
                  </a:lnTo>
                  <a:lnTo>
                    <a:pt x="495" y="554"/>
                  </a:lnTo>
                  <a:lnTo>
                    <a:pt x="466" y="585"/>
                  </a:lnTo>
                  <a:lnTo>
                    <a:pt x="439" y="618"/>
                  </a:lnTo>
                  <a:lnTo>
                    <a:pt x="411" y="650"/>
                  </a:lnTo>
                  <a:lnTo>
                    <a:pt x="384" y="684"/>
                  </a:lnTo>
                  <a:lnTo>
                    <a:pt x="358" y="719"/>
                  </a:lnTo>
                  <a:lnTo>
                    <a:pt x="333" y="753"/>
                  </a:lnTo>
                  <a:lnTo>
                    <a:pt x="309" y="789"/>
                  </a:lnTo>
                  <a:lnTo>
                    <a:pt x="286" y="825"/>
                  </a:lnTo>
                  <a:lnTo>
                    <a:pt x="263" y="862"/>
                  </a:lnTo>
                  <a:lnTo>
                    <a:pt x="241" y="899"/>
                  </a:lnTo>
                  <a:lnTo>
                    <a:pt x="220" y="936"/>
                  </a:lnTo>
                  <a:lnTo>
                    <a:pt x="200" y="975"/>
                  </a:lnTo>
                  <a:lnTo>
                    <a:pt x="180" y="1012"/>
                  </a:lnTo>
                  <a:lnTo>
                    <a:pt x="162" y="1052"/>
                  </a:lnTo>
                  <a:lnTo>
                    <a:pt x="144" y="1092"/>
                  </a:lnTo>
                  <a:lnTo>
                    <a:pt x="127" y="1132"/>
                  </a:lnTo>
                  <a:lnTo>
                    <a:pt x="112" y="1172"/>
                  </a:lnTo>
                  <a:lnTo>
                    <a:pt x="97" y="1213"/>
                  </a:lnTo>
                  <a:lnTo>
                    <a:pt x="83" y="1254"/>
                  </a:lnTo>
                  <a:lnTo>
                    <a:pt x="71" y="1296"/>
                  </a:lnTo>
                  <a:lnTo>
                    <a:pt x="59" y="1339"/>
                  </a:lnTo>
                  <a:lnTo>
                    <a:pt x="48" y="1381"/>
                  </a:lnTo>
                  <a:lnTo>
                    <a:pt x="38" y="1423"/>
                  </a:lnTo>
                  <a:lnTo>
                    <a:pt x="29" y="1467"/>
                  </a:lnTo>
                  <a:lnTo>
                    <a:pt x="22" y="1511"/>
                  </a:lnTo>
                  <a:lnTo>
                    <a:pt x="15" y="1554"/>
                  </a:lnTo>
                  <a:lnTo>
                    <a:pt x="10" y="1599"/>
                  </a:lnTo>
                  <a:lnTo>
                    <a:pt x="6" y="1643"/>
                  </a:lnTo>
                  <a:lnTo>
                    <a:pt x="3" y="1689"/>
                  </a:lnTo>
                  <a:lnTo>
                    <a:pt x="1" y="1734"/>
                  </a:lnTo>
                  <a:lnTo>
                    <a:pt x="0" y="17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6D3748BE-1A3E-48D7-B938-594BED3D467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400" y="7129463"/>
              <a:ext cx="58738" cy="506412"/>
            </a:xfrm>
            <a:custGeom>
              <a:avLst/>
              <a:gdLst>
                <a:gd name="T0" fmla="*/ 0 w 334"/>
                <a:gd name="T1" fmla="*/ 123 h 2869"/>
                <a:gd name="T2" fmla="*/ 0 w 334"/>
                <a:gd name="T3" fmla="*/ 2866 h 2869"/>
                <a:gd name="T4" fmla="*/ 83 w 334"/>
                <a:gd name="T5" fmla="*/ 2867 h 2869"/>
                <a:gd name="T6" fmla="*/ 153 w 334"/>
                <a:gd name="T7" fmla="*/ 2869 h 2869"/>
                <a:gd name="T8" fmla="*/ 183 w 334"/>
                <a:gd name="T9" fmla="*/ 2869 h 2869"/>
                <a:gd name="T10" fmla="*/ 211 w 334"/>
                <a:gd name="T11" fmla="*/ 2869 h 2869"/>
                <a:gd name="T12" fmla="*/ 235 w 334"/>
                <a:gd name="T13" fmla="*/ 2868 h 2869"/>
                <a:gd name="T14" fmla="*/ 257 w 334"/>
                <a:gd name="T15" fmla="*/ 2865 h 2869"/>
                <a:gd name="T16" fmla="*/ 267 w 334"/>
                <a:gd name="T17" fmla="*/ 2863 h 2869"/>
                <a:gd name="T18" fmla="*/ 276 w 334"/>
                <a:gd name="T19" fmla="*/ 2861 h 2869"/>
                <a:gd name="T20" fmla="*/ 284 w 334"/>
                <a:gd name="T21" fmla="*/ 2857 h 2869"/>
                <a:gd name="T22" fmla="*/ 292 w 334"/>
                <a:gd name="T23" fmla="*/ 2854 h 2869"/>
                <a:gd name="T24" fmla="*/ 298 w 334"/>
                <a:gd name="T25" fmla="*/ 2850 h 2869"/>
                <a:gd name="T26" fmla="*/ 305 w 334"/>
                <a:gd name="T27" fmla="*/ 2844 h 2869"/>
                <a:gd name="T28" fmla="*/ 310 w 334"/>
                <a:gd name="T29" fmla="*/ 2839 h 2869"/>
                <a:gd name="T30" fmla="*/ 316 w 334"/>
                <a:gd name="T31" fmla="*/ 2833 h 2869"/>
                <a:gd name="T32" fmla="*/ 320 w 334"/>
                <a:gd name="T33" fmla="*/ 2827 h 2869"/>
                <a:gd name="T34" fmla="*/ 324 w 334"/>
                <a:gd name="T35" fmla="*/ 2819 h 2869"/>
                <a:gd name="T36" fmla="*/ 328 w 334"/>
                <a:gd name="T37" fmla="*/ 2811 h 2869"/>
                <a:gd name="T38" fmla="*/ 330 w 334"/>
                <a:gd name="T39" fmla="*/ 2801 h 2869"/>
                <a:gd name="T40" fmla="*/ 332 w 334"/>
                <a:gd name="T41" fmla="*/ 2791 h 2869"/>
                <a:gd name="T42" fmla="*/ 333 w 334"/>
                <a:gd name="T43" fmla="*/ 2780 h 2869"/>
                <a:gd name="T44" fmla="*/ 334 w 334"/>
                <a:gd name="T45" fmla="*/ 2768 h 2869"/>
                <a:gd name="T46" fmla="*/ 334 w 334"/>
                <a:gd name="T47" fmla="*/ 2755 h 2869"/>
                <a:gd name="T48" fmla="*/ 334 w 334"/>
                <a:gd name="T49" fmla="*/ 123 h 2869"/>
                <a:gd name="T50" fmla="*/ 333 w 334"/>
                <a:gd name="T51" fmla="*/ 107 h 2869"/>
                <a:gd name="T52" fmla="*/ 331 w 334"/>
                <a:gd name="T53" fmla="*/ 94 h 2869"/>
                <a:gd name="T54" fmla="*/ 327 w 334"/>
                <a:gd name="T55" fmla="*/ 81 h 2869"/>
                <a:gd name="T56" fmla="*/ 320 w 334"/>
                <a:gd name="T57" fmla="*/ 69 h 2869"/>
                <a:gd name="T58" fmla="*/ 312 w 334"/>
                <a:gd name="T59" fmla="*/ 59 h 2869"/>
                <a:gd name="T60" fmla="*/ 304 w 334"/>
                <a:gd name="T61" fmla="*/ 48 h 2869"/>
                <a:gd name="T62" fmla="*/ 294 w 334"/>
                <a:gd name="T63" fmla="*/ 39 h 2869"/>
                <a:gd name="T64" fmla="*/ 282 w 334"/>
                <a:gd name="T65" fmla="*/ 31 h 2869"/>
                <a:gd name="T66" fmla="*/ 270 w 334"/>
                <a:gd name="T67" fmla="*/ 24 h 2869"/>
                <a:gd name="T68" fmla="*/ 257 w 334"/>
                <a:gd name="T69" fmla="*/ 17 h 2869"/>
                <a:gd name="T70" fmla="*/ 243 w 334"/>
                <a:gd name="T71" fmla="*/ 12 h 2869"/>
                <a:gd name="T72" fmla="*/ 229 w 334"/>
                <a:gd name="T73" fmla="*/ 8 h 2869"/>
                <a:gd name="T74" fmla="*/ 214 w 334"/>
                <a:gd name="T75" fmla="*/ 4 h 2869"/>
                <a:gd name="T76" fmla="*/ 198 w 334"/>
                <a:gd name="T77" fmla="*/ 2 h 2869"/>
                <a:gd name="T78" fmla="*/ 183 w 334"/>
                <a:gd name="T79" fmla="*/ 1 h 2869"/>
                <a:gd name="T80" fmla="*/ 167 w 334"/>
                <a:gd name="T81" fmla="*/ 0 h 2869"/>
                <a:gd name="T82" fmla="*/ 152 w 334"/>
                <a:gd name="T83" fmla="*/ 1 h 2869"/>
                <a:gd name="T84" fmla="*/ 137 w 334"/>
                <a:gd name="T85" fmla="*/ 2 h 2869"/>
                <a:gd name="T86" fmla="*/ 121 w 334"/>
                <a:gd name="T87" fmla="*/ 4 h 2869"/>
                <a:gd name="T88" fmla="*/ 106 w 334"/>
                <a:gd name="T89" fmla="*/ 8 h 2869"/>
                <a:gd name="T90" fmla="*/ 92 w 334"/>
                <a:gd name="T91" fmla="*/ 12 h 2869"/>
                <a:gd name="T92" fmla="*/ 78 w 334"/>
                <a:gd name="T93" fmla="*/ 17 h 2869"/>
                <a:gd name="T94" fmla="*/ 65 w 334"/>
                <a:gd name="T95" fmla="*/ 24 h 2869"/>
                <a:gd name="T96" fmla="*/ 53 w 334"/>
                <a:gd name="T97" fmla="*/ 31 h 2869"/>
                <a:gd name="T98" fmla="*/ 41 w 334"/>
                <a:gd name="T99" fmla="*/ 39 h 2869"/>
                <a:gd name="T100" fmla="*/ 31 w 334"/>
                <a:gd name="T101" fmla="*/ 48 h 2869"/>
                <a:gd name="T102" fmla="*/ 23 w 334"/>
                <a:gd name="T103" fmla="*/ 59 h 2869"/>
                <a:gd name="T104" fmla="*/ 15 w 334"/>
                <a:gd name="T105" fmla="*/ 69 h 2869"/>
                <a:gd name="T106" fmla="*/ 8 w 334"/>
                <a:gd name="T107" fmla="*/ 81 h 2869"/>
                <a:gd name="T108" fmla="*/ 4 w 334"/>
                <a:gd name="T109" fmla="*/ 94 h 2869"/>
                <a:gd name="T110" fmla="*/ 1 w 334"/>
                <a:gd name="T111" fmla="*/ 107 h 2869"/>
                <a:gd name="T112" fmla="*/ 0 w 334"/>
                <a:gd name="T113" fmla="*/ 123 h 2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4" h="2869">
                  <a:moveTo>
                    <a:pt x="0" y="123"/>
                  </a:moveTo>
                  <a:lnTo>
                    <a:pt x="0" y="2866"/>
                  </a:lnTo>
                  <a:lnTo>
                    <a:pt x="83" y="2867"/>
                  </a:lnTo>
                  <a:lnTo>
                    <a:pt x="153" y="2869"/>
                  </a:lnTo>
                  <a:lnTo>
                    <a:pt x="183" y="2869"/>
                  </a:lnTo>
                  <a:lnTo>
                    <a:pt x="211" y="2869"/>
                  </a:lnTo>
                  <a:lnTo>
                    <a:pt x="235" y="2868"/>
                  </a:lnTo>
                  <a:lnTo>
                    <a:pt x="257" y="2865"/>
                  </a:lnTo>
                  <a:lnTo>
                    <a:pt x="267" y="2863"/>
                  </a:lnTo>
                  <a:lnTo>
                    <a:pt x="276" y="2861"/>
                  </a:lnTo>
                  <a:lnTo>
                    <a:pt x="284" y="2857"/>
                  </a:lnTo>
                  <a:lnTo>
                    <a:pt x="292" y="2854"/>
                  </a:lnTo>
                  <a:lnTo>
                    <a:pt x="298" y="2850"/>
                  </a:lnTo>
                  <a:lnTo>
                    <a:pt x="305" y="2844"/>
                  </a:lnTo>
                  <a:lnTo>
                    <a:pt x="310" y="2839"/>
                  </a:lnTo>
                  <a:lnTo>
                    <a:pt x="316" y="2833"/>
                  </a:lnTo>
                  <a:lnTo>
                    <a:pt x="320" y="2827"/>
                  </a:lnTo>
                  <a:lnTo>
                    <a:pt x="324" y="2819"/>
                  </a:lnTo>
                  <a:lnTo>
                    <a:pt x="328" y="2811"/>
                  </a:lnTo>
                  <a:lnTo>
                    <a:pt x="330" y="2801"/>
                  </a:lnTo>
                  <a:lnTo>
                    <a:pt x="332" y="2791"/>
                  </a:lnTo>
                  <a:lnTo>
                    <a:pt x="333" y="2780"/>
                  </a:lnTo>
                  <a:lnTo>
                    <a:pt x="334" y="2768"/>
                  </a:lnTo>
                  <a:lnTo>
                    <a:pt x="334" y="2755"/>
                  </a:lnTo>
                  <a:lnTo>
                    <a:pt x="334" y="123"/>
                  </a:lnTo>
                  <a:lnTo>
                    <a:pt x="333" y="107"/>
                  </a:lnTo>
                  <a:lnTo>
                    <a:pt x="331" y="94"/>
                  </a:lnTo>
                  <a:lnTo>
                    <a:pt x="327" y="81"/>
                  </a:lnTo>
                  <a:lnTo>
                    <a:pt x="320" y="69"/>
                  </a:lnTo>
                  <a:lnTo>
                    <a:pt x="312" y="59"/>
                  </a:lnTo>
                  <a:lnTo>
                    <a:pt x="304" y="48"/>
                  </a:lnTo>
                  <a:lnTo>
                    <a:pt x="294" y="39"/>
                  </a:lnTo>
                  <a:lnTo>
                    <a:pt x="282" y="31"/>
                  </a:lnTo>
                  <a:lnTo>
                    <a:pt x="270" y="24"/>
                  </a:lnTo>
                  <a:lnTo>
                    <a:pt x="257" y="17"/>
                  </a:lnTo>
                  <a:lnTo>
                    <a:pt x="243" y="12"/>
                  </a:lnTo>
                  <a:lnTo>
                    <a:pt x="229" y="8"/>
                  </a:lnTo>
                  <a:lnTo>
                    <a:pt x="214" y="4"/>
                  </a:lnTo>
                  <a:lnTo>
                    <a:pt x="198" y="2"/>
                  </a:lnTo>
                  <a:lnTo>
                    <a:pt x="183" y="1"/>
                  </a:lnTo>
                  <a:lnTo>
                    <a:pt x="167" y="0"/>
                  </a:lnTo>
                  <a:lnTo>
                    <a:pt x="152" y="1"/>
                  </a:lnTo>
                  <a:lnTo>
                    <a:pt x="137" y="2"/>
                  </a:lnTo>
                  <a:lnTo>
                    <a:pt x="121" y="4"/>
                  </a:lnTo>
                  <a:lnTo>
                    <a:pt x="106" y="8"/>
                  </a:lnTo>
                  <a:lnTo>
                    <a:pt x="92" y="12"/>
                  </a:lnTo>
                  <a:lnTo>
                    <a:pt x="78" y="17"/>
                  </a:lnTo>
                  <a:lnTo>
                    <a:pt x="65" y="24"/>
                  </a:lnTo>
                  <a:lnTo>
                    <a:pt x="53" y="31"/>
                  </a:lnTo>
                  <a:lnTo>
                    <a:pt x="41" y="39"/>
                  </a:lnTo>
                  <a:lnTo>
                    <a:pt x="31" y="48"/>
                  </a:lnTo>
                  <a:lnTo>
                    <a:pt x="23" y="59"/>
                  </a:lnTo>
                  <a:lnTo>
                    <a:pt x="15" y="69"/>
                  </a:lnTo>
                  <a:lnTo>
                    <a:pt x="8" y="81"/>
                  </a:lnTo>
                  <a:lnTo>
                    <a:pt x="4" y="94"/>
                  </a:lnTo>
                  <a:lnTo>
                    <a:pt x="1" y="107"/>
                  </a:lnTo>
                  <a:lnTo>
                    <a:pt x="0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61116D97-42C8-4A11-ACDF-D6CC21737D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2263" y="7129463"/>
              <a:ext cx="60325" cy="506412"/>
            </a:xfrm>
            <a:custGeom>
              <a:avLst/>
              <a:gdLst>
                <a:gd name="T0" fmla="*/ 0 w 334"/>
                <a:gd name="T1" fmla="*/ 123 h 2869"/>
                <a:gd name="T2" fmla="*/ 0 w 334"/>
                <a:gd name="T3" fmla="*/ 2755 h 2869"/>
                <a:gd name="T4" fmla="*/ 0 w 334"/>
                <a:gd name="T5" fmla="*/ 2768 h 2869"/>
                <a:gd name="T6" fmla="*/ 1 w 334"/>
                <a:gd name="T7" fmla="*/ 2780 h 2869"/>
                <a:gd name="T8" fmla="*/ 2 w 334"/>
                <a:gd name="T9" fmla="*/ 2791 h 2869"/>
                <a:gd name="T10" fmla="*/ 4 w 334"/>
                <a:gd name="T11" fmla="*/ 2801 h 2869"/>
                <a:gd name="T12" fmla="*/ 6 w 334"/>
                <a:gd name="T13" fmla="*/ 2811 h 2869"/>
                <a:gd name="T14" fmla="*/ 10 w 334"/>
                <a:gd name="T15" fmla="*/ 2819 h 2869"/>
                <a:gd name="T16" fmla="*/ 14 w 334"/>
                <a:gd name="T17" fmla="*/ 2827 h 2869"/>
                <a:gd name="T18" fmla="*/ 18 w 334"/>
                <a:gd name="T19" fmla="*/ 2833 h 2869"/>
                <a:gd name="T20" fmla="*/ 24 w 334"/>
                <a:gd name="T21" fmla="*/ 2839 h 2869"/>
                <a:gd name="T22" fmla="*/ 29 w 334"/>
                <a:gd name="T23" fmla="*/ 2844 h 2869"/>
                <a:gd name="T24" fmla="*/ 36 w 334"/>
                <a:gd name="T25" fmla="*/ 2850 h 2869"/>
                <a:gd name="T26" fmla="*/ 42 w 334"/>
                <a:gd name="T27" fmla="*/ 2854 h 2869"/>
                <a:gd name="T28" fmla="*/ 50 w 334"/>
                <a:gd name="T29" fmla="*/ 2857 h 2869"/>
                <a:gd name="T30" fmla="*/ 58 w 334"/>
                <a:gd name="T31" fmla="*/ 2861 h 2869"/>
                <a:gd name="T32" fmla="*/ 67 w 334"/>
                <a:gd name="T33" fmla="*/ 2863 h 2869"/>
                <a:gd name="T34" fmla="*/ 77 w 334"/>
                <a:gd name="T35" fmla="*/ 2865 h 2869"/>
                <a:gd name="T36" fmla="*/ 99 w 334"/>
                <a:gd name="T37" fmla="*/ 2868 h 2869"/>
                <a:gd name="T38" fmla="*/ 124 w 334"/>
                <a:gd name="T39" fmla="*/ 2869 h 2869"/>
                <a:gd name="T40" fmla="*/ 151 w 334"/>
                <a:gd name="T41" fmla="*/ 2869 h 2869"/>
                <a:gd name="T42" fmla="*/ 181 w 334"/>
                <a:gd name="T43" fmla="*/ 2869 h 2869"/>
                <a:gd name="T44" fmla="*/ 251 w 334"/>
                <a:gd name="T45" fmla="*/ 2867 h 2869"/>
                <a:gd name="T46" fmla="*/ 334 w 334"/>
                <a:gd name="T47" fmla="*/ 2866 h 2869"/>
                <a:gd name="T48" fmla="*/ 334 w 334"/>
                <a:gd name="T49" fmla="*/ 123 h 2869"/>
                <a:gd name="T50" fmla="*/ 333 w 334"/>
                <a:gd name="T51" fmla="*/ 107 h 2869"/>
                <a:gd name="T52" fmla="*/ 330 w 334"/>
                <a:gd name="T53" fmla="*/ 94 h 2869"/>
                <a:gd name="T54" fmla="*/ 325 w 334"/>
                <a:gd name="T55" fmla="*/ 81 h 2869"/>
                <a:gd name="T56" fmla="*/ 319 w 334"/>
                <a:gd name="T57" fmla="*/ 69 h 2869"/>
                <a:gd name="T58" fmla="*/ 312 w 334"/>
                <a:gd name="T59" fmla="*/ 59 h 2869"/>
                <a:gd name="T60" fmla="*/ 303 w 334"/>
                <a:gd name="T61" fmla="*/ 48 h 2869"/>
                <a:gd name="T62" fmla="*/ 293 w 334"/>
                <a:gd name="T63" fmla="*/ 39 h 2869"/>
                <a:gd name="T64" fmla="*/ 282 w 334"/>
                <a:gd name="T65" fmla="*/ 31 h 2869"/>
                <a:gd name="T66" fmla="*/ 269 w 334"/>
                <a:gd name="T67" fmla="*/ 24 h 2869"/>
                <a:gd name="T68" fmla="*/ 256 w 334"/>
                <a:gd name="T69" fmla="*/ 17 h 2869"/>
                <a:gd name="T70" fmla="*/ 243 w 334"/>
                <a:gd name="T71" fmla="*/ 12 h 2869"/>
                <a:gd name="T72" fmla="*/ 228 w 334"/>
                <a:gd name="T73" fmla="*/ 8 h 2869"/>
                <a:gd name="T74" fmla="*/ 214 w 334"/>
                <a:gd name="T75" fmla="*/ 4 h 2869"/>
                <a:gd name="T76" fmla="*/ 198 w 334"/>
                <a:gd name="T77" fmla="*/ 2 h 2869"/>
                <a:gd name="T78" fmla="*/ 182 w 334"/>
                <a:gd name="T79" fmla="*/ 1 h 2869"/>
                <a:gd name="T80" fmla="*/ 167 w 334"/>
                <a:gd name="T81" fmla="*/ 0 h 2869"/>
                <a:gd name="T82" fmla="*/ 151 w 334"/>
                <a:gd name="T83" fmla="*/ 1 h 2869"/>
                <a:gd name="T84" fmla="*/ 136 w 334"/>
                <a:gd name="T85" fmla="*/ 2 h 2869"/>
                <a:gd name="T86" fmla="*/ 120 w 334"/>
                <a:gd name="T87" fmla="*/ 4 h 2869"/>
                <a:gd name="T88" fmla="*/ 105 w 334"/>
                <a:gd name="T89" fmla="*/ 8 h 2869"/>
                <a:gd name="T90" fmla="*/ 91 w 334"/>
                <a:gd name="T91" fmla="*/ 12 h 2869"/>
                <a:gd name="T92" fmla="*/ 77 w 334"/>
                <a:gd name="T93" fmla="*/ 17 h 2869"/>
                <a:gd name="T94" fmla="*/ 64 w 334"/>
                <a:gd name="T95" fmla="*/ 24 h 2869"/>
                <a:gd name="T96" fmla="*/ 52 w 334"/>
                <a:gd name="T97" fmla="*/ 31 h 2869"/>
                <a:gd name="T98" fmla="*/ 41 w 334"/>
                <a:gd name="T99" fmla="*/ 39 h 2869"/>
                <a:gd name="T100" fmla="*/ 30 w 334"/>
                <a:gd name="T101" fmla="*/ 48 h 2869"/>
                <a:gd name="T102" fmla="*/ 22 w 334"/>
                <a:gd name="T103" fmla="*/ 59 h 2869"/>
                <a:gd name="T104" fmla="*/ 14 w 334"/>
                <a:gd name="T105" fmla="*/ 69 h 2869"/>
                <a:gd name="T106" fmla="*/ 7 w 334"/>
                <a:gd name="T107" fmla="*/ 81 h 2869"/>
                <a:gd name="T108" fmla="*/ 3 w 334"/>
                <a:gd name="T109" fmla="*/ 94 h 2869"/>
                <a:gd name="T110" fmla="*/ 1 w 334"/>
                <a:gd name="T111" fmla="*/ 107 h 2869"/>
                <a:gd name="T112" fmla="*/ 0 w 334"/>
                <a:gd name="T113" fmla="*/ 123 h 2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4" h="2869">
                  <a:moveTo>
                    <a:pt x="0" y="123"/>
                  </a:moveTo>
                  <a:lnTo>
                    <a:pt x="0" y="2755"/>
                  </a:lnTo>
                  <a:lnTo>
                    <a:pt x="0" y="2768"/>
                  </a:lnTo>
                  <a:lnTo>
                    <a:pt x="1" y="2780"/>
                  </a:lnTo>
                  <a:lnTo>
                    <a:pt x="2" y="2791"/>
                  </a:lnTo>
                  <a:lnTo>
                    <a:pt x="4" y="2801"/>
                  </a:lnTo>
                  <a:lnTo>
                    <a:pt x="6" y="2811"/>
                  </a:lnTo>
                  <a:lnTo>
                    <a:pt x="10" y="2819"/>
                  </a:lnTo>
                  <a:lnTo>
                    <a:pt x="14" y="2827"/>
                  </a:lnTo>
                  <a:lnTo>
                    <a:pt x="18" y="2833"/>
                  </a:lnTo>
                  <a:lnTo>
                    <a:pt x="24" y="2839"/>
                  </a:lnTo>
                  <a:lnTo>
                    <a:pt x="29" y="2844"/>
                  </a:lnTo>
                  <a:lnTo>
                    <a:pt x="36" y="2850"/>
                  </a:lnTo>
                  <a:lnTo>
                    <a:pt x="42" y="2854"/>
                  </a:lnTo>
                  <a:lnTo>
                    <a:pt x="50" y="2857"/>
                  </a:lnTo>
                  <a:lnTo>
                    <a:pt x="58" y="2861"/>
                  </a:lnTo>
                  <a:lnTo>
                    <a:pt x="67" y="2863"/>
                  </a:lnTo>
                  <a:lnTo>
                    <a:pt x="77" y="2865"/>
                  </a:lnTo>
                  <a:lnTo>
                    <a:pt x="99" y="2868"/>
                  </a:lnTo>
                  <a:lnTo>
                    <a:pt x="124" y="2869"/>
                  </a:lnTo>
                  <a:lnTo>
                    <a:pt x="151" y="2869"/>
                  </a:lnTo>
                  <a:lnTo>
                    <a:pt x="181" y="2869"/>
                  </a:lnTo>
                  <a:lnTo>
                    <a:pt x="251" y="2867"/>
                  </a:lnTo>
                  <a:lnTo>
                    <a:pt x="334" y="2866"/>
                  </a:lnTo>
                  <a:lnTo>
                    <a:pt x="334" y="123"/>
                  </a:lnTo>
                  <a:lnTo>
                    <a:pt x="333" y="107"/>
                  </a:lnTo>
                  <a:lnTo>
                    <a:pt x="330" y="94"/>
                  </a:lnTo>
                  <a:lnTo>
                    <a:pt x="325" y="81"/>
                  </a:lnTo>
                  <a:lnTo>
                    <a:pt x="319" y="69"/>
                  </a:lnTo>
                  <a:lnTo>
                    <a:pt x="312" y="59"/>
                  </a:lnTo>
                  <a:lnTo>
                    <a:pt x="303" y="48"/>
                  </a:lnTo>
                  <a:lnTo>
                    <a:pt x="293" y="39"/>
                  </a:lnTo>
                  <a:lnTo>
                    <a:pt x="282" y="31"/>
                  </a:lnTo>
                  <a:lnTo>
                    <a:pt x="269" y="24"/>
                  </a:lnTo>
                  <a:lnTo>
                    <a:pt x="256" y="17"/>
                  </a:lnTo>
                  <a:lnTo>
                    <a:pt x="243" y="12"/>
                  </a:lnTo>
                  <a:lnTo>
                    <a:pt x="228" y="8"/>
                  </a:lnTo>
                  <a:lnTo>
                    <a:pt x="214" y="4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7" y="0"/>
                  </a:lnTo>
                  <a:lnTo>
                    <a:pt x="151" y="1"/>
                  </a:lnTo>
                  <a:lnTo>
                    <a:pt x="136" y="2"/>
                  </a:lnTo>
                  <a:lnTo>
                    <a:pt x="120" y="4"/>
                  </a:lnTo>
                  <a:lnTo>
                    <a:pt x="105" y="8"/>
                  </a:lnTo>
                  <a:lnTo>
                    <a:pt x="91" y="12"/>
                  </a:lnTo>
                  <a:lnTo>
                    <a:pt x="77" y="17"/>
                  </a:lnTo>
                  <a:lnTo>
                    <a:pt x="64" y="24"/>
                  </a:lnTo>
                  <a:lnTo>
                    <a:pt x="52" y="31"/>
                  </a:lnTo>
                  <a:lnTo>
                    <a:pt x="41" y="39"/>
                  </a:lnTo>
                  <a:lnTo>
                    <a:pt x="30" y="48"/>
                  </a:lnTo>
                  <a:lnTo>
                    <a:pt x="22" y="59"/>
                  </a:lnTo>
                  <a:lnTo>
                    <a:pt x="14" y="69"/>
                  </a:lnTo>
                  <a:lnTo>
                    <a:pt x="7" y="81"/>
                  </a:lnTo>
                  <a:lnTo>
                    <a:pt x="3" y="94"/>
                  </a:lnTo>
                  <a:lnTo>
                    <a:pt x="1" y="107"/>
                  </a:lnTo>
                  <a:lnTo>
                    <a:pt x="0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5">
              <a:extLst>
                <a:ext uri="{FF2B5EF4-FFF2-40B4-BE49-F238E27FC236}">
                  <a16:creationId xmlns:a16="http://schemas.microsoft.com/office/drawing/2014/main" id="{7DD069D2-F20E-4152-B5E9-D1DCDB141F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7225" y="6327775"/>
              <a:ext cx="452438" cy="293687"/>
            </a:xfrm>
            <a:custGeom>
              <a:avLst/>
              <a:gdLst>
                <a:gd name="T0" fmla="*/ 0 w 2563"/>
                <a:gd name="T1" fmla="*/ 1372 h 1668"/>
                <a:gd name="T2" fmla="*/ 7 w 2563"/>
                <a:gd name="T3" fmla="*/ 1397 h 1668"/>
                <a:gd name="T4" fmla="*/ 13 w 2563"/>
                <a:gd name="T5" fmla="*/ 1419 h 1668"/>
                <a:gd name="T6" fmla="*/ 21 w 2563"/>
                <a:gd name="T7" fmla="*/ 1439 h 1668"/>
                <a:gd name="T8" fmla="*/ 27 w 2563"/>
                <a:gd name="T9" fmla="*/ 1458 h 1668"/>
                <a:gd name="T10" fmla="*/ 41 w 2563"/>
                <a:gd name="T11" fmla="*/ 1490 h 1668"/>
                <a:gd name="T12" fmla="*/ 56 w 2563"/>
                <a:gd name="T13" fmla="*/ 1519 h 1668"/>
                <a:gd name="T14" fmla="*/ 71 w 2563"/>
                <a:gd name="T15" fmla="*/ 1550 h 1668"/>
                <a:gd name="T16" fmla="*/ 85 w 2563"/>
                <a:gd name="T17" fmla="*/ 1582 h 1668"/>
                <a:gd name="T18" fmla="*/ 92 w 2563"/>
                <a:gd name="T19" fmla="*/ 1601 h 1668"/>
                <a:gd name="T20" fmla="*/ 99 w 2563"/>
                <a:gd name="T21" fmla="*/ 1620 h 1668"/>
                <a:gd name="T22" fmla="*/ 105 w 2563"/>
                <a:gd name="T23" fmla="*/ 1643 h 1668"/>
                <a:gd name="T24" fmla="*/ 112 w 2563"/>
                <a:gd name="T25" fmla="*/ 1668 h 1668"/>
                <a:gd name="T26" fmla="*/ 2563 w 2563"/>
                <a:gd name="T27" fmla="*/ 259 h 1668"/>
                <a:gd name="T28" fmla="*/ 2555 w 2563"/>
                <a:gd name="T29" fmla="*/ 235 h 1668"/>
                <a:gd name="T30" fmla="*/ 2549 w 2563"/>
                <a:gd name="T31" fmla="*/ 214 h 1668"/>
                <a:gd name="T32" fmla="*/ 2541 w 2563"/>
                <a:gd name="T33" fmla="*/ 197 h 1668"/>
                <a:gd name="T34" fmla="*/ 2535 w 2563"/>
                <a:gd name="T35" fmla="*/ 183 h 1668"/>
                <a:gd name="T36" fmla="*/ 2521 w 2563"/>
                <a:gd name="T37" fmla="*/ 159 h 1668"/>
                <a:gd name="T38" fmla="*/ 2508 w 2563"/>
                <a:gd name="T39" fmla="*/ 138 h 1668"/>
                <a:gd name="T40" fmla="*/ 2500 w 2563"/>
                <a:gd name="T41" fmla="*/ 129 h 1668"/>
                <a:gd name="T42" fmla="*/ 2493 w 2563"/>
                <a:gd name="T43" fmla="*/ 118 h 1668"/>
                <a:gd name="T44" fmla="*/ 2487 w 2563"/>
                <a:gd name="T45" fmla="*/ 105 h 1668"/>
                <a:gd name="T46" fmla="*/ 2479 w 2563"/>
                <a:gd name="T47" fmla="*/ 91 h 1668"/>
                <a:gd name="T48" fmla="*/ 2473 w 2563"/>
                <a:gd name="T49" fmla="*/ 73 h 1668"/>
                <a:gd name="T50" fmla="*/ 2465 w 2563"/>
                <a:gd name="T51" fmla="*/ 53 h 1668"/>
                <a:gd name="T52" fmla="*/ 2459 w 2563"/>
                <a:gd name="T53" fmla="*/ 28 h 1668"/>
                <a:gd name="T54" fmla="*/ 2451 w 2563"/>
                <a:gd name="T55" fmla="*/ 0 h 1668"/>
                <a:gd name="T56" fmla="*/ 2428 w 2563"/>
                <a:gd name="T57" fmla="*/ 4 h 1668"/>
                <a:gd name="T58" fmla="*/ 2396 w 2563"/>
                <a:gd name="T59" fmla="*/ 16 h 1668"/>
                <a:gd name="T60" fmla="*/ 2353 w 2563"/>
                <a:gd name="T61" fmla="*/ 34 h 1668"/>
                <a:gd name="T62" fmla="*/ 2302 w 2563"/>
                <a:gd name="T63" fmla="*/ 58 h 1668"/>
                <a:gd name="T64" fmla="*/ 2244 w 2563"/>
                <a:gd name="T65" fmla="*/ 86 h 1668"/>
                <a:gd name="T66" fmla="*/ 2176 w 2563"/>
                <a:gd name="T67" fmla="*/ 121 h 1668"/>
                <a:gd name="T68" fmla="*/ 2104 w 2563"/>
                <a:gd name="T69" fmla="*/ 160 h 1668"/>
                <a:gd name="T70" fmla="*/ 2023 w 2563"/>
                <a:gd name="T71" fmla="*/ 202 h 1668"/>
                <a:gd name="T72" fmla="*/ 1849 w 2563"/>
                <a:gd name="T73" fmla="*/ 299 h 1668"/>
                <a:gd name="T74" fmla="*/ 1658 w 2563"/>
                <a:gd name="T75" fmla="*/ 407 h 1668"/>
                <a:gd name="T76" fmla="*/ 1455 w 2563"/>
                <a:gd name="T77" fmla="*/ 523 h 1668"/>
                <a:gd name="T78" fmla="*/ 1246 w 2563"/>
                <a:gd name="T79" fmla="*/ 644 h 1668"/>
                <a:gd name="T80" fmla="*/ 1037 w 2563"/>
                <a:gd name="T81" fmla="*/ 766 h 1668"/>
                <a:gd name="T82" fmla="*/ 833 w 2563"/>
                <a:gd name="T83" fmla="*/ 886 h 1668"/>
                <a:gd name="T84" fmla="*/ 637 w 2563"/>
                <a:gd name="T85" fmla="*/ 1000 h 1668"/>
                <a:gd name="T86" fmla="*/ 458 w 2563"/>
                <a:gd name="T87" fmla="*/ 1106 h 1668"/>
                <a:gd name="T88" fmla="*/ 300 w 2563"/>
                <a:gd name="T89" fmla="*/ 1200 h 1668"/>
                <a:gd name="T90" fmla="*/ 167 w 2563"/>
                <a:gd name="T91" fmla="*/ 1277 h 1668"/>
                <a:gd name="T92" fmla="*/ 65 w 2563"/>
                <a:gd name="T93" fmla="*/ 1335 h 1668"/>
                <a:gd name="T94" fmla="*/ 0 w 2563"/>
                <a:gd name="T95" fmla="*/ 1372 h 1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563" h="1668">
                  <a:moveTo>
                    <a:pt x="0" y="1372"/>
                  </a:moveTo>
                  <a:lnTo>
                    <a:pt x="7" y="1397"/>
                  </a:lnTo>
                  <a:lnTo>
                    <a:pt x="13" y="1419"/>
                  </a:lnTo>
                  <a:lnTo>
                    <a:pt x="21" y="1439"/>
                  </a:lnTo>
                  <a:lnTo>
                    <a:pt x="27" y="1458"/>
                  </a:lnTo>
                  <a:lnTo>
                    <a:pt x="41" y="1490"/>
                  </a:lnTo>
                  <a:lnTo>
                    <a:pt x="56" y="1519"/>
                  </a:lnTo>
                  <a:lnTo>
                    <a:pt x="71" y="1550"/>
                  </a:lnTo>
                  <a:lnTo>
                    <a:pt x="85" y="1582"/>
                  </a:lnTo>
                  <a:lnTo>
                    <a:pt x="92" y="1601"/>
                  </a:lnTo>
                  <a:lnTo>
                    <a:pt x="99" y="1620"/>
                  </a:lnTo>
                  <a:lnTo>
                    <a:pt x="105" y="1643"/>
                  </a:lnTo>
                  <a:lnTo>
                    <a:pt x="112" y="1668"/>
                  </a:lnTo>
                  <a:lnTo>
                    <a:pt x="2563" y="259"/>
                  </a:lnTo>
                  <a:lnTo>
                    <a:pt x="2555" y="235"/>
                  </a:lnTo>
                  <a:lnTo>
                    <a:pt x="2549" y="214"/>
                  </a:lnTo>
                  <a:lnTo>
                    <a:pt x="2541" y="197"/>
                  </a:lnTo>
                  <a:lnTo>
                    <a:pt x="2535" y="183"/>
                  </a:lnTo>
                  <a:lnTo>
                    <a:pt x="2521" y="159"/>
                  </a:lnTo>
                  <a:lnTo>
                    <a:pt x="2508" y="138"/>
                  </a:lnTo>
                  <a:lnTo>
                    <a:pt x="2500" y="129"/>
                  </a:lnTo>
                  <a:lnTo>
                    <a:pt x="2493" y="118"/>
                  </a:lnTo>
                  <a:lnTo>
                    <a:pt x="2487" y="105"/>
                  </a:lnTo>
                  <a:lnTo>
                    <a:pt x="2479" y="91"/>
                  </a:lnTo>
                  <a:lnTo>
                    <a:pt x="2473" y="73"/>
                  </a:lnTo>
                  <a:lnTo>
                    <a:pt x="2465" y="53"/>
                  </a:lnTo>
                  <a:lnTo>
                    <a:pt x="2459" y="28"/>
                  </a:lnTo>
                  <a:lnTo>
                    <a:pt x="2451" y="0"/>
                  </a:lnTo>
                  <a:lnTo>
                    <a:pt x="2428" y="4"/>
                  </a:lnTo>
                  <a:lnTo>
                    <a:pt x="2396" y="16"/>
                  </a:lnTo>
                  <a:lnTo>
                    <a:pt x="2353" y="34"/>
                  </a:lnTo>
                  <a:lnTo>
                    <a:pt x="2302" y="58"/>
                  </a:lnTo>
                  <a:lnTo>
                    <a:pt x="2244" y="86"/>
                  </a:lnTo>
                  <a:lnTo>
                    <a:pt x="2176" y="121"/>
                  </a:lnTo>
                  <a:lnTo>
                    <a:pt x="2104" y="160"/>
                  </a:lnTo>
                  <a:lnTo>
                    <a:pt x="2023" y="202"/>
                  </a:lnTo>
                  <a:lnTo>
                    <a:pt x="1849" y="299"/>
                  </a:lnTo>
                  <a:lnTo>
                    <a:pt x="1658" y="407"/>
                  </a:lnTo>
                  <a:lnTo>
                    <a:pt x="1455" y="523"/>
                  </a:lnTo>
                  <a:lnTo>
                    <a:pt x="1246" y="644"/>
                  </a:lnTo>
                  <a:lnTo>
                    <a:pt x="1037" y="766"/>
                  </a:lnTo>
                  <a:lnTo>
                    <a:pt x="833" y="886"/>
                  </a:lnTo>
                  <a:lnTo>
                    <a:pt x="637" y="1000"/>
                  </a:lnTo>
                  <a:lnTo>
                    <a:pt x="458" y="1106"/>
                  </a:lnTo>
                  <a:lnTo>
                    <a:pt x="300" y="1200"/>
                  </a:lnTo>
                  <a:lnTo>
                    <a:pt x="167" y="1277"/>
                  </a:lnTo>
                  <a:lnTo>
                    <a:pt x="65" y="1335"/>
                  </a:lnTo>
                  <a:lnTo>
                    <a:pt x="0" y="13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6">
              <a:extLst>
                <a:ext uri="{FF2B5EF4-FFF2-40B4-BE49-F238E27FC236}">
                  <a16:creationId xmlns:a16="http://schemas.microsoft.com/office/drawing/2014/main" id="{20ECD839-AE6E-4B3A-A586-F47C334F1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7225" y="8151813"/>
              <a:ext cx="452438" cy="293687"/>
            </a:xfrm>
            <a:custGeom>
              <a:avLst/>
              <a:gdLst>
                <a:gd name="T0" fmla="*/ 0 w 2563"/>
                <a:gd name="T1" fmla="*/ 296 h 1668"/>
                <a:gd name="T2" fmla="*/ 14 w 2563"/>
                <a:gd name="T3" fmla="*/ 300 h 1668"/>
                <a:gd name="T4" fmla="*/ 28 w 2563"/>
                <a:gd name="T5" fmla="*/ 304 h 1668"/>
                <a:gd name="T6" fmla="*/ 45 w 2563"/>
                <a:gd name="T7" fmla="*/ 310 h 1668"/>
                <a:gd name="T8" fmla="*/ 61 w 2563"/>
                <a:gd name="T9" fmla="*/ 316 h 1668"/>
                <a:gd name="T10" fmla="*/ 96 w 2563"/>
                <a:gd name="T11" fmla="*/ 330 h 1668"/>
                <a:gd name="T12" fmla="*/ 134 w 2563"/>
                <a:gd name="T13" fmla="*/ 349 h 1668"/>
                <a:gd name="T14" fmla="*/ 173 w 2563"/>
                <a:gd name="T15" fmla="*/ 368 h 1668"/>
                <a:gd name="T16" fmla="*/ 214 w 2563"/>
                <a:gd name="T17" fmla="*/ 390 h 1668"/>
                <a:gd name="T18" fmla="*/ 257 w 2563"/>
                <a:gd name="T19" fmla="*/ 414 h 1668"/>
                <a:gd name="T20" fmla="*/ 300 w 2563"/>
                <a:gd name="T21" fmla="*/ 438 h 1668"/>
                <a:gd name="T22" fmla="*/ 386 w 2563"/>
                <a:gd name="T23" fmla="*/ 489 h 1668"/>
                <a:gd name="T24" fmla="*/ 469 w 2563"/>
                <a:gd name="T25" fmla="*/ 537 h 1668"/>
                <a:gd name="T26" fmla="*/ 544 w 2563"/>
                <a:gd name="T27" fmla="*/ 581 h 1668"/>
                <a:gd name="T28" fmla="*/ 607 w 2563"/>
                <a:gd name="T29" fmla="*/ 617 h 1668"/>
                <a:gd name="T30" fmla="*/ 2451 w 2563"/>
                <a:gd name="T31" fmla="*/ 1668 h 1668"/>
                <a:gd name="T32" fmla="*/ 2458 w 2563"/>
                <a:gd name="T33" fmla="*/ 1643 h 1668"/>
                <a:gd name="T34" fmla="*/ 2464 w 2563"/>
                <a:gd name="T35" fmla="*/ 1620 h 1668"/>
                <a:gd name="T36" fmla="*/ 2471 w 2563"/>
                <a:gd name="T37" fmla="*/ 1600 h 1668"/>
                <a:gd name="T38" fmla="*/ 2478 w 2563"/>
                <a:gd name="T39" fmla="*/ 1582 h 1668"/>
                <a:gd name="T40" fmla="*/ 2492 w 2563"/>
                <a:gd name="T41" fmla="*/ 1550 h 1668"/>
                <a:gd name="T42" fmla="*/ 2506 w 2563"/>
                <a:gd name="T43" fmla="*/ 1520 h 1668"/>
                <a:gd name="T44" fmla="*/ 2522 w 2563"/>
                <a:gd name="T45" fmla="*/ 1490 h 1668"/>
                <a:gd name="T46" fmla="*/ 2536 w 2563"/>
                <a:gd name="T47" fmla="*/ 1458 h 1668"/>
                <a:gd name="T48" fmla="*/ 2542 w 2563"/>
                <a:gd name="T49" fmla="*/ 1439 h 1668"/>
                <a:gd name="T50" fmla="*/ 2550 w 2563"/>
                <a:gd name="T51" fmla="*/ 1419 h 1668"/>
                <a:gd name="T52" fmla="*/ 2556 w 2563"/>
                <a:gd name="T53" fmla="*/ 1397 h 1668"/>
                <a:gd name="T54" fmla="*/ 2563 w 2563"/>
                <a:gd name="T55" fmla="*/ 1371 h 1668"/>
                <a:gd name="T56" fmla="*/ 1353 w 2563"/>
                <a:gd name="T57" fmla="*/ 688 h 1668"/>
                <a:gd name="T58" fmla="*/ 1313 w 2563"/>
                <a:gd name="T59" fmla="*/ 665 h 1668"/>
                <a:gd name="T60" fmla="*/ 1259 w 2563"/>
                <a:gd name="T61" fmla="*/ 632 h 1668"/>
                <a:gd name="T62" fmla="*/ 1192 w 2563"/>
                <a:gd name="T63" fmla="*/ 592 h 1668"/>
                <a:gd name="T64" fmla="*/ 1113 w 2563"/>
                <a:gd name="T65" fmla="*/ 545 h 1668"/>
                <a:gd name="T66" fmla="*/ 1026 w 2563"/>
                <a:gd name="T67" fmla="*/ 493 h 1668"/>
                <a:gd name="T68" fmla="*/ 931 w 2563"/>
                <a:gd name="T69" fmla="*/ 438 h 1668"/>
                <a:gd name="T70" fmla="*/ 834 w 2563"/>
                <a:gd name="T71" fmla="*/ 380 h 1668"/>
                <a:gd name="T72" fmla="*/ 733 w 2563"/>
                <a:gd name="T73" fmla="*/ 322 h 1668"/>
                <a:gd name="T74" fmla="*/ 633 w 2563"/>
                <a:gd name="T75" fmla="*/ 264 h 1668"/>
                <a:gd name="T76" fmla="*/ 534 w 2563"/>
                <a:gd name="T77" fmla="*/ 209 h 1668"/>
                <a:gd name="T78" fmla="*/ 441 w 2563"/>
                <a:gd name="T79" fmla="*/ 157 h 1668"/>
                <a:gd name="T80" fmla="*/ 353 w 2563"/>
                <a:gd name="T81" fmla="*/ 109 h 1668"/>
                <a:gd name="T82" fmla="*/ 275 w 2563"/>
                <a:gd name="T83" fmla="*/ 69 h 1668"/>
                <a:gd name="T84" fmla="*/ 206 w 2563"/>
                <a:gd name="T85" fmla="*/ 37 h 1668"/>
                <a:gd name="T86" fmla="*/ 177 w 2563"/>
                <a:gd name="T87" fmla="*/ 24 h 1668"/>
                <a:gd name="T88" fmla="*/ 152 w 2563"/>
                <a:gd name="T89" fmla="*/ 13 h 1668"/>
                <a:gd name="T90" fmla="*/ 129 w 2563"/>
                <a:gd name="T91" fmla="*/ 4 h 1668"/>
                <a:gd name="T92" fmla="*/ 112 w 2563"/>
                <a:gd name="T93" fmla="*/ 0 h 1668"/>
                <a:gd name="T94" fmla="*/ 103 w 2563"/>
                <a:gd name="T95" fmla="*/ 32 h 1668"/>
                <a:gd name="T96" fmla="*/ 94 w 2563"/>
                <a:gd name="T97" fmla="*/ 59 h 1668"/>
                <a:gd name="T98" fmla="*/ 86 w 2563"/>
                <a:gd name="T99" fmla="*/ 82 h 1668"/>
                <a:gd name="T100" fmla="*/ 78 w 2563"/>
                <a:gd name="T101" fmla="*/ 101 h 1668"/>
                <a:gd name="T102" fmla="*/ 69 w 2563"/>
                <a:gd name="T103" fmla="*/ 116 h 1668"/>
                <a:gd name="T104" fmla="*/ 61 w 2563"/>
                <a:gd name="T105" fmla="*/ 129 h 1668"/>
                <a:gd name="T106" fmla="*/ 53 w 2563"/>
                <a:gd name="T107" fmla="*/ 141 h 1668"/>
                <a:gd name="T108" fmla="*/ 46 w 2563"/>
                <a:gd name="T109" fmla="*/ 151 h 1668"/>
                <a:gd name="T110" fmla="*/ 38 w 2563"/>
                <a:gd name="T111" fmla="*/ 161 h 1668"/>
                <a:gd name="T112" fmla="*/ 30 w 2563"/>
                <a:gd name="T113" fmla="*/ 172 h 1668"/>
                <a:gd name="T114" fmla="*/ 24 w 2563"/>
                <a:gd name="T115" fmla="*/ 185 h 1668"/>
                <a:gd name="T116" fmla="*/ 18 w 2563"/>
                <a:gd name="T117" fmla="*/ 199 h 1668"/>
                <a:gd name="T118" fmla="*/ 13 w 2563"/>
                <a:gd name="T119" fmla="*/ 217 h 1668"/>
                <a:gd name="T120" fmla="*/ 8 w 2563"/>
                <a:gd name="T121" fmla="*/ 238 h 1668"/>
                <a:gd name="T122" fmla="*/ 3 w 2563"/>
                <a:gd name="T123" fmla="*/ 264 h 1668"/>
                <a:gd name="T124" fmla="*/ 0 w 2563"/>
                <a:gd name="T125" fmla="*/ 296 h 1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63" h="1668">
                  <a:moveTo>
                    <a:pt x="0" y="296"/>
                  </a:moveTo>
                  <a:lnTo>
                    <a:pt x="14" y="300"/>
                  </a:lnTo>
                  <a:lnTo>
                    <a:pt x="28" y="304"/>
                  </a:lnTo>
                  <a:lnTo>
                    <a:pt x="45" y="310"/>
                  </a:lnTo>
                  <a:lnTo>
                    <a:pt x="61" y="316"/>
                  </a:lnTo>
                  <a:lnTo>
                    <a:pt x="96" y="330"/>
                  </a:lnTo>
                  <a:lnTo>
                    <a:pt x="134" y="349"/>
                  </a:lnTo>
                  <a:lnTo>
                    <a:pt x="173" y="368"/>
                  </a:lnTo>
                  <a:lnTo>
                    <a:pt x="214" y="390"/>
                  </a:lnTo>
                  <a:lnTo>
                    <a:pt x="257" y="414"/>
                  </a:lnTo>
                  <a:lnTo>
                    <a:pt x="300" y="438"/>
                  </a:lnTo>
                  <a:lnTo>
                    <a:pt x="386" y="489"/>
                  </a:lnTo>
                  <a:lnTo>
                    <a:pt x="469" y="537"/>
                  </a:lnTo>
                  <a:lnTo>
                    <a:pt x="544" y="581"/>
                  </a:lnTo>
                  <a:lnTo>
                    <a:pt x="607" y="617"/>
                  </a:lnTo>
                  <a:lnTo>
                    <a:pt x="2451" y="1668"/>
                  </a:lnTo>
                  <a:lnTo>
                    <a:pt x="2458" y="1643"/>
                  </a:lnTo>
                  <a:lnTo>
                    <a:pt x="2464" y="1620"/>
                  </a:lnTo>
                  <a:lnTo>
                    <a:pt x="2471" y="1600"/>
                  </a:lnTo>
                  <a:lnTo>
                    <a:pt x="2478" y="1582"/>
                  </a:lnTo>
                  <a:lnTo>
                    <a:pt x="2492" y="1550"/>
                  </a:lnTo>
                  <a:lnTo>
                    <a:pt x="2506" y="1520"/>
                  </a:lnTo>
                  <a:lnTo>
                    <a:pt x="2522" y="1490"/>
                  </a:lnTo>
                  <a:lnTo>
                    <a:pt x="2536" y="1458"/>
                  </a:lnTo>
                  <a:lnTo>
                    <a:pt x="2542" y="1439"/>
                  </a:lnTo>
                  <a:lnTo>
                    <a:pt x="2550" y="1419"/>
                  </a:lnTo>
                  <a:lnTo>
                    <a:pt x="2556" y="1397"/>
                  </a:lnTo>
                  <a:lnTo>
                    <a:pt x="2563" y="1371"/>
                  </a:lnTo>
                  <a:lnTo>
                    <a:pt x="1353" y="688"/>
                  </a:lnTo>
                  <a:lnTo>
                    <a:pt x="1313" y="665"/>
                  </a:lnTo>
                  <a:lnTo>
                    <a:pt x="1259" y="632"/>
                  </a:lnTo>
                  <a:lnTo>
                    <a:pt x="1192" y="592"/>
                  </a:lnTo>
                  <a:lnTo>
                    <a:pt x="1113" y="545"/>
                  </a:lnTo>
                  <a:lnTo>
                    <a:pt x="1026" y="493"/>
                  </a:lnTo>
                  <a:lnTo>
                    <a:pt x="931" y="438"/>
                  </a:lnTo>
                  <a:lnTo>
                    <a:pt x="834" y="380"/>
                  </a:lnTo>
                  <a:lnTo>
                    <a:pt x="733" y="322"/>
                  </a:lnTo>
                  <a:lnTo>
                    <a:pt x="633" y="264"/>
                  </a:lnTo>
                  <a:lnTo>
                    <a:pt x="534" y="209"/>
                  </a:lnTo>
                  <a:lnTo>
                    <a:pt x="441" y="157"/>
                  </a:lnTo>
                  <a:lnTo>
                    <a:pt x="353" y="109"/>
                  </a:lnTo>
                  <a:lnTo>
                    <a:pt x="275" y="69"/>
                  </a:lnTo>
                  <a:lnTo>
                    <a:pt x="206" y="37"/>
                  </a:lnTo>
                  <a:lnTo>
                    <a:pt x="177" y="24"/>
                  </a:lnTo>
                  <a:lnTo>
                    <a:pt x="152" y="13"/>
                  </a:lnTo>
                  <a:lnTo>
                    <a:pt x="129" y="4"/>
                  </a:lnTo>
                  <a:lnTo>
                    <a:pt x="112" y="0"/>
                  </a:lnTo>
                  <a:lnTo>
                    <a:pt x="103" y="32"/>
                  </a:lnTo>
                  <a:lnTo>
                    <a:pt x="94" y="59"/>
                  </a:lnTo>
                  <a:lnTo>
                    <a:pt x="86" y="82"/>
                  </a:lnTo>
                  <a:lnTo>
                    <a:pt x="78" y="101"/>
                  </a:lnTo>
                  <a:lnTo>
                    <a:pt x="69" y="116"/>
                  </a:lnTo>
                  <a:lnTo>
                    <a:pt x="61" y="129"/>
                  </a:lnTo>
                  <a:lnTo>
                    <a:pt x="53" y="141"/>
                  </a:lnTo>
                  <a:lnTo>
                    <a:pt x="46" y="151"/>
                  </a:lnTo>
                  <a:lnTo>
                    <a:pt x="38" y="161"/>
                  </a:lnTo>
                  <a:lnTo>
                    <a:pt x="30" y="172"/>
                  </a:lnTo>
                  <a:lnTo>
                    <a:pt x="24" y="185"/>
                  </a:lnTo>
                  <a:lnTo>
                    <a:pt x="18" y="199"/>
                  </a:lnTo>
                  <a:lnTo>
                    <a:pt x="13" y="217"/>
                  </a:lnTo>
                  <a:lnTo>
                    <a:pt x="8" y="238"/>
                  </a:lnTo>
                  <a:lnTo>
                    <a:pt x="3" y="264"/>
                  </a:lnTo>
                  <a:lnTo>
                    <a:pt x="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33" name="Freeform 17">
              <a:extLst>
                <a:ext uri="{FF2B5EF4-FFF2-40B4-BE49-F238E27FC236}">
                  <a16:creationId xmlns:a16="http://schemas.microsoft.com/office/drawing/2014/main" id="{500ACFFD-3245-4A7E-8874-01F2151FA3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1325" y="8151813"/>
              <a:ext cx="458788" cy="287337"/>
            </a:xfrm>
            <a:custGeom>
              <a:avLst/>
              <a:gdLst>
                <a:gd name="T0" fmla="*/ 0 w 2599"/>
                <a:gd name="T1" fmla="*/ 1371 h 1631"/>
                <a:gd name="T2" fmla="*/ 16 w 2599"/>
                <a:gd name="T3" fmla="*/ 1404 h 1631"/>
                <a:gd name="T4" fmla="*/ 33 w 2599"/>
                <a:gd name="T5" fmla="*/ 1434 h 1631"/>
                <a:gd name="T6" fmla="*/ 49 w 2599"/>
                <a:gd name="T7" fmla="*/ 1463 h 1631"/>
                <a:gd name="T8" fmla="*/ 63 w 2599"/>
                <a:gd name="T9" fmla="*/ 1494 h 1631"/>
                <a:gd name="T10" fmla="*/ 77 w 2599"/>
                <a:gd name="T11" fmla="*/ 1525 h 1631"/>
                <a:gd name="T12" fmla="*/ 89 w 2599"/>
                <a:gd name="T13" fmla="*/ 1557 h 1631"/>
                <a:gd name="T14" fmla="*/ 101 w 2599"/>
                <a:gd name="T15" fmla="*/ 1592 h 1631"/>
                <a:gd name="T16" fmla="*/ 111 w 2599"/>
                <a:gd name="T17" fmla="*/ 1631 h 1631"/>
                <a:gd name="T18" fmla="*/ 135 w 2599"/>
                <a:gd name="T19" fmla="*/ 1628 h 1631"/>
                <a:gd name="T20" fmla="*/ 159 w 2599"/>
                <a:gd name="T21" fmla="*/ 1624 h 1631"/>
                <a:gd name="T22" fmla="*/ 181 w 2599"/>
                <a:gd name="T23" fmla="*/ 1618 h 1631"/>
                <a:gd name="T24" fmla="*/ 203 w 2599"/>
                <a:gd name="T25" fmla="*/ 1611 h 1631"/>
                <a:gd name="T26" fmla="*/ 224 w 2599"/>
                <a:gd name="T27" fmla="*/ 1602 h 1631"/>
                <a:gd name="T28" fmla="*/ 245 w 2599"/>
                <a:gd name="T29" fmla="*/ 1593 h 1631"/>
                <a:gd name="T30" fmla="*/ 265 w 2599"/>
                <a:gd name="T31" fmla="*/ 1582 h 1631"/>
                <a:gd name="T32" fmla="*/ 286 w 2599"/>
                <a:gd name="T33" fmla="*/ 1572 h 1631"/>
                <a:gd name="T34" fmla="*/ 325 w 2599"/>
                <a:gd name="T35" fmla="*/ 1549 h 1631"/>
                <a:gd name="T36" fmla="*/ 363 w 2599"/>
                <a:gd name="T37" fmla="*/ 1524 h 1631"/>
                <a:gd name="T38" fmla="*/ 401 w 2599"/>
                <a:gd name="T39" fmla="*/ 1499 h 1631"/>
                <a:gd name="T40" fmla="*/ 438 w 2599"/>
                <a:gd name="T41" fmla="*/ 1475 h 1631"/>
                <a:gd name="T42" fmla="*/ 1360 w 2599"/>
                <a:gd name="T43" fmla="*/ 950 h 1631"/>
                <a:gd name="T44" fmla="*/ 1440 w 2599"/>
                <a:gd name="T45" fmla="*/ 907 h 1631"/>
                <a:gd name="T46" fmla="*/ 1518 w 2599"/>
                <a:gd name="T47" fmla="*/ 865 h 1631"/>
                <a:gd name="T48" fmla="*/ 1595 w 2599"/>
                <a:gd name="T49" fmla="*/ 821 h 1631"/>
                <a:gd name="T50" fmla="*/ 1671 w 2599"/>
                <a:gd name="T51" fmla="*/ 778 h 1631"/>
                <a:gd name="T52" fmla="*/ 1747 w 2599"/>
                <a:gd name="T53" fmla="*/ 735 h 1631"/>
                <a:gd name="T54" fmla="*/ 1823 w 2599"/>
                <a:gd name="T55" fmla="*/ 690 h 1631"/>
                <a:gd name="T56" fmla="*/ 1899 w 2599"/>
                <a:gd name="T57" fmla="*/ 646 h 1631"/>
                <a:gd name="T58" fmla="*/ 1975 w 2599"/>
                <a:gd name="T59" fmla="*/ 600 h 1631"/>
                <a:gd name="T60" fmla="*/ 2015 w 2599"/>
                <a:gd name="T61" fmla="*/ 576 h 1631"/>
                <a:gd name="T62" fmla="*/ 2053 w 2599"/>
                <a:gd name="T63" fmla="*/ 555 h 1631"/>
                <a:gd name="T64" fmla="*/ 2090 w 2599"/>
                <a:gd name="T65" fmla="*/ 533 h 1631"/>
                <a:gd name="T66" fmla="*/ 2127 w 2599"/>
                <a:gd name="T67" fmla="*/ 513 h 1631"/>
                <a:gd name="T68" fmla="*/ 2163 w 2599"/>
                <a:gd name="T69" fmla="*/ 492 h 1631"/>
                <a:gd name="T70" fmla="*/ 2200 w 2599"/>
                <a:gd name="T71" fmla="*/ 471 h 1631"/>
                <a:gd name="T72" fmla="*/ 2240 w 2599"/>
                <a:gd name="T73" fmla="*/ 449 h 1631"/>
                <a:gd name="T74" fmla="*/ 2281 w 2599"/>
                <a:gd name="T75" fmla="*/ 424 h 1631"/>
                <a:gd name="T76" fmla="*/ 2322 w 2599"/>
                <a:gd name="T77" fmla="*/ 398 h 1631"/>
                <a:gd name="T78" fmla="*/ 2361 w 2599"/>
                <a:gd name="T79" fmla="*/ 373 h 1631"/>
                <a:gd name="T80" fmla="*/ 2399 w 2599"/>
                <a:gd name="T81" fmla="*/ 349 h 1631"/>
                <a:gd name="T82" fmla="*/ 2436 w 2599"/>
                <a:gd name="T83" fmla="*/ 326 h 1631"/>
                <a:gd name="T84" fmla="*/ 2455 w 2599"/>
                <a:gd name="T85" fmla="*/ 315 h 1631"/>
                <a:gd name="T86" fmla="*/ 2473 w 2599"/>
                <a:gd name="T87" fmla="*/ 306 h 1631"/>
                <a:gd name="T88" fmla="*/ 2493 w 2599"/>
                <a:gd name="T89" fmla="*/ 296 h 1631"/>
                <a:gd name="T90" fmla="*/ 2512 w 2599"/>
                <a:gd name="T91" fmla="*/ 287 h 1631"/>
                <a:gd name="T92" fmla="*/ 2533 w 2599"/>
                <a:gd name="T93" fmla="*/ 279 h 1631"/>
                <a:gd name="T94" fmla="*/ 2553 w 2599"/>
                <a:gd name="T95" fmla="*/ 272 h 1631"/>
                <a:gd name="T96" fmla="*/ 2576 w 2599"/>
                <a:gd name="T97" fmla="*/ 265 h 1631"/>
                <a:gd name="T98" fmla="*/ 2599 w 2599"/>
                <a:gd name="T99" fmla="*/ 259 h 1631"/>
                <a:gd name="T100" fmla="*/ 2579 w 2599"/>
                <a:gd name="T101" fmla="*/ 222 h 1631"/>
                <a:gd name="T102" fmla="*/ 2560 w 2599"/>
                <a:gd name="T103" fmla="*/ 186 h 1631"/>
                <a:gd name="T104" fmla="*/ 2540 w 2599"/>
                <a:gd name="T105" fmla="*/ 151 h 1631"/>
                <a:gd name="T106" fmla="*/ 2520 w 2599"/>
                <a:gd name="T107" fmla="*/ 116 h 1631"/>
                <a:gd name="T108" fmla="*/ 2508 w 2599"/>
                <a:gd name="T109" fmla="*/ 100 h 1631"/>
                <a:gd name="T110" fmla="*/ 2497 w 2599"/>
                <a:gd name="T111" fmla="*/ 83 h 1631"/>
                <a:gd name="T112" fmla="*/ 2485 w 2599"/>
                <a:gd name="T113" fmla="*/ 68 h 1631"/>
                <a:gd name="T114" fmla="*/ 2472 w 2599"/>
                <a:gd name="T115" fmla="*/ 53 h 1631"/>
                <a:gd name="T116" fmla="*/ 2459 w 2599"/>
                <a:gd name="T117" fmla="*/ 39 h 1631"/>
                <a:gd name="T118" fmla="*/ 2445 w 2599"/>
                <a:gd name="T119" fmla="*/ 25 h 1631"/>
                <a:gd name="T120" fmla="*/ 2430 w 2599"/>
                <a:gd name="T121" fmla="*/ 12 h 1631"/>
                <a:gd name="T122" fmla="*/ 2413 w 2599"/>
                <a:gd name="T123" fmla="*/ 0 h 1631"/>
                <a:gd name="T124" fmla="*/ 0 w 2599"/>
                <a:gd name="T125" fmla="*/ 1371 h 1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99" h="1631">
                  <a:moveTo>
                    <a:pt x="0" y="1371"/>
                  </a:moveTo>
                  <a:lnTo>
                    <a:pt x="16" y="1404"/>
                  </a:lnTo>
                  <a:lnTo>
                    <a:pt x="33" y="1434"/>
                  </a:lnTo>
                  <a:lnTo>
                    <a:pt x="49" y="1463"/>
                  </a:lnTo>
                  <a:lnTo>
                    <a:pt x="63" y="1494"/>
                  </a:lnTo>
                  <a:lnTo>
                    <a:pt x="77" y="1525"/>
                  </a:lnTo>
                  <a:lnTo>
                    <a:pt x="89" y="1557"/>
                  </a:lnTo>
                  <a:lnTo>
                    <a:pt x="101" y="1592"/>
                  </a:lnTo>
                  <a:lnTo>
                    <a:pt x="111" y="1631"/>
                  </a:lnTo>
                  <a:lnTo>
                    <a:pt x="135" y="1628"/>
                  </a:lnTo>
                  <a:lnTo>
                    <a:pt x="159" y="1624"/>
                  </a:lnTo>
                  <a:lnTo>
                    <a:pt x="181" y="1618"/>
                  </a:lnTo>
                  <a:lnTo>
                    <a:pt x="203" y="1611"/>
                  </a:lnTo>
                  <a:lnTo>
                    <a:pt x="224" y="1602"/>
                  </a:lnTo>
                  <a:lnTo>
                    <a:pt x="245" y="1593"/>
                  </a:lnTo>
                  <a:lnTo>
                    <a:pt x="265" y="1582"/>
                  </a:lnTo>
                  <a:lnTo>
                    <a:pt x="286" y="1572"/>
                  </a:lnTo>
                  <a:lnTo>
                    <a:pt x="325" y="1549"/>
                  </a:lnTo>
                  <a:lnTo>
                    <a:pt x="363" y="1524"/>
                  </a:lnTo>
                  <a:lnTo>
                    <a:pt x="401" y="1499"/>
                  </a:lnTo>
                  <a:lnTo>
                    <a:pt x="438" y="1475"/>
                  </a:lnTo>
                  <a:lnTo>
                    <a:pt x="1360" y="950"/>
                  </a:lnTo>
                  <a:lnTo>
                    <a:pt x="1440" y="907"/>
                  </a:lnTo>
                  <a:lnTo>
                    <a:pt x="1518" y="865"/>
                  </a:lnTo>
                  <a:lnTo>
                    <a:pt x="1595" y="821"/>
                  </a:lnTo>
                  <a:lnTo>
                    <a:pt x="1671" y="778"/>
                  </a:lnTo>
                  <a:lnTo>
                    <a:pt x="1747" y="735"/>
                  </a:lnTo>
                  <a:lnTo>
                    <a:pt x="1823" y="690"/>
                  </a:lnTo>
                  <a:lnTo>
                    <a:pt x="1899" y="646"/>
                  </a:lnTo>
                  <a:lnTo>
                    <a:pt x="1975" y="600"/>
                  </a:lnTo>
                  <a:lnTo>
                    <a:pt x="2015" y="576"/>
                  </a:lnTo>
                  <a:lnTo>
                    <a:pt x="2053" y="555"/>
                  </a:lnTo>
                  <a:lnTo>
                    <a:pt x="2090" y="533"/>
                  </a:lnTo>
                  <a:lnTo>
                    <a:pt x="2127" y="513"/>
                  </a:lnTo>
                  <a:lnTo>
                    <a:pt x="2163" y="492"/>
                  </a:lnTo>
                  <a:lnTo>
                    <a:pt x="2200" y="471"/>
                  </a:lnTo>
                  <a:lnTo>
                    <a:pt x="2240" y="449"/>
                  </a:lnTo>
                  <a:lnTo>
                    <a:pt x="2281" y="424"/>
                  </a:lnTo>
                  <a:lnTo>
                    <a:pt x="2322" y="398"/>
                  </a:lnTo>
                  <a:lnTo>
                    <a:pt x="2361" y="373"/>
                  </a:lnTo>
                  <a:lnTo>
                    <a:pt x="2399" y="349"/>
                  </a:lnTo>
                  <a:lnTo>
                    <a:pt x="2436" y="326"/>
                  </a:lnTo>
                  <a:lnTo>
                    <a:pt x="2455" y="315"/>
                  </a:lnTo>
                  <a:lnTo>
                    <a:pt x="2473" y="306"/>
                  </a:lnTo>
                  <a:lnTo>
                    <a:pt x="2493" y="296"/>
                  </a:lnTo>
                  <a:lnTo>
                    <a:pt x="2512" y="287"/>
                  </a:lnTo>
                  <a:lnTo>
                    <a:pt x="2533" y="279"/>
                  </a:lnTo>
                  <a:lnTo>
                    <a:pt x="2553" y="272"/>
                  </a:lnTo>
                  <a:lnTo>
                    <a:pt x="2576" y="265"/>
                  </a:lnTo>
                  <a:lnTo>
                    <a:pt x="2599" y="259"/>
                  </a:lnTo>
                  <a:lnTo>
                    <a:pt x="2579" y="222"/>
                  </a:lnTo>
                  <a:lnTo>
                    <a:pt x="2560" y="186"/>
                  </a:lnTo>
                  <a:lnTo>
                    <a:pt x="2540" y="151"/>
                  </a:lnTo>
                  <a:lnTo>
                    <a:pt x="2520" y="116"/>
                  </a:lnTo>
                  <a:lnTo>
                    <a:pt x="2508" y="100"/>
                  </a:lnTo>
                  <a:lnTo>
                    <a:pt x="2497" y="83"/>
                  </a:lnTo>
                  <a:lnTo>
                    <a:pt x="2485" y="68"/>
                  </a:lnTo>
                  <a:lnTo>
                    <a:pt x="2472" y="53"/>
                  </a:lnTo>
                  <a:lnTo>
                    <a:pt x="2459" y="39"/>
                  </a:lnTo>
                  <a:lnTo>
                    <a:pt x="2445" y="25"/>
                  </a:lnTo>
                  <a:lnTo>
                    <a:pt x="2430" y="12"/>
                  </a:lnTo>
                  <a:lnTo>
                    <a:pt x="2413" y="0"/>
                  </a:lnTo>
                  <a:lnTo>
                    <a:pt x="0" y="13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8">
              <a:extLst>
                <a:ext uri="{FF2B5EF4-FFF2-40B4-BE49-F238E27FC236}">
                  <a16:creationId xmlns:a16="http://schemas.microsoft.com/office/drawing/2014/main" id="{1DD434AE-7088-48A8-B1E1-1E3A309A5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1325" y="6327775"/>
              <a:ext cx="452438" cy="287337"/>
            </a:xfrm>
            <a:custGeom>
              <a:avLst/>
              <a:gdLst>
                <a:gd name="T0" fmla="*/ 73 w 2562"/>
                <a:gd name="T1" fmla="*/ 299 h 1631"/>
                <a:gd name="T2" fmla="*/ 222 w 2562"/>
                <a:gd name="T3" fmla="*/ 381 h 1631"/>
                <a:gd name="T4" fmla="*/ 370 w 2562"/>
                <a:gd name="T5" fmla="*/ 466 h 1631"/>
                <a:gd name="T6" fmla="*/ 518 w 2562"/>
                <a:gd name="T7" fmla="*/ 553 h 1631"/>
                <a:gd name="T8" fmla="*/ 2123 w 2562"/>
                <a:gd name="T9" fmla="*/ 1475 h 1631"/>
                <a:gd name="T10" fmla="*/ 2198 w 2562"/>
                <a:gd name="T11" fmla="*/ 1524 h 1631"/>
                <a:gd name="T12" fmla="*/ 2275 w 2562"/>
                <a:gd name="T13" fmla="*/ 1573 h 1631"/>
                <a:gd name="T14" fmla="*/ 2317 w 2562"/>
                <a:gd name="T15" fmla="*/ 1593 h 1631"/>
                <a:gd name="T16" fmla="*/ 2359 w 2562"/>
                <a:gd name="T17" fmla="*/ 1610 h 1631"/>
                <a:gd name="T18" fmla="*/ 2403 w 2562"/>
                <a:gd name="T19" fmla="*/ 1623 h 1631"/>
                <a:gd name="T20" fmla="*/ 2450 w 2562"/>
                <a:gd name="T21" fmla="*/ 1631 h 1631"/>
                <a:gd name="T22" fmla="*/ 2464 w 2562"/>
                <a:gd name="T23" fmla="*/ 1587 h 1631"/>
                <a:gd name="T24" fmla="*/ 2478 w 2562"/>
                <a:gd name="T25" fmla="*/ 1554 h 1631"/>
                <a:gd name="T26" fmla="*/ 2506 w 2562"/>
                <a:gd name="T27" fmla="*/ 1511 h 1631"/>
                <a:gd name="T28" fmla="*/ 2520 w 2562"/>
                <a:gd name="T29" fmla="*/ 1490 h 1631"/>
                <a:gd name="T30" fmla="*/ 2534 w 2562"/>
                <a:gd name="T31" fmla="*/ 1462 h 1631"/>
                <a:gd name="T32" fmla="*/ 2548 w 2562"/>
                <a:gd name="T33" fmla="*/ 1425 h 1631"/>
                <a:gd name="T34" fmla="*/ 2562 w 2562"/>
                <a:gd name="T35" fmla="*/ 1372 h 1631"/>
                <a:gd name="T36" fmla="*/ 2410 w 2562"/>
                <a:gd name="T37" fmla="*/ 1290 h 1631"/>
                <a:gd name="T38" fmla="*/ 2260 w 2562"/>
                <a:gd name="T39" fmla="*/ 1204 h 1631"/>
                <a:gd name="T40" fmla="*/ 2111 w 2562"/>
                <a:gd name="T41" fmla="*/ 1117 h 1631"/>
                <a:gd name="T42" fmla="*/ 1964 w 2562"/>
                <a:gd name="T43" fmla="*/ 1029 h 1631"/>
                <a:gd name="T44" fmla="*/ 1815 w 2562"/>
                <a:gd name="T45" fmla="*/ 942 h 1631"/>
                <a:gd name="T46" fmla="*/ 1666 w 2562"/>
                <a:gd name="T47" fmla="*/ 853 h 1631"/>
                <a:gd name="T48" fmla="*/ 1514 w 2562"/>
                <a:gd name="T49" fmla="*/ 766 h 1631"/>
                <a:gd name="T50" fmla="*/ 1360 w 2562"/>
                <a:gd name="T51" fmla="*/ 679 h 1631"/>
                <a:gd name="T52" fmla="*/ 1202 w 2562"/>
                <a:gd name="T53" fmla="*/ 592 h 1631"/>
                <a:gd name="T54" fmla="*/ 1049 w 2562"/>
                <a:gd name="T55" fmla="*/ 506 h 1631"/>
                <a:gd name="T56" fmla="*/ 898 w 2562"/>
                <a:gd name="T57" fmla="*/ 419 h 1631"/>
                <a:gd name="T58" fmla="*/ 744 w 2562"/>
                <a:gd name="T59" fmla="*/ 331 h 1631"/>
                <a:gd name="T60" fmla="*/ 671 w 2562"/>
                <a:gd name="T61" fmla="*/ 289 h 1631"/>
                <a:gd name="T62" fmla="*/ 594 w 2562"/>
                <a:gd name="T63" fmla="*/ 246 h 1631"/>
                <a:gd name="T64" fmla="*/ 516 w 2562"/>
                <a:gd name="T65" fmla="*/ 201 h 1631"/>
                <a:gd name="T66" fmla="*/ 438 w 2562"/>
                <a:gd name="T67" fmla="*/ 155 h 1631"/>
                <a:gd name="T68" fmla="*/ 359 w 2562"/>
                <a:gd name="T69" fmla="*/ 107 h 1631"/>
                <a:gd name="T70" fmla="*/ 285 w 2562"/>
                <a:gd name="T71" fmla="*/ 65 h 1631"/>
                <a:gd name="T72" fmla="*/ 244 w 2562"/>
                <a:gd name="T73" fmla="*/ 45 h 1631"/>
                <a:gd name="T74" fmla="*/ 203 w 2562"/>
                <a:gd name="T75" fmla="*/ 28 h 1631"/>
                <a:gd name="T76" fmla="*/ 159 w 2562"/>
                <a:gd name="T77" fmla="*/ 13 h 1631"/>
                <a:gd name="T78" fmla="*/ 111 w 2562"/>
                <a:gd name="T79" fmla="*/ 0 h 1631"/>
                <a:gd name="T80" fmla="*/ 77 w 2562"/>
                <a:gd name="T81" fmla="*/ 62 h 1631"/>
                <a:gd name="T82" fmla="*/ 47 w 2562"/>
                <a:gd name="T83" fmla="*/ 122 h 1631"/>
                <a:gd name="T84" fmla="*/ 21 w 2562"/>
                <a:gd name="T85" fmla="*/ 185 h 1631"/>
                <a:gd name="T86" fmla="*/ 0 w 2562"/>
                <a:gd name="T87" fmla="*/ 259 h 1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562" h="1631">
                  <a:moveTo>
                    <a:pt x="0" y="259"/>
                  </a:moveTo>
                  <a:lnTo>
                    <a:pt x="73" y="299"/>
                  </a:lnTo>
                  <a:lnTo>
                    <a:pt x="147" y="339"/>
                  </a:lnTo>
                  <a:lnTo>
                    <a:pt x="222" y="381"/>
                  </a:lnTo>
                  <a:lnTo>
                    <a:pt x="295" y="424"/>
                  </a:lnTo>
                  <a:lnTo>
                    <a:pt x="370" y="466"/>
                  </a:lnTo>
                  <a:lnTo>
                    <a:pt x="444" y="509"/>
                  </a:lnTo>
                  <a:lnTo>
                    <a:pt x="518" y="553"/>
                  </a:lnTo>
                  <a:lnTo>
                    <a:pt x="592" y="595"/>
                  </a:lnTo>
                  <a:lnTo>
                    <a:pt x="2123" y="1475"/>
                  </a:lnTo>
                  <a:lnTo>
                    <a:pt x="2161" y="1499"/>
                  </a:lnTo>
                  <a:lnTo>
                    <a:pt x="2198" y="1524"/>
                  </a:lnTo>
                  <a:lnTo>
                    <a:pt x="2236" y="1549"/>
                  </a:lnTo>
                  <a:lnTo>
                    <a:pt x="2275" y="1573"/>
                  </a:lnTo>
                  <a:lnTo>
                    <a:pt x="2296" y="1583"/>
                  </a:lnTo>
                  <a:lnTo>
                    <a:pt x="2317" y="1593"/>
                  </a:lnTo>
                  <a:lnTo>
                    <a:pt x="2337" y="1603"/>
                  </a:lnTo>
                  <a:lnTo>
                    <a:pt x="2359" y="1610"/>
                  </a:lnTo>
                  <a:lnTo>
                    <a:pt x="2381" y="1618"/>
                  </a:lnTo>
                  <a:lnTo>
                    <a:pt x="2403" y="1623"/>
                  </a:lnTo>
                  <a:lnTo>
                    <a:pt x="2426" y="1628"/>
                  </a:lnTo>
                  <a:lnTo>
                    <a:pt x="2450" y="1631"/>
                  </a:lnTo>
                  <a:lnTo>
                    <a:pt x="2458" y="1607"/>
                  </a:lnTo>
                  <a:lnTo>
                    <a:pt x="2464" y="1587"/>
                  </a:lnTo>
                  <a:lnTo>
                    <a:pt x="2471" y="1569"/>
                  </a:lnTo>
                  <a:lnTo>
                    <a:pt x="2478" y="1554"/>
                  </a:lnTo>
                  <a:lnTo>
                    <a:pt x="2491" y="1531"/>
                  </a:lnTo>
                  <a:lnTo>
                    <a:pt x="2506" y="1511"/>
                  </a:lnTo>
                  <a:lnTo>
                    <a:pt x="2512" y="1501"/>
                  </a:lnTo>
                  <a:lnTo>
                    <a:pt x="2520" y="1490"/>
                  </a:lnTo>
                  <a:lnTo>
                    <a:pt x="2526" y="1477"/>
                  </a:lnTo>
                  <a:lnTo>
                    <a:pt x="2534" y="1462"/>
                  </a:lnTo>
                  <a:lnTo>
                    <a:pt x="2540" y="1445"/>
                  </a:lnTo>
                  <a:lnTo>
                    <a:pt x="2548" y="1425"/>
                  </a:lnTo>
                  <a:lnTo>
                    <a:pt x="2554" y="1400"/>
                  </a:lnTo>
                  <a:lnTo>
                    <a:pt x="2562" y="1372"/>
                  </a:lnTo>
                  <a:lnTo>
                    <a:pt x="2485" y="1331"/>
                  </a:lnTo>
                  <a:lnTo>
                    <a:pt x="2410" y="1290"/>
                  </a:lnTo>
                  <a:lnTo>
                    <a:pt x="2335" y="1247"/>
                  </a:lnTo>
                  <a:lnTo>
                    <a:pt x="2260" y="1204"/>
                  </a:lnTo>
                  <a:lnTo>
                    <a:pt x="2185" y="1161"/>
                  </a:lnTo>
                  <a:lnTo>
                    <a:pt x="2111" y="1117"/>
                  </a:lnTo>
                  <a:lnTo>
                    <a:pt x="2038" y="1074"/>
                  </a:lnTo>
                  <a:lnTo>
                    <a:pt x="1964" y="1029"/>
                  </a:lnTo>
                  <a:lnTo>
                    <a:pt x="1890" y="985"/>
                  </a:lnTo>
                  <a:lnTo>
                    <a:pt x="1815" y="942"/>
                  </a:lnTo>
                  <a:lnTo>
                    <a:pt x="1741" y="897"/>
                  </a:lnTo>
                  <a:lnTo>
                    <a:pt x="1666" y="853"/>
                  </a:lnTo>
                  <a:lnTo>
                    <a:pt x="1590" y="809"/>
                  </a:lnTo>
                  <a:lnTo>
                    <a:pt x="1514" y="766"/>
                  </a:lnTo>
                  <a:lnTo>
                    <a:pt x="1438" y="723"/>
                  </a:lnTo>
                  <a:lnTo>
                    <a:pt x="1360" y="679"/>
                  </a:lnTo>
                  <a:lnTo>
                    <a:pt x="1280" y="635"/>
                  </a:lnTo>
                  <a:lnTo>
                    <a:pt x="1202" y="592"/>
                  </a:lnTo>
                  <a:lnTo>
                    <a:pt x="1125" y="548"/>
                  </a:lnTo>
                  <a:lnTo>
                    <a:pt x="1049" y="506"/>
                  </a:lnTo>
                  <a:lnTo>
                    <a:pt x="974" y="463"/>
                  </a:lnTo>
                  <a:lnTo>
                    <a:pt x="898" y="419"/>
                  </a:lnTo>
                  <a:lnTo>
                    <a:pt x="822" y="376"/>
                  </a:lnTo>
                  <a:lnTo>
                    <a:pt x="744" y="331"/>
                  </a:lnTo>
                  <a:lnTo>
                    <a:pt x="708" y="311"/>
                  </a:lnTo>
                  <a:lnTo>
                    <a:pt x="671" y="289"/>
                  </a:lnTo>
                  <a:lnTo>
                    <a:pt x="633" y="267"/>
                  </a:lnTo>
                  <a:lnTo>
                    <a:pt x="594" y="246"/>
                  </a:lnTo>
                  <a:lnTo>
                    <a:pt x="555" y="224"/>
                  </a:lnTo>
                  <a:lnTo>
                    <a:pt x="516" y="201"/>
                  </a:lnTo>
                  <a:lnTo>
                    <a:pt x="477" y="179"/>
                  </a:lnTo>
                  <a:lnTo>
                    <a:pt x="438" y="155"/>
                  </a:lnTo>
                  <a:lnTo>
                    <a:pt x="399" y="131"/>
                  </a:lnTo>
                  <a:lnTo>
                    <a:pt x="359" y="107"/>
                  </a:lnTo>
                  <a:lnTo>
                    <a:pt x="323" y="85"/>
                  </a:lnTo>
                  <a:lnTo>
                    <a:pt x="285" y="65"/>
                  </a:lnTo>
                  <a:lnTo>
                    <a:pt x="265" y="55"/>
                  </a:lnTo>
                  <a:lnTo>
                    <a:pt x="244" y="45"/>
                  </a:lnTo>
                  <a:lnTo>
                    <a:pt x="225" y="37"/>
                  </a:lnTo>
                  <a:lnTo>
                    <a:pt x="203" y="28"/>
                  </a:lnTo>
                  <a:lnTo>
                    <a:pt x="181" y="20"/>
                  </a:lnTo>
                  <a:lnTo>
                    <a:pt x="159" y="13"/>
                  </a:lnTo>
                  <a:lnTo>
                    <a:pt x="136" y="6"/>
                  </a:lnTo>
                  <a:lnTo>
                    <a:pt x="111" y="0"/>
                  </a:lnTo>
                  <a:lnTo>
                    <a:pt x="93" y="31"/>
                  </a:lnTo>
                  <a:lnTo>
                    <a:pt x="77" y="62"/>
                  </a:lnTo>
                  <a:lnTo>
                    <a:pt x="62" y="92"/>
                  </a:lnTo>
                  <a:lnTo>
                    <a:pt x="47" y="122"/>
                  </a:lnTo>
                  <a:lnTo>
                    <a:pt x="34" y="153"/>
                  </a:lnTo>
                  <a:lnTo>
                    <a:pt x="21" y="185"/>
                  </a:lnTo>
                  <a:lnTo>
                    <a:pt x="10" y="221"/>
                  </a:lnTo>
                  <a:lnTo>
                    <a:pt x="0" y="2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9">
              <a:extLst>
                <a:ext uri="{FF2B5EF4-FFF2-40B4-BE49-F238E27FC236}">
                  <a16:creationId xmlns:a16="http://schemas.microsoft.com/office/drawing/2014/main" id="{C2BC8AE5-0D55-4F8C-B259-F56E4AB2B0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7225" y="6935788"/>
              <a:ext cx="400050" cy="254000"/>
            </a:xfrm>
            <a:custGeom>
              <a:avLst/>
              <a:gdLst>
                <a:gd name="T0" fmla="*/ 0 w 2266"/>
                <a:gd name="T1" fmla="*/ 260 h 1446"/>
                <a:gd name="T2" fmla="*/ 1099 w 2266"/>
                <a:gd name="T3" fmla="*/ 869 h 1446"/>
                <a:gd name="T4" fmla="*/ 1138 w 2266"/>
                <a:gd name="T5" fmla="*/ 892 h 1446"/>
                <a:gd name="T6" fmla="*/ 1189 w 2266"/>
                <a:gd name="T7" fmla="*/ 922 h 1446"/>
                <a:gd name="T8" fmla="*/ 1251 w 2266"/>
                <a:gd name="T9" fmla="*/ 959 h 1446"/>
                <a:gd name="T10" fmla="*/ 1320 w 2266"/>
                <a:gd name="T11" fmla="*/ 1001 h 1446"/>
                <a:gd name="T12" fmla="*/ 1397 w 2266"/>
                <a:gd name="T13" fmla="*/ 1047 h 1446"/>
                <a:gd name="T14" fmla="*/ 1480 w 2266"/>
                <a:gd name="T15" fmla="*/ 1096 h 1446"/>
                <a:gd name="T16" fmla="*/ 1566 w 2266"/>
                <a:gd name="T17" fmla="*/ 1144 h 1446"/>
                <a:gd name="T18" fmla="*/ 1654 w 2266"/>
                <a:gd name="T19" fmla="*/ 1194 h 1446"/>
                <a:gd name="T20" fmla="*/ 1742 w 2266"/>
                <a:gd name="T21" fmla="*/ 1242 h 1446"/>
                <a:gd name="T22" fmla="*/ 1829 w 2266"/>
                <a:gd name="T23" fmla="*/ 1289 h 1446"/>
                <a:gd name="T24" fmla="*/ 1873 w 2266"/>
                <a:gd name="T25" fmla="*/ 1310 h 1446"/>
                <a:gd name="T26" fmla="*/ 1914 w 2266"/>
                <a:gd name="T27" fmla="*/ 1331 h 1446"/>
                <a:gd name="T28" fmla="*/ 1954 w 2266"/>
                <a:gd name="T29" fmla="*/ 1350 h 1446"/>
                <a:gd name="T30" fmla="*/ 1993 w 2266"/>
                <a:gd name="T31" fmla="*/ 1369 h 1446"/>
                <a:gd name="T32" fmla="*/ 2030 w 2266"/>
                <a:gd name="T33" fmla="*/ 1385 h 1446"/>
                <a:gd name="T34" fmla="*/ 2066 w 2266"/>
                <a:gd name="T35" fmla="*/ 1400 h 1446"/>
                <a:gd name="T36" fmla="*/ 2098 w 2266"/>
                <a:gd name="T37" fmla="*/ 1413 h 1446"/>
                <a:gd name="T38" fmla="*/ 2130 w 2266"/>
                <a:gd name="T39" fmla="*/ 1424 h 1446"/>
                <a:gd name="T40" fmla="*/ 2159 w 2266"/>
                <a:gd name="T41" fmla="*/ 1433 h 1446"/>
                <a:gd name="T42" fmla="*/ 2185 w 2266"/>
                <a:gd name="T43" fmla="*/ 1440 h 1446"/>
                <a:gd name="T44" fmla="*/ 2208 w 2266"/>
                <a:gd name="T45" fmla="*/ 1445 h 1446"/>
                <a:gd name="T46" fmla="*/ 2229 w 2266"/>
                <a:gd name="T47" fmla="*/ 1446 h 1446"/>
                <a:gd name="T48" fmla="*/ 2229 w 2266"/>
                <a:gd name="T49" fmla="*/ 1415 h 1446"/>
                <a:gd name="T50" fmla="*/ 2230 w 2266"/>
                <a:gd name="T51" fmla="*/ 1388 h 1446"/>
                <a:gd name="T52" fmla="*/ 2231 w 2266"/>
                <a:gd name="T53" fmla="*/ 1366 h 1446"/>
                <a:gd name="T54" fmla="*/ 2233 w 2266"/>
                <a:gd name="T55" fmla="*/ 1345 h 1446"/>
                <a:gd name="T56" fmla="*/ 2237 w 2266"/>
                <a:gd name="T57" fmla="*/ 1312 h 1446"/>
                <a:gd name="T58" fmla="*/ 2243 w 2266"/>
                <a:gd name="T59" fmla="*/ 1285 h 1446"/>
                <a:gd name="T60" fmla="*/ 2248 w 2266"/>
                <a:gd name="T61" fmla="*/ 1259 h 1446"/>
                <a:gd name="T62" fmla="*/ 2255 w 2266"/>
                <a:gd name="T63" fmla="*/ 1231 h 1446"/>
                <a:gd name="T64" fmla="*/ 2258 w 2266"/>
                <a:gd name="T65" fmla="*/ 1215 h 1446"/>
                <a:gd name="T66" fmla="*/ 2260 w 2266"/>
                <a:gd name="T67" fmla="*/ 1196 h 1446"/>
                <a:gd name="T68" fmla="*/ 2263 w 2266"/>
                <a:gd name="T69" fmla="*/ 1175 h 1446"/>
                <a:gd name="T70" fmla="*/ 2266 w 2266"/>
                <a:gd name="T71" fmla="*/ 1150 h 1446"/>
                <a:gd name="T72" fmla="*/ 424 w 2266"/>
                <a:gd name="T73" fmla="*/ 132 h 1446"/>
                <a:gd name="T74" fmla="*/ 384 w 2266"/>
                <a:gd name="T75" fmla="*/ 107 h 1446"/>
                <a:gd name="T76" fmla="*/ 350 w 2266"/>
                <a:gd name="T77" fmla="*/ 84 h 1446"/>
                <a:gd name="T78" fmla="*/ 317 w 2266"/>
                <a:gd name="T79" fmla="*/ 63 h 1446"/>
                <a:gd name="T80" fmla="*/ 284 w 2266"/>
                <a:gd name="T81" fmla="*/ 44 h 1446"/>
                <a:gd name="T82" fmla="*/ 268 w 2266"/>
                <a:gd name="T83" fmla="*/ 37 h 1446"/>
                <a:gd name="T84" fmla="*/ 251 w 2266"/>
                <a:gd name="T85" fmla="*/ 29 h 1446"/>
                <a:gd name="T86" fmla="*/ 232 w 2266"/>
                <a:gd name="T87" fmla="*/ 23 h 1446"/>
                <a:gd name="T88" fmla="*/ 212 w 2266"/>
                <a:gd name="T89" fmla="*/ 16 h 1446"/>
                <a:gd name="T90" fmla="*/ 190 w 2266"/>
                <a:gd name="T91" fmla="*/ 11 h 1446"/>
                <a:gd name="T92" fmla="*/ 166 w 2266"/>
                <a:gd name="T93" fmla="*/ 6 h 1446"/>
                <a:gd name="T94" fmla="*/ 140 w 2266"/>
                <a:gd name="T95" fmla="*/ 3 h 1446"/>
                <a:gd name="T96" fmla="*/ 112 w 2266"/>
                <a:gd name="T97" fmla="*/ 0 h 1446"/>
                <a:gd name="T98" fmla="*/ 105 w 2266"/>
                <a:gd name="T99" fmla="*/ 25 h 1446"/>
                <a:gd name="T100" fmla="*/ 98 w 2266"/>
                <a:gd name="T101" fmla="*/ 44 h 1446"/>
                <a:gd name="T102" fmla="*/ 91 w 2266"/>
                <a:gd name="T103" fmla="*/ 62 h 1446"/>
                <a:gd name="T104" fmla="*/ 84 w 2266"/>
                <a:gd name="T105" fmla="*/ 77 h 1446"/>
                <a:gd name="T106" fmla="*/ 71 w 2266"/>
                <a:gd name="T107" fmla="*/ 101 h 1446"/>
                <a:gd name="T108" fmla="*/ 56 w 2266"/>
                <a:gd name="T109" fmla="*/ 120 h 1446"/>
                <a:gd name="T110" fmla="*/ 50 w 2266"/>
                <a:gd name="T111" fmla="*/ 130 h 1446"/>
                <a:gd name="T112" fmla="*/ 42 w 2266"/>
                <a:gd name="T113" fmla="*/ 142 h 1446"/>
                <a:gd name="T114" fmla="*/ 36 w 2266"/>
                <a:gd name="T115" fmla="*/ 154 h 1446"/>
                <a:gd name="T116" fmla="*/ 29 w 2266"/>
                <a:gd name="T117" fmla="*/ 169 h 1446"/>
                <a:gd name="T118" fmla="*/ 22 w 2266"/>
                <a:gd name="T119" fmla="*/ 186 h 1446"/>
                <a:gd name="T120" fmla="*/ 15 w 2266"/>
                <a:gd name="T121" fmla="*/ 207 h 1446"/>
                <a:gd name="T122" fmla="*/ 8 w 2266"/>
                <a:gd name="T123" fmla="*/ 231 h 1446"/>
                <a:gd name="T124" fmla="*/ 0 w 2266"/>
                <a:gd name="T125" fmla="*/ 260 h 1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66" h="1446">
                  <a:moveTo>
                    <a:pt x="0" y="260"/>
                  </a:moveTo>
                  <a:lnTo>
                    <a:pt x="1099" y="869"/>
                  </a:lnTo>
                  <a:lnTo>
                    <a:pt x="1138" y="892"/>
                  </a:lnTo>
                  <a:lnTo>
                    <a:pt x="1189" y="922"/>
                  </a:lnTo>
                  <a:lnTo>
                    <a:pt x="1251" y="959"/>
                  </a:lnTo>
                  <a:lnTo>
                    <a:pt x="1320" y="1001"/>
                  </a:lnTo>
                  <a:lnTo>
                    <a:pt x="1397" y="1047"/>
                  </a:lnTo>
                  <a:lnTo>
                    <a:pt x="1480" y="1096"/>
                  </a:lnTo>
                  <a:lnTo>
                    <a:pt x="1566" y="1144"/>
                  </a:lnTo>
                  <a:lnTo>
                    <a:pt x="1654" y="1194"/>
                  </a:lnTo>
                  <a:lnTo>
                    <a:pt x="1742" y="1242"/>
                  </a:lnTo>
                  <a:lnTo>
                    <a:pt x="1829" y="1289"/>
                  </a:lnTo>
                  <a:lnTo>
                    <a:pt x="1873" y="1310"/>
                  </a:lnTo>
                  <a:lnTo>
                    <a:pt x="1914" y="1331"/>
                  </a:lnTo>
                  <a:lnTo>
                    <a:pt x="1954" y="1350"/>
                  </a:lnTo>
                  <a:lnTo>
                    <a:pt x="1993" y="1369"/>
                  </a:lnTo>
                  <a:lnTo>
                    <a:pt x="2030" y="1385"/>
                  </a:lnTo>
                  <a:lnTo>
                    <a:pt x="2066" y="1400"/>
                  </a:lnTo>
                  <a:lnTo>
                    <a:pt x="2098" y="1413"/>
                  </a:lnTo>
                  <a:lnTo>
                    <a:pt x="2130" y="1424"/>
                  </a:lnTo>
                  <a:lnTo>
                    <a:pt x="2159" y="1433"/>
                  </a:lnTo>
                  <a:lnTo>
                    <a:pt x="2185" y="1440"/>
                  </a:lnTo>
                  <a:lnTo>
                    <a:pt x="2208" y="1445"/>
                  </a:lnTo>
                  <a:lnTo>
                    <a:pt x="2229" y="1446"/>
                  </a:lnTo>
                  <a:lnTo>
                    <a:pt x="2229" y="1415"/>
                  </a:lnTo>
                  <a:lnTo>
                    <a:pt x="2230" y="1388"/>
                  </a:lnTo>
                  <a:lnTo>
                    <a:pt x="2231" y="1366"/>
                  </a:lnTo>
                  <a:lnTo>
                    <a:pt x="2233" y="1345"/>
                  </a:lnTo>
                  <a:lnTo>
                    <a:pt x="2237" y="1312"/>
                  </a:lnTo>
                  <a:lnTo>
                    <a:pt x="2243" y="1285"/>
                  </a:lnTo>
                  <a:lnTo>
                    <a:pt x="2248" y="1259"/>
                  </a:lnTo>
                  <a:lnTo>
                    <a:pt x="2255" y="1231"/>
                  </a:lnTo>
                  <a:lnTo>
                    <a:pt x="2258" y="1215"/>
                  </a:lnTo>
                  <a:lnTo>
                    <a:pt x="2260" y="1196"/>
                  </a:lnTo>
                  <a:lnTo>
                    <a:pt x="2263" y="1175"/>
                  </a:lnTo>
                  <a:lnTo>
                    <a:pt x="2266" y="1150"/>
                  </a:lnTo>
                  <a:lnTo>
                    <a:pt x="424" y="132"/>
                  </a:lnTo>
                  <a:lnTo>
                    <a:pt x="384" y="107"/>
                  </a:lnTo>
                  <a:lnTo>
                    <a:pt x="350" y="84"/>
                  </a:lnTo>
                  <a:lnTo>
                    <a:pt x="317" y="63"/>
                  </a:lnTo>
                  <a:lnTo>
                    <a:pt x="284" y="44"/>
                  </a:lnTo>
                  <a:lnTo>
                    <a:pt x="268" y="37"/>
                  </a:lnTo>
                  <a:lnTo>
                    <a:pt x="251" y="29"/>
                  </a:lnTo>
                  <a:lnTo>
                    <a:pt x="232" y="23"/>
                  </a:lnTo>
                  <a:lnTo>
                    <a:pt x="212" y="16"/>
                  </a:lnTo>
                  <a:lnTo>
                    <a:pt x="190" y="11"/>
                  </a:lnTo>
                  <a:lnTo>
                    <a:pt x="166" y="6"/>
                  </a:lnTo>
                  <a:lnTo>
                    <a:pt x="140" y="3"/>
                  </a:lnTo>
                  <a:lnTo>
                    <a:pt x="112" y="0"/>
                  </a:lnTo>
                  <a:lnTo>
                    <a:pt x="105" y="25"/>
                  </a:lnTo>
                  <a:lnTo>
                    <a:pt x="98" y="44"/>
                  </a:lnTo>
                  <a:lnTo>
                    <a:pt x="91" y="62"/>
                  </a:lnTo>
                  <a:lnTo>
                    <a:pt x="84" y="77"/>
                  </a:lnTo>
                  <a:lnTo>
                    <a:pt x="71" y="101"/>
                  </a:lnTo>
                  <a:lnTo>
                    <a:pt x="56" y="120"/>
                  </a:lnTo>
                  <a:lnTo>
                    <a:pt x="50" y="130"/>
                  </a:lnTo>
                  <a:lnTo>
                    <a:pt x="42" y="142"/>
                  </a:lnTo>
                  <a:lnTo>
                    <a:pt x="36" y="154"/>
                  </a:lnTo>
                  <a:lnTo>
                    <a:pt x="29" y="169"/>
                  </a:lnTo>
                  <a:lnTo>
                    <a:pt x="22" y="186"/>
                  </a:lnTo>
                  <a:lnTo>
                    <a:pt x="15" y="207"/>
                  </a:lnTo>
                  <a:lnTo>
                    <a:pt x="8" y="231"/>
                  </a:lnTo>
                  <a:lnTo>
                    <a:pt x="0" y="2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20">
              <a:extLst>
                <a:ext uri="{FF2B5EF4-FFF2-40B4-BE49-F238E27FC236}">
                  <a16:creationId xmlns:a16="http://schemas.microsoft.com/office/drawing/2014/main" id="{AD86A178-B1C4-4019-9478-EE61E0036D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4300" y="7824788"/>
              <a:ext cx="52388" cy="4127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21">
              <a:extLst>
                <a:ext uri="{FF2B5EF4-FFF2-40B4-BE49-F238E27FC236}">
                  <a16:creationId xmlns:a16="http://schemas.microsoft.com/office/drawing/2014/main" id="{5FCBAE8C-7183-4E02-9F9F-6B4900B1C0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713" y="6523038"/>
              <a:ext cx="53975" cy="354012"/>
            </a:xfrm>
            <a:custGeom>
              <a:avLst/>
              <a:gdLst>
                <a:gd name="T0" fmla="*/ 3 w 300"/>
                <a:gd name="T1" fmla="*/ 2002 h 2002"/>
                <a:gd name="T2" fmla="*/ 300 w 300"/>
                <a:gd name="T3" fmla="*/ 2002 h 2002"/>
                <a:gd name="T4" fmla="*/ 300 w 300"/>
                <a:gd name="T5" fmla="*/ 0 h 2002"/>
                <a:gd name="T6" fmla="*/ 186 w 300"/>
                <a:gd name="T7" fmla="*/ 9 h 2002"/>
                <a:gd name="T8" fmla="*/ 107 w 300"/>
                <a:gd name="T9" fmla="*/ 14 h 2002"/>
                <a:gd name="T10" fmla="*/ 78 w 300"/>
                <a:gd name="T11" fmla="*/ 16 h 2002"/>
                <a:gd name="T12" fmla="*/ 56 w 300"/>
                <a:gd name="T13" fmla="*/ 18 h 2002"/>
                <a:gd name="T14" fmla="*/ 39 w 300"/>
                <a:gd name="T15" fmla="*/ 20 h 2002"/>
                <a:gd name="T16" fmla="*/ 26 w 300"/>
                <a:gd name="T17" fmla="*/ 23 h 2002"/>
                <a:gd name="T18" fmla="*/ 18 w 300"/>
                <a:gd name="T19" fmla="*/ 26 h 2002"/>
                <a:gd name="T20" fmla="*/ 13 w 300"/>
                <a:gd name="T21" fmla="*/ 29 h 2002"/>
                <a:gd name="T22" fmla="*/ 9 w 300"/>
                <a:gd name="T23" fmla="*/ 33 h 2002"/>
                <a:gd name="T24" fmla="*/ 8 w 300"/>
                <a:gd name="T25" fmla="*/ 39 h 2002"/>
                <a:gd name="T26" fmla="*/ 7 w 300"/>
                <a:gd name="T27" fmla="*/ 55 h 2002"/>
                <a:gd name="T28" fmla="*/ 4 w 300"/>
                <a:gd name="T29" fmla="*/ 78 h 2002"/>
                <a:gd name="T30" fmla="*/ 3 w 300"/>
                <a:gd name="T31" fmla="*/ 100 h 2002"/>
                <a:gd name="T32" fmla="*/ 2 w 300"/>
                <a:gd name="T33" fmla="*/ 144 h 2002"/>
                <a:gd name="T34" fmla="*/ 1 w 300"/>
                <a:gd name="T35" fmla="*/ 191 h 2002"/>
                <a:gd name="T36" fmla="*/ 0 w 300"/>
                <a:gd name="T37" fmla="*/ 217 h 2002"/>
                <a:gd name="T38" fmla="*/ 3 w 300"/>
                <a:gd name="T39" fmla="*/ 2002 h 20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0" h="2002">
                  <a:moveTo>
                    <a:pt x="3" y="2002"/>
                  </a:moveTo>
                  <a:lnTo>
                    <a:pt x="300" y="2002"/>
                  </a:lnTo>
                  <a:lnTo>
                    <a:pt x="300" y="0"/>
                  </a:lnTo>
                  <a:lnTo>
                    <a:pt x="186" y="9"/>
                  </a:lnTo>
                  <a:lnTo>
                    <a:pt x="107" y="14"/>
                  </a:lnTo>
                  <a:lnTo>
                    <a:pt x="78" y="16"/>
                  </a:lnTo>
                  <a:lnTo>
                    <a:pt x="56" y="18"/>
                  </a:lnTo>
                  <a:lnTo>
                    <a:pt x="39" y="20"/>
                  </a:lnTo>
                  <a:lnTo>
                    <a:pt x="26" y="23"/>
                  </a:lnTo>
                  <a:lnTo>
                    <a:pt x="18" y="26"/>
                  </a:lnTo>
                  <a:lnTo>
                    <a:pt x="13" y="29"/>
                  </a:lnTo>
                  <a:lnTo>
                    <a:pt x="9" y="33"/>
                  </a:lnTo>
                  <a:lnTo>
                    <a:pt x="8" y="39"/>
                  </a:lnTo>
                  <a:lnTo>
                    <a:pt x="7" y="55"/>
                  </a:lnTo>
                  <a:lnTo>
                    <a:pt x="4" y="78"/>
                  </a:lnTo>
                  <a:lnTo>
                    <a:pt x="3" y="100"/>
                  </a:lnTo>
                  <a:lnTo>
                    <a:pt x="2" y="144"/>
                  </a:lnTo>
                  <a:lnTo>
                    <a:pt x="1" y="191"/>
                  </a:lnTo>
                  <a:lnTo>
                    <a:pt x="0" y="217"/>
                  </a:lnTo>
                  <a:lnTo>
                    <a:pt x="3" y="20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22">
              <a:extLst>
                <a:ext uri="{FF2B5EF4-FFF2-40B4-BE49-F238E27FC236}">
                  <a16:creationId xmlns:a16="http://schemas.microsoft.com/office/drawing/2014/main" id="{C4A7DD93-3A90-491A-AFDA-8B56339EEC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3088" y="6935788"/>
              <a:ext cx="320675" cy="203200"/>
            </a:xfrm>
            <a:custGeom>
              <a:avLst/>
              <a:gdLst>
                <a:gd name="T0" fmla="*/ 22 w 1819"/>
                <a:gd name="T1" fmla="*/ 1007 h 1150"/>
                <a:gd name="T2" fmla="*/ 67 w 1819"/>
                <a:gd name="T3" fmla="*/ 1021 h 1150"/>
                <a:gd name="T4" fmla="*/ 107 w 1819"/>
                <a:gd name="T5" fmla="*/ 1036 h 1150"/>
                <a:gd name="T6" fmla="*/ 144 w 1819"/>
                <a:gd name="T7" fmla="*/ 1053 h 1150"/>
                <a:gd name="T8" fmla="*/ 195 w 1819"/>
                <a:gd name="T9" fmla="*/ 1083 h 1150"/>
                <a:gd name="T10" fmla="*/ 262 w 1819"/>
                <a:gd name="T11" fmla="*/ 1126 h 1150"/>
                <a:gd name="T12" fmla="*/ 386 w 1819"/>
                <a:gd name="T13" fmla="*/ 1101 h 1150"/>
                <a:gd name="T14" fmla="*/ 574 w 1819"/>
                <a:gd name="T15" fmla="*/ 995 h 1150"/>
                <a:gd name="T16" fmla="*/ 769 w 1819"/>
                <a:gd name="T17" fmla="*/ 880 h 1150"/>
                <a:gd name="T18" fmla="*/ 968 w 1819"/>
                <a:gd name="T19" fmla="*/ 760 h 1150"/>
                <a:gd name="T20" fmla="*/ 1167 w 1819"/>
                <a:gd name="T21" fmla="*/ 638 h 1150"/>
                <a:gd name="T22" fmla="*/ 1363 w 1819"/>
                <a:gd name="T23" fmla="*/ 520 h 1150"/>
                <a:gd name="T24" fmla="*/ 1553 w 1819"/>
                <a:gd name="T25" fmla="*/ 407 h 1150"/>
                <a:gd name="T26" fmla="*/ 1733 w 1819"/>
                <a:gd name="T27" fmla="*/ 305 h 1150"/>
                <a:gd name="T28" fmla="*/ 1808 w 1819"/>
                <a:gd name="T29" fmla="*/ 221 h 1150"/>
                <a:gd name="T30" fmla="*/ 1784 w 1819"/>
                <a:gd name="T31" fmla="*/ 153 h 1150"/>
                <a:gd name="T32" fmla="*/ 1756 w 1819"/>
                <a:gd name="T33" fmla="*/ 92 h 1150"/>
                <a:gd name="T34" fmla="*/ 1725 w 1819"/>
                <a:gd name="T35" fmla="*/ 32 h 1150"/>
                <a:gd name="T36" fmla="*/ 1692 w 1819"/>
                <a:gd name="T37" fmla="*/ 2 h 1150"/>
                <a:gd name="T38" fmla="*/ 1663 w 1819"/>
                <a:gd name="T39" fmla="*/ 6 h 1150"/>
                <a:gd name="T40" fmla="*/ 1617 w 1819"/>
                <a:gd name="T41" fmla="*/ 19 h 1150"/>
                <a:gd name="T42" fmla="*/ 1557 w 1819"/>
                <a:gd name="T43" fmla="*/ 43 h 1150"/>
                <a:gd name="T44" fmla="*/ 1498 w 1819"/>
                <a:gd name="T45" fmla="*/ 72 h 1150"/>
                <a:gd name="T46" fmla="*/ 1411 w 1819"/>
                <a:gd name="T47" fmla="*/ 123 h 1150"/>
                <a:gd name="T48" fmla="*/ 1307 w 1819"/>
                <a:gd name="T49" fmla="*/ 192 h 1150"/>
                <a:gd name="T50" fmla="*/ 1206 w 1819"/>
                <a:gd name="T51" fmla="*/ 252 h 1150"/>
                <a:gd name="T52" fmla="*/ 1060 w 1819"/>
                <a:gd name="T53" fmla="*/ 337 h 1150"/>
                <a:gd name="T54" fmla="*/ 877 w 1819"/>
                <a:gd name="T55" fmla="*/ 441 h 1150"/>
                <a:gd name="T56" fmla="*/ 675 w 1819"/>
                <a:gd name="T57" fmla="*/ 558 h 1150"/>
                <a:gd name="T58" fmla="*/ 471 w 1819"/>
                <a:gd name="T59" fmla="*/ 678 h 1150"/>
                <a:gd name="T60" fmla="*/ 283 w 1819"/>
                <a:gd name="T61" fmla="*/ 793 h 1150"/>
                <a:gd name="T62" fmla="*/ 164 w 1819"/>
                <a:gd name="T63" fmla="*/ 871 h 1150"/>
                <a:gd name="T64" fmla="*/ 97 w 1819"/>
                <a:gd name="T65" fmla="*/ 917 h 1150"/>
                <a:gd name="T66" fmla="*/ 46 w 1819"/>
                <a:gd name="T67" fmla="*/ 956 h 1150"/>
                <a:gd name="T68" fmla="*/ 10 w 1819"/>
                <a:gd name="T69" fmla="*/ 988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9" h="1150">
                  <a:moveTo>
                    <a:pt x="0" y="1001"/>
                  </a:moveTo>
                  <a:lnTo>
                    <a:pt x="22" y="1007"/>
                  </a:lnTo>
                  <a:lnTo>
                    <a:pt x="45" y="1013"/>
                  </a:lnTo>
                  <a:lnTo>
                    <a:pt x="67" y="1021"/>
                  </a:lnTo>
                  <a:lnTo>
                    <a:pt x="88" y="1028"/>
                  </a:lnTo>
                  <a:lnTo>
                    <a:pt x="107" y="1036"/>
                  </a:lnTo>
                  <a:lnTo>
                    <a:pt x="126" y="1045"/>
                  </a:lnTo>
                  <a:lnTo>
                    <a:pt x="144" y="1053"/>
                  </a:lnTo>
                  <a:lnTo>
                    <a:pt x="161" y="1063"/>
                  </a:lnTo>
                  <a:lnTo>
                    <a:pt x="195" y="1083"/>
                  </a:lnTo>
                  <a:lnTo>
                    <a:pt x="229" y="1104"/>
                  </a:lnTo>
                  <a:lnTo>
                    <a:pt x="262" y="1126"/>
                  </a:lnTo>
                  <a:lnTo>
                    <a:pt x="296" y="1150"/>
                  </a:lnTo>
                  <a:lnTo>
                    <a:pt x="386" y="1101"/>
                  </a:lnTo>
                  <a:lnTo>
                    <a:pt x="479" y="1049"/>
                  </a:lnTo>
                  <a:lnTo>
                    <a:pt x="574" y="995"/>
                  </a:lnTo>
                  <a:lnTo>
                    <a:pt x="672" y="938"/>
                  </a:lnTo>
                  <a:lnTo>
                    <a:pt x="769" y="880"/>
                  </a:lnTo>
                  <a:lnTo>
                    <a:pt x="868" y="820"/>
                  </a:lnTo>
                  <a:lnTo>
                    <a:pt x="968" y="760"/>
                  </a:lnTo>
                  <a:lnTo>
                    <a:pt x="1068" y="699"/>
                  </a:lnTo>
                  <a:lnTo>
                    <a:pt x="1167" y="638"/>
                  </a:lnTo>
                  <a:lnTo>
                    <a:pt x="1265" y="579"/>
                  </a:lnTo>
                  <a:lnTo>
                    <a:pt x="1363" y="520"/>
                  </a:lnTo>
                  <a:lnTo>
                    <a:pt x="1459" y="463"/>
                  </a:lnTo>
                  <a:lnTo>
                    <a:pt x="1553" y="407"/>
                  </a:lnTo>
                  <a:lnTo>
                    <a:pt x="1644" y="355"/>
                  </a:lnTo>
                  <a:lnTo>
                    <a:pt x="1733" y="305"/>
                  </a:lnTo>
                  <a:lnTo>
                    <a:pt x="1819" y="260"/>
                  </a:lnTo>
                  <a:lnTo>
                    <a:pt x="1808" y="221"/>
                  </a:lnTo>
                  <a:lnTo>
                    <a:pt x="1797" y="185"/>
                  </a:lnTo>
                  <a:lnTo>
                    <a:pt x="1784" y="153"/>
                  </a:lnTo>
                  <a:lnTo>
                    <a:pt x="1771" y="122"/>
                  </a:lnTo>
                  <a:lnTo>
                    <a:pt x="1756" y="92"/>
                  </a:lnTo>
                  <a:lnTo>
                    <a:pt x="1741" y="63"/>
                  </a:lnTo>
                  <a:lnTo>
                    <a:pt x="1725" y="32"/>
                  </a:lnTo>
                  <a:lnTo>
                    <a:pt x="1707" y="0"/>
                  </a:lnTo>
                  <a:lnTo>
                    <a:pt x="1692" y="2"/>
                  </a:lnTo>
                  <a:lnTo>
                    <a:pt x="1678" y="4"/>
                  </a:lnTo>
                  <a:lnTo>
                    <a:pt x="1663" y="6"/>
                  </a:lnTo>
                  <a:lnTo>
                    <a:pt x="1647" y="11"/>
                  </a:lnTo>
                  <a:lnTo>
                    <a:pt x="1617" y="19"/>
                  </a:lnTo>
                  <a:lnTo>
                    <a:pt x="1588" y="30"/>
                  </a:lnTo>
                  <a:lnTo>
                    <a:pt x="1557" y="43"/>
                  </a:lnTo>
                  <a:lnTo>
                    <a:pt x="1527" y="57"/>
                  </a:lnTo>
                  <a:lnTo>
                    <a:pt x="1498" y="72"/>
                  </a:lnTo>
                  <a:lnTo>
                    <a:pt x="1468" y="89"/>
                  </a:lnTo>
                  <a:lnTo>
                    <a:pt x="1411" y="123"/>
                  </a:lnTo>
                  <a:lnTo>
                    <a:pt x="1357" y="158"/>
                  </a:lnTo>
                  <a:lnTo>
                    <a:pt x="1307" y="192"/>
                  </a:lnTo>
                  <a:lnTo>
                    <a:pt x="1260" y="221"/>
                  </a:lnTo>
                  <a:lnTo>
                    <a:pt x="1206" y="252"/>
                  </a:lnTo>
                  <a:lnTo>
                    <a:pt x="1138" y="291"/>
                  </a:lnTo>
                  <a:lnTo>
                    <a:pt x="1060" y="337"/>
                  </a:lnTo>
                  <a:lnTo>
                    <a:pt x="972" y="387"/>
                  </a:lnTo>
                  <a:lnTo>
                    <a:pt x="877" y="441"/>
                  </a:lnTo>
                  <a:lnTo>
                    <a:pt x="777" y="498"/>
                  </a:lnTo>
                  <a:lnTo>
                    <a:pt x="675" y="558"/>
                  </a:lnTo>
                  <a:lnTo>
                    <a:pt x="572" y="619"/>
                  </a:lnTo>
                  <a:lnTo>
                    <a:pt x="471" y="678"/>
                  </a:lnTo>
                  <a:lnTo>
                    <a:pt x="374" y="737"/>
                  </a:lnTo>
                  <a:lnTo>
                    <a:pt x="283" y="793"/>
                  </a:lnTo>
                  <a:lnTo>
                    <a:pt x="200" y="846"/>
                  </a:lnTo>
                  <a:lnTo>
                    <a:pt x="164" y="871"/>
                  </a:lnTo>
                  <a:lnTo>
                    <a:pt x="129" y="894"/>
                  </a:lnTo>
                  <a:lnTo>
                    <a:pt x="97" y="917"/>
                  </a:lnTo>
                  <a:lnTo>
                    <a:pt x="70" y="937"/>
                  </a:lnTo>
                  <a:lnTo>
                    <a:pt x="46" y="956"/>
                  </a:lnTo>
                  <a:lnTo>
                    <a:pt x="26" y="973"/>
                  </a:lnTo>
                  <a:lnTo>
                    <a:pt x="10" y="988"/>
                  </a:lnTo>
                  <a:lnTo>
                    <a:pt x="0" y="10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23">
              <a:extLst>
                <a:ext uri="{FF2B5EF4-FFF2-40B4-BE49-F238E27FC236}">
                  <a16:creationId xmlns:a16="http://schemas.microsoft.com/office/drawing/2014/main" id="{9B33106B-7053-45ED-855C-20DD6078FC9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7225" y="7673975"/>
              <a:ext cx="222250" cy="157162"/>
            </a:xfrm>
            <a:custGeom>
              <a:avLst/>
              <a:gdLst>
                <a:gd name="T0" fmla="*/ 8 w 1262"/>
                <a:gd name="T1" fmla="*/ 659 h 890"/>
                <a:gd name="T2" fmla="*/ 22 w 1262"/>
                <a:gd name="T3" fmla="*/ 704 h 890"/>
                <a:gd name="T4" fmla="*/ 36 w 1262"/>
                <a:gd name="T5" fmla="*/ 735 h 890"/>
                <a:gd name="T6" fmla="*/ 50 w 1262"/>
                <a:gd name="T7" fmla="*/ 759 h 890"/>
                <a:gd name="T8" fmla="*/ 71 w 1262"/>
                <a:gd name="T9" fmla="*/ 789 h 890"/>
                <a:gd name="T10" fmla="*/ 91 w 1262"/>
                <a:gd name="T11" fmla="*/ 827 h 890"/>
                <a:gd name="T12" fmla="*/ 105 w 1262"/>
                <a:gd name="T13" fmla="*/ 865 h 890"/>
                <a:gd name="T14" fmla="*/ 129 w 1262"/>
                <a:gd name="T15" fmla="*/ 887 h 890"/>
                <a:gd name="T16" fmla="*/ 174 w 1262"/>
                <a:gd name="T17" fmla="*/ 874 h 890"/>
                <a:gd name="T18" fmla="*/ 231 w 1262"/>
                <a:gd name="T19" fmla="*/ 851 h 890"/>
                <a:gd name="T20" fmla="*/ 299 w 1262"/>
                <a:gd name="T21" fmla="*/ 820 h 890"/>
                <a:gd name="T22" fmla="*/ 416 w 1262"/>
                <a:gd name="T23" fmla="*/ 761 h 890"/>
                <a:gd name="T24" fmla="*/ 592 w 1262"/>
                <a:gd name="T25" fmla="*/ 666 h 890"/>
                <a:gd name="T26" fmla="*/ 775 w 1262"/>
                <a:gd name="T27" fmla="*/ 560 h 890"/>
                <a:gd name="T28" fmla="*/ 951 w 1262"/>
                <a:gd name="T29" fmla="*/ 454 h 890"/>
                <a:gd name="T30" fmla="*/ 1105 w 1262"/>
                <a:gd name="T31" fmla="*/ 360 h 890"/>
                <a:gd name="T32" fmla="*/ 1222 w 1262"/>
                <a:gd name="T33" fmla="*/ 285 h 890"/>
                <a:gd name="T34" fmla="*/ 1257 w 1262"/>
                <a:gd name="T35" fmla="*/ 239 h 890"/>
                <a:gd name="T36" fmla="*/ 1243 w 1262"/>
                <a:gd name="T37" fmla="*/ 201 h 890"/>
                <a:gd name="T38" fmla="*/ 1227 w 1262"/>
                <a:gd name="T39" fmla="*/ 166 h 890"/>
                <a:gd name="T40" fmla="*/ 1208 w 1262"/>
                <a:gd name="T41" fmla="*/ 135 h 890"/>
                <a:gd name="T42" fmla="*/ 1179 w 1262"/>
                <a:gd name="T43" fmla="*/ 90 h 890"/>
                <a:gd name="T44" fmla="*/ 1137 w 1262"/>
                <a:gd name="T45" fmla="*/ 31 h 890"/>
                <a:gd name="T46" fmla="*/ 1095 w 1262"/>
                <a:gd name="T47" fmla="*/ 5 h 890"/>
                <a:gd name="T48" fmla="*/ 1049 w 1262"/>
                <a:gd name="T49" fmla="*/ 23 h 890"/>
                <a:gd name="T50" fmla="*/ 990 w 1262"/>
                <a:gd name="T51" fmla="*/ 49 h 890"/>
                <a:gd name="T52" fmla="*/ 922 w 1262"/>
                <a:gd name="T53" fmla="*/ 83 h 890"/>
                <a:gd name="T54" fmla="*/ 805 w 1262"/>
                <a:gd name="T55" fmla="*/ 145 h 890"/>
                <a:gd name="T56" fmla="*/ 633 w 1262"/>
                <a:gd name="T57" fmla="*/ 242 h 890"/>
                <a:gd name="T58" fmla="*/ 455 w 1262"/>
                <a:gd name="T59" fmla="*/ 347 h 890"/>
                <a:gd name="T60" fmla="*/ 287 w 1262"/>
                <a:gd name="T61" fmla="*/ 450 h 890"/>
                <a:gd name="T62" fmla="*/ 141 w 1262"/>
                <a:gd name="T63" fmla="*/ 540 h 890"/>
                <a:gd name="T64" fmla="*/ 35 w 1262"/>
                <a:gd name="T65" fmla="*/ 607 h 8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62" h="890">
                  <a:moveTo>
                    <a:pt x="0" y="630"/>
                  </a:moveTo>
                  <a:lnTo>
                    <a:pt x="8" y="659"/>
                  </a:lnTo>
                  <a:lnTo>
                    <a:pt x="15" y="683"/>
                  </a:lnTo>
                  <a:lnTo>
                    <a:pt x="22" y="704"/>
                  </a:lnTo>
                  <a:lnTo>
                    <a:pt x="29" y="721"/>
                  </a:lnTo>
                  <a:lnTo>
                    <a:pt x="36" y="735"/>
                  </a:lnTo>
                  <a:lnTo>
                    <a:pt x="42" y="748"/>
                  </a:lnTo>
                  <a:lnTo>
                    <a:pt x="50" y="759"/>
                  </a:lnTo>
                  <a:lnTo>
                    <a:pt x="56" y="770"/>
                  </a:lnTo>
                  <a:lnTo>
                    <a:pt x="71" y="789"/>
                  </a:lnTo>
                  <a:lnTo>
                    <a:pt x="84" y="813"/>
                  </a:lnTo>
                  <a:lnTo>
                    <a:pt x="91" y="827"/>
                  </a:lnTo>
                  <a:lnTo>
                    <a:pt x="98" y="845"/>
                  </a:lnTo>
                  <a:lnTo>
                    <a:pt x="105" y="865"/>
                  </a:lnTo>
                  <a:lnTo>
                    <a:pt x="112" y="890"/>
                  </a:lnTo>
                  <a:lnTo>
                    <a:pt x="129" y="887"/>
                  </a:lnTo>
                  <a:lnTo>
                    <a:pt x="150" y="881"/>
                  </a:lnTo>
                  <a:lnTo>
                    <a:pt x="174" y="874"/>
                  </a:lnTo>
                  <a:lnTo>
                    <a:pt x="201" y="863"/>
                  </a:lnTo>
                  <a:lnTo>
                    <a:pt x="231" y="851"/>
                  </a:lnTo>
                  <a:lnTo>
                    <a:pt x="264" y="837"/>
                  </a:lnTo>
                  <a:lnTo>
                    <a:pt x="299" y="820"/>
                  </a:lnTo>
                  <a:lnTo>
                    <a:pt x="337" y="802"/>
                  </a:lnTo>
                  <a:lnTo>
                    <a:pt x="416" y="761"/>
                  </a:lnTo>
                  <a:lnTo>
                    <a:pt x="502" y="716"/>
                  </a:lnTo>
                  <a:lnTo>
                    <a:pt x="592" y="666"/>
                  </a:lnTo>
                  <a:lnTo>
                    <a:pt x="683" y="614"/>
                  </a:lnTo>
                  <a:lnTo>
                    <a:pt x="775" y="560"/>
                  </a:lnTo>
                  <a:lnTo>
                    <a:pt x="865" y="506"/>
                  </a:lnTo>
                  <a:lnTo>
                    <a:pt x="951" y="454"/>
                  </a:lnTo>
                  <a:lnTo>
                    <a:pt x="1032" y="406"/>
                  </a:lnTo>
                  <a:lnTo>
                    <a:pt x="1105" y="360"/>
                  </a:lnTo>
                  <a:lnTo>
                    <a:pt x="1170" y="320"/>
                  </a:lnTo>
                  <a:lnTo>
                    <a:pt x="1222" y="285"/>
                  </a:lnTo>
                  <a:lnTo>
                    <a:pt x="1262" y="259"/>
                  </a:lnTo>
                  <a:lnTo>
                    <a:pt x="1257" y="239"/>
                  </a:lnTo>
                  <a:lnTo>
                    <a:pt x="1251" y="219"/>
                  </a:lnTo>
                  <a:lnTo>
                    <a:pt x="1243" y="201"/>
                  </a:lnTo>
                  <a:lnTo>
                    <a:pt x="1235" y="183"/>
                  </a:lnTo>
                  <a:lnTo>
                    <a:pt x="1227" y="166"/>
                  </a:lnTo>
                  <a:lnTo>
                    <a:pt x="1218" y="150"/>
                  </a:lnTo>
                  <a:lnTo>
                    <a:pt x="1208" y="135"/>
                  </a:lnTo>
                  <a:lnTo>
                    <a:pt x="1198" y="119"/>
                  </a:lnTo>
                  <a:lnTo>
                    <a:pt x="1179" y="90"/>
                  </a:lnTo>
                  <a:lnTo>
                    <a:pt x="1157" y="61"/>
                  </a:lnTo>
                  <a:lnTo>
                    <a:pt x="1137" y="31"/>
                  </a:lnTo>
                  <a:lnTo>
                    <a:pt x="1115" y="0"/>
                  </a:lnTo>
                  <a:lnTo>
                    <a:pt x="1095" y="5"/>
                  </a:lnTo>
                  <a:lnTo>
                    <a:pt x="1074" y="13"/>
                  </a:lnTo>
                  <a:lnTo>
                    <a:pt x="1049" y="23"/>
                  </a:lnTo>
                  <a:lnTo>
                    <a:pt x="1020" y="35"/>
                  </a:lnTo>
                  <a:lnTo>
                    <a:pt x="990" y="49"/>
                  </a:lnTo>
                  <a:lnTo>
                    <a:pt x="957" y="65"/>
                  </a:lnTo>
                  <a:lnTo>
                    <a:pt x="922" y="83"/>
                  </a:lnTo>
                  <a:lnTo>
                    <a:pt x="885" y="102"/>
                  </a:lnTo>
                  <a:lnTo>
                    <a:pt x="805" y="145"/>
                  </a:lnTo>
                  <a:lnTo>
                    <a:pt x="721" y="192"/>
                  </a:lnTo>
                  <a:lnTo>
                    <a:pt x="633" y="242"/>
                  </a:lnTo>
                  <a:lnTo>
                    <a:pt x="544" y="294"/>
                  </a:lnTo>
                  <a:lnTo>
                    <a:pt x="455" y="347"/>
                  </a:lnTo>
                  <a:lnTo>
                    <a:pt x="369" y="399"/>
                  </a:lnTo>
                  <a:lnTo>
                    <a:pt x="287" y="450"/>
                  </a:lnTo>
                  <a:lnTo>
                    <a:pt x="210" y="497"/>
                  </a:lnTo>
                  <a:lnTo>
                    <a:pt x="141" y="540"/>
                  </a:lnTo>
                  <a:lnTo>
                    <a:pt x="82" y="577"/>
                  </a:lnTo>
                  <a:lnTo>
                    <a:pt x="35" y="607"/>
                  </a:lnTo>
                  <a:lnTo>
                    <a:pt x="0" y="6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24">
              <a:extLst>
                <a:ext uri="{FF2B5EF4-FFF2-40B4-BE49-F238E27FC236}">
                  <a16:creationId xmlns:a16="http://schemas.microsoft.com/office/drawing/2014/main" id="{F4388B88-B4B1-41D1-B537-14EAC1B68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9925" y="7680325"/>
              <a:ext cx="230188" cy="150812"/>
            </a:xfrm>
            <a:custGeom>
              <a:avLst/>
              <a:gdLst>
                <a:gd name="T0" fmla="*/ 0 w 1307"/>
                <a:gd name="T1" fmla="*/ 253 h 853"/>
                <a:gd name="T2" fmla="*/ 854 w 1307"/>
                <a:gd name="T3" fmla="*/ 711 h 853"/>
                <a:gd name="T4" fmla="*/ 891 w 1307"/>
                <a:gd name="T5" fmla="*/ 734 h 853"/>
                <a:gd name="T6" fmla="*/ 927 w 1307"/>
                <a:gd name="T7" fmla="*/ 756 h 853"/>
                <a:gd name="T8" fmla="*/ 962 w 1307"/>
                <a:gd name="T9" fmla="*/ 776 h 853"/>
                <a:gd name="T10" fmla="*/ 998 w 1307"/>
                <a:gd name="T11" fmla="*/ 795 h 853"/>
                <a:gd name="T12" fmla="*/ 1016 w 1307"/>
                <a:gd name="T13" fmla="*/ 803 h 853"/>
                <a:gd name="T14" fmla="*/ 1034 w 1307"/>
                <a:gd name="T15" fmla="*/ 812 h 853"/>
                <a:gd name="T16" fmla="*/ 1053 w 1307"/>
                <a:gd name="T17" fmla="*/ 820 h 853"/>
                <a:gd name="T18" fmla="*/ 1072 w 1307"/>
                <a:gd name="T19" fmla="*/ 827 h 853"/>
                <a:gd name="T20" fmla="*/ 1093 w 1307"/>
                <a:gd name="T21" fmla="*/ 835 h 853"/>
                <a:gd name="T22" fmla="*/ 1114 w 1307"/>
                <a:gd name="T23" fmla="*/ 841 h 853"/>
                <a:gd name="T24" fmla="*/ 1135 w 1307"/>
                <a:gd name="T25" fmla="*/ 847 h 853"/>
                <a:gd name="T26" fmla="*/ 1158 w 1307"/>
                <a:gd name="T27" fmla="*/ 853 h 853"/>
                <a:gd name="T28" fmla="*/ 1178 w 1307"/>
                <a:gd name="T29" fmla="*/ 815 h 853"/>
                <a:gd name="T30" fmla="*/ 1196 w 1307"/>
                <a:gd name="T31" fmla="*/ 782 h 853"/>
                <a:gd name="T32" fmla="*/ 1212 w 1307"/>
                <a:gd name="T33" fmla="*/ 750 h 853"/>
                <a:gd name="T34" fmla="*/ 1229 w 1307"/>
                <a:gd name="T35" fmla="*/ 720 h 853"/>
                <a:gd name="T36" fmla="*/ 1246 w 1307"/>
                <a:gd name="T37" fmla="*/ 689 h 853"/>
                <a:gd name="T38" fmla="*/ 1265 w 1307"/>
                <a:gd name="T39" fmla="*/ 660 h 853"/>
                <a:gd name="T40" fmla="*/ 1284 w 1307"/>
                <a:gd name="T41" fmla="*/ 628 h 853"/>
                <a:gd name="T42" fmla="*/ 1307 w 1307"/>
                <a:gd name="T43" fmla="*/ 593 h 853"/>
                <a:gd name="T44" fmla="*/ 230 w 1307"/>
                <a:gd name="T45" fmla="*/ 0 h 853"/>
                <a:gd name="T46" fmla="*/ 0 w 1307"/>
                <a:gd name="T47" fmla="*/ 253 h 8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07" h="853">
                  <a:moveTo>
                    <a:pt x="0" y="253"/>
                  </a:moveTo>
                  <a:lnTo>
                    <a:pt x="854" y="711"/>
                  </a:lnTo>
                  <a:lnTo>
                    <a:pt x="891" y="734"/>
                  </a:lnTo>
                  <a:lnTo>
                    <a:pt x="927" y="756"/>
                  </a:lnTo>
                  <a:lnTo>
                    <a:pt x="962" y="776"/>
                  </a:lnTo>
                  <a:lnTo>
                    <a:pt x="998" y="795"/>
                  </a:lnTo>
                  <a:lnTo>
                    <a:pt x="1016" y="803"/>
                  </a:lnTo>
                  <a:lnTo>
                    <a:pt x="1034" y="812"/>
                  </a:lnTo>
                  <a:lnTo>
                    <a:pt x="1053" y="820"/>
                  </a:lnTo>
                  <a:lnTo>
                    <a:pt x="1072" y="827"/>
                  </a:lnTo>
                  <a:lnTo>
                    <a:pt x="1093" y="835"/>
                  </a:lnTo>
                  <a:lnTo>
                    <a:pt x="1114" y="841"/>
                  </a:lnTo>
                  <a:lnTo>
                    <a:pt x="1135" y="847"/>
                  </a:lnTo>
                  <a:lnTo>
                    <a:pt x="1158" y="853"/>
                  </a:lnTo>
                  <a:lnTo>
                    <a:pt x="1178" y="815"/>
                  </a:lnTo>
                  <a:lnTo>
                    <a:pt x="1196" y="782"/>
                  </a:lnTo>
                  <a:lnTo>
                    <a:pt x="1212" y="750"/>
                  </a:lnTo>
                  <a:lnTo>
                    <a:pt x="1229" y="720"/>
                  </a:lnTo>
                  <a:lnTo>
                    <a:pt x="1246" y="689"/>
                  </a:lnTo>
                  <a:lnTo>
                    <a:pt x="1265" y="660"/>
                  </a:lnTo>
                  <a:lnTo>
                    <a:pt x="1284" y="628"/>
                  </a:lnTo>
                  <a:lnTo>
                    <a:pt x="1307" y="593"/>
                  </a:lnTo>
                  <a:lnTo>
                    <a:pt x="230" y="0"/>
                  </a:lnTo>
                  <a:lnTo>
                    <a:pt x="0" y="2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98041E2B-1EA1-44C9-88AB-92BD2E5AEEAD}"/>
                </a:ext>
              </a:extLst>
            </p:cNvPr>
            <p:cNvSpPr/>
            <p:nvPr/>
          </p:nvSpPr>
          <p:spPr>
            <a:xfrm>
              <a:off x="4990819" y="7422076"/>
              <a:ext cx="503799" cy="503798"/>
            </a:xfrm>
            <a:custGeom>
              <a:avLst/>
              <a:gdLst>
                <a:gd name="connsiteX0" fmla="*/ 0 w 503799"/>
                <a:gd name="connsiteY0" fmla="*/ 287884 h 503798"/>
                <a:gd name="connsiteX1" fmla="*/ 2551 w 503799"/>
                <a:gd name="connsiteY1" fmla="*/ 287884 h 503798"/>
                <a:gd name="connsiteX2" fmla="*/ 75570 w 503799"/>
                <a:gd name="connsiteY2" fmla="*/ 287884 h 503798"/>
                <a:gd name="connsiteX3" fmla="*/ 143943 w 503799"/>
                <a:gd name="connsiteY3" fmla="*/ 287884 h 503798"/>
                <a:gd name="connsiteX4" fmla="*/ 93855 w 503799"/>
                <a:gd name="connsiteY4" fmla="*/ 337972 h 503798"/>
                <a:gd name="connsiteX5" fmla="*/ 251899 w 503799"/>
                <a:gd name="connsiteY5" fmla="*/ 431827 h 503798"/>
                <a:gd name="connsiteX6" fmla="*/ 428229 w 503799"/>
                <a:gd name="connsiteY6" fmla="*/ 287884 h 503798"/>
                <a:gd name="connsiteX7" fmla="*/ 501248 w 503799"/>
                <a:gd name="connsiteY7" fmla="*/ 287884 h 503798"/>
                <a:gd name="connsiteX8" fmla="*/ 251899 w 503799"/>
                <a:gd name="connsiteY8" fmla="*/ 503798 h 503798"/>
                <a:gd name="connsiteX9" fmla="*/ 41447 w 503799"/>
                <a:gd name="connsiteY9" fmla="*/ 390381 h 503798"/>
                <a:gd name="connsiteX10" fmla="*/ 0 w 503799"/>
                <a:gd name="connsiteY10" fmla="*/ 431827 h 503798"/>
                <a:gd name="connsiteX11" fmla="*/ 0 w 503799"/>
                <a:gd name="connsiteY11" fmla="*/ 395841 h 503798"/>
                <a:gd name="connsiteX12" fmla="*/ 0 w 503799"/>
                <a:gd name="connsiteY12" fmla="*/ 323870 h 503798"/>
                <a:gd name="connsiteX13" fmla="*/ 251899 w 503799"/>
                <a:gd name="connsiteY13" fmla="*/ 0 h 503798"/>
                <a:gd name="connsiteX14" fmla="*/ 462353 w 503799"/>
                <a:gd name="connsiteY14" fmla="*/ 113418 h 503798"/>
                <a:gd name="connsiteX15" fmla="*/ 503799 w 503799"/>
                <a:gd name="connsiteY15" fmla="*/ 71974 h 503798"/>
                <a:gd name="connsiteX16" fmla="*/ 503799 w 503799"/>
                <a:gd name="connsiteY16" fmla="*/ 215914 h 503798"/>
                <a:gd name="connsiteX17" fmla="*/ 501248 w 503799"/>
                <a:gd name="connsiteY17" fmla="*/ 215914 h 503798"/>
                <a:gd name="connsiteX18" fmla="*/ 428229 w 503799"/>
                <a:gd name="connsiteY18" fmla="*/ 215914 h 503798"/>
                <a:gd name="connsiteX19" fmla="*/ 395842 w 503799"/>
                <a:gd name="connsiteY19" fmla="*/ 215914 h 503798"/>
                <a:gd name="connsiteX20" fmla="*/ 359856 w 503799"/>
                <a:gd name="connsiteY20" fmla="*/ 215914 h 503798"/>
                <a:gd name="connsiteX21" fmla="*/ 409944 w 503799"/>
                <a:gd name="connsiteY21" fmla="*/ 165827 h 503798"/>
                <a:gd name="connsiteX22" fmla="*/ 251899 w 503799"/>
                <a:gd name="connsiteY22" fmla="*/ 71971 h 503798"/>
                <a:gd name="connsiteX23" fmla="*/ 75570 w 503799"/>
                <a:gd name="connsiteY23" fmla="*/ 215914 h 503798"/>
                <a:gd name="connsiteX24" fmla="*/ 2551 w 503799"/>
                <a:gd name="connsiteY24" fmla="*/ 215914 h 503798"/>
                <a:gd name="connsiteX25" fmla="*/ 251899 w 503799"/>
                <a:gd name="connsiteY25" fmla="*/ 0 h 503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03799" h="503798">
                  <a:moveTo>
                    <a:pt x="0" y="287884"/>
                  </a:moveTo>
                  <a:lnTo>
                    <a:pt x="2551" y="287884"/>
                  </a:lnTo>
                  <a:lnTo>
                    <a:pt x="75570" y="287884"/>
                  </a:lnTo>
                  <a:lnTo>
                    <a:pt x="143943" y="287884"/>
                  </a:lnTo>
                  <a:lnTo>
                    <a:pt x="93855" y="337972"/>
                  </a:lnTo>
                  <a:cubicBezTo>
                    <a:pt x="124375" y="393892"/>
                    <a:pt x="183707" y="431827"/>
                    <a:pt x="251899" y="431827"/>
                  </a:cubicBezTo>
                  <a:cubicBezTo>
                    <a:pt x="338947" y="431827"/>
                    <a:pt x="411557" y="370013"/>
                    <a:pt x="428229" y="287884"/>
                  </a:cubicBezTo>
                  <a:lnTo>
                    <a:pt x="501248" y="287884"/>
                  </a:lnTo>
                  <a:cubicBezTo>
                    <a:pt x="483787" y="409958"/>
                    <a:pt x="378801" y="503798"/>
                    <a:pt x="251899" y="503798"/>
                  </a:cubicBezTo>
                  <a:cubicBezTo>
                    <a:pt x="163934" y="503798"/>
                    <a:pt x="86499" y="458709"/>
                    <a:pt x="41447" y="390381"/>
                  </a:cubicBezTo>
                  <a:lnTo>
                    <a:pt x="0" y="431827"/>
                  </a:lnTo>
                  <a:lnTo>
                    <a:pt x="0" y="395841"/>
                  </a:lnTo>
                  <a:lnTo>
                    <a:pt x="0" y="323870"/>
                  </a:lnTo>
                  <a:close/>
                  <a:moveTo>
                    <a:pt x="251899" y="0"/>
                  </a:moveTo>
                  <a:cubicBezTo>
                    <a:pt x="339867" y="0"/>
                    <a:pt x="417301" y="45089"/>
                    <a:pt x="462353" y="113418"/>
                  </a:cubicBezTo>
                  <a:lnTo>
                    <a:pt x="503799" y="71974"/>
                  </a:lnTo>
                  <a:lnTo>
                    <a:pt x="503799" y="215914"/>
                  </a:lnTo>
                  <a:lnTo>
                    <a:pt x="501248" y="215914"/>
                  </a:lnTo>
                  <a:lnTo>
                    <a:pt x="428229" y="215914"/>
                  </a:lnTo>
                  <a:lnTo>
                    <a:pt x="395842" y="215914"/>
                  </a:lnTo>
                  <a:lnTo>
                    <a:pt x="359856" y="215914"/>
                  </a:lnTo>
                  <a:lnTo>
                    <a:pt x="409944" y="165827"/>
                  </a:lnTo>
                  <a:cubicBezTo>
                    <a:pt x="379426" y="109907"/>
                    <a:pt x="320093" y="71971"/>
                    <a:pt x="251899" y="71971"/>
                  </a:cubicBezTo>
                  <a:cubicBezTo>
                    <a:pt x="164853" y="71971"/>
                    <a:pt x="92242" y="133785"/>
                    <a:pt x="75570" y="215914"/>
                  </a:cubicBezTo>
                  <a:lnTo>
                    <a:pt x="2551" y="215914"/>
                  </a:lnTo>
                  <a:cubicBezTo>
                    <a:pt x="20013" y="93840"/>
                    <a:pt x="124996" y="0"/>
                    <a:pt x="251899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8C9F73D3-BE8A-49E9-A81D-9B728EDD65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 5 Schritten vom IoT zum Gestalter der Datenökonomie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58985445-52D1-4E7A-862F-8CCBE111CC88}"/>
              </a:ext>
            </a:extLst>
          </p:cNvPr>
          <p:cNvCxnSpPr/>
          <p:nvPr/>
        </p:nvCxnSpPr>
        <p:spPr bwMode="auto">
          <a:xfrm flipH="1">
            <a:off x="2824163" y="4066641"/>
            <a:ext cx="0" cy="169200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A44319A3-42D2-4D6A-A8DB-3BC1A580C00B}"/>
              </a:ext>
            </a:extLst>
          </p:cNvPr>
          <p:cNvCxnSpPr/>
          <p:nvPr/>
        </p:nvCxnSpPr>
        <p:spPr bwMode="auto">
          <a:xfrm>
            <a:off x="2836164" y="2200142"/>
            <a:ext cx="0" cy="389933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4" name="Textfeld 103">
            <a:extLst>
              <a:ext uri="{FF2B5EF4-FFF2-40B4-BE49-F238E27FC236}">
                <a16:creationId xmlns:a16="http://schemas.microsoft.com/office/drawing/2014/main" id="{FDB72972-7369-4AF5-9128-4CA28BF7835A}"/>
              </a:ext>
            </a:extLst>
          </p:cNvPr>
          <p:cNvSpPr txBox="1"/>
          <p:nvPr/>
        </p:nvSpPr>
        <p:spPr>
          <a:xfrm>
            <a:off x="899716" y="2233991"/>
            <a:ext cx="992259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aschine </a:t>
            </a:r>
            <a:b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ist IoT</a:t>
            </a:r>
            <a:endParaRPr lang="en-US" sz="1600" b="1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06" name="Textfeld 105">
            <a:extLst>
              <a:ext uri="{FF2B5EF4-FFF2-40B4-BE49-F238E27FC236}">
                <a16:creationId xmlns:a16="http://schemas.microsoft.com/office/drawing/2014/main" id="{076811EE-6027-4F03-8E79-D7A1975B9727}"/>
              </a:ext>
            </a:extLst>
          </p:cNvPr>
          <p:cNvSpPr txBox="1"/>
          <p:nvPr/>
        </p:nvSpPr>
        <p:spPr>
          <a:xfrm>
            <a:off x="7420864" y="2233991"/>
            <a:ext cx="193864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ehrwert </a:t>
            </a:r>
            <a:b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erkaufen</a:t>
            </a:r>
            <a:endParaRPr lang="en-US" sz="1600" b="1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07" name="Textfeld 106">
            <a:extLst>
              <a:ext uri="{FF2B5EF4-FFF2-40B4-BE49-F238E27FC236}">
                <a16:creationId xmlns:a16="http://schemas.microsoft.com/office/drawing/2014/main" id="{1109524C-F3CD-4F7E-9C56-43C1136C1D46}"/>
              </a:ext>
            </a:extLst>
          </p:cNvPr>
          <p:cNvSpPr txBox="1"/>
          <p:nvPr/>
        </p:nvSpPr>
        <p:spPr>
          <a:xfrm>
            <a:off x="5718336" y="2233991"/>
            <a:ext cx="968214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utput </a:t>
            </a:r>
            <a:b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erkaufen</a:t>
            </a:r>
            <a:endParaRPr lang="en-US" sz="1600" b="1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08" name="Textfeld 107">
            <a:extLst>
              <a:ext uri="{FF2B5EF4-FFF2-40B4-BE49-F238E27FC236}">
                <a16:creationId xmlns:a16="http://schemas.microsoft.com/office/drawing/2014/main" id="{70739FCF-65F8-46FF-8A51-92402E472712}"/>
              </a:ext>
            </a:extLst>
          </p:cNvPr>
          <p:cNvSpPr txBox="1"/>
          <p:nvPr/>
        </p:nvSpPr>
        <p:spPr>
          <a:xfrm>
            <a:off x="2925392" y="2233991"/>
            <a:ext cx="1973169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ermarktbarkeit von</a:t>
            </a:r>
          </a:p>
          <a:p>
            <a:pPr algn="ctr">
              <a:spcBef>
                <a:spcPts val="0"/>
              </a:spcBef>
            </a:pPr>
            <a: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Daten verstehen</a:t>
            </a:r>
            <a:endParaRPr lang="en-US" sz="1600" b="1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09" name="Textfeld 108">
            <a:extLst>
              <a:ext uri="{FF2B5EF4-FFF2-40B4-BE49-F238E27FC236}">
                <a16:creationId xmlns:a16="http://schemas.microsoft.com/office/drawing/2014/main" id="{D2E102A6-60B3-489D-AEB1-2FE520468B93}"/>
              </a:ext>
            </a:extLst>
          </p:cNvPr>
          <p:cNvSpPr txBox="1"/>
          <p:nvPr/>
        </p:nvSpPr>
        <p:spPr>
          <a:xfrm>
            <a:off x="9845990" y="2233991"/>
            <a:ext cx="1684757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Zusammenhänge</a:t>
            </a:r>
            <a:b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erkaufen</a:t>
            </a:r>
            <a:endParaRPr lang="en-US" sz="1600" b="1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F91E2481-5B8D-4841-8DD4-D64C7F9C5E48}"/>
              </a:ext>
            </a:extLst>
          </p:cNvPr>
          <p:cNvCxnSpPr/>
          <p:nvPr/>
        </p:nvCxnSpPr>
        <p:spPr bwMode="auto">
          <a:xfrm>
            <a:off x="5053384" y="2200142"/>
            <a:ext cx="0" cy="389933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4" name="Gerader Verbinder 83">
            <a:extLst>
              <a:ext uri="{FF2B5EF4-FFF2-40B4-BE49-F238E27FC236}">
                <a16:creationId xmlns:a16="http://schemas.microsoft.com/office/drawing/2014/main" id="{A1C5AE45-ABD6-4DDB-B44E-FD49ABEE25FD}"/>
              </a:ext>
            </a:extLst>
          </p:cNvPr>
          <p:cNvCxnSpPr/>
          <p:nvPr/>
        </p:nvCxnSpPr>
        <p:spPr bwMode="auto">
          <a:xfrm>
            <a:off x="7265898" y="2200142"/>
            <a:ext cx="0" cy="389933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5" name="Gerader Verbinder 84">
            <a:extLst>
              <a:ext uri="{FF2B5EF4-FFF2-40B4-BE49-F238E27FC236}">
                <a16:creationId xmlns:a16="http://schemas.microsoft.com/office/drawing/2014/main" id="{BBFB5277-BC70-4061-B5B3-812C4B7EE72E}"/>
              </a:ext>
            </a:extLst>
          </p:cNvPr>
          <p:cNvCxnSpPr/>
          <p:nvPr/>
        </p:nvCxnSpPr>
        <p:spPr bwMode="auto">
          <a:xfrm>
            <a:off x="9505638" y="2200142"/>
            <a:ext cx="0" cy="389933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A6054816-C1A0-405E-AAA8-14807835BBED}"/>
              </a:ext>
            </a:extLst>
          </p:cNvPr>
          <p:cNvCxnSpPr/>
          <p:nvPr/>
        </p:nvCxnSpPr>
        <p:spPr bwMode="auto">
          <a:xfrm flipH="1">
            <a:off x="5045317" y="4066641"/>
            <a:ext cx="0" cy="169200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A8BD7E18-BD0F-493B-91DF-C1ACE1986E6A}"/>
              </a:ext>
            </a:extLst>
          </p:cNvPr>
          <p:cNvCxnSpPr/>
          <p:nvPr/>
        </p:nvCxnSpPr>
        <p:spPr bwMode="auto">
          <a:xfrm flipH="1">
            <a:off x="7276435" y="4066641"/>
            <a:ext cx="0" cy="169200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9" name="Gerader Verbinder 88">
            <a:extLst>
              <a:ext uri="{FF2B5EF4-FFF2-40B4-BE49-F238E27FC236}">
                <a16:creationId xmlns:a16="http://schemas.microsoft.com/office/drawing/2014/main" id="{AA747BA8-E37E-4348-A944-E7D735E1A8C3}"/>
              </a:ext>
            </a:extLst>
          </p:cNvPr>
          <p:cNvCxnSpPr/>
          <p:nvPr/>
        </p:nvCxnSpPr>
        <p:spPr bwMode="auto">
          <a:xfrm flipH="1">
            <a:off x="9510133" y="4066641"/>
            <a:ext cx="0" cy="169200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92" name="Gruppieren 91">
            <a:extLst>
              <a:ext uri="{FF2B5EF4-FFF2-40B4-BE49-F238E27FC236}">
                <a16:creationId xmlns:a16="http://schemas.microsoft.com/office/drawing/2014/main" id="{945D55BB-57D1-4B10-904C-778DE256D319}"/>
              </a:ext>
            </a:extLst>
          </p:cNvPr>
          <p:cNvGrpSpPr/>
          <p:nvPr/>
        </p:nvGrpSpPr>
        <p:grpSpPr>
          <a:xfrm>
            <a:off x="5635510" y="2778095"/>
            <a:ext cx="1100560" cy="1228724"/>
            <a:chOff x="3851275" y="5856288"/>
            <a:chExt cx="2740026" cy="3059112"/>
          </a:xfrm>
          <a:solidFill>
            <a:schemeClr val="bg1"/>
          </a:solidFill>
        </p:grpSpPr>
        <p:sp>
          <p:nvSpPr>
            <p:cNvPr id="96" name="Freeform 7">
              <a:extLst>
                <a:ext uri="{FF2B5EF4-FFF2-40B4-BE49-F238E27FC236}">
                  <a16:creationId xmlns:a16="http://schemas.microsoft.com/office/drawing/2014/main" id="{1834D296-E2C0-4CA6-8E01-8CE1D4F8D9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5375" y="8288338"/>
              <a:ext cx="628650" cy="627062"/>
            </a:xfrm>
            <a:custGeom>
              <a:avLst/>
              <a:gdLst>
                <a:gd name="T0" fmla="*/ 637 w 3565"/>
                <a:gd name="T1" fmla="*/ 1692 h 3554"/>
                <a:gd name="T2" fmla="*/ 652 w 3565"/>
                <a:gd name="T3" fmla="*/ 1539 h 3554"/>
                <a:gd name="T4" fmla="*/ 676 w 3565"/>
                <a:gd name="T5" fmla="*/ 1425 h 3554"/>
                <a:gd name="T6" fmla="*/ 712 w 3565"/>
                <a:gd name="T7" fmla="*/ 1317 h 3554"/>
                <a:gd name="T8" fmla="*/ 761 w 3565"/>
                <a:gd name="T9" fmla="*/ 1211 h 3554"/>
                <a:gd name="T10" fmla="*/ 827 w 3565"/>
                <a:gd name="T11" fmla="*/ 1106 h 3554"/>
                <a:gd name="T12" fmla="*/ 912 w 3565"/>
                <a:gd name="T13" fmla="*/ 1002 h 3554"/>
                <a:gd name="T14" fmla="*/ 1116 w 3565"/>
                <a:gd name="T15" fmla="*/ 827 h 3554"/>
                <a:gd name="T16" fmla="*/ 1407 w 3565"/>
                <a:gd name="T17" fmla="*/ 690 h 3554"/>
                <a:gd name="T18" fmla="*/ 1733 w 3565"/>
                <a:gd name="T19" fmla="*/ 631 h 3554"/>
                <a:gd name="T20" fmla="*/ 2065 w 3565"/>
                <a:gd name="T21" fmla="*/ 657 h 3554"/>
                <a:gd name="T22" fmla="*/ 2378 w 3565"/>
                <a:gd name="T23" fmla="*/ 775 h 3554"/>
                <a:gd name="T24" fmla="*/ 2644 w 3565"/>
                <a:gd name="T25" fmla="*/ 995 h 3554"/>
                <a:gd name="T26" fmla="*/ 2838 w 3565"/>
                <a:gd name="T27" fmla="*/ 1322 h 3554"/>
                <a:gd name="T28" fmla="*/ 2930 w 3565"/>
                <a:gd name="T29" fmla="*/ 1766 h 3554"/>
                <a:gd name="T30" fmla="*/ 2907 w 3565"/>
                <a:gd name="T31" fmla="*/ 2097 h 3554"/>
                <a:gd name="T32" fmla="*/ 2796 w 3565"/>
                <a:gd name="T33" fmla="*/ 2357 h 3554"/>
                <a:gd name="T34" fmla="*/ 2613 w 3565"/>
                <a:gd name="T35" fmla="*/ 2589 h 3554"/>
                <a:gd name="T36" fmla="*/ 2369 w 3565"/>
                <a:gd name="T37" fmla="*/ 2777 h 3554"/>
                <a:gd name="T38" fmla="*/ 2079 w 3565"/>
                <a:gd name="T39" fmla="*/ 2899 h 3554"/>
                <a:gd name="T40" fmla="*/ 1756 w 3565"/>
                <a:gd name="T41" fmla="*/ 2938 h 3554"/>
                <a:gd name="T42" fmla="*/ 1414 w 3565"/>
                <a:gd name="T43" fmla="*/ 2874 h 3554"/>
                <a:gd name="T44" fmla="*/ 1066 w 3565"/>
                <a:gd name="T45" fmla="*/ 2689 h 3554"/>
                <a:gd name="T46" fmla="*/ 936 w 3565"/>
                <a:gd name="T47" fmla="*/ 2581 h 3554"/>
                <a:gd name="T48" fmla="*/ 876 w 3565"/>
                <a:gd name="T49" fmla="*/ 2511 h 3554"/>
                <a:gd name="T50" fmla="*/ 816 w 3565"/>
                <a:gd name="T51" fmla="*/ 2428 h 3554"/>
                <a:gd name="T52" fmla="*/ 761 w 3565"/>
                <a:gd name="T53" fmla="*/ 2335 h 3554"/>
                <a:gd name="T54" fmla="*/ 712 w 3565"/>
                <a:gd name="T55" fmla="*/ 2234 h 3554"/>
                <a:gd name="T56" fmla="*/ 672 w 3565"/>
                <a:gd name="T57" fmla="*/ 2129 h 3554"/>
                <a:gd name="T58" fmla="*/ 645 w 3565"/>
                <a:gd name="T59" fmla="*/ 2023 h 3554"/>
                <a:gd name="T60" fmla="*/ 632 w 3565"/>
                <a:gd name="T61" fmla="*/ 1921 h 3554"/>
                <a:gd name="T62" fmla="*/ 5 w 3565"/>
                <a:gd name="T63" fmla="*/ 1885 h 3554"/>
                <a:gd name="T64" fmla="*/ 46 w 3565"/>
                <a:gd name="T65" fmla="*/ 2152 h 3554"/>
                <a:gd name="T66" fmla="*/ 124 w 3565"/>
                <a:gd name="T67" fmla="*/ 2406 h 3554"/>
                <a:gd name="T68" fmla="*/ 233 w 3565"/>
                <a:gd name="T69" fmla="*/ 2643 h 3554"/>
                <a:gd name="T70" fmla="*/ 372 w 3565"/>
                <a:gd name="T71" fmla="*/ 2859 h 3554"/>
                <a:gd name="T72" fmla="*/ 536 w 3565"/>
                <a:gd name="T73" fmla="*/ 3050 h 3554"/>
                <a:gd name="T74" fmla="*/ 721 w 3565"/>
                <a:gd name="T75" fmla="*/ 3211 h 3554"/>
                <a:gd name="T76" fmla="*/ 922 w 3565"/>
                <a:gd name="T77" fmla="*/ 3339 h 3554"/>
                <a:gd name="T78" fmla="*/ 1280 w 3565"/>
                <a:gd name="T79" fmla="*/ 3480 h 3554"/>
                <a:gd name="T80" fmla="*/ 1765 w 3565"/>
                <a:gd name="T81" fmla="*/ 3554 h 3554"/>
                <a:gd name="T82" fmla="*/ 2217 w 3565"/>
                <a:gd name="T83" fmla="*/ 3502 h 3554"/>
                <a:gd name="T84" fmla="*/ 2623 w 3565"/>
                <a:gd name="T85" fmla="*/ 3344 h 3554"/>
                <a:gd name="T86" fmla="*/ 2970 w 3565"/>
                <a:gd name="T87" fmla="*/ 3098 h 3554"/>
                <a:gd name="T88" fmla="*/ 3249 w 3565"/>
                <a:gd name="T89" fmla="*/ 2783 h 3554"/>
                <a:gd name="T90" fmla="*/ 3447 w 3565"/>
                <a:gd name="T91" fmla="*/ 2419 h 3554"/>
                <a:gd name="T92" fmla="*/ 3551 w 3565"/>
                <a:gd name="T93" fmla="*/ 2025 h 3554"/>
                <a:gd name="T94" fmla="*/ 3544 w 3565"/>
                <a:gd name="T95" fmla="*/ 1535 h 3554"/>
                <a:gd name="T96" fmla="*/ 3386 w 3565"/>
                <a:gd name="T97" fmla="*/ 1018 h 3554"/>
                <a:gd name="T98" fmla="*/ 3099 w 3565"/>
                <a:gd name="T99" fmla="*/ 589 h 3554"/>
                <a:gd name="T100" fmla="*/ 2712 w 3565"/>
                <a:gd name="T101" fmla="*/ 265 h 3554"/>
                <a:gd name="T102" fmla="*/ 2253 w 3565"/>
                <a:gd name="T103" fmla="*/ 64 h 3554"/>
                <a:gd name="T104" fmla="*/ 1753 w 3565"/>
                <a:gd name="T105" fmla="*/ 0 h 3554"/>
                <a:gd name="T106" fmla="*/ 1240 w 3565"/>
                <a:gd name="T107" fmla="*/ 90 h 3554"/>
                <a:gd name="T108" fmla="*/ 744 w 3565"/>
                <a:gd name="T109" fmla="*/ 351 h 3554"/>
                <a:gd name="T110" fmla="*/ 460 w 3565"/>
                <a:gd name="T111" fmla="*/ 604 h 3554"/>
                <a:gd name="T112" fmla="*/ 363 w 3565"/>
                <a:gd name="T113" fmla="*/ 716 h 3554"/>
                <a:gd name="T114" fmla="*/ 271 w 3565"/>
                <a:gd name="T115" fmla="*/ 843 h 3554"/>
                <a:gd name="T116" fmla="*/ 190 w 3565"/>
                <a:gd name="T117" fmla="*/ 981 h 3554"/>
                <a:gd name="T118" fmla="*/ 121 w 3565"/>
                <a:gd name="T119" fmla="*/ 1130 h 3554"/>
                <a:gd name="T120" fmla="*/ 64 w 3565"/>
                <a:gd name="T121" fmla="*/ 1293 h 3554"/>
                <a:gd name="T122" fmla="*/ 24 w 3565"/>
                <a:gd name="T123" fmla="*/ 1466 h 3554"/>
                <a:gd name="T124" fmla="*/ 3 w 3565"/>
                <a:gd name="T125" fmla="*/ 1651 h 3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65" h="3554">
                  <a:moveTo>
                    <a:pt x="632" y="1896"/>
                  </a:moveTo>
                  <a:lnTo>
                    <a:pt x="632" y="1825"/>
                  </a:lnTo>
                  <a:lnTo>
                    <a:pt x="634" y="1757"/>
                  </a:lnTo>
                  <a:lnTo>
                    <a:pt x="637" y="1692"/>
                  </a:lnTo>
                  <a:lnTo>
                    <a:pt x="642" y="1629"/>
                  </a:lnTo>
                  <a:lnTo>
                    <a:pt x="645" y="1599"/>
                  </a:lnTo>
                  <a:lnTo>
                    <a:pt x="648" y="1569"/>
                  </a:lnTo>
                  <a:lnTo>
                    <a:pt x="652" y="1539"/>
                  </a:lnTo>
                  <a:lnTo>
                    <a:pt x="658" y="1510"/>
                  </a:lnTo>
                  <a:lnTo>
                    <a:pt x="663" y="1482"/>
                  </a:lnTo>
                  <a:lnTo>
                    <a:pt x="670" y="1453"/>
                  </a:lnTo>
                  <a:lnTo>
                    <a:pt x="676" y="1425"/>
                  </a:lnTo>
                  <a:lnTo>
                    <a:pt x="684" y="1398"/>
                  </a:lnTo>
                  <a:lnTo>
                    <a:pt x="693" y="1370"/>
                  </a:lnTo>
                  <a:lnTo>
                    <a:pt x="701" y="1343"/>
                  </a:lnTo>
                  <a:lnTo>
                    <a:pt x="712" y="1317"/>
                  </a:lnTo>
                  <a:lnTo>
                    <a:pt x="723" y="1290"/>
                  </a:lnTo>
                  <a:lnTo>
                    <a:pt x="735" y="1264"/>
                  </a:lnTo>
                  <a:lnTo>
                    <a:pt x="748" y="1237"/>
                  </a:lnTo>
                  <a:lnTo>
                    <a:pt x="761" y="1211"/>
                  </a:lnTo>
                  <a:lnTo>
                    <a:pt x="776" y="1185"/>
                  </a:lnTo>
                  <a:lnTo>
                    <a:pt x="792" y="1158"/>
                  </a:lnTo>
                  <a:lnTo>
                    <a:pt x="809" y="1132"/>
                  </a:lnTo>
                  <a:lnTo>
                    <a:pt x="827" y="1106"/>
                  </a:lnTo>
                  <a:lnTo>
                    <a:pt x="847" y="1080"/>
                  </a:lnTo>
                  <a:lnTo>
                    <a:pt x="867" y="1054"/>
                  </a:lnTo>
                  <a:lnTo>
                    <a:pt x="889" y="1028"/>
                  </a:lnTo>
                  <a:lnTo>
                    <a:pt x="912" y="1002"/>
                  </a:lnTo>
                  <a:lnTo>
                    <a:pt x="937" y="976"/>
                  </a:lnTo>
                  <a:lnTo>
                    <a:pt x="991" y="922"/>
                  </a:lnTo>
                  <a:lnTo>
                    <a:pt x="1052" y="872"/>
                  </a:lnTo>
                  <a:lnTo>
                    <a:pt x="1116" y="827"/>
                  </a:lnTo>
                  <a:lnTo>
                    <a:pt x="1183" y="786"/>
                  </a:lnTo>
                  <a:lnTo>
                    <a:pt x="1255" y="749"/>
                  </a:lnTo>
                  <a:lnTo>
                    <a:pt x="1330" y="717"/>
                  </a:lnTo>
                  <a:lnTo>
                    <a:pt x="1407" y="690"/>
                  </a:lnTo>
                  <a:lnTo>
                    <a:pt x="1486" y="667"/>
                  </a:lnTo>
                  <a:lnTo>
                    <a:pt x="1566" y="650"/>
                  </a:lnTo>
                  <a:lnTo>
                    <a:pt x="1649" y="638"/>
                  </a:lnTo>
                  <a:lnTo>
                    <a:pt x="1733" y="631"/>
                  </a:lnTo>
                  <a:lnTo>
                    <a:pt x="1816" y="628"/>
                  </a:lnTo>
                  <a:lnTo>
                    <a:pt x="1900" y="633"/>
                  </a:lnTo>
                  <a:lnTo>
                    <a:pt x="1982" y="641"/>
                  </a:lnTo>
                  <a:lnTo>
                    <a:pt x="2065" y="657"/>
                  </a:lnTo>
                  <a:lnTo>
                    <a:pt x="2146" y="677"/>
                  </a:lnTo>
                  <a:lnTo>
                    <a:pt x="2225" y="703"/>
                  </a:lnTo>
                  <a:lnTo>
                    <a:pt x="2304" y="737"/>
                  </a:lnTo>
                  <a:lnTo>
                    <a:pt x="2378" y="775"/>
                  </a:lnTo>
                  <a:lnTo>
                    <a:pt x="2450" y="820"/>
                  </a:lnTo>
                  <a:lnTo>
                    <a:pt x="2518" y="871"/>
                  </a:lnTo>
                  <a:lnTo>
                    <a:pt x="2584" y="930"/>
                  </a:lnTo>
                  <a:lnTo>
                    <a:pt x="2644" y="995"/>
                  </a:lnTo>
                  <a:lnTo>
                    <a:pt x="2701" y="1066"/>
                  </a:lnTo>
                  <a:lnTo>
                    <a:pt x="2752" y="1144"/>
                  </a:lnTo>
                  <a:lnTo>
                    <a:pt x="2797" y="1229"/>
                  </a:lnTo>
                  <a:lnTo>
                    <a:pt x="2838" y="1322"/>
                  </a:lnTo>
                  <a:lnTo>
                    <a:pt x="2871" y="1422"/>
                  </a:lnTo>
                  <a:lnTo>
                    <a:pt x="2897" y="1528"/>
                  </a:lnTo>
                  <a:lnTo>
                    <a:pt x="2917" y="1643"/>
                  </a:lnTo>
                  <a:lnTo>
                    <a:pt x="2930" y="1766"/>
                  </a:lnTo>
                  <a:lnTo>
                    <a:pt x="2933" y="1896"/>
                  </a:lnTo>
                  <a:lnTo>
                    <a:pt x="2931" y="1963"/>
                  </a:lnTo>
                  <a:lnTo>
                    <a:pt x="2922" y="2030"/>
                  </a:lnTo>
                  <a:lnTo>
                    <a:pt x="2907" y="2097"/>
                  </a:lnTo>
                  <a:lnTo>
                    <a:pt x="2888" y="2163"/>
                  </a:lnTo>
                  <a:lnTo>
                    <a:pt x="2863" y="2229"/>
                  </a:lnTo>
                  <a:lnTo>
                    <a:pt x="2832" y="2293"/>
                  </a:lnTo>
                  <a:lnTo>
                    <a:pt x="2796" y="2357"/>
                  </a:lnTo>
                  <a:lnTo>
                    <a:pt x="2757" y="2418"/>
                  </a:lnTo>
                  <a:lnTo>
                    <a:pt x="2713" y="2478"/>
                  </a:lnTo>
                  <a:lnTo>
                    <a:pt x="2665" y="2535"/>
                  </a:lnTo>
                  <a:lnTo>
                    <a:pt x="2613" y="2589"/>
                  </a:lnTo>
                  <a:lnTo>
                    <a:pt x="2558" y="2641"/>
                  </a:lnTo>
                  <a:lnTo>
                    <a:pt x="2498" y="2690"/>
                  </a:lnTo>
                  <a:lnTo>
                    <a:pt x="2435" y="2736"/>
                  </a:lnTo>
                  <a:lnTo>
                    <a:pt x="2369" y="2777"/>
                  </a:lnTo>
                  <a:lnTo>
                    <a:pt x="2300" y="2814"/>
                  </a:lnTo>
                  <a:lnTo>
                    <a:pt x="2229" y="2847"/>
                  </a:lnTo>
                  <a:lnTo>
                    <a:pt x="2155" y="2875"/>
                  </a:lnTo>
                  <a:lnTo>
                    <a:pt x="2079" y="2899"/>
                  </a:lnTo>
                  <a:lnTo>
                    <a:pt x="2001" y="2918"/>
                  </a:lnTo>
                  <a:lnTo>
                    <a:pt x="1920" y="2930"/>
                  </a:lnTo>
                  <a:lnTo>
                    <a:pt x="1839" y="2937"/>
                  </a:lnTo>
                  <a:lnTo>
                    <a:pt x="1756" y="2938"/>
                  </a:lnTo>
                  <a:lnTo>
                    <a:pt x="1672" y="2932"/>
                  </a:lnTo>
                  <a:lnTo>
                    <a:pt x="1587" y="2920"/>
                  </a:lnTo>
                  <a:lnTo>
                    <a:pt x="1500" y="2900"/>
                  </a:lnTo>
                  <a:lnTo>
                    <a:pt x="1414" y="2874"/>
                  </a:lnTo>
                  <a:lnTo>
                    <a:pt x="1328" y="2840"/>
                  </a:lnTo>
                  <a:lnTo>
                    <a:pt x="1240" y="2798"/>
                  </a:lnTo>
                  <a:lnTo>
                    <a:pt x="1153" y="2748"/>
                  </a:lnTo>
                  <a:lnTo>
                    <a:pt x="1066" y="2689"/>
                  </a:lnTo>
                  <a:lnTo>
                    <a:pt x="980" y="2622"/>
                  </a:lnTo>
                  <a:lnTo>
                    <a:pt x="966" y="2610"/>
                  </a:lnTo>
                  <a:lnTo>
                    <a:pt x="951" y="2596"/>
                  </a:lnTo>
                  <a:lnTo>
                    <a:pt x="936" y="2581"/>
                  </a:lnTo>
                  <a:lnTo>
                    <a:pt x="921" y="2564"/>
                  </a:lnTo>
                  <a:lnTo>
                    <a:pt x="905" y="2548"/>
                  </a:lnTo>
                  <a:lnTo>
                    <a:pt x="891" y="2530"/>
                  </a:lnTo>
                  <a:lnTo>
                    <a:pt x="876" y="2511"/>
                  </a:lnTo>
                  <a:lnTo>
                    <a:pt x="861" y="2492"/>
                  </a:lnTo>
                  <a:lnTo>
                    <a:pt x="846" y="2471"/>
                  </a:lnTo>
                  <a:lnTo>
                    <a:pt x="830" y="2449"/>
                  </a:lnTo>
                  <a:lnTo>
                    <a:pt x="816" y="2428"/>
                  </a:lnTo>
                  <a:lnTo>
                    <a:pt x="802" y="2405"/>
                  </a:lnTo>
                  <a:lnTo>
                    <a:pt x="788" y="2382"/>
                  </a:lnTo>
                  <a:lnTo>
                    <a:pt x="774" y="2358"/>
                  </a:lnTo>
                  <a:lnTo>
                    <a:pt x="761" y="2335"/>
                  </a:lnTo>
                  <a:lnTo>
                    <a:pt x="748" y="2310"/>
                  </a:lnTo>
                  <a:lnTo>
                    <a:pt x="735" y="2285"/>
                  </a:lnTo>
                  <a:lnTo>
                    <a:pt x="723" y="2260"/>
                  </a:lnTo>
                  <a:lnTo>
                    <a:pt x="712" y="2234"/>
                  </a:lnTo>
                  <a:lnTo>
                    <a:pt x="701" y="2208"/>
                  </a:lnTo>
                  <a:lnTo>
                    <a:pt x="690" y="2182"/>
                  </a:lnTo>
                  <a:lnTo>
                    <a:pt x="682" y="2156"/>
                  </a:lnTo>
                  <a:lnTo>
                    <a:pt x="672" y="2129"/>
                  </a:lnTo>
                  <a:lnTo>
                    <a:pt x="664" y="2103"/>
                  </a:lnTo>
                  <a:lnTo>
                    <a:pt x="657" y="2077"/>
                  </a:lnTo>
                  <a:lnTo>
                    <a:pt x="650" y="2049"/>
                  </a:lnTo>
                  <a:lnTo>
                    <a:pt x="645" y="2023"/>
                  </a:lnTo>
                  <a:lnTo>
                    <a:pt x="641" y="1997"/>
                  </a:lnTo>
                  <a:lnTo>
                    <a:pt x="636" y="1971"/>
                  </a:lnTo>
                  <a:lnTo>
                    <a:pt x="634" y="1945"/>
                  </a:lnTo>
                  <a:lnTo>
                    <a:pt x="632" y="1921"/>
                  </a:lnTo>
                  <a:lnTo>
                    <a:pt x="632" y="1896"/>
                  </a:lnTo>
                  <a:close/>
                  <a:moveTo>
                    <a:pt x="0" y="1747"/>
                  </a:moveTo>
                  <a:lnTo>
                    <a:pt x="1" y="1815"/>
                  </a:lnTo>
                  <a:lnTo>
                    <a:pt x="5" y="1885"/>
                  </a:lnTo>
                  <a:lnTo>
                    <a:pt x="12" y="1952"/>
                  </a:lnTo>
                  <a:lnTo>
                    <a:pt x="21" y="2019"/>
                  </a:lnTo>
                  <a:lnTo>
                    <a:pt x="33" y="2086"/>
                  </a:lnTo>
                  <a:lnTo>
                    <a:pt x="46" y="2152"/>
                  </a:lnTo>
                  <a:lnTo>
                    <a:pt x="62" y="2216"/>
                  </a:lnTo>
                  <a:lnTo>
                    <a:pt x="80" y="2281"/>
                  </a:lnTo>
                  <a:lnTo>
                    <a:pt x="101" y="2344"/>
                  </a:lnTo>
                  <a:lnTo>
                    <a:pt x="124" y="2406"/>
                  </a:lnTo>
                  <a:lnTo>
                    <a:pt x="148" y="2467"/>
                  </a:lnTo>
                  <a:lnTo>
                    <a:pt x="175" y="2528"/>
                  </a:lnTo>
                  <a:lnTo>
                    <a:pt x="203" y="2586"/>
                  </a:lnTo>
                  <a:lnTo>
                    <a:pt x="233" y="2643"/>
                  </a:lnTo>
                  <a:lnTo>
                    <a:pt x="266" y="2699"/>
                  </a:lnTo>
                  <a:lnTo>
                    <a:pt x="300" y="2754"/>
                  </a:lnTo>
                  <a:lnTo>
                    <a:pt x="335" y="2807"/>
                  </a:lnTo>
                  <a:lnTo>
                    <a:pt x="372" y="2859"/>
                  </a:lnTo>
                  <a:lnTo>
                    <a:pt x="411" y="2909"/>
                  </a:lnTo>
                  <a:lnTo>
                    <a:pt x="452" y="2958"/>
                  </a:lnTo>
                  <a:lnTo>
                    <a:pt x="493" y="3004"/>
                  </a:lnTo>
                  <a:lnTo>
                    <a:pt x="536" y="3050"/>
                  </a:lnTo>
                  <a:lnTo>
                    <a:pt x="581" y="3092"/>
                  </a:lnTo>
                  <a:lnTo>
                    <a:pt x="626" y="3135"/>
                  </a:lnTo>
                  <a:lnTo>
                    <a:pt x="673" y="3174"/>
                  </a:lnTo>
                  <a:lnTo>
                    <a:pt x="721" y="3211"/>
                  </a:lnTo>
                  <a:lnTo>
                    <a:pt x="770" y="3246"/>
                  </a:lnTo>
                  <a:lnTo>
                    <a:pt x="820" y="3280"/>
                  </a:lnTo>
                  <a:lnTo>
                    <a:pt x="871" y="3311"/>
                  </a:lnTo>
                  <a:lnTo>
                    <a:pt x="922" y="3339"/>
                  </a:lnTo>
                  <a:lnTo>
                    <a:pt x="975" y="3366"/>
                  </a:lnTo>
                  <a:lnTo>
                    <a:pt x="1028" y="3390"/>
                  </a:lnTo>
                  <a:lnTo>
                    <a:pt x="1154" y="3440"/>
                  </a:lnTo>
                  <a:lnTo>
                    <a:pt x="1280" y="3480"/>
                  </a:lnTo>
                  <a:lnTo>
                    <a:pt x="1404" y="3512"/>
                  </a:lnTo>
                  <a:lnTo>
                    <a:pt x="1526" y="3533"/>
                  </a:lnTo>
                  <a:lnTo>
                    <a:pt x="1647" y="3547"/>
                  </a:lnTo>
                  <a:lnTo>
                    <a:pt x="1765" y="3554"/>
                  </a:lnTo>
                  <a:lnTo>
                    <a:pt x="1881" y="3552"/>
                  </a:lnTo>
                  <a:lnTo>
                    <a:pt x="1995" y="3542"/>
                  </a:lnTo>
                  <a:lnTo>
                    <a:pt x="2107" y="3526"/>
                  </a:lnTo>
                  <a:lnTo>
                    <a:pt x="2217" y="3502"/>
                  </a:lnTo>
                  <a:lnTo>
                    <a:pt x="2323" y="3472"/>
                  </a:lnTo>
                  <a:lnTo>
                    <a:pt x="2426" y="3435"/>
                  </a:lnTo>
                  <a:lnTo>
                    <a:pt x="2526" y="3392"/>
                  </a:lnTo>
                  <a:lnTo>
                    <a:pt x="2623" y="3344"/>
                  </a:lnTo>
                  <a:lnTo>
                    <a:pt x="2715" y="3290"/>
                  </a:lnTo>
                  <a:lnTo>
                    <a:pt x="2804" y="3231"/>
                  </a:lnTo>
                  <a:lnTo>
                    <a:pt x="2890" y="3167"/>
                  </a:lnTo>
                  <a:lnTo>
                    <a:pt x="2970" y="3098"/>
                  </a:lnTo>
                  <a:lnTo>
                    <a:pt x="3047" y="3025"/>
                  </a:lnTo>
                  <a:lnTo>
                    <a:pt x="3119" y="2948"/>
                  </a:lnTo>
                  <a:lnTo>
                    <a:pt x="3187" y="2868"/>
                  </a:lnTo>
                  <a:lnTo>
                    <a:pt x="3249" y="2783"/>
                  </a:lnTo>
                  <a:lnTo>
                    <a:pt x="3307" y="2697"/>
                  </a:lnTo>
                  <a:lnTo>
                    <a:pt x="3359" y="2607"/>
                  </a:lnTo>
                  <a:lnTo>
                    <a:pt x="3405" y="2513"/>
                  </a:lnTo>
                  <a:lnTo>
                    <a:pt x="3447" y="2419"/>
                  </a:lnTo>
                  <a:lnTo>
                    <a:pt x="3482" y="2323"/>
                  </a:lnTo>
                  <a:lnTo>
                    <a:pt x="3512" y="2224"/>
                  </a:lnTo>
                  <a:lnTo>
                    <a:pt x="3535" y="2124"/>
                  </a:lnTo>
                  <a:lnTo>
                    <a:pt x="3551" y="2025"/>
                  </a:lnTo>
                  <a:lnTo>
                    <a:pt x="3562" y="1923"/>
                  </a:lnTo>
                  <a:lnTo>
                    <a:pt x="3565" y="1821"/>
                  </a:lnTo>
                  <a:lnTo>
                    <a:pt x="3560" y="1676"/>
                  </a:lnTo>
                  <a:lnTo>
                    <a:pt x="3544" y="1535"/>
                  </a:lnTo>
                  <a:lnTo>
                    <a:pt x="3518" y="1398"/>
                  </a:lnTo>
                  <a:lnTo>
                    <a:pt x="3484" y="1266"/>
                  </a:lnTo>
                  <a:lnTo>
                    <a:pt x="3439" y="1139"/>
                  </a:lnTo>
                  <a:lnTo>
                    <a:pt x="3386" y="1018"/>
                  </a:lnTo>
                  <a:lnTo>
                    <a:pt x="3325" y="902"/>
                  </a:lnTo>
                  <a:lnTo>
                    <a:pt x="3257" y="791"/>
                  </a:lnTo>
                  <a:lnTo>
                    <a:pt x="3182" y="687"/>
                  </a:lnTo>
                  <a:lnTo>
                    <a:pt x="3099" y="589"/>
                  </a:lnTo>
                  <a:lnTo>
                    <a:pt x="3010" y="498"/>
                  </a:lnTo>
                  <a:lnTo>
                    <a:pt x="2916" y="414"/>
                  </a:lnTo>
                  <a:lnTo>
                    <a:pt x="2816" y="336"/>
                  </a:lnTo>
                  <a:lnTo>
                    <a:pt x="2712" y="265"/>
                  </a:lnTo>
                  <a:lnTo>
                    <a:pt x="2602" y="204"/>
                  </a:lnTo>
                  <a:lnTo>
                    <a:pt x="2489" y="148"/>
                  </a:lnTo>
                  <a:lnTo>
                    <a:pt x="2373" y="102"/>
                  </a:lnTo>
                  <a:lnTo>
                    <a:pt x="2253" y="64"/>
                  </a:lnTo>
                  <a:lnTo>
                    <a:pt x="2131" y="34"/>
                  </a:lnTo>
                  <a:lnTo>
                    <a:pt x="2006" y="13"/>
                  </a:lnTo>
                  <a:lnTo>
                    <a:pt x="1880" y="2"/>
                  </a:lnTo>
                  <a:lnTo>
                    <a:pt x="1753" y="0"/>
                  </a:lnTo>
                  <a:lnTo>
                    <a:pt x="1624" y="7"/>
                  </a:lnTo>
                  <a:lnTo>
                    <a:pt x="1496" y="25"/>
                  </a:lnTo>
                  <a:lnTo>
                    <a:pt x="1368" y="52"/>
                  </a:lnTo>
                  <a:lnTo>
                    <a:pt x="1240" y="90"/>
                  </a:lnTo>
                  <a:lnTo>
                    <a:pt x="1113" y="139"/>
                  </a:lnTo>
                  <a:lnTo>
                    <a:pt x="988" y="198"/>
                  </a:lnTo>
                  <a:lnTo>
                    <a:pt x="864" y="269"/>
                  </a:lnTo>
                  <a:lnTo>
                    <a:pt x="744" y="351"/>
                  </a:lnTo>
                  <a:lnTo>
                    <a:pt x="625" y="445"/>
                  </a:lnTo>
                  <a:lnTo>
                    <a:pt x="510" y="550"/>
                  </a:lnTo>
                  <a:lnTo>
                    <a:pt x="485" y="576"/>
                  </a:lnTo>
                  <a:lnTo>
                    <a:pt x="460" y="604"/>
                  </a:lnTo>
                  <a:lnTo>
                    <a:pt x="435" y="631"/>
                  </a:lnTo>
                  <a:lnTo>
                    <a:pt x="410" y="658"/>
                  </a:lnTo>
                  <a:lnTo>
                    <a:pt x="386" y="687"/>
                  </a:lnTo>
                  <a:lnTo>
                    <a:pt x="363" y="716"/>
                  </a:lnTo>
                  <a:lnTo>
                    <a:pt x="339" y="747"/>
                  </a:lnTo>
                  <a:lnTo>
                    <a:pt x="316" y="778"/>
                  </a:lnTo>
                  <a:lnTo>
                    <a:pt x="294" y="809"/>
                  </a:lnTo>
                  <a:lnTo>
                    <a:pt x="271" y="843"/>
                  </a:lnTo>
                  <a:lnTo>
                    <a:pt x="251" y="876"/>
                  </a:lnTo>
                  <a:lnTo>
                    <a:pt x="230" y="910"/>
                  </a:lnTo>
                  <a:lnTo>
                    <a:pt x="210" y="945"/>
                  </a:lnTo>
                  <a:lnTo>
                    <a:pt x="190" y="981"/>
                  </a:lnTo>
                  <a:lnTo>
                    <a:pt x="172" y="1018"/>
                  </a:lnTo>
                  <a:lnTo>
                    <a:pt x="153" y="1054"/>
                  </a:lnTo>
                  <a:lnTo>
                    <a:pt x="137" y="1092"/>
                  </a:lnTo>
                  <a:lnTo>
                    <a:pt x="121" y="1130"/>
                  </a:lnTo>
                  <a:lnTo>
                    <a:pt x="104" y="1170"/>
                  </a:lnTo>
                  <a:lnTo>
                    <a:pt x="90" y="1211"/>
                  </a:lnTo>
                  <a:lnTo>
                    <a:pt x="76" y="1251"/>
                  </a:lnTo>
                  <a:lnTo>
                    <a:pt x="64" y="1293"/>
                  </a:lnTo>
                  <a:lnTo>
                    <a:pt x="52" y="1335"/>
                  </a:lnTo>
                  <a:lnTo>
                    <a:pt x="41" y="1377"/>
                  </a:lnTo>
                  <a:lnTo>
                    <a:pt x="33" y="1422"/>
                  </a:lnTo>
                  <a:lnTo>
                    <a:pt x="24" y="1466"/>
                  </a:lnTo>
                  <a:lnTo>
                    <a:pt x="17" y="1511"/>
                  </a:lnTo>
                  <a:lnTo>
                    <a:pt x="11" y="1556"/>
                  </a:lnTo>
                  <a:lnTo>
                    <a:pt x="7" y="1603"/>
                  </a:lnTo>
                  <a:lnTo>
                    <a:pt x="3" y="1651"/>
                  </a:lnTo>
                  <a:lnTo>
                    <a:pt x="1" y="1698"/>
                  </a:lnTo>
                  <a:lnTo>
                    <a:pt x="0" y="17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114" name="Freeform 8">
              <a:extLst>
                <a:ext uri="{FF2B5EF4-FFF2-40B4-BE49-F238E27FC236}">
                  <a16:creationId xmlns:a16="http://schemas.microsoft.com/office/drawing/2014/main" id="{62F0EBFB-3F9F-4F81-B285-38E5BC2AD2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5375" y="5856288"/>
              <a:ext cx="630238" cy="622300"/>
            </a:xfrm>
            <a:custGeom>
              <a:avLst/>
              <a:gdLst>
                <a:gd name="T0" fmla="*/ 636 w 3568"/>
                <a:gd name="T1" fmla="*/ 1647 h 3526"/>
                <a:gd name="T2" fmla="*/ 649 w 3568"/>
                <a:gd name="T3" fmla="*/ 1524 h 3526"/>
                <a:gd name="T4" fmla="*/ 672 w 3568"/>
                <a:gd name="T5" fmla="*/ 1410 h 3526"/>
                <a:gd name="T6" fmla="*/ 708 w 3568"/>
                <a:gd name="T7" fmla="*/ 1304 h 3526"/>
                <a:gd name="T8" fmla="*/ 759 w 3568"/>
                <a:gd name="T9" fmla="*/ 1202 h 3526"/>
                <a:gd name="T10" fmla="*/ 826 w 3568"/>
                <a:gd name="T11" fmla="*/ 1100 h 3526"/>
                <a:gd name="T12" fmla="*/ 913 w 3568"/>
                <a:gd name="T13" fmla="*/ 997 h 3526"/>
                <a:gd name="T14" fmla="*/ 1099 w 3568"/>
                <a:gd name="T15" fmla="*/ 825 h 3526"/>
                <a:gd name="T16" fmla="*/ 1535 w 3568"/>
                <a:gd name="T17" fmla="*/ 606 h 3526"/>
                <a:gd name="T18" fmla="*/ 1968 w 3568"/>
                <a:gd name="T19" fmla="*/ 595 h 3526"/>
                <a:gd name="T20" fmla="*/ 2362 w 3568"/>
                <a:gd name="T21" fmla="*/ 753 h 3526"/>
                <a:gd name="T22" fmla="*/ 2681 w 3568"/>
                <a:gd name="T23" fmla="*/ 1041 h 3526"/>
                <a:gd name="T24" fmla="*/ 2888 w 3568"/>
                <a:gd name="T25" fmla="*/ 1418 h 3526"/>
                <a:gd name="T26" fmla="*/ 2948 w 3568"/>
                <a:gd name="T27" fmla="*/ 1843 h 3526"/>
                <a:gd name="T28" fmla="*/ 2825 w 3568"/>
                <a:gd name="T29" fmla="*/ 2278 h 3526"/>
                <a:gd name="T30" fmla="*/ 2520 w 3568"/>
                <a:gd name="T31" fmla="*/ 2652 h 3526"/>
                <a:gd name="T32" fmla="*/ 2213 w 3568"/>
                <a:gd name="T33" fmla="*/ 2839 h 3526"/>
                <a:gd name="T34" fmla="*/ 1888 w 3568"/>
                <a:gd name="T35" fmla="*/ 2919 h 3526"/>
                <a:gd name="T36" fmla="*/ 1563 w 3568"/>
                <a:gd name="T37" fmla="*/ 2901 h 3526"/>
                <a:gd name="T38" fmla="*/ 1258 w 3568"/>
                <a:gd name="T39" fmla="*/ 2797 h 3526"/>
                <a:gd name="T40" fmla="*/ 993 w 3568"/>
                <a:gd name="T41" fmla="*/ 2617 h 3526"/>
                <a:gd name="T42" fmla="*/ 788 w 3568"/>
                <a:gd name="T43" fmla="*/ 2371 h 3526"/>
                <a:gd name="T44" fmla="*/ 662 w 3568"/>
                <a:gd name="T45" fmla="*/ 2071 h 3526"/>
                <a:gd name="T46" fmla="*/ 0 w 3568"/>
                <a:gd name="T47" fmla="*/ 1743 h 3526"/>
                <a:gd name="T48" fmla="*/ 13 w 3568"/>
                <a:gd name="T49" fmla="*/ 1978 h 3526"/>
                <a:gd name="T50" fmla="*/ 51 w 3568"/>
                <a:gd name="T51" fmla="*/ 2193 h 3526"/>
                <a:gd name="T52" fmla="*/ 112 w 3568"/>
                <a:gd name="T53" fmla="*/ 2389 h 3526"/>
                <a:gd name="T54" fmla="*/ 193 w 3568"/>
                <a:gd name="T55" fmla="*/ 2569 h 3526"/>
                <a:gd name="T56" fmla="*/ 295 w 3568"/>
                <a:gd name="T57" fmla="*/ 2735 h 3526"/>
                <a:gd name="T58" fmla="*/ 414 w 3568"/>
                <a:gd name="T59" fmla="*/ 2888 h 3526"/>
                <a:gd name="T60" fmla="*/ 548 w 3568"/>
                <a:gd name="T61" fmla="*/ 3029 h 3526"/>
                <a:gd name="T62" fmla="*/ 697 w 3568"/>
                <a:gd name="T63" fmla="*/ 3161 h 3526"/>
                <a:gd name="T64" fmla="*/ 981 w 3568"/>
                <a:gd name="T65" fmla="*/ 3345 h 3526"/>
                <a:gd name="T66" fmla="*/ 1296 w 3568"/>
                <a:gd name="T67" fmla="*/ 3464 h 3526"/>
                <a:gd name="T68" fmla="*/ 1628 w 3568"/>
                <a:gd name="T69" fmla="*/ 3521 h 3526"/>
                <a:gd name="T70" fmla="*/ 1965 w 3568"/>
                <a:gd name="T71" fmla="*/ 3516 h 3526"/>
                <a:gd name="T72" fmla="*/ 2292 w 3568"/>
                <a:gd name="T73" fmla="*/ 3457 h 3526"/>
                <a:gd name="T74" fmla="*/ 2597 w 3568"/>
                <a:gd name="T75" fmla="*/ 3344 h 3526"/>
                <a:gd name="T76" fmla="*/ 2867 w 3568"/>
                <a:gd name="T77" fmla="*/ 3181 h 3526"/>
                <a:gd name="T78" fmla="*/ 3088 w 3568"/>
                <a:gd name="T79" fmla="*/ 2972 h 3526"/>
                <a:gd name="T80" fmla="*/ 3422 w 3568"/>
                <a:gd name="T81" fmla="*/ 2442 h 3526"/>
                <a:gd name="T82" fmla="*/ 3561 w 3568"/>
                <a:gd name="T83" fmla="*/ 1917 h 3526"/>
                <a:gd name="T84" fmla="*/ 3533 w 3568"/>
                <a:gd name="T85" fmla="*/ 1417 h 3526"/>
                <a:gd name="T86" fmla="*/ 3372 w 3568"/>
                <a:gd name="T87" fmla="*/ 960 h 3526"/>
                <a:gd name="T88" fmla="*/ 3105 w 3568"/>
                <a:gd name="T89" fmla="*/ 571 h 3526"/>
                <a:gd name="T90" fmla="*/ 2762 w 3568"/>
                <a:gd name="T91" fmla="*/ 268 h 3526"/>
                <a:gd name="T92" fmla="*/ 2373 w 3568"/>
                <a:gd name="T93" fmla="*/ 70 h 3526"/>
                <a:gd name="T94" fmla="*/ 1968 w 3568"/>
                <a:gd name="T95" fmla="*/ 0 h 3526"/>
                <a:gd name="T96" fmla="*/ 1652 w 3568"/>
                <a:gd name="T97" fmla="*/ 9 h 3526"/>
                <a:gd name="T98" fmla="*/ 1452 w 3568"/>
                <a:gd name="T99" fmla="*/ 27 h 3526"/>
                <a:gd name="T100" fmla="*/ 1260 w 3568"/>
                <a:gd name="T101" fmla="*/ 63 h 3526"/>
                <a:gd name="T102" fmla="*/ 1075 w 3568"/>
                <a:gd name="T103" fmla="*/ 119 h 3526"/>
                <a:gd name="T104" fmla="*/ 896 w 3568"/>
                <a:gd name="T105" fmla="*/ 202 h 3526"/>
                <a:gd name="T106" fmla="*/ 723 w 3568"/>
                <a:gd name="T107" fmla="*/ 313 h 3526"/>
                <a:gd name="T108" fmla="*/ 556 w 3568"/>
                <a:gd name="T109" fmla="*/ 460 h 3526"/>
                <a:gd name="T110" fmla="*/ 428 w 3568"/>
                <a:gd name="T111" fmla="*/ 601 h 3526"/>
                <a:gd name="T112" fmla="*/ 340 w 3568"/>
                <a:gd name="T113" fmla="*/ 716 h 3526"/>
                <a:gd name="T114" fmla="*/ 256 w 3568"/>
                <a:gd name="T115" fmla="*/ 845 h 3526"/>
                <a:gd name="T116" fmla="*/ 180 w 3568"/>
                <a:gd name="T117" fmla="*/ 985 h 3526"/>
                <a:gd name="T118" fmla="*/ 114 w 3568"/>
                <a:gd name="T119" fmla="*/ 1136 h 3526"/>
                <a:gd name="T120" fmla="*/ 61 w 3568"/>
                <a:gd name="T121" fmla="*/ 1297 h 3526"/>
                <a:gd name="T122" fmla="*/ 23 w 3568"/>
                <a:gd name="T123" fmla="*/ 1469 h 3526"/>
                <a:gd name="T124" fmla="*/ 3 w 3568"/>
                <a:gd name="T125" fmla="*/ 1649 h 3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68" h="3526">
                  <a:moveTo>
                    <a:pt x="632" y="1817"/>
                  </a:moveTo>
                  <a:lnTo>
                    <a:pt x="632" y="1746"/>
                  </a:lnTo>
                  <a:lnTo>
                    <a:pt x="634" y="1678"/>
                  </a:lnTo>
                  <a:lnTo>
                    <a:pt x="636" y="1647"/>
                  </a:lnTo>
                  <a:lnTo>
                    <a:pt x="638" y="1614"/>
                  </a:lnTo>
                  <a:lnTo>
                    <a:pt x="642" y="1584"/>
                  </a:lnTo>
                  <a:lnTo>
                    <a:pt x="645" y="1553"/>
                  </a:lnTo>
                  <a:lnTo>
                    <a:pt x="649" y="1524"/>
                  </a:lnTo>
                  <a:lnTo>
                    <a:pt x="654" y="1495"/>
                  </a:lnTo>
                  <a:lnTo>
                    <a:pt x="659" y="1465"/>
                  </a:lnTo>
                  <a:lnTo>
                    <a:pt x="665" y="1438"/>
                  </a:lnTo>
                  <a:lnTo>
                    <a:pt x="672" y="1410"/>
                  </a:lnTo>
                  <a:lnTo>
                    <a:pt x="680" y="1383"/>
                  </a:lnTo>
                  <a:lnTo>
                    <a:pt x="688" y="1357"/>
                  </a:lnTo>
                  <a:lnTo>
                    <a:pt x="698" y="1330"/>
                  </a:lnTo>
                  <a:lnTo>
                    <a:pt x="708" y="1304"/>
                  </a:lnTo>
                  <a:lnTo>
                    <a:pt x="719" y="1278"/>
                  </a:lnTo>
                  <a:lnTo>
                    <a:pt x="731" y="1253"/>
                  </a:lnTo>
                  <a:lnTo>
                    <a:pt x="745" y="1227"/>
                  </a:lnTo>
                  <a:lnTo>
                    <a:pt x="759" y="1202"/>
                  </a:lnTo>
                  <a:lnTo>
                    <a:pt x="774" y="1176"/>
                  </a:lnTo>
                  <a:lnTo>
                    <a:pt x="790" y="1151"/>
                  </a:lnTo>
                  <a:lnTo>
                    <a:pt x="808" y="1126"/>
                  </a:lnTo>
                  <a:lnTo>
                    <a:pt x="826" y="1100"/>
                  </a:lnTo>
                  <a:lnTo>
                    <a:pt x="846" y="1075"/>
                  </a:lnTo>
                  <a:lnTo>
                    <a:pt x="867" y="1049"/>
                  </a:lnTo>
                  <a:lnTo>
                    <a:pt x="889" y="1023"/>
                  </a:lnTo>
                  <a:lnTo>
                    <a:pt x="913" y="997"/>
                  </a:lnTo>
                  <a:lnTo>
                    <a:pt x="938" y="970"/>
                  </a:lnTo>
                  <a:lnTo>
                    <a:pt x="965" y="944"/>
                  </a:lnTo>
                  <a:lnTo>
                    <a:pt x="992" y="917"/>
                  </a:lnTo>
                  <a:lnTo>
                    <a:pt x="1099" y="825"/>
                  </a:lnTo>
                  <a:lnTo>
                    <a:pt x="1206" y="748"/>
                  </a:lnTo>
                  <a:lnTo>
                    <a:pt x="1315" y="687"/>
                  </a:lnTo>
                  <a:lnTo>
                    <a:pt x="1425" y="640"/>
                  </a:lnTo>
                  <a:lnTo>
                    <a:pt x="1535" y="606"/>
                  </a:lnTo>
                  <a:lnTo>
                    <a:pt x="1646" y="585"/>
                  </a:lnTo>
                  <a:lnTo>
                    <a:pt x="1754" y="577"/>
                  </a:lnTo>
                  <a:lnTo>
                    <a:pt x="1863" y="581"/>
                  </a:lnTo>
                  <a:lnTo>
                    <a:pt x="1968" y="595"/>
                  </a:lnTo>
                  <a:lnTo>
                    <a:pt x="2072" y="621"/>
                  </a:lnTo>
                  <a:lnTo>
                    <a:pt x="2172" y="656"/>
                  </a:lnTo>
                  <a:lnTo>
                    <a:pt x="2270" y="700"/>
                  </a:lnTo>
                  <a:lnTo>
                    <a:pt x="2362" y="753"/>
                  </a:lnTo>
                  <a:lnTo>
                    <a:pt x="2450" y="815"/>
                  </a:lnTo>
                  <a:lnTo>
                    <a:pt x="2534" y="883"/>
                  </a:lnTo>
                  <a:lnTo>
                    <a:pt x="2611" y="959"/>
                  </a:lnTo>
                  <a:lnTo>
                    <a:pt x="2681" y="1041"/>
                  </a:lnTo>
                  <a:lnTo>
                    <a:pt x="2744" y="1128"/>
                  </a:lnTo>
                  <a:lnTo>
                    <a:pt x="2801" y="1221"/>
                  </a:lnTo>
                  <a:lnTo>
                    <a:pt x="2848" y="1317"/>
                  </a:lnTo>
                  <a:lnTo>
                    <a:pt x="2888" y="1418"/>
                  </a:lnTo>
                  <a:lnTo>
                    <a:pt x="2918" y="1521"/>
                  </a:lnTo>
                  <a:lnTo>
                    <a:pt x="2939" y="1627"/>
                  </a:lnTo>
                  <a:lnTo>
                    <a:pt x="2948" y="1734"/>
                  </a:lnTo>
                  <a:lnTo>
                    <a:pt x="2948" y="1843"/>
                  </a:lnTo>
                  <a:lnTo>
                    <a:pt x="2936" y="1952"/>
                  </a:lnTo>
                  <a:lnTo>
                    <a:pt x="2911" y="2062"/>
                  </a:lnTo>
                  <a:lnTo>
                    <a:pt x="2875" y="2171"/>
                  </a:lnTo>
                  <a:lnTo>
                    <a:pt x="2825" y="2278"/>
                  </a:lnTo>
                  <a:lnTo>
                    <a:pt x="2762" y="2385"/>
                  </a:lnTo>
                  <a:lnTo>
                    <a:pt x="2683" y="2488"/>
                  </a:lnTo>
                  <a:lnTo>
                    <a:pt x="2591" y="2587"/>
                  </a:lnTo>
                  <a:lnTo>
                    <a:pt x="2520" y="2652"/>
                  </a:lnTo>
                  <a:lnTo>
                    <a:pt x="2447" y="2710"/>
                  </a:lnTo>
                  <a:lnTo>
                    <a:pt x="2371" y="2760"/>
                  </a:lnTo>
                  <a:lnTo>
                    <a:pt x="2293" y="2803"/>
                  </a:lnTo>
                  <a:lnTo>
                    <a:pt x="2213" y="2839"/>
                  </a:lnTo>
                  <a:lnTo>
                    <a:pt x="2133" y="2869"/>
                  </a:lnTo>
                  <a:lnTo>
                    <a:pt x="2052" y="2892"/>
                  </a:lnTo>
                  <a:lnTo>
                    <a:pt x="1970" y="2908"/>
                  </a:lnTo>
                  <a:lnTo>
                    <a:pt x="1888" y="2919"/>
                  </a:lnTo>
                  <a:lnTo>
                    <a:pt x="1806" y="2922"/>
                  </a:lnTo>
                  <a:lnTo>
                    <a:pt x="1724" y="2921"/>
                  </a:lnTo>
                  <a:lnTo>
                    <a:pt x="1644" y="2914"/>
                  </a:lnTo>
                  <a:lnTo>
                    <a:pt x="1563" y="2901"/>
                  </a:lnTo>
                  <a:lnTo>
                    <a:pt x="1484" y="2882"/>
                  </a:lnTo>
                  <a:lnTo>
                    <a:pt x="1407" y="2858"/>
                  </a:lnTo>
                  <a:lnTo>
                    <a:pt x="1332" y="2830"/>
                  </a:lnTo>
                  <a:lnTo>
                    <a:pt x="1258" y="2797"/>
                  </a:lnTo>
                  <a:lnTo>
                    <a:pt x="1188" y="2758"/>
                  </a:lnTo>
                  <a:lnTo>
                    <a:pt x="1119" y="2715"/>
                  </a:lnTo>
                  <a:lnTo>
                    <a:pt x="1055" y="2668"/>
                  </a:lnTo>
                  <a:lnTo>
                    <a:pt x="993" y="2617"/>
                  </a:lnTo>
                  <a:lnTo>
                    <a:pt x="936" y="2560"/>
                  </a:lnTo>
                  <a:lnTo>
                    <a:pt x="883" y="2501"/>
                  </a:lnTo>
                  <a:lnTo>
                    <a:pt x="833" y="2438"/>
                  </a:lnTo>
                  <a:lnTo>
                    <a:pt x="788" y="2371"/>
                  </a:lnTo>
                  <a:lnTo>
                    <a:pt x="748" y="2300"/>
                  </a:lnTo>
                  <a:lnTo>
                    <a:pt x="714" y="2227"/>
                  </a:lnTo>
                  <a:lnTo>
                    <a:pt x="685" y="2151"/>
                  </a:lnTo>
                  <a:lnTo>
                    <a:pt x="662" y="2071"/>
                  </a:lnTo>
                  <a:lnTo>
                    <a:pt x="645" y="1989"/>
                  </a:lnTo>
                  <a:lnTo>
                    <a:pt x="635" y="1904"/>
                  </a:lnTo>
                  <a:lnTo>
                    <a:pt x="632" y="1817"/>
                  </a:lnTo>
                  <a:close/>
                  <a:moveTo>
                    <a:pt x="0" y="1743"/>
                  </a:moveTo>
                  <a:lnTo>
                    <a:pt x="1" y="1804"/>
                  </a:lnTo>
                  <a:lnTo>
                    <a:pt x="3" y="1863"/>
                  </a:lnTo>
                  <a:lnTo>
                    <a:pt x="8" y="1921"/>
                  </a:lnTo>
                  <a:lnTo>
                    <a:pt x="13" y="1978"/>
                  </a:lnTo>
                  <a:lnTo>
                    <a:pt x="21" y="2033"/>
                  </a:lnTo>
                  <a:lnTo>
                    <a:pt x="29" y="2088"/>
                  </a:lnTo>
                  <a:lnTo>
                    <a:pt x="39" y="2141"/>
                  </a:lnTo>
                  <a:lnTo>
                    <a:pt x="51" y="2193"/>
                  </a:lnTo>
                  <a:lnTo>
                    <a:pt x="64" y="2244"/>
                  </a:lnTo>
                  <a:lnTo>
                    <a:pt x="78" y="2294"/>
                  </a:lnTo>
                  <a:lnTo>
                    <a:pt x="94" y="2341"/>
                  </a:lnTo>
                  <a:lnTo>
                    <a:pt x="112" y="2389"/>
                  </a:lnTo>
                  <a:lnTo>
                    <a:pt x="130" y="2436"/>
                  </a:lnTo>
                  <a:lnTo>
                    <a:pt x="150" y="2481"/>
                  </a:lnTo>
                  <a:lnTo>
                    <a:pt x="172" y="2526"/>
                  </a:lnTo>
                  <a:lnTo>
                    <a:pt x="193" y="2569"/>
                  </a:lnTo>
                  <a:lnTo>
                    <a:pt x="217" y="2612"/>
                  </a:lnTo>
                  <a:lnTo>
                    <a:pt x="242" y="2653"/>
                  </a:lnTo>
                  <a:lnTo>
                    <a:pt x="268" y="2695"/>
                  </a:lnTo>
                  <a:lnTo>
                    <a:pt x="295" y="2735"/>
                  </a:lnTo>
                  <a:lnTo>
                    <a:pt x="322" y="2774"/>
                  </a:lnTo>
                  <a:lnTo>
                    <a:pt x="352" y="2813"/>
                  </a:lnTo>
                  <a:lnTo>
                    <a:pt x="382" y="2851"/>
                  </a:lnTo>
                  <a:lnTo>
                    <a:pt x="414" y="2888"/>
                  </a:lnTo>
                  <a:lnTo>
                    <a:pt x="446" y="2923"/>
                  </a:lnTo>
                  <a:lnTo>
                    <a:pt x="479" y="2959"/>
                  </a:lnTo>
                  <a:lnTo>
                    <a:pt x="513" y="2994"/>
                  </a:lnTo>
                  <a:lnTo>
                    <a:pt x="548" y="3029"/>
                  </a:lnTo>
                  <a:lnTo>
                    <a:pt x="584" y="3062"/>
                  </a:lnTo>
                  <a:lnTo>
                    <a:pt x="621" y="3096"/>
                  </a:lnTo>
                  <a:lnTo>
                    <a:pt x="659" y="3128"/>
                  </a:lnTo>
                  <a:lnTo>
                    <a:pt x="697" y="3161"/>
                  </a:lnTo>
                  <a:lnTo>
                    <a:pt x="764" y="3213"/>
                  </a:lnTo>
                  <a:lnTo>
                    <a:pt x="835" y="3262"/>
                  </a:lnTo>
                  <a:lnTo>
                    <a:pt x="908" y="3306"/>
                  </a:lnTo>
                  <a:lnTo>
                    <a:pt x="981" y="3345"/>
                  </a:lnTo>
                  <a:lnTo>
                    <a:pt x="1058" y="3381"/>
                  </a:lnTo>
                  <a:lnTo>
                    <a:pt x="1137" y="3413"/>
                  </a:lnTo>
                  <a:lnTo>
                    <a:pt x="1216" y="3440"/>
                  </a:lnTo>
                  <a:lnTo>
                    <a:pt x="1296" y="3464"/>
                  </a:lnTo>
                  <a:lnTo>
                    <a:pt x="1379" y="3484"/>
                  </a:lnTo>
                  <a:lnTo>
                    <a:pt x="1461" y="3500"/>
                  </a:lnTo>
                  <a:lnTo>
                    <a:pt x="1545" y="3512"/>
                  </a:lnTo>
                  <a:lnTo>
                    <a:pt x="1628" y="3521"/>
                  </a:lnTo>
                  <a:lnTo>
                    <a:pt x="1713" y="3525"/>
                  </a:lnTo>
                  <a:lnTo>
                    <a:pt x="1797" y="3526"/>
                  </a:lnTo>
                  <a:lnTo>
                    <a:pt x="1881" y="3523"/>
                  </a:lnTo>
                  <a:lnTo>
                    <a:pt x="1965" y="3516"/>
                  </a:lnTo>
                  <a:lnTo>
                    <a:pt x="2047" y="3507"/>
                  </a:lnTo>
                  <a:lnTo>
                    <a:pt x="2130" y="3494"/>
                  </a:lnTo>
                  <a:lnTo>
                    <a:pt x="2211" y="3477"/>
                  </a:lnTo>
                  <a:lnTo>
                    <a:pt x="2292" y="3457"/>
                  </a:lnTo>
                  <a:lnTo>
                    <a:pt x="2371" y="3433"/>
                  </a:lnTo>
                  <a:lnTo>
                    <a:pt x="2448" y="3407"/>
                  </a:lnTo>
                  <a:lnTo>
                    <a:pt x="2523" y="3376"/>
                  </a:lnTo>
                  <a:lnTo>
                    <a:pt x="2597" y="3344"/>
                  </a:lnTo>
                  <a:lnTo>
                    <a:pt x="2668" y="3308"/>
                  </a:lnTo>
                  <a:lnTo>
                    <a:pt x="2737" y="3269"/>
                  </a:lnTo>
                  <a:lnTo>
                    <a:pt x="2803" y="3227"/>
                  </a:lnTo>
                  <a:lnTo>
                    <a:pt x="2867" y="3181"/>
                  </a:lnTo>
                  <a:lnTo>
                    <a:pt x="2927" y="3134"/>
                  </a:lnTo>
                  <a:lnTo>
                    <a:pt x="2984" y="3083"/>
                  </a:lnTo>
                  <a:lnTo>
                    <a:pt x="3038" y="3029"/>
                  </a:lnTo>
                  <a:lnTo>
                    <a:pt x="3088" y="2972"/>
                  </a:lnTo>
                  <a:lnTo>
                    <a:pt x="3192" y="2841"/>
                  </a:lnTo>
                  <a:lnTo>
                    <a:pt x="3282" y="2709"/>
                  </a:lnTo>
                  <a:lnTo>
                    <a:pt x="3358" y="2575"/>
                  </a:lnTo>
                  <a:lnTo>
                    <a:pt x="3422" y="2442"/>
                  </a:lnTo>
                  <a:lnTo>
                    <a:pt x="3474" y="2310"/>
                  </a:lnTo>
                  <a:lnTo>
                    <a:pt x="3514" y="2178"/>
                  </a:lnTo>
                  <a:lnTo>
                    <a:pt x="3542" y="2046"/>
                  </a:lnTo>
                  <a:lnTo>
                    <a:pt x="3561" y="1917"/>
                  </a:lnTo>
                  <a:lnTo>
                    <a:pt x="3568" y="1788"/>
                  </a:lnTo>
                  <a:lnTo>
                    <a:pt x="3566" y="1663"/>
                  </a:lnTo>
                  <a:lnTo>
                    <a:pt x="3554" y="1538"/>
                  </a:lnTo>
                  <a:lnTo>
                    <a:pt x="3533" y="1417"/>
                  </a:lnTo>
                  <a:lnTo>
                    <a:pt x="3505" y="1297"/>
                  </a:lnTo>
                  <a:lnTo>
                    <a:pt x="3468" y="1181"/>
                  </a:lnTo>
                  <a:lnTo>
                    <a:pt x="3424" y="1070"/>
                  </a:lnTo>
                  <a:lnTo>
                    <a:pt x="3372" y="960"/>
                  </a:lnTo>
                  <a:lnTo>
                    <a:pt x="3314" y="856"/>
                  </a:lnTo>
                  <a:lnTo>
                    <a:pt x="3250" y="757"/>
                  </a:lnTo>
                  <a:lnTo>
                    <a:pt x="3180" y="661"/>
                  </a:lnTo>
                  <a:lnTo>
                    <a:pt x="3105" y="571"/>
                  </a:lnTo>
                  <a:lnTo>
                    <a:pt x="3025" y="487"/>
                  </a:lnTo>
                  <a:lnTo>
                    <a:pt x="2941" y="408"/>
                  </a:lnTo>
                  <a:lnTo>
                    <a:pt x="2853" y="334"/>
                  </a:lnTo>
                  <a:lnTo>
                    <a:pt x="2762" y="268"/>
                  </a:lnTo>
                  <a:lnTo>
                    <a:pt x="2668" y="207"/>
                  </a:lnTo>
                  <a:lnTo>
                    <a:pt x="2572" y="154"/>
                  </a:lnTo>
                  <a:lnTo>
                    <a:pt x="2473" y="108"/>
                  </a:lnTo>
                  <a:lnTo>
                    <a:pt x="2373" y="70"/>
                  </a:lnTo>
                  <a:lnTo>
                    <a:pt x="2272" y="40"/>
                  </a:lnTo>
                  <a:lnTo>
                    <a:pt x="2171" y="18"/>
                  </a:lnTo>
                  <a:lnTo>
                    <a:pt x="2069" y="4"/>
                  </a:lnTo>
                  <a:lnTo>
                    <a:pt x="1968" y="0"/>
                  </a:lnTo>
                  <a:lnTo>
                    <a:pt x="1861" y="1"/>
                  </a:lnTo>
                  <a:lnTo>
                    <a:pt x="1755" y="3"/>
                  </a:lnTo>
                  <a:lnTo>
                    <a:pt x="1703" y="5"/>
                  </a:lnTo>
                  <a:lnTo>
                    <a:pt x="1652" y="9"/>
                  </a:lnTo>
                  <a:lnTo>
                    <a:pt x="1601" y="12"/>
                  </a:lnTo>
                  <a:lnTo>
                    <a:pt x="1551" y="16"/>
                  </a:lnTo>
                  <a:lnTo>
                    <a:pt x="1501" y="22"/>
                  </a:lnTo>
                  <a:lnTo>
                    <a:pt x="1452" y="27"/>
                  </a:lnTo>
                  <a:lnTo>
                    <a:pt x="1404" y="35"/>
                  </a:lnTo>
                  <a:lnTo>
                    <a:pt x="1355" y="43"/>
                  </a:lnTo>
                  <a:lnTo>
                    <a:pt x="1307" y="52"/>
                  </a:lnTo>
                  <a:lnTo>
                    <a:pt x="1260" y="63"/>
                  </a:lnTo>
                  <a:lnTo>
                    <a:pt x="1213" y="75"/>
                  </a:lnTo>
                  <a:lnTo>
                    <a:pt x="1167" y="88"/>
                  </a:lnTo>
                  <a:lnTo>
                    <a:pt x="1120" y="103"/>
                  </a:lnTo>
                  <a:lnTo>
                    <a:pt x="1075" y="119"/>
                  </a:lnTo>
                  <a:lnTo>
                    <a:pt x="1029" y="138"/>
                  </a:lnTo>
                  <a:lnTo>
                    <a:pt x="985" y="157"/>
                  </a:lnTo>
                  <a:lnTo>
                    <a:pt x="940" y="178"/>
                  </a:lnTo>
                  <a:lnTo>
                    <a:pt x="896" y="202"/>
                  </a:lnTo>
                  <a:lnTo>
                    <a:pt x="852" y="227"/>
                  </a:lnTo>
                  <a:lnTo>
                    <a:pt x="809" y="254"/>
                  </a:lnTo>
                  <a:lnTo>
                    <a:pt x="766" y="282"/>
                  </a:lnTo>
                  <a:lnTo>
                    <a:pt x="723" y="313"/>
                  </a:lnTo>
                  <a:lnTo>
                    <a:pt x="681" y="346"/>
                  </a:lnTo>
                  <a:lnTo>
                    <a:pt x="638" y="382"/>
                  </a:lnTo>
                  <a:lnTo>
                    <a:pt x="597" y="419"/>
                  </a:lnTo>
                  <a:lnTo>
                    <a:pt x="556" y="460"/>
                  </a:lnTo>
                  <a:lnTo>
                    <a:pt x="515" y="502"/>
                  </a:lnTo>
                  <a:lnTo>
                    <a:pt x="473" y="547"/>
                  </a:lnTo>
                  <a:lnTo>
                    <a:pt x="451" y="573"/>
                  </a:lnTo>
                  <a:lnTo>
                    <a:pt x="428" y="601"/>
                  </a:lnTo>
                  <a:lnTo>
                    <a:pt x="406" y="629"/>
                  </a:lnTo>
                  <a:lnTo>
                    <a:pt x="383" y="657"/>
                  </a:lnTo>
                  <a:lnTo>
                    <a:pt x="362" y="686"/>
                  </a:lnTo>
                  <a:lnTo>
                    <a:pt x="340" y="716"/>
                  </a:lnTo>
                  <a:lnTo>
                    <a:pt x="318" y="748"/>
                  </a:lnTo>
                  <a:lnTo>
                    <a:pt x="296" y="779"/>
                  </a:lnTo>
                  <a:lnTo>
                    <a:pt x="276" y="812"/>
                  </a:lnTo>
                  <a:lnTo>
                    <a:pt x="256" y="845"/>
                  </a:lnTo>
                  <a:lnTo>
                    <a:pt x="236" y="879"/>
                  </a:lnTo>
                  <a:lnTo>
                    <a:pt x="217" y="914"/>
                  </a:lnTo>
                  <a:lnTo>
                    <a:pt x="198" y="948"/>
                  </a:lnTo>
                  <a:lnTo>
                    <a:pt x="180" y="985"/>
                  </a:lnTo>
                  <a:lnTo>
                    <a:pt x="163" y="1022"/>
                  </a:lnTo>
                  <a:lnTo>
                    <a:pt x="146" y="1059"/>
                  </a:lnTo>
                  <a:lnTo>
                    <a:pt x="129" y="1097"/>
                  </a:lnTo>
                  <a:lnTo>
                    <a:pt x="114" y="1136"/>
                  </a:lnTo>
                  <a:lnTo>
                    <a:pt x="100" y="1175"/>
                  </a:lnTo>
                  <a:lnTo>
                    <a:pt x="86" y="1215"/>
                  </a:lnTo>
                  <a:lnTo>
                    <a:pt x="73" y="1255"/>
                  </a:lnTo>
                  <a:lnTo>
                    <a:pt x="61" y="1297"/>
                  </a:lnTo>
                  <a:lnTo>
                    <a:pt x="50" y="1339"/>
                  </a:lnTo>
                  <a:lnTo>
                    <a:pt x="40" y="1381"/>
                  </a:lnTo>
                  <a:lnTo>
                    <a:pt x="30" y="1424"/>
                  </a:lnTo>
                  <a:lnTo>
                    <a:pt x="23" y="1469"/>
                  </a:lnTo>
                  <a:lnTo>
                    <a:pt x="16" y="1512"/>
                  </a:lnTo>
                  <a:lnTo>
                    <a:pt x="11" y="1558"/>
                  </a:lnTo>
                  <a:lnTo>
                    <a:pt x="7" y="1603"/>
                  </a:lnTo>
                  <a:lnTo>
                    <a:pt x="3" y="1649"/>
                  </a:lnTo>
                  <a:lnTo>
                    <a:pt x="1" y="1695"/>
                  </a:lnTo>
                  <a:lnTo>
                    <a:pt x="0" y="17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118" name="Freeform 9">
              <a:extLst>
                <a:ext uri="{FF2B5EF4-FFF2-40B4-BE49-F238E27FC236}">
                  <a16:creationId xmlns:a16="http://schemas.microsoft.com/office/drawing/2014/main" id="{63FFBF65-CBCC-4A29-8A76-F8DA331B82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1275" y="7680325"/>
              <a:ext cx="628650" cy="622300"/>
            </a:xfrm>
            <a:custGeom>
              <a:avLst/>
              <a:gdLst>
                <a:gd name="T0" fmla="*/ 1663 w 3563"/>
                <a:gd name="T1" fmla="*/ 2927 h 3529"/>
                <a:gd name="T2" fmla="*/ 1521 w 3563"/>
                <a:gd name="T3" fmla="*/ 2904 h 3529"/>
                <a:gd name="T4" fmla="*/ 1388 w 3563"/>
                <a:gd name="T5" fmla="*/ 2864 h 3529"/>
                <a:gd name="T6" fmla="*/ 1267 w 3563"/>
                <a:gd name="T7" fmla="*/ 2811 h 3529"/>
                <a:gd name="T8" fmla="*/ 1157 w 3563"/>
                <a:gd name="T9" fmla="*/ 2748 h 3529"/>
                <a:gd name="T10" fmla="*/ 1062 w 3563"/>
                <a:gd name="T11" fmla="*/ 2675 h 3529"/>
                <a:gd name="T12" fmla="*/ 900 w 3563"/>
                <a:gd name="T13" fmla="*/ 2513 h 3529"/>
                <a:gd name="T14" fmla="*/ 795 w 3563"/>
                <a:gd name="T15" fmla="*/ 2384 h 3529"/>
                <a:gd name="T16" fmla="*/ 720 w 3563"/>
                <a:gd name="T17" fmla="*/ 2262 h 3529"/>
                <a:gd name="T18" fmla="*/ 672 w 3563"/>
                <a:gd name="T19" fmla="*/ 2135 h 3529"/>
                <a:gd name="T20" fmla="*/ 645 w 3563"/>
                <a:gd name="T21" fmla="*/ 1994 h 3529"/>
                <a:gd name="T22" fmla="*/ 632 w 3563"/>
                <a:gd name="T23" fmla="*/ 1789 h 3529"/>
                <a:gd name="T24" fmla="*/ 638 w 3563"/>
                <a:gd name="T25" fmla="*/ 1583 h 3529"/>
                <a:gd name="T26" fmla="*/ 667 w 3563"/>
                <a:gd name="T27" fmla="*/ 1439 h 3529"/>
                <a:gd name="T28" fmla="*/ 711 w 3563"/>
                <a:gd name="T29" fmla="*/ 1309 h 3529"/>
                <a:gd name="T30" fmla="*/ 772 w 3563"/>
                <a:gd name="T31" fmla="*/ 1191 h 3529"/>
                <a:gd name="T32" fmla="*/ 843 w 3563"/>
                <a:gd name="T33" fmla="*/ 1086 h 3529"/>
                <a:gd name="T34" fmla="*/ 1057 w 3563"/>
                <a:gd name="T35" fmla="*/ 864 h 3529"/>
                <a:gd name="T36" fmla="*/ 1513 w 3563"/>
                <a:gd name="T37" fmla="*/ 635 h 3529"/>
                <a:gd name="T38" fmla="*/ 1990 w 3563"/>
                <a:gd name="T39" fmla="*/ 631 h 3529"/>
                <a:gd name="T40" fmla="*/ 2425 w 3563"/>
                <a:gd name="T41" fmla="*/ 815 h 3529"/>
                <a:gd name="T42" fmla="*/ 2758 w 3563"/>
                <a:gd name="T43" fmla="*/ 1150 h 3529"/>
                <a:gd name="T44" fmla="*/ 2929 w 3563"/>
                <a:gd name="T45" fmla="*/ 1600 h 3529"/>
                <a:gd name="T46" fmla="*/ 2877 w 3563"/>
                <a:gd name="T47" fmla="*/ 2129 h 3529"/>
                <a:gd name="T48" fmla="*/ 2788 w 3563"/>
                <a:gd name="T49" fmla="*/ 2329 h 3529"/>
                <a:gd name="T50" fmla="*/ 2637 w 3563"/>
                <a:gd name="T51" fmla="*/ 2541 h 3529"/>
                <a:gd name="T52" fmla="*/ 2561 w 3563"/>
                <a:gd name="T53" fmla="*/ 2620 h 3529"/>
                <a:gd name="T54" fmla="*/ 2465 w 3563"/>
                <a:gd name="T55" fmla="*/ 2692 h 3529"/>
                <a:gd name="T56" fmla="*/ 2237 w 3563"/>
                <a:gd name="T57" fmla="*/ 2817 h 3529"/>
                <a:gd name="T58" fmla="*/ 2094 w 3563"/>
                <a:gd name="T59" fmla="*/ 2873 h 3529"/>
                <a:gd name="T60" fmla="*/ 1949 w 3563"/>
                <a:gd name="T61" fmla="*/ 2914 h 3529"/>
                <a:gd name="T62" fmla="*/ 1809 w 3563"/>
                <a:gd name="T63" fmla="*/ 2933 h 3529"/>
                <a:gd name="T64" fmla="*/ 12 w 3563"/>
                <a:gd name="T65" fmla="*/ 1979 h 3529"/>
                <a:gd name="T66" fmla="*/ 83 w 3563"/>
                <a:gd name="T67" fmla="*/ 2289 h 3529"/>
                <a:gd name="T68" fmla="*/ 207 w 3563"/>
                <a:gd name="T69" fmla="*/ 2575 h 3529"/>
                <a:gd name="T70" fmla="*/ 378 w 3563"/>
                <a:gd name="T71" fmla="*/ 2832 h 3529"/>
                <a:gd name="T72" fmla="*/ 586 w 3563"/>
                <a:gd name="T73" fmla="*/ 3055 h 3529"/>
                <a:gd name="T74" fmla="*/ 823 w 3563"/>
                <a:gd name="T75" fmla="*/ 3239 h 3529"/>
                <a:gd name="T76" fmla="*/ 1091 w 3563"/>
                <a:gd name="T77" fmla="*/ 3384 h 3529"/>
                <a:gd name="T78" fmla="*/ 1420 w 3563"/>
                <a:gd name="T79" fmla="*/ 3489 h 3529"/>
                <a:gd name="T80" fmla="*/ 1753 w 3563"/>
                <a:gd name="T81" fmla="*/ 3529 h 3529"/>
                <a:gd name="T82" fmla="*/ 2084 w 3563"/>
                <a:gd name="T83" fmla="*/ 3503 h 3529"/>
                <a:gd name="T84" fmla="*/ 2402 w 3563"/>
                <a:gd name="T85" fmla="*/ 3416 h 3529"/>
                <a:gd name="T86" fmla="*/ 2700 w 3563"/>
                <a:gd name="T87" fmla="*/ 3269 h 3529"/>
                <a:gd name="T88" fmla="*/ 2968 w 3563"/>
                <a:gd name="T89" fmla="*/ 3064 h 3529"/>
                <a:gd name="T90" fmla="*/ 3252 w 3563"/>
                <a:gd name="T91" fmla="*/ 2735 h 3529"/>
                <a:gd name="T92" fmla="*/ 3453 w 3563"/>
                <a:gd name="T93" fmla="*/ 2353 h 3529"/>
                <a:gd name="T94" fmla="*/ 3552 w 3563"/>
                <a:gd name="T95" fmla="*/ 1952 h 3529"/>
                <a:gd name="T96" fmla="*/ 3549 w 3563"/>
                <a:gd name="T97" fmla="*/ 1543 h 3529"/>
                <a:gd name="T98" fmla="*/ 3442 w 3563"/>
                <a:gd name="T99" fmla="*/ 1141 h 3529"/>
                <a:gd name="T100" fmla="*/ 3234 w 3563"/>
                <a:gd name="T101" fmla="*/ 760 h 3529"/>
                <a:gd name="T102" fmla="*/ 2813 w 3563"/>
                <a:gd name="T103" fmla="*/ 330 h 3529"/>
                <a:gd name="T104" fmla="*/ 2641 w 3563"/>
                <a:gd name="T105" fmla="*/ 215 h 3529"/>
                <a:gd name="T106" fmla="*/ 2242 w 3563"/>
                <a:gd name="T107" fmla="*/ 57 h 3529"/>
                <a:gd name="T108" fmla="*/ 1681 w 3563"/>
                <a:gd name="T109" fmla="*/ 3 h 3529"/>
                <a:gd name="T110" fmla="*/ 1146 w 3563"/>
                <a:gd name="T111" fmla="*/ 120 h 3529"/>
                <a:gd name="T112" fmla="*/ 672 w 3563"/>
                <a:gd name="T113" fmla="*/ 388 h 3529"/>
                <a:gd name="T114" fmla="*/ 299 w 3563"/>
                <a:gd name="T115" fmla="*/ 788 h 3529"/>
                <a:gd name="T116" fmla="*/ 63 w 3563"/>
                <a:gd name="T117" fmla="*/ 1303 h 3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563" h="3529">
                  <a:moveTo>
                    <a:pt x="1782" y="2933"/>
                  </a:moveTo>
                  <a:lnTo>
                    <a:pt x="1752" y="2933"/>
                  </a:lnTo>
                  <a:lnTo>
                    <a:pt x="1722" y="2932"/>
                  </a:lnTo>
                  <a:lnTo>
                    <a:pt x="1692" y="2930"/>
                  </a:lnTo>
                  <a:lnTo>
                    <a:pt x="1663" y="2927"/>
                  </a:lnTo>
                  <a:lnTo>
                    <a:pt x="1634" y="2923"/>
                  </a:lnTo>
                  <a:lnTo>
                    <a:pt x="1606" y="2920"/>
                  </a:lnTo>
                  <a:lnTo>
                    <a:pt x="1576" y="2914"/>
                  </a:lnTo>
                  <a:lnTo>
                    <a:pt x="1549" y="2909"/>
                  </a:lnTo>
                  <a:lnTo>
                    <a:pt x="1521" y="2904"/>
                  </a:lnTo>
                  <a:lnTo>
                    <a:pt x="1494" y="2896"/>
                  </a:lnTo>
                  <a:lnTo>
                    <a:pt x="1467" y="2890"/>
                  </a:lnTo>
                  <a:lnTo>
                    <a:pt x="1441" y="2881"/>
                  </a:lnTo>
                  <a:lnTo>
                    <a:pt x="1414" y="2873"/>
                  </a:lnTo>
                  <a:lnTo>
                    <a:pt x="1388" y="2864"/>
                  </a:lnTo>
                  <a:lnTo>
                    <a:pt x="1363" y="2855"/>
                  </a:lnTo>
                  <a:lnTo>
                    <a:pt x="1338" y="2844"/>
                  </a:lnTo>
                  <a:lnTo>
                    <a:pt x="1315" y="2833"/>
                  </a:lnTo>
                  <a:lnTo>
                    <a:pt x="1291" y="2822"/>
                  </a:lnTo>
                  <a:lnTo>
                    <a:pt x="1267" y="2811"/>
                  </a:lnTo>
                  <a:lnTo>
                    <a:pt x="1244" y="2800"/>
                  </a:lnTo>
                  <a:lnTo>
                    <a:pt x="1222" y="2787"/>
                  </a:lnTo>
                  <a:lnTo>
                    <a:pt x="1200" y="2774"/>
                  </a:lnTo>
                  <a:lnTo>
                    <a:pt x="1179" y="2761"/>
                  </a:lnTo>
                  <a:lnTo>
                    <a:pt x="1157" y="2748"/>
                  </a:lnTo>
                  <a:lnTo>
                    <a:pt x="1138" y="2733"/>
                  </a:lnTo>
                  <a:lnTo>
                    <a:pt x="1118" y="2719"/>
                  </a:lnTo>
                  <a:lnTo>
                    <a:pt x="1099" y="2705"/>
                  </a:lnTo>
                  <a:lnTo>
                    <a:pt x="1080" y="2690"/>
                  </a:lnTo>
                  <a:lnTo>
                    <a:pt x="1062" y="2675"/>
                  </a:lnTo>
                  <a:lnTo>
                    <a:pt x="1044" y="2660"/>
                  </a:lnTo>
                  <a:lnTo>
                    <a:pt x="1027" y="2643"/>
                  </a:lnTo>
                  <a:lnTo>
                    <a:pt x="1011" y="2628"/>
                  </a:lnTo>
                  <a:lnTo>
                    <a:pt x="952" y="2569"/>
                  </a:lnTo>
                  <a:lnTo>
                    <a:pt x="900" y="2513"/>
                  </a:lnTo>
                  <a:lnTo>
                    <a:pt x="876" y="2486"/>
                  </a:lnTo>
                  <a:lnTo>
                    <a:pt x="853" y="2460"/>
                  </a:lnTo>
                  <a:lnTo>
                    <a:pt x="833" y="2434"/>
                  </a:lnTo>
                  <a:lnTo>
                    <a:pt x="813" y="2409"/>
                  </a:lnTo>
                  <a:lnTo>
                    <a:pt x="795" y="2384"/>
                  </a:lnTo>
                  <a:lnTo>
                    <a:pt x="777" y="2359"/>
                  </a:lnTo>
                  <a:lnTo>
                    <a:pt x="761" y="2335"/>
                  </a:lnTo>
                  <a:lnTo>
                    <a:pt x="746" y="2311"/>
                  </a:lnTo>
                  <a:lnTo>
                    <a:pt x="733" y="2286"/>
                  </a:lnTo>
                  <a:lnTo>
                    <a:pt x="720" y="2262"/>
                  </a:lnTo>
                  <a:lnTo>
                    <a:pt x="708" y="2237"/>
                  </a:lnTo>
                  <a:lnTo>
                    <a:pt x="698" y="2212"/>
                  </a:lnTo>
                  <a:lnTo>
                    <a:pt x="688" y="2187"/>
                  </a:lnTo>
                  <a:lnTo>
                    <a:pt x="680" y="2161"/>
                  </a:lnTo>
                  <a:lnTo>
                    <a:pt x="672" y="2135"/>
                  </a:lnTo>
                  <a:lnTo>
                    <a:pt x="664" y="2108"/>
                  </a:lnTo>
                  <a:lnTo>
                    <a:pt x="659" y="2081"/>
                  </a:lnTo>
                  <a:lnTo>
                    <a:pt x="653" y="2053"/>
                  </a:lnTo>
                  <a:lnTo>
                    <a:pt x="648" y="2023"/>
                  </a:lnTo>
                  <a:lnTo>
                    <a:pt x="645" y="1994"/>
                  </a:lnTo>
                  <a:lnTo>
                    <a:pt x="640" y="1963"/>
                  </a:lnTo>
                  <a:lnTo>
                    <a:pt x="638" y="1930"/>
                  </a:lnTo>
                  <a:lnTo>
                    <a:pt x="636" y="1898"/>
                  </a:lnTo>
                  <a:lnTo>
                    <a:pt x="634" y="1863"/>
                  </a:lnTo>
                  <a:lnTo>
                    <a:pt x="632" y="1789"/>
                  </a:lnTo>
                  <a:lnTo>
                    <a:pt x="632" y="1709"/>
                  </a:lnTo>
                  <a:lnTo>
                    <a:pt x="632" y="1677"/>
                  </a:lnTo>
                  <a:lnTo>
                    <a:pt x="633" y="1645"/>
                  </a:lnTo>
                  <a:lnTo>
                    <a:pt x="635" y="1614"/>
                  </a:lnTo>
                  <a:lnTo>
                    <a:pt x="638" y="1583"/>
                  </a:lnTo>
                  <a:lnTo>
                    <a:pt x="643" y="1553"/>
                  </a:lnTo>
                  <a:lnTo>
                    <a:pt x="647" y="1524"/>
                  </a:lnTo>
                  <a:lnTo>
                    <a:pt x="652" y="1495"/>
                  </a:lnTo>
                  <a:lnTo>
                    <a:pt x="659" y="1466"/>
                  </a:lnTo>
                  <a:lnTo>
                    <a:pt x="667" y="1439"/>
                  </a:lnTo>
                  <a:lnTo>
                    <a:pt x="674" y="1412"/>
                  </a:lnTo>
                  <a:lnTo>
                    <a:pt x="683" y="1385"/>
                  </a:lnTo>
                  <a:lnTo>
                    <a:pt x="691" y="1359"/>
                  </a:lnTo>
                  <a:lnTo>
                    <a:pt x="701" y="1334"/>
                  </a:lnTo>
                  <a:lnTo>
                    <a:pt x="711" y="1309"/>
                  </a:lnTo>
                  <a:lnTo>
                    <a:pt x="723" y="1284"/>
                  </a:lnTo>
                  <a:lnTo>
                    <a:pt x="734" y="1260"/>
                  </a:lnTo>
                  <a:lnTo>
                    <a:pt x="746" y="1237"/>
                  </a:lnTo>
                  <a:lnTo>
                    <a:pt x="759" y="1214"/>
                  </a:lnTo>
                  <a:lnTo>
                    <a:pt x="772" y="1191"/>
                  </a:lnTo>
                  <a:lnTo>
                    <a:pt x="785" y="1169"/>
                  </a:lnTo>
                  <a:lnTo>
                    <a:pt x="799" y="1148"/>
                  </a:lnTo>
                  <a:lnTo>
                    <a:pt x="813" y="1127"/>
                  </a:lnTo>
                  <a:lnTo>
                    <a:pt x="828" y="1106"/>
                  </a:lnTo>
                  <a:lnTo>
                    <a:pt x="843" y="1086"/>
                  </a:lnTo>
                  <a:lnTo>
                    <a:pt x="874" y="1047"/>
                  </a:lnTo>
                  <a:lnTo>
                    <a:pt x="906" y="1009"/>
                  </a:lnTo>
                  <a:lnTo>
                    <a:pt x="940" y="973"/>
                  </a:lnTo>
                  <a:lnTo>
                    <a:pt x="974" y="938"/>
                  </a:lnTo>
                  <a:lnTo>
                    <a:pt x="1057" y="864"/>
                  </a:lnTo>
                  <a:lnTo>
                    <a:pt x="1144" y="798"/>
                  </a:lnTo>
                  <a:lnTo>
                    <a:pt x="1233" y="742"/>
                  </a:lnTo>
                  <a:lnTo>
                    <a:pt x="1325" y="698"/>
                  </a:lnTo>
                  <a:lnTo>
                    <a:pt x="1419" y="662"/>
                  </a:lnTo>
                  <a:lnTo>
                    <a:pt x="1513" y="635"/>
                  </a:lnTo>
                  <a:lnTo>
                    <a:pt x="1609" y="618"/>
                  </a:lnTo>
                  <a:lnTo>
                    <a:pt x="1705" y="609"/>
                  </a:lnTo>
                  <a:lnTo>
                    <a:pt x="1801" y="608"/>
                  </a:lnTo>
                  <a:lnTo>
                    <a:pt x="1895" y="615"/>
                  </a:lnTo>
                  <a:lnTo>
                    <a:pt x="1990" y="631"/>
                  </a:lnTo>
                  <a:lnTo>
                    <a:pt x="2082" y="654"/>
                  </a:lnTo>
                  <a:lnTo>
                    <a:pt x="2172" y="684"/>
                  </a:lnTo>
                  <a:lnTo>
                    <a:pt x="2259" y="721"/>
                  </a:lnTo>
                  <a:lnTo>
                    <a:pt x="2344" y="765"/>
                  </a:lnTo>
                  <a:lnTo>
                    <a:pt x="2425" y="815"/>
                  </a:lnTo>
                  <a:lnTo>
                    <a:pt x="2501" y="871"/>
                  </a:lnTo>
                  <a:lnTo>
                    <a:pt x="2574" y="933"/>
                  </a:lnTo>
                  <a:lnTo>
                    <a:pt x="2641" y="1000"/>
                  </a:lnTo>
                  <a:lnTo>
                    <a:pt x="2703" y="1073"/>
                  </a:lnTo>
                  <a:lnTo>
                    <a:pt x="2758" y="1150"/>
                  </a:lnTo>
                  <a:lnTo>
                    <a:pt x="2807" y="1232"/>
                  </a:lnTo>
                  <a:lnTo>
                    <a:pt x="2850" y="1318"/>
                  </a:lnTo>
                  <a:lnTo>
                    <a:pt x="2884" y="1409"/>
                  </a:lnTo>
                  <a:lnTo>
                    <a:pt x="2910" y="1502"/>
                  </a:lnTo>
                  <a:lnTo>
                    <a:pt x="2929" y="1600"/>
                  </a:lnTo>
                  <a:lnTo>
                    <a:pt x="2939" y="1700"/>
                  </a:lnTo>
                  <a:lnTo>
                    <a:pt x="2939" y="1805"/>
                  </a:lnTo>
                  <a:lnTo>
                    <a:pt x="2929" y="1911"/>
                  </a:lnTo>
                  <a:lnTo>
                    <a:pt x="2908" y="2019"/>
                  </a:lnTo>
                  <a:lnTo>
                    <a:pt x="2877" y="2129"/>
                  </a:lnTo>
                  <a:lnTo>
                    <a:pt x="2834" y="2241"/>
                  </a:lnTo>
                  <a:lnTo>
                    <a:pt x="2826" y="2261"/>
                  </a:lnTo>
                  <a:lnTo>
                    <a:pt x="2815" y="2283"/>
                  </a:lnTo>
                  <a:lnTo>
                    <a:pt x="2802" y="2305"/>
                  </a:lnTo>
                  <a:lnTo>
                    <a:pt x="2788" y="2329"/>
                  </a:lnTo>
                  <a:lnTo>
                    <a:pt x="2757" y="2378"/>
                  </a:lnTo>
                  <a:lnTo>
                    <a:pt x="2724" y="2428"/>
                  </a:lnTo>
                  <a:lnTo>
                    <a:pt x="2688" y="2475"/>
                  </a:lnTo>
                  <a:lnTo>
                    <a:pt x="2653" y="2521"/>
                  </a:lnTo>
                  <a:lnTo>
                    <a:pt x="2637" y="2541"/>
                  </a:lnTo>
                  <a:lnTo>
                    <a:pt x="2620" y="2560"/>
                  </a:lnTo>
                  <a:lnTo>
                    <a:pt x="2605" y="2576"/>
                  </a:lnTo>
                  <a:lnTo>
                    <a:pt x="2591" y="2591"/>
                  </a:lnTo>
                  <a:lnTo>
                    <a:pt x="2577" y="2606"/>
                  </a:lnTo>
                  <a:lnTo>
                    <a:pt x="2561" y="2620"/>
                  </a:lnTo>
                  <a:lnTo>
                    <a:pt x="2544" y="2634"/>
                  </a:lnTo>
                  <a:lnTo>
                    <a:pt x="2526" y="2648"/>
                  </a:lnTo>
                  <a:lnTo>
                    <a:pt x="2506" y="2663"/>
                  </a:lnTo>
                  <a:lnTo>
                    <a:pt x="2487" y="2677"/>
                  </a:lnTo>
                  <a:lnTo>
                    <a:pt x="2465" y="2692"/>
                  </a:lnTo>
                  <a:lnTo>
                    <a:pt x="2442" y="2706"/>
                  </a:lnTo>
                  <a:lnTo>
                    <a:pt x="2396" y="2736"/>
                  </a:lnTo>
                  <a:lnTo>
                    <a:pt x="2345" y="2764"/>
                  </a:lnTo>
                  <a:lnTo>
                    <a:pt x="2293" y="2791"/>
                  </a:lnTo>
                  <a:lnTo>
                    <a:pt x="2237" y="2817"/>
                  </a:lnTo>
                  <a:lnTo>
                    <a:pt x="2209" y="2830"/>
                  </a:lnTo>
                  <a:lnTo>
                    <a:pt x="2181" y="2841"/>
                  </a:lnTo>
                  <a:lnTo>
                    <a:pt x="2152" y="2853"/>
                  </a:lnTo>
                  <a:lnTo>
                    <a:pt x="2123" y="2864"/>
                  </a:lnTo>
                  <a:lnTo>
                    <a:pt x="2094" y="2873"/>
                  </a:lnTo>
                  <a:lnTo>
                    <a:pt x="2065" y="2883"/>
                  </a:lnTo>
                  <a:lnTo>
                    <a:pt x="2035" y="2892"/>
                  </a:lnTo>
                  <a:lnTo>
                    <a:pt x="2006" y="2900"/>
                  </a:lnTo>
                  <a:lnTo>
                    <a:pt x="1978" y="2908"/>
                  </a:lnTo>
                  <a:lnTo>
                    <a:pt x="1949" y="2914"/>
                  </a:lnTo>
                  <a:lnTo>
                    <a:pt x="1920" y="2920"/>
                  </a:lnTo>
                  <a:lnTo>
                    <a:pt x="1892" y="2924"/>
                  </a:lnTo>
                  <a:lnTo>
                    <a:pt x="1864" y="2929"/>
                  </a:lnTo>
                  <a:lnTo>
                    <a:pt x="1836" y="2931"/>
                  </a:lnTo>
                  <a:lnTo>
                    <a:pt x="1809" y="2933"/>
                  </a:lnTo>
                  <a:lnTo>
                    <a:pt x="1782" y="2933"/>
                  </a:lnTo>
                  <a:close/>
                  <a:moveTo>
                    <a:pt x="0" y="1784"/>
                  </a:moveTo>
                  <a:lnTo>
                    <a:pt x="1" y="1849"/>
                  </a:lnTo>
                  <a:lnTo>
                    <a:pt x="5" y="1914"/>
                  </a:lnTo>
                  <a:lnTo>
                    <a:pt x="12" y="1979"/>
                  </a:lnTo>
                  <a:lnTo>
                    <a:pt x="22" y="2043"/>
                  </a:lnTo>
                  <a:lnTo>
                    <a:pt x="33" y="2106"/>
                  </a:lnTo>
                  <a:lnTo>
                    <a:pt x="47" y="2168"/>
                  </a:lnTo>
                  <a:lnTo>
                    <a:pt x="63" y="2228"/>
                  </a:lnTo>
                  <a:lnTo>
                    <a:pt x="83" y="2289"/>
                  </a:lnTo>
                  <a:lnTo>
                    <a:pt x="103" y="2348"/>
                  </a:lnTo>
                  <a:lnTo>
                    <a:pt x="126" y="2406"/>
                  </a:lnTo>
                  <a:lnTo>
                    <a:pt x="151" y="2464"/>
                  </a:lnTo>
                  <a:lnTo>
                    <a:pt x="178" y="2520"/>
                  </a:lnTo>
                  <a:lnTo>
                    <a:pt x="207" y="2575"/>
                  </a:lnTo>
                  <a:lnTo>
                    <a:pt x="238" y="2628"/>
                  </a:lnTo>
                  <a:lnTo>
                    <a:pt x="270" y="2681"/>
                  </a:lnTo>
                  <a:lnTo>
                    <a:pt x="305" y="2733"/>
                  </a:lnTo>
                  <a:lnTo>
                    <a:pt x="341" y="2783"/>
                  </a:lnTo>
                  <a:lnTo>
                    <a:pt x="378" y="2832"/>
                  </a:lnTo>
                  <a:lnTo>
                    <a:pt x="417" y="2880"/>
                  </a:lnTo>
                  <a:lnTo>
                    <a:pt x="457" y="2925"/>
                  </a:lnTo>
                  <a:lnTo>
                    <a:pt x="499" y="2970"/>
                  </a:lnTo>
                  <a:lnTo>
                    <a:pt x="542" y="3013"/>
                  </a:lnTo>
                  <a:lnTo>
                    <a:pt x="586" y="3055"/>
                  </a:lnTo>
                  <a:lnTo>
                    <a:pt x="632" y="3095"/>
                  </a:lnTo>
                  <a:lnTo>
                    <a:pt x="677" y="3133"/>
                  </a:lnTo>
                  <a:lnTo>
                    <a:pt x="725" y="3170"/>
                  </a:lnTo>
                  <a:lnTo>
                    <a:pt x="774" y="3205"/>
                  </a:lnTo>
                  <a:lnTo>
                    <a:pt x="823" y="3239"/>
                  </a:lnTo>
                  <a:lnTo>
                    <a:pt x="873" y="3270"/>
                  </a:lnTo>
                  <a:lnTo>
                    <a:pt x="924" y="3300"/>
                  </a:lnTo>
                  <a:lnTo>
                    <a:pt x="975" y="3329"/>
                  </a:lnTo>
                  <a:lnTo>
                    <a:pt x="1027" y="3355"/>
                  </a:lnTo>
                  <a:lnTo>
                    <a:pt x="1091" y="3384"/>
                  </a:lnTo>
                  <a:lnTo>
                    <a:pt x="1156" y="3410"/>
                  </a:lnTo>
                  <a:lnTo>
                    <a:pt x="1221" y="3434"/>
                  </a:lnTo>
                  <a:lnTo>
                    <a:pt x="1287" y="3455"/>
                  </a:lnTo>
                  <a:lnTo>
                    <a:pt x="1354" y="3474"/>
                  </a:lnTo>
                  <a:lnTo>
                    <a:pt x="1420" y="3489"/>
                  </a:lnTo>
                  <a:lnTo>
                    <a:pt x="1486" y="3502"/>
                  </a:lnTo>
                  <a:lnTo>
                    <a:pt x="1553" y="3513"/>
                  </a:lnTo>
                  <a:lnTo>
                    <a:pt x="1620" y="3520"/>
                  </a:lnTo>
                  <a:lnTo>
                    <a:pt x="1687" y="3526"/>
                  </a:lnTo>
                  <a:lnTo>
                    <a:pt x="1753" y="3529"/>
                  </a:lnTo>
                  <a:lnTo>
                    <a:pt x="1820" y="3529"/>
                  </a:lnTo>
                  <a:lnTo>
                    <a:pt x="1887" y="3526"/>
                  </a:lnTo>
                  <a:lnTo>
                    <a:pt x="1953" y="3521"/>
                  </a:lnTo>
                  <a:lnTo>
                    <a:pt x="2019" y="3514"/>
                  </a:lnTo>
                  <a:lnTo>
                    <a:pt x="2084" y="3503"/>
                  </a:lnTo>
                  <a:lnTo>
                    <a:pt x="2149" y="3491"/>
                  </a:lnTo>
                  <a:lnTo>
                    <a:pt x="2213" y="3476"/>
                  </a:lnTo>
                  <a:lnTo>
                    <a:pt x="2277" y="3459"/>
                  </a:lnTo>
                  <a:lnTo>
                    <a:pt x="2340" y="3439"/>
                  </a:lnTo>
                  <a:lnTo>
                    <a:pt x="2402" y="3416"/>
                  </a:lnTo>
                  <a:lnTo>
                    <a:pt x="2464" y="3391"/>
                  </a:lnTo>
                  <a:lnTo>
                    <a:pt x="2524" y="3364"/>
                  </a:lnTo>
                  <a:lnTo>
                    <a:pt x="2584" y="3335"/>
                  </a:lnTo>
                  <a:lnTo>
                    <a:pt x="2642" y="3304"/>
                  </a:lnTo>
                  <a:lnTo>
                    <a:pt x="2700" y="3269"/>
                  </a:lnTo>
                  <a:lnTo>
                    <a:pt x="2756" y="3233"/>
                  </a:lnTo>
                  <a:lnTo>
                    <a:pt x="2812" y="3194"/>
                  </a:lnTo>
                  <a:lnTo>
                    <a:pt x="2865" y="3153"/>
                  </a:lnTo>
                  <a:lnTo>
                    <a:pt x="2917" y="3110"/>
                  </a:lnTo>
                  <a:lnTo>
                    <a:pt x="2968" y="3064"/>
                  </a:lnTo>
                  <a:lnTo>
                    <a:pt x="3017" y="3016"/>
                  </a:lnTo>
                  <a:lnTo>
                    <a:pt x="3082" y="2948"/>
                  </a:lnTo>
                  <a:lnTo>
                    <a:pt x="3143" y="2879"/>
                  </a:lnTo>
                  <a:lnTo>
                    <a:pt x="3199" y="2807"/>
                  </a:lnTo>
                  <a:lnTo>
                    <a:pt x="3252" y="2735"/>
                  </a:lnTo>
                  <a:lnTo>
                    <a:pt x="3300" y="2661"/>
                  </a:lnTo>
                  <a:lnTo>
                    <a:pt x="3345" y="2585"/>
                  </a:lnTo>
                  <a:lnTo>
                    <a:pt x="3385" y="2509"/>
                  </a:lnTo>
                  <a:lnTo>
                    <a:pt x="3422" y="2431"/>
                  </a:lnTo>
                  <a:lnTo>
                    <a:pt x="3453" y="2353"/>
                  </a:lnTo>
                  <a:lnTo>
                    <a:pt x="3481" y="2274"/>
                  </a:lnTo>
                  <a:lnTo>
                    <a:pt x="3505" y="2194"/>
                  </a:lnTo>
                  <a:lnTo>
                    <a:pt x="3525" y="2113"/>
                  </a:lnTo>
                  <a:lnTo>
                    <a:pt x="3540" y="2033"/>
                  </a:lnTo>
                  <a:lnTo>
                    <a:pt x="3552" y="1952"/>
                  </a:lnTo>
                  <a:lnTo>
                    <a:pt x="3559" y="1870"/>
                  </a:lnTo>
                  <a:lnTo>
                    <a:pt x="3563" y="1788"/>
                  </a:lnTo>
                  <a:lnTo>
                    <a:pt x="3562" y="1707"/>
                  </a:lnTo>
                  <a:lnTo>
                    <a:pt x="3557" y="1625"/>
                  </a:lnTo>
                  <a:lnTo>
                    <a:pt x="3549" y="1543"/>
                  </a:lnTo>
                  <a:lnTo>
                    <a:pt x="3536" y="1462"/>
                  </a:lnTo>
                  <a:lnTo>
                    <a:pt x="3518" y="1381"/>
                  </a:lnTo>
                  <a:lnTo>
                    <a:pt x="3497" y="1300"/>
                  </a:lnTo>
                  <a:lnTo>
                    <a:pt x="3472" y="1220"/>
                  </a:lnTo>
                  <a:lnTo>
                    <a:pt x="3442" y="1141"/>
                  </a:lnTo>
                  <a:lnTo>
                    <a:pt x="3409" y="1063"/>
                  </a:lnTo>
                  <a:lnTo>
                    <a:pt x="3371" y="986"/>
                  </a:lnTo>
                  <a:lnTo>
                    <a:pt x="3329" y="909"/>
                  </a:lnTo>
                  <a:lnTo>
                    <a:pt x="3284" y="833"/>
                  </a:lnTo>
                  <a:lnTo>
                    <a:pt x="3234" y="760"/>
                  </a:lnTo>
                  <a:lnTo>
                    <a:pt x="3180" y="687"/>
                  </a:lnTo>
                  <a:lnTo>
                    <a:pt x="3121" y="615"/>
                  </a:lnTo>
                  <a:lnTo>
                    <a:pt x="3059" y="546"/>
                  </a:lnTo>
                  <a:lnTo>
                    <a:pt x="2844" y="353"/>
                  </a:lnTo>
                  <a:lnTo>
                    <a:pt x="2813" y="330"/>
                  </a:lnTo>
                  <a:lnTo>
                    <a:pt x="2780" y="307"/>
                  </a:lnTo>
                  <a:lnTo>
                    <a:pt x="2746" y="283"/>
                  </a:lnTo>
                  <a:lnTo>
                    <a:pt x="2712" y="259"/>
                  </a:lnTo>
                  <a:lnTo>
                    <a:pt x="2676" y="236"/>
                  </a:lnTo>
                  <a:lnTo>
                    <a:pt x="2641" y="215"/>
                  </a:lnTo>
                  <a:lnTo>
                    <a:pt x="2606" y="196"/>
                  </a:lnTo>
                  <a:lnTo>
                    <a:pt x="2573" y="179"/>
                  </a:lnTo>
                  <a:lnTo>
                    <a:pt x="2463" y="130"/>
                  </a:lnTo>
                  <a:lnTo>
                    <a:pt x="2352" y="90"/>
                  </a:lnTo>
                  <a:lnTo>
                    <a:pt x="2242" y="57"/>
                  </a:lnTo>
                  <a:lnTo>
                    <a:pt x="2130" y="32"/>
                  </a:lnTo>
                  <a:lnTo>
                    <a:pt x="2017" y="14"/>
                  </a:lnTo>
                  <a:lnTo>
                    <a:pt x="1905" y="3"/>
                  </a:lnTo>
                  <a:lnTo>
                    <a:pt x="1793" y="0"/>
                  </a:lnTo>
                  <a:lnTo>
                    <a:pt x="1681" y="3"/>
                  </a:lnTo>
                  <a:lnTo>
                    <a:pt x="1572" y="14"/>
                  </a:lnTo>
                  <a:lnTo>
                    <a:pt x="1462" y="30"/>
                  </a:lnTo>
                  <a:lnTo>
                    <a:pt x="1355" y="54"/>
                  </a:lnTo>
                  <a:lnTo>
                    <a:pt x="1249" y="84"/>
                  </a:lnTo>
                  <a:lnTo>
                    <a:pt x="1146" y="120"/>
                  </a:lnTo>
                  <a:lnTo>
                    <a:pt x="1045" y="161"/>
                  </a:lnTo>
                  <a:lnTo>
                    <a:pt x="947" y="210"/>
                  </a:lnTo>
                  <a:lnTo>
                    <a:pt x="852" y="263"/>
                  </a:lnTo>
                  <a:lnTo>
                    <a:pt x="760" y="323"/>
                  </a:lnTo>
                  <a:lnTo>
                    <a:pt x="672" y="388"/>
                  </a:lnTo>
                  <a:lnTo>
                    <a:pt x="588" y="457"/>
                  </a:lnTo>
                  <a:lnTo>
                    <a:pt x="508" y="533"/>
                  </a:lnTo>
                  <a:lnTo>
                    <a:pt x="433" y="613"/>
                  </a:lnTo>
                  <a:lnTo>
                    <a:pt x="364" y="698"/>
                  </a:lnTo>
                  <a:lnTo>
                    <a:pt x="299" y="788"/>
                  </a:lnTo>
                  <a:lnTo>
                    <a:pt x="239" y="882"/>
                  </a:lnTo>
                  <a:lnTo>
                    <a:pt x="186" y="981"/>
                  </a:lnTo>
                  <a:lnTo>
                    <a:pt x="138" y="1084"/>
                  </a:lnTo>
                  <a:lnTo>
                    <a:pt x="98" y="1191"/>
                  </a:lnTo>
                  <a:lnTo>
                    <a:pt x="63" y="1303"/>
                  </a:lnTo>
                  <a:lnTo>
                    <a:pt x="36" y="1418"/>
                  </a:lnTo>
                  <a:lnTo>
                    <a:pt x="16" y="1536"/>
                  </a:lnTo>
                  <a:lnTo>
                    <a:pt x="4" y="1658"/>
                  </a:lnTo>
                  <a:lnTo>
                    <a:pt x="0" y="17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119" name="Freeform 10">
              <a:extLst>
                <a:ext uri="{FF2B5EF4-FFF2-40B4-BE49-F238E27FC236}">
                  <a16:creationId xmlns:a16="http://schemas.microsoft.com/office/drawing/2014/main" id="{79C70F62-353F-4DF2-8F49-CC2052B7D4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1275" y="6464300"/>
              <a:ext cx="622300" cy="620712"/>
            </a:xfrm>
            <a:custGeom>
              <a:avLst/>
              <a:gdLst>
                <a:gd name="T0" fmla="*/ 1613 w 3532"/>
                <a:gd name="T1" fmla="*/ 2916 h 3522"/>
                <a:gd name="T2" fmla="*/ 1398 w 3532"/>
                <a:gd name="T3" fmla="*/ 2857 h 3522"/>
                <a:gd name="T4" fmla="*/ 1198 w 3532"/>
                <a:gd name="T5" fmla="*/ 2759 h 3522"/>
                <a:gd name="T6" fmla="*/ 1019 w 3532"/>
                <a:gd name="T7" fmla="*/ 2630 h 3522"/>
                <a:gd name="T8" fmla="*/ 868 w 3532"/>
                <a:gd name="T9" fmla="*/ 2476 h 3522"/>
                <a:gd name="T10" fmla="*/ 750 w 3532"/>
                <a:gd name="T11" fmla="*/ 2303 h 3522"/>
                <a:gd name="T12" fmla="*/ 670 w 3532"/>
                <a:gd name="T13" fmla="*/ 2122 h 3522"/>
                <a:gd name="T14" fmla="*/ 633 w 3532"/>
                <a:gd name="T15" fmla="*/ 1937 h 3522"/>
                <a:gd name="T16" fmla="*/ 634 w 3532"/>
                <a:gd name="T17" fmla="*/ 1666 h 3522"/>
                <a:gd name="T18" fmla="*/ 648 w 3532"/>
                <a:gd name="T19" fmla="*/ 1506 h 3522"/>
                <a:gd name="T20" fmla="*/ 673 w 3532"/>
                <a:gd name="T21" fmla="*/ 1389 h 3522"/>
                <a:gd name="T22" fmla="*/ 714 w 3532"/>
                <a:gd name="T23" fmla="*/ 1277 h 3522"/>
                <a:gd name="T24" fmla="*/ 775 w 3532"/>
                <a:gd name="T25" fmla="*/ 1166 h 3522"/>
                <a:gd name="T26" fmla="*/ 862 w 3532"/>
                <a:gd name="T27" fmla="*/ 1053 h 3522"/>
                <a:gd name="T28" fmla="*/ 977 w 3532"/>
                <a:gd name="T29" fmla="*/ 931 h 3522"/>
                <a:gd name="T30" fmla="*/ 1221 w 3532"/>
                <a:gd name="T31" fmla="*/ 745 h 3522"/>
                <a:gd name="T32" fmla="*/ 1530 w 3532"/>
                <a:gd name="T33" fmla="*/ 629 h 3522"/>
                <a:gd name="T34" fmla="*/ 1850 w 3532"/>
                <a:gd name="T35" fmla="*/ 609 h 3522"/>
                <a:gd name="T36" fmla="*/ 2162 w 3532"/>
                <a:gd name="T37" fmla="*/ 677 h 3522"/>
                <a:gd name="T38" fmla="*/ 2447 w 3532"/>
                <a:gd name="T39" fmla="*/ 827 h 3522"/>
                <a:gd name="T40" fmla="*/ 2683 w 3532"/>
                <a:gd name="T41" fmla="*/ 1050 h 3522"/>
                <a:gd name="T42" fmla="*/ 2851 w 3532"/>
                <a:gd name="T43" fmla="*/ 1339 h 3522"/>
                <a:gd name="T44" fmla="*/ 2930 w 3532"/>
                <a:gd name="T45" fmla="*/ 1686 h 3522"/>
                <a:gd name="T46" fmla="*/ 2920 w 3532"/>
                <a:gd name="T47" fmla="*/ 1952 h 3522"/>
                <a:gd name="T48" fmla="*/ 2863 w 3532"/>
                <a:gd name="T49" fmla="*/ 2170 h 3522"/>
                <a:gd name="T50" fmla="*/ 2764 w 3532"/>
                <a:gd name="T51" fmla="*/ 2371 h 3522"/>
                <a:gd name="T52" fmla="*/ 2630 w 3532"/>
                <a:gd name="T53" fmla="*/ 2548 h 3522"/>
                <a:gd name="T54" fmla="*/ 2465 w 3532"/>
                <a:gd name="T55" fmla="*/ 2698 h 3522"/>
                <a:gd name="T56" fmla="*/ 2275 w 3532"/>
                <a:gd name="T57" fmla="*/ 2814 h 3522"/>
                <a:gd name="T58" fmla="*/ 2066 w 3532"/>
                <a:gd name="T59" fmla="*/ 2893 h 3522"/>
                <a:gd name="T60" fmla="*/ 1840 w 3532"/>
                <a:gd name="T61" fmla="*/ 2928 h 3522"/>
                <a:gd name="T62" fmla="*/ 4 w 3532"/>
                <a:gd name="T63" fmla="*/ 1859 h 3522"/>
                <a:gd name="T64" fmla="*/ 16 w 3532"/>
                <a:gd name="T65" fmla="*/ 2003 h 3522"/>
                <a:gd name="T66" fmla="*/ 39 w 3532"/>
                <a:gd name="T67" fmla="*/ 2140 h 3522"/>
                <a:gd name="T68" fmla="*/ 71 w 3532"/>
                <a:gd name="T69" fmla="*/ 2271 h 3522"/>
                <a:gd name="T70" fmla="*/ 113 w 3532"/>
                <a:gd name="T71" fmla="*/ 2397 h 3522"/>
                <a:gd name="T72" fmla="*/ 167 w 3532"/>
                <a:gd name="T73" fmla="*/ 2520 h 3522"/>
                <a:gd name="T74" fmla="*/ 233 w 3532"/>
                <a:gd name="T75" fmla="*/ 2643 h 3522"/>
                <a:gd name="T76" fmla="*/ 314 w 3532"/>
                <a:gd name="T77" fmla="*/ 2765 h 3522"/>
                <a:gd name="T78" fmla="*/ 695 w 3532"/>
                <a:gd name="T79" fmla="*/ 3181 h 3522"/>
                <a:gd name="T80" fmla="*/ 980 w 3532"/>
                <a:gd name="T81" fmla="*/ 3355 h 3522"/>
                <a:gd name="T82" fmla="*/ 1298 w 3532"/>
                <a:gd name="T83" fmla="*/ 3468 h 3522"/>
                <a:gd name="T84" fmla="*/ 1637 w 3532"/>
                <a:gd name="T85" fmla="*/ 3518 h 3522"/>
                <a:gd name="T86" fmla="*/ 1983 w 3532"/>
                <a:gd name="T87" fmla="*/ 3508 h 3522"/>
                <a:gd name="T88" fmla="*/ 2323 w 3532"/>
                <a:gd name="T89" fmla="*/ 3434 h 3522"/>
                <a:gd name="T90" fmla="*/ 2644 w 3532"/>
                <a:gd name="T91" fmla="*/ 3296 h 3522"/>
                <a:gd name="T92" fmla="*/ 2934 w 3532"/>
                <a:gd name="T93" fmla="*/ 3094 h 3522"/>
                <a:gd name="T94" fmla="*/ 3272 w 3532"/>
                <a:gd name="T95" fmla="*/ 2696 h 3522"/>
                <a:gd name="T96" fmla="*/ 3481 w 3532"/>
                <a:gd name="T97" fmla="*/ 2207 h 3522"/>
                <a:gd name="T98" fmla="*/ 3531 w 3532"/>
                <a:gd name="T99" fmla="*/ 1701 h 3522"/>
                <a:gd name="T100" fmla="*/ 3438 w 3532"/>
                <a:gd name="T101" fmla="*/ 1209 h 3522"/>
                <a:gd name="T102" fmla="*/ 3220 w 3532"/>
                <a:gd name="T103" fmla="*/ 762 h 3522"/>
                <a:gd name="T104" fmla="*/ 2894 w 3532"/>
                <a:gd name="T105" fmla="*/ 391 h 3522"/>
                <a:gd name="T106" fmla="*/ 2477 w 3532"/>
                <a:gd name="T107" fmla="*/ 129 h 3522"/>
                <a:gd name="T108" fmla="*/ 1989 w 3532"/>
                <a:gd name="T109" fmla="*/ 5 h 3522"/>
                <a:gd name="T110" fmla="*/ 1560 w 3532"/>
                <a:gd name="T111" fmla="*/ 20 h 3522"/>
                <a:gd name="T112" fmla="*/ 1193 w 3532"/>
                <a:gd name="T113" fmla="*/ 104 h 3522"/>
                <a:gd name="T114" fmla="*/ 866 w 3532"/>
                <a:gd name="T115" fmla="*/ 247 h 3522"/>
                <a:gd name="T116" fmla="*/ 583 w 3532"/>
                <a:gd name="T117" fmla="*/ 443 h 3522"/>
                <a:gd name="T118" fmla="*/ 351 w 3532"/>
                <a:gd name="T119" fmla="*/ 686 h 3522"/>
                <a:gd name="T120" fmla="*/ 173 w 3532"/>
                <a:gd name="T121" fmla="*/ 967 h 3522"/>
                <a:gd name="T122" fmla="*/ 54 w 3532"/>
                <a:gd name="T123" fmla="*/ 1280 h 3522"/>
                <a:gd name="T124" fmla="*/ 2 w 3532"/>
                <a:gd name="T125" fmla="*/ 1618 h 3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32" h="3522">
                  <a:moveTo>
                    <a:pt x="1782" y="2930"/>
                  </a:moveTo>
                  <a:lnTo>
                    <a:pt x="1726" y="2928"/>
                  </a:lnTo>
                  <a:lnTo>
                    <a:pt x="1670" y="2923"/>
                  </a:lnTo>
                  <a:lnTo>
                    <a:pt x="1613" y="2916"/>
                  </a:lnTo>
                  <a:lnTo>
                    <a:pt x="1559" y="2905"/>
                  </a:lnTo>
                  <a:lnTo>
                    <a:pt x="1505" y="2892"/>
                  </a:lnTo>
                  <a:lnTo>
                    <a:pt x="1450" y="2876"/>
                  </a:lnTo>
                  <a:lnTo>
                    <a:pt x="1398" y="2857"/>
                  </a:lnTo>
                  <a:lnTo>
                    <a:pt x="1346" y="2836"/>
                  </a:lnTo>
                  <a:lnTo>
                    <a:pt x="1295" y="2813"/>
                  </a:lnTo>
                  <a:lnTo>
                    <a:pt x="1246" y="2787"/>
                  </a:lnTo>
                  <a:lnTo>
                    <a:pt x="1198" y="2759"/>
                  </a:lnTo>
                  <a:lnTo>
                    <a:pt x="1151" y="2729"/>
                  </a:lnTo>
                  <a:lnTo>
                    <a:pt x="1106" y="2698"/>
                  </a:lnTo>
                  <a:lnTo>
                    <a:pt x="1062" y="2664"/>
                  </a:lnTo>
                  <a:lnTo>
                    <a:pt x="1019" y="2630"/>
                  </a:lnTo>
                  <a:lnTo>
                    <a:pt x="979" y="2593"/>
                  </a:lnTo>
                  <a:lnTo>
                    <a:pt x="940" y="2555"/>
                  </a:lnTo>
                  <a:lnTo>
                    <a:pt x="903" y="2516"/>
                  </a:lnTo>
                  <a:lnTo>
                    <a:pt x="868" y="2476"/>
                  </a:lnTo>
                  <a:lnTo>
                    <a:pt x="835" y="2433"/>
                  </a:lnTo>
                  <a:lnTo>
                    <a:pt x="804" y="2391"/>
                  </a:lnTo>
                  <a:lnTo>
                    <a:pt x="776" y="2348"/>
                  </a:lnTo>
                  <a:lnTo>
                    <a:pt x="750" y="2303"/>
                  </a:lnTo>
                  <a:lnTo>
                    <a:pt x="725" y="2259"/>
                  </a:lnTo>
                  <a:lnTo>
                    <a:pt x="705" y="2213"/>
                  </a:lnTo>
                  <a:lnTo>
                    <a:pt x="685" y="2168"/>
                  </a:lnTo>
                  <a:lnTo>
                    <a:pt x="670" y="2122"/>
                  </a:lnTo>
                  <a:lnTo>
                    <a:pt x="656" y="2076"/>
                  </a:lnTo>
                  <a:lnTo>
                    <a:pt x="645" y="2029"/>
                  </a:lnTo>
                  <a:lnTo>
                    <a:pt x="637" y="1984"/>
                  </a:lnTo>
                  <a:lnTo>
                    <a:pt x="633" y="1937"/>
                  </a:lnTo>
                  <a:lnTo>
                    <a:pt x="632" y="1891"/>
                  </a:lnTo>
                  <a:lnTo>
                    <a:pt x="632" y="1811"/>
                  </a:lnTo>
                  <a:lnTo>
                    <a:pt x="632" y="1736"/>
                  </a:lnTo>
                  <a:lnTo>
                    <a:pt x="634" y="1666"/>
                  </a:lnTo>
                  <a:lnTo>
                    <a:pt x="638" y="1600"/>
                  </a:lnTo>
                  <a:lnTo>
                    <a:pt x="640" y="1567"/>
                  </a:lnTo>
                  <a:lnTo>
                    <a:pt x="645" y="1536"/>
                  </a:lnTo>
                  <a:lnTo>
                    <a:pt x="648" y="1506"/>
                  </a:lnTo>
                  <a:lnTo>
                    <a:pt x="653" y="1475"/>
                  </a:lnTo>
                  <a:lnTo>
                    <a:pt x="659" y="1446"/>
                  </a:lnTo>
                  <a:lnTo>
                    <a:pt x="665" y="1417"/>
                  </a:lnTo>
                  <a:lnTo>
                    <a:pt x="673" y="1389"/>
                  </a:lnTo>
                  <a:lnTo>
                    <a:pt x="682" y="1360"/>
                  </a:lnTo>
                  <a:lnTo>
                    <a:pt x="691" y="1332"/>
                  </a:lnTo>
                  <a:lnTo>
                    <a:pt x="702" y="1304"/>
                  </a:lnTo>
                  <a:lnTo>
                    <a:pt x="714" y="1277"/>
                  </a:lnTo>
                  <a:lnTo>
                    <a:pt x="727" y="1249"/>
                  </a:lnTo>
                  <a:lnTo>
                    <a:pt x="741" y="1222"/>
                  </a:lnTo>
                  <a:lnTo>
                    <a:pt x="758" y="1193"/>
                  </a:lnTo>
                  <a:lnTo>
                    <a:pt x="775" y="1166"/>
                  </a:lnTo>
                  <a:lnTo>
                    <a:pt x="795" y="1138"/>
                  </a:lnTo>
                  <a:lnTo>
                    <a:pt x="815" y="1110"/>
                  </a:lnTo>
                  <a:lnTo>
                    <a:pt x="838" y="1082"/>
                  </a:lnTo>
                  <a:lnTo>
                    <a:pt x="862" y="1053"/>
                  </a:lnTo>
                  <a:lnTo>
                    <a:pt x="888" y="1023"/>
                  </a:lnTo>
                  <a:lnTo>
                    <a:pt x="916" y="993"/>
                  </a:lnTo>
                  <a:lnTo>
                    <a:pt x="946" y="963"/>
                  </a:lnTo>
                  <a:lnTo>
                    <a:pt x="977" y="931"/>
                  </a:lnTo>
                  <a:lnTo>
                    <a:pt x="1011" y="899"/>
                  </a:lnTo>
                  <a:lnTo>
                    <a:pt x="1079" y="841"/>
                  </a:lnTo>
                  <a:lnTo>
                    <a:pt x="1148" y="789"/>
                  </a:lnTo>
                  <a:lnTo>
                    <a:pt x="1221" y="745"/>
                  </a:lnTo>
                  <a:lnTo>
                    <a:pt x="1296" y="706"/>
                  </a:lnTo>
                  <a:lnTo>
                    <a:pt x="1373" y="674"/>
                  </a:lnTo>
                  <a:lnTo>
                    <a:pt x="1450" y="648"/>
                  </a:lnTo>
                  <a:lnTo>
                    <a:pt x="1530" y="629"/>
                  </a:lnTo>
                  <a:lnTo>
                    <a:pt x="1609" y="616"/>
                  </a:lnTo>
                  <a:lnTo>
                    <a:pt x="1689" y="607"/>
                  </a:lnTo>
                  <a:lnTo>
                    <a:pt x="1769" y="606"/>
                  </a:lnTo>
                  <a:lnTo>
                    <a:pt x="1850" y="609"/>
                  </a:lnTo>
                  <a:lnTo>
                    <a:pt x="1929" y="619"/>
                  </a:lnTo>
                  <a:lnTo>
                    <a:pt x="2008" y="633"/>
                  </a:lnTo>
                  <a:lnTo>
                    <a:pt x="2086" y="653"/>
                  </a:lnTo>
                  <a:lnTo>
                    <a:pt x="2162" y="677"/>
                  </a:lnTo>
                  <a:lnTo>
                    <a:pt x="2237" y="708"/>
                  </a:lnTo>
                  <a:lnTo>
                    <a:pt x="2309" y="744"/>
                  </a:lnTo>
                  <a:lnTo>
                    <a:pt x="2379" y="783"/>
                  </a:lnTo>
                  <a:lnTo>
                    <a:pt x="2447" y="827"/>
                  </a:lnTo>
                  <a:lnTo>
                    <a:pt x="2511" y="877"/>
                  </a:lnTo>
                  <a:lnTo>
                    <a:pt x="2573" y="930"/>
                  </a:lnTo>
                  <a:lnTo>
                    <a:pt x="2629" y="989"/>
                  </a:lnTo>
                  <a:lnTo>
                    <a:pt x="2683" y="1050"/>
                  </a:lnTo>
                  <a:lnTo>
                    <a:pt x="2732" y="1116"/>
                  </a:lnTo>
                  <a:lnTo>
                    <a:pt x="2777" y="1187"/>
                  </a:lnTo>
                  <a:lnTo>
                    <a:pt x="2817" y="1261"/>
                  </a:lnTo>
                  <a:lnTo>
                    <a:pt x="2851" y="1339"/>
                  </a:lnTo>
                  <a:lnTo>
                    <a:pt x="2880" y="1420"/>
                  </a:lnTo>
                  <a:lnTo>
                    <a:pt x="2903" y="1506"/>
                  </a:lnTo>
                  <a:lnTo>
                    <a:pt x="2920" y="1593"/>
                  </a:lnTo>
                  <a:lnTo>
                    <a:pt x="2930" y="1686"/>
                  </a:lnTo>
                  <a:lnTo>
                    <a:pt x="2933" y="1780"/>
                  </a:lnTo>
                  <a:lnTo>
                    <a:pt x="2932" y="1838"/>
                  </a:lnTo>
                  <a:lnTo>
                    <a:pt x="2928" y="1896"/>
                  </a:lnTo>
                  <a:lnTo>
                    <a:pt x="2920" y="1952"/>
                  </a:lnTo>
                  <a:lnTo>
                    <a:pt x="2909" y="2009"/>
                  </a:lnTo>
                  <a:lnTo>
                    <a:pt x="2896" y="2063"/>
                  </a:lnTo>
                  <a:lnTo>
                    <a:pt x="2881" y="2117"/>
                  </a:lnTo>
                  <a:lnTo>
                    <a:pt x="2863" y="2170"/>
                  </a:lnTo>
                  <a:lnTo>
                    <a:pt x="2841" y="2222"/>
                  </a:lnTo>
                  <a:lnTo>
                    <a:pt x="2818" y="2273"/>
                  </a:lnTo>
                  <a:lnTo>
                    <a:pt x="2792" y="2322"/>
                  </a:lnTo>
                  <a:lnTo>
                    <a:pt x="2764" y="2371"/>
                  </a:lnTo>
                  <a:lnTo>
                    <a:pt x="2733" y="2417"/>
                  </a:lnTo>
                  <a:lnTo>
                    <a:pt x="2701" y="2463"/>
                  </a:lnTo>
                  <a:lnTo>
                    <a:pt x="2666" y="2506"/>
                  </a:lnTo>
                  <a:lnTo>
                    <a:pt x="2630" y="2548"/>
                  </a:lnTo>
                  <a:lnTo>
                    <a:pt x="2591" y="2588"/>
                  </a:lnTo>
                  <a:lnTo>
                    <a:pt x="2551" y="2626"/>
                  </a:lnTo>
                  <a:lnTo>
                    <a:pt x="2509" y="2663"/>
                  </a:lnTo>
                  <a:lnTo>
                    <a:pt x="2465" y="2698"/>
                  </a:lnTo>
                  <a:lnTo>
                    <a:pt x="2421" y="2729"/>
                  </a:lnTo>
                  <a:lnTo>
                    <a:pt x="2374" y="2760"/>
                  </a:lnTo>
                  <a:lnTo>
                    <a:pt x="2325" y="2788"/>
                  </a:lnTo>
                  <a:lnTo>
                    <a:pt x="2275" y="2814"/>
                  </a:lnTo>
                  <a:lnTo>
                    <a:pt x="2225" y="2838"/>
                  </a:lnTo>
                  <a:lnTo>
                    <a:pt x="2173" y="2858"/>
                  </a:lnTo>
                  <a:lnTo>
                    <a:pt x="2120" y="2877"/>
                  </a:lnTo>
                  <a:lnTo>
                    <a:pt x="2066" y="2893"/>
                  </a:lnTo>
                  <a:lnTo>
                    <a:pt x="2010" y="2906"/>
                  </a:lnTo>
                  <a:lnTo>
                    <a:pt x="1955" y="2916"/>
                  </a:lnTo>
                  <a:lnTo>
                    <a:pt x="1898" y="2923"/>
                  </a:lnTo>
                  <a:lnTo>
                    <a:pt x="1840" y="2928"/>
                  </a:lnTo>
                  <a:lnTo>
                    <a:pt x="1782" y="2930"/>
                  </a:lnTo>
                  <a:close/>
                  <a:moveTo>
                    <a:pt x="0" y="1706"/>
                  </a:moveTo>
                  <a:lnTo>
                    <a:pt x="1" y="1784"/>
                  </a:lnTo>
                  <a:lnTo>
                    <a:pt x="4" y="1859"/>
                  </a:lnTo>
                  <a:lnTo>
                    <a:pt x="7" y="1896"/>
                  </a:lnTo>
                  <a:lnTo>
                    <a:pt x="10" y="1933"/>
                  </a:lnTo>
                  <a:lnTo>
                    <a:pt x="13" y="1968"/>
                  </a:lnTo>
                  <a:lnTo>
                    <a:pt x="16" y="2003"/>
                  </a:lnTo>
                  <a:lnTo>
                    <a:pt x="22" y="2038"/>
                  </a:lnTo>
                  <a:lnTo>
                    <a:pt x="26" y="2072"/>
                  </a:lnTo>
                  <a:lnTo>
                    <a:pt x="33" y="2106"/>
                  </a:lnTo>
                  <a:lnTo>
                    <a:pt x="39" y="2140"/>
                  </a:lnTo>
                  <a:lnTo>
                    <a:pt x="46" y="2173"/>
                  </a:lnTo>
                  <a:lnTo>
                    <a:pt x="53" y="2206"/>
                  </a:lnTo>
                  <a:lnTo>
                    <a:pt x="62" y="2238"/>
                  </a:lnTo>
                  <a:lnTo>
                    <a:pt x="71" y="2271"/>
                  </a:lnTo>
                  <a:lnTo>
                    <a:pt x="80" y="2302"/>
                  </a:lnTo>
                  <a:lnTo>
                    <a:pt x="90" y="2334"/>
                  </a:lnTo>
                  <a:lnTo>
                    <a:pt x="102" y="2365"/>
                  </a:lnTo>
                  <a:lnTo>
                    <a:pt x="113" y="2397"/>
                  </a:lnTo>
                  <a:lnTo>
                    <a:pt x="126" y="2428"/>
                  </a:lnTo>
                  <a:lnTo>
                    <a:pt x="139" y="2458"/>
                  </a:lnTo>
                  <a:lnTo>
                    <a:pt x="153" y="2490"/>
                  </a:lnTo>
                  <a:lnTo>
                    <a:pt x="167" y="2520"/>
                  </a:lnTo>
                  <a:lnTo>
                    <a:pt x="182" y="2551"/>
                  </a:lnTo>
                  <a:lnTo>
                    <a:pt x="199" y="2581"/>
                  </a:lnTo>
                  <a:lnTo>
                    <a:pt x="216" y="2612"/>
                  </a:lnTo>
                  <a:lnTo>
                    <a:pt x="233" y="2643"/>
                  </a:lnTo>
                  <a:lnTo>
                    <a:pt x="253" y="2673"/>
                  </a:lnTo>
                  <a:lnTo>
                    <a:pt x="271" y="2703"/>
                  </a:lnTo>
                  <a:lnTo>
                    <a:pt x="292" y="2735"/>
                  </a:lnTo>
                  <a:lnTo>
                    <a:pt x="314" y="2765"/>
                  </a:lnTo>
                  <a:lnTo>
                    <a:pt x="510" y="3013"/>
                  </a:lnTo>
                  <a:lnTo>
                    <a:pt x="569" y="3073"/>
                  </a:lnTo>
                  <a:lnTo>
                    <a:pt x="630" y="3129"/>
                  </a:lnTo>
                  <a:lnTo>
                    <a:pt x="695" y="3181"/>
                  </a:lnTo>
                  <a:lnTo>
                    <a:pt x="762" y="3230"/>
                  </a:lnTo>
                  <a:lnTo>
                    <a:pt x="833" y="3276"/>
                  </a:lnTo>
                  <a:lnTo>
                    <a:pt x="905" y="3317"/>
                  </a:lnTo>
                  <a:lnTo>
                    <a:pt x="980" y="3355"/>
                  </a:lnTo>
                  <a:lnTo>
                    <a:pt x="1057" y="3388"/>
                  </a:lnTo>
                  <a:lnTo>
                    <a:pt x="1135" y="3419"/>
                  </a:lnTo>
                  <a:lnTo>
                    <a:pt x="1217" y="3445"/>
                  </a:lnTo>
                  <a:lnTo>
                    <a:pt x="1298" y="3468"/>
                  </a:lnTo>
                  <a:lnTo>
                    <a:pt x="1382" y="3486"/>
                  </a:lnTo>
                  <a:lnTo>
                    <a:pt x="1467" y="3501"/>
                  </a:lnTo>
                  <a:lnTo>
                    <a:pt x="1551" y="3512"/>
                  </a:lnTo>
                  <a:lnTo>
                    <a:pt x="1637" y="3518"/>
                  </a:lnTo>
                  <a:lnTo>
                    <a:pt x="1724" y="3522"/>
                  </a:lnTo>
                  <a:lnTo>
                    <a:pt x="1811" y="3521"/>
                  </a:lnTo>
                  <a:lnTo>
                    <a:pt x="1896" y="3516"/>
                  </a:lnTo>
                  <a:lnTo>
                    <a:pt x="1983" y="3508"/>
                  </a:lnTo>
                  <a:lnTo>
                    <a:pt x="2069" y="3496"/>
                  </a:lnTo>
                  <a:lnTo>
                    <a:pt x="2155" y="3479"/>
                  </a:lnTo>
                  <a:lnTo>
                    <a:pt x="2239" y="3459"/>
                  </a:lnTo>
                  <a:lnTo>
                    <a:pt x="2323" y="3434"/>
                  </a:lnTo>
                  <a:lnTo>
                    <a:pt x="2407" y="3406"/>
                  </a:lnTo>
                  <a:lnTo>
                    <a:pt x="2487" y="3373"/>
                  </a:lnTo>
                  <a:lnTo>
                    <a:pt x="2567" y="3336"/>
                  </a:lnTo>
                  <a:lnTo>
                    <a:pt x="2644" y="3296"/>
                  </a:lnTo>
                  <a:lnTo>
                    <a:pt x="2720" y="3252"/>
                  </a:lnTo>
                  <a:lnTo>
                    <a:pt x="2794" y="3203"/>
                  </a:lnTo>
                  <a:lnTo>
                    <a:pt x="2865" y="3150"/>
                  </a:lnTo>
                  <a:lnTo>
                    <a:pt x="2934" y="3094"/>
                  </a:lnTo>
                  <a:lnTo>
                    <a:pt x="2999" y="3033"/>
                  </a:lnTo>
                  <a:lnTo>
                    <a:pt x="3101" y="2924"/>
                  </a:lnTo>
                  <a:lnTo>
                    <a:pt x="3193" y="2812"/>
                  </a:lnTo>
                  <a:lnTo>
                    <a:pt x="3272" y="2696"/>
                  </a:lnTo>
                  <a:lnTo>
                    <a:pt x="3340" y="2577"/>
                  </a:lnTo>
                  <a:lnTo>
                    <a:pt x="3398" y="2455"/>
                  </a:lnTo>
                  <a:lnTo>
                    <a:pt x="3444" y="2332"/>
                  </a:lnTo>
                  <a:lnTo>
                    <a:pt x="3481" y="2207"/>
                  </a:lnTo>
                  <a:lnTo>
                    <a:pt x="3508" y="2080"/>
                  </a:lnTo>
                  <a:lnTo>
                    <a:pt x="3525" y="1954"/>
                  </a:lnTo>
                  <a:lnTo>
                    <a:pt x="3532" y="1828"/>
                  </a:lnTo>
                  <a:lnTo>
                    <a:pt x="3531" y="1701"/>
                  </a:lnTo>
                  <a:lnTo>
                    <a:pt x="3520" y="1575"/>
                  </a:lnTo>
                  <a:lnTo>
                    <a:pt x="3501" y="1450"/>
                  </a:lnTo>
                  <a:lnTo>
                    <a:pt x="3474" y="1329"/>
                  </a:lnTo>
                  <a:lnTo>
                    <a:pt x="3438" y="1209"/>
                  </a:lnTo>
                  <a:lnTo>
                    <a:pt x="3394" y="1092"/>
                  </a:lnTo>
                  <a:lnTo>
                    <a:pt x="3343" y="978"/>
                  </a:lnTo>
                  <a:lnTo>
                    <a:pt x="3285" y="867"/>
                  </a:lnTo>
                  <a:lnTo>
                    <a:pt x="3220" y="762"/>
                  </a:lnTo>
                  <a:lnTo>
                    <a:pt x="3148" y="661"/>
                  </a:lnTo>
                  <a:lnTo>
                    <a:pt x="3069" y="565"/>
                  </a:lnTo>
                  <a:lnTo>
                    <a:pt x="2984" y="475"/>
                  </a:lnTo>
                  <a:lnTo>
                    <a:pt x="2894" y="391"/>
                  </a:lnTo>
                  <a:lnTo>
                    <a:pt x="2797" y="314"/>
                  </a:lnTo>
                  <a:lnTo>
                    <a:pt x="2695" y="245"/>
                  </a:lnTo>
                  <a:lnTo>
                    <a:pt x="2589" y="183"/>
                  </a:lnTo>
                  <a:lnTo>
                    <a:pt x="2477" y="129"/>
                  </a:lnTo>
                  <a:lnTo>
                    <a:pt x="2361" y="85"/>
                  </a:lnTo>
                  <a:lnTo>
                    <a:pt x="2241" y="48"/>
                  </a:lnTo>
                  <a:lnTo>
                    <a:pt x="2117" y="22"/>
                  </a:lnTo>
                  <a:lnTo>
                    <a:pt x="1989" y="5"/>
                  </a:lnTo>
                  <a:lnTo>
                    <a:pt x="1856" y="0"/>
                  </a:lnTo>
                  <a:lnTo>
                    <a:pt x="1755" y="2"/>
                  </a:lnTo>
                  <a:lnTo>
                    <a:pt x="1657" y="9"/>
                  </a:lnTo>
                  <a:lnTo>
                    <a:pt x="1560" y="20"/>
                  </a:lnTo>
                  <a:lnTo>
                    <a:pt x="1464" y="35"/>
                  </a:lnTo>
                  <a:lnTo>
                    <a:pt x="1372" y="54"/>
                  </a:lnTo>
                  <a:lnTo>
                    <a:pt x="1281" y="77"/>
                  </a:lnTo>
                  <a:lnTo>
                    <a:pt x="1193" y="104"/>
                  </a:lnTo>
                  <a:lnTo>
                    <a:pt x="1107" y="134"/>
                  </a:lnTo>
                  <a:lnTo>
                    <a:pt x="1025" y="169"/>
                  </a:lnTo>
                  <a:lnTo>
                    <a:pt x="944" y="206"/>
                  </a:lnTo>
                  <a:lnTo>
                    <a:pt x="866" y="247"/>
                  </a:lnTo>
                  <a:lnTo>
                    <a:pt x="791" y="292"/>
                  </a:lnTo>
                  <a:lnTo>
                    <a:pt x="719" y="339"/>
                  </a:lnTo>
                  <a:lnTo>
                    <a:pt x="649" y="390"/>
                  </a:lnTo>
                  <a:lnTo>
                    <a:pt x="583" y="443"/>
                  </a:lnTo>
                  <a:lnTo>
                    <a:pt x="520" y="501"/>
                  </a:lnTo>
                  <a:lnTo>
                    <a:pt x="460" y="559"/>
                  </a:lnTo>
                  <a:lnTo>
                    <a:pt x="404" y="621"/>
                  </a:lnTo>
                  <a:lnTo>
                    <a:pt x="351" y="686"/>
                  </a:lnTo>
                  <a:lnTo>
                    <a:pt x="301" y="752"/>
                  </a:lnTo>
                  <a:lnTo>
                    <a:pt x="254" y="822"/>
                  </a:lnTo>
                  <a:lnTo>
                    <a:pt x="212" y="893"/>
                  </a:lnTo>
                  <a:lnTo>
                    <a:pt x="173" y="967"/>
                  </a:lnTo>
                  <a:lnTo>
                    <a:pt x="137" y="1043"/>
                  </a:lnTo>
                  <a:lnTo>
                    <a:pt x="105" y="1120"/>
                  </a:lnTo>
                  <a:lnTo>
                    <a:pt x="78" y="1199"/>
                  </a:lnTo>
                  <a:lnTo>
                    <a:pt x="54" y="1280"/>
                  </a:lnTo>
                  <a:lnTo>
                    <a:pt x="35" y="1363"/>
                  </a:lnTo>
                  <a:lnTo>
                    <a:pt x="20" y="1446"/>
                  </a:lnTo>
                  <a:lnTo>
                    <a:pt x="9" y="1532"/>
                  </a:lnTo>
                  <a:lnTo>
                    <a:pt x="2" y="1618"/>
                  </a:lnTo>
                  <a:lnTo>
                    <a:pt x="0" y="17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120" name="Freeform 11">
              <a:extLst>
                <a:ext uri="{FF2B5EF4-FFF2-40B4-BE49-F238E27FC236}">
                  <a16:creationId xmlns:a16="http://schemas.microsoft.com/office/drawing/2014/main" id="{35AF4B6E-12E3-4E2F-831A-C338F2621C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67413" y="6464300"/>
              <a:ext cx="623888" cy="622300"/>
            </a:xfrm>
            <a:custGeom>
              <a:avLst/>
              <a:gdLst>
                <a:gd name="T0" fmla="*/ 606 w 3539"/>
                <a:gd name="T1" fmla="*/ 1637 h 3531"/>
                <a:gd name="T2" fmla="*/ 656 w 3539"/>
                <a:gd name="T3" fmla="*/ 1413 h 3531"/>
                <a:gd name="T4" fmla="*/ 741 w 3539"/>
                <a:gd name="T5" fmla="*/ 1212 h 3531"/>
                <a:gd name="T6" fmla="*/ 860 w 3539"/>
                <a:gd name="T7" fmla="*/ 1036 h 3531"/>
                <a:gd name="T8" fmla="*/ 1009 w 3539"/>
                <a:gd name="T9" fmla="*/ 887 h 3531"/>
                <a:gd name="T10" fmla="*/ 1182 w 3539"/>
                <a:gd name="T11" fmla="*/ 767 h 3531"/>
                <a:gd name="T12" fmla="*/ 1378 w 3539"/>
                <a:gd name="T13" fmla="*/ 677 h 3531"/>
                <a:gd name="T14" fmla="*/ 1593 w 3539"/>
                <a:gd name="T15" fmla="*/ 620 h 3531"/>
                <a:gd name="T16" fmla="*/ 1810 w 3539"/>
                <a:gd name="T17" fmla="*/ 602 h 3531"/>
                <a:gd name="T18" fmla="*/ 2027 w 3539"/>
                <a:gd name="T19" fmla="*/ 638 h 3531"/>
                <a:gd name="T20" fmla="*/ 2240 w 3539"/>
                <a:gd name="T21" fmla="*/ 720 h 3531"/>
                <a:gd name="T22" fmla="*/ 2437 w 3539"/>
                <a:gd name="T23" fmla="*/ 842 h 3531"/>
                <a:gd name="T24" fmla="*/ 2611 w 3539"/>
                <a:gd name="T25" fmla="*/ 996 h 3531"/>
                <a:gd name="T26" fmla="*/ 2752 w 3539"/>
                <a:gd name="T27" fmla="*/ 1176 h 3531"/>
                <a:gd name="T28" fmla="*/ 2849 w 3539"/>
                <a:gd name="T29" fmla="*/ 1373 h 3531"/>
                <a:gd name="T30" fmla="*/ 2894 w 3539"/>
                <a:gd name="T31" fmla="*/ 1582 h 3531"/>
                <a:gd name="T32" fmla="*/ 2893 w 3539"/>
                <a:gd name="T33" fmla="*/ 1848 h 3531"/>
                <a:gd name="T34" fmla="*/ 2879 w 3539"/>
                <a:gd name="T35" fmla="*/ 2005 h 3531"/>
                <a:gd name="T36" fmla="*/ 2855 w 3539"/>
                <a:gd name="T37" fmla="*/ 2121 h 3531"/>
                <a:gd name="T38" fmla="*/ 2816 w 3539"/>
                <a:gd name="T39" fmla="*/ 2234 h 3531"/>
                <a:gd name="T40" fmla="*/ 2757 w 3539"/>
                <a:gd name="T41" fmla="*/ 2345 h 3531"/>
                <a:gd name="T42" fmla="*/ 2676 w 3539"/>
                <a:gd name="T43" fmla="*/ 2459 h 3531"/>
                <a:gd name="T44" fmla="*/ 2566 w 3539"/>
                <a:gd name="T45" fmla="*/ 2578 h 3531"/>
                <a:gd name="T46" fmla="*/ 2306 w 3539"/>
                <a:gd name="T47" fmla="*/ 2784 h 3531"/>
                <a:gd name="T48" fmla="*/ 1982 w 3539"/>
                <a:gd name="T49" fmla="*/ 2911 h 3531"/>
                <a:gd name="T50" fmla="*/ 1656 w 3539"/>
                <a:gd name="T51" fmla="*/ 2930 h 3531"/>
                <a:gd name="T52" fmla="*/ 1344 w 3539"/>
                <a:gd name="T53" fmla="*/ 2854 h 3531"/>
                <a:gd name="T54" fmla="*/ 1064 w 3539"/>
                <a:gd name="T55" fmla="*/ 2699 h 3531"/>
                <a:gd name="T56" fmla="*/ 834 w 3539"/>
                <a:gd name="T57" fmla="*/ 2479 h 3531"/>
                <a:gd name="T58" fmla="*/ 672 w 3539"/>
                <a:gd name="T59" fmla="*/ 2208 h 3531"/>
                <a:gd name="T60" fmla="*/ 597 w 3539"/>
                <a:gd name="T61" fmla="*/ 1902 h 3531"/>
                <a:gd name="T62" fmla="*/ 1 w 3539"/>
                <a:gd name="T63" fmla="*/ 1705 h 3531"/>
                <a:gd name="T64" fmla="*/ 12 w 3539"/>
                <a:gd name="T65" fmla="*/ 1910 h 3531"/>
                <a:gd name="T66" fmla="*/ 36 w 3539"/>
                <a:gd name="T67" fmla="*/ 2106 h 3531"/>
                <a:gd name="T68" fmla="*/ 77 w 3539"/>
                <a:gd name="T69" fmla="*/ 2294 h 3531"/>
                <a:gd name="T70" fmla="*/ 136 w 3539"/>
                <a:gd name="T71" fmla="*/ 2473 h 3531"/>
                <a:gd name="T72" fmla="*/ 216 w 3539"/>
                <a:gd name="T73" fmla="*/ 2644 h 3531"/>
                <a:gd name="T74" fmla="*/ 320 w 3539"/>
                <a:gd name="T75" fmla="*/ 2807 h 3531"/>
                <a:gd name="T76" fmla="*/ 452 w 3539"/>
                <a:gd name="T77" fmla="*/ 2962 h 3531"/>
                <a:gd name="T78" fmla="*/ 809 w 3539"/>
                <a:gd name="T79" fmla="*/ 3253 h 3531"/>
                <a:gd name="T80" fmla="*/ 1397 w 3539"/>
                <a:gd name="T81" fmla="*/ 3496 h 3531"/>
                <a:gd name="T82" fmla="*/ 1990 w 3539"/>
                <a:gd name="T83" fmla="*/ 3514 h 3531"/>
                <a:gd name="T84" fmla="*/ 2541 w 3539"/>
                <a:gd name="T85" fmla="*/ 3338 h 3531"/>
                <a:gd name="T86" fmla="*/ 3009 w 3539"/>
                <a:gd name="T87" fmla="*/ 3002 h 3531"/>
                <a:gd name="T88" fmla="*/ 3352 w 3539"/>
                <a:gd name="T89" fmla="*/ 2539 h 3531"/>
                <a:gd name="T90" fmla="*/ 3527 w 3539"/>
                <a:gd name="T91" fmla="*/ 1982 h 3531"/>
                <a:gd name="T92" fmla="*/ 3490 w 3539"/>
                <a:gd name="T93" fmla="*/ 1364 h 3531"/>
                <a:gd name="T94" fmla="*/ 3275 w 3539"/>
                <a:gd name="T95" fmla="*/ 843 h 3531"/>
                <a:gd name="T96" fmla="*/ 3006 w 3539"/>
                <a:gd name="T97" fmla="*/ 506 h 3531"/>
                <a:gd name="T98" fmla="*/ 2673 w 3539"/>
                <a:gd name="T99" fmla="*/ 251 h 3531"/>
                <a:gd name="T100" fmla="*/ 2294 w 3539"/>
                <a:gd name="T101" fmla="*/ 82 h 3531"/>
                <a:gd name="T102" fmla="*/ 1888 w 3539"/>
                <a:gd name="T103" fmla="*/ 4 h 3531"/>
                <a:gd name="T104" fmla="*/ 1474 w 3539"/>
                <a:gd name="T105" fmla="*/ 20 h 3531"/>
                <a:gd name="T106" fmla="*/ 1071 w 3539"/>
                <a:gd name="T107" fmla="*/ 134 h 3531"/>
                <a:gd name="T108" fmla="*/ 698 w 3539"/>
                <a:gd name="T109" fmla="*/ 349 h 3531"/>
                <a:gd name="T110" fmla="*/ 483 w 3539"/>
                <a:gd name="T111" fmla="*/ 541 h 3531"/>
                <a:gd name="T112" fmla="*/ 391 w 3539"/>
                <a:gd name="T113" fmla="*/ 645 h 3531"/>
                <a:gd name="T114" fmla="*/ 301 w 3539"/>
                <a:gd name="T115" fmla="*/ 763 h 3531"/>
                <a:gd name="T116" fmla="*/ 215 w 3539"/>
                <a:gd name="T117" fmla="*/ 895 h 3531"/>
                <a:gd name="T118" fmla="*/ 138 w 3539"/>
                <a:gd name="T119" fmla="*/ 1038 h 3531"/>
                <a:gd name="T120" fmla="*/ 75 w 3539"/>
                <a:gd name="T121" fmla="*/ 1191 h 3531"/>
                <a:gd name="T122" fmla="*/ 28 w 3539"/>
                <a:gd name="T123" fmla="*/ 1350 h 3531"/>
                <a:gd name="T124" fmla="*/ 3 w 3539"/>
                <a:gd name="T125" fmla="*/ 1515 h 3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39" h="3531">
                  <a:moveTo>
                    <a:pt x="594" y="1821"/>
                  </a:moveTo>
                  <a:lnTo>
                    <a:pt x="595" y="1759"/>
                  </a:lnTo>
                  <a:lnTo>
                    <a:pt x="599" y="1697"/>
                  </a:lnTo>
                  <a:lnTo>
                    <a:pt x="606" y="1637"/>
                  </a:lnTo>
                  <a:lnTo>
                    <a:pt x="614" y="1579"/>
                  </a:lnTo>
                  <a:lnTo>
                    <a:pt x="625" y="1523"/>
                  </a:lnTo>
                  <a:lnTo>
                    <a:pt x="639" y="1466"/>
                  </a:lnTo>
                  <a:lnTo>
                    <a:pt x="656" y="1413"/>
                  </a:lnTo>
                  <a:lnTo>
                    <a:pt x="673" y="1360"/>
                  </a:lnTo>
                  <a:lnTo>
                    <a:pt x="694" y="1309"/>
                  </a:lnTo>
                  <a:lnTo>
                    <a:pt x="717" y="1259"/>
                  </a:lnTo>
                  <a:lnTo>
                    <a:pt x="741" y="1212"/>
                  </a:lnTo>
                  <a:lnTo>
                    <a:pt x="769" y="1165"/>
                  </a:lnTo>
                  <a:lnTo>
                    <a:pt x="797" y="1120"/>
                  </a:lnTo>
                  <a:lnTo>
                    <a:pt x="827" y="1077"/>
                  </a:lnTo>
                  <a:lnTo>
                    <a:pt x="860" y="1036"/>
                  </a:lnTo>
                  <a:lnTo>
                    <a:pt x="895" y="997"/>
                  </a:lnTo>
                  <a:lnTo>
                    <a:pt x="930" y="958"/>
                  </a:lnTo>
                  <a:lnTo>
                    <a:pt x="968" y="922"/>
                  </a:lnTo>
                  <a:lnTo>
                    <a:pt x="1009" y="887"/>
                  </a:lnTo>
                  <a:lnTo>
                    <a:pt x="1050" y="855"/>
                  </a:lnTo>
                  <a:lnTo>
                    <a:pt x="1092" y="823"/>
                  </a:lnTo>
                  <a:lnTo>
                    <a:pt x="1137" y="795"/>
                  </a:lnTo>
                  <a:lnTo>
                    <a:pt x="1182" y="767"/>
                  </a:lnTo>
                  <a:lnTo>
                    <a:pt x="1229" y="742"/>
                  </a:lnTo>
                  <a:lnTo>
                    <a:pt x="1278" y="718"/>
                  </a:lnTo>
                  <a:lnTo>
                    <a:pt x="1327" y="698"/>
                  </a:lnTo>
                  <a:lnTo>
                    <a:pt x="1378" y="677"/>
                  </a:lnTo>
                  <a:lnTo>
                    <a:pt x="1430" y="660"/>
                  </a:lnTo>
                  <a:lnTo>
                    <a:pt x="1483" y="645"/>
                  </a:lnTo>
                  <a:lnTo>
                    <a:pt x="1537" y="631"/>
                  </a:lnTo>
                  <a:lnTo>
                    <a:pt x="1593" y="620"/>
                  </a:lnTo>
                  <a:lnTo>
                    <a:pt x="1649" y="610"/>
                  </a:lnTo>
                  <a:lnTo>
                    <a:pt x="1702" y="605"/>
                  </a:lnTo>
                  <a:lnTo>
                    <a:pt x="1755" y="601"/>
                  </a:lnTo>
                  <a:lnTo>
                    <a:pt x="1810" y="602"/>
                  </a:lnTo>
                  <a:lnTo>
                    <a:pt x="1864" y="607"/>
                  </a:lnTo>
                  <a:lnTo>
                    <a:pt x="1918" y="614"/>
                  </a:lnTo>
                  <a:lnTo>
                    <a:pt x="1972" y="625"/>
                  </a:lnTo>
                  <a:lnTo>
                    <a:pt x="2027" y="638"/>
                  </a:lnTo>
                  <a:lnTo>
                    <a:pt x="2081" y="655"/>
                  </a:lnTo>
                  <a:lnTo>
                    <a:pt x="2134" y="674"/>
                  </a:lnTo>
                  <a:lnTo>
                    <a:pt x="2187" y="697"/>
                  </a:lnTo>
                  <a:lnTo>
                    <a:pt x="2240" y="720"/>
                  </a:lnTo>
                  <a:lnTo>
                    <a:pt x="2291" y="748"/>
                  </a:lnTo>
                  <a:lnTo>
                    <a:pt x="2340" y="777"/>
                  </a:lnTo>
                  <a:lnTo>
                    <a:pt x="2389" y="808"/>
                  </a:lnTo>
                  <a:lnTo>
                    <a:pt x="2437" y="842"/>
                  </a:lnTo>
                  <a:lnTo>
                    <a:pt x="2484" y="878"/>
                  </a:lnTo>
                  <a:lnTo>
                    <a:pt x="2527" y="916"/>
                  </a:lnTo>
                  <a:lnTo>
                    <a:pt x="2571" y="955"/>
                  </a:lnTo>
                  <a:lnTo>
                    <a:pt x="2611" y="996"/>
                  </a:lnTo>
                  <a:lnTo>
                    <a:pt x="2650" y="1039"/>
                  </a:lnTo>
                  <a:lnTo>
                    <a:pt x="2686" y="1083"/>
                  </a:lnTo>
                  <a:lnTo>
                    <a:pt x="2720" y="1129"/>
                  </a:lnTo>
                  <a:lnTo>
                    <a:pt x="2752" y="1176"/>
                  </a:lnTo>
                  <a:lnTo>
                    <a:pt x="2780" y="1223"/>
                  </a:lnTo>
                  <a:lnTo>
                    <a:pt x="2806" y="1272"/>
                  </a:lnTo>
                  <a:lnTo>
                    <a:pt x="2829" y="1322"/>
                  </a:lnTo>
                  <a:lnTo>
                    <a:pt x="2849" y="1373"/>
                  </a:lnTo>
                  <a:lnTo>
                    <a:pt x="2866" y="1425"/>
                  </a:lnTo>
                  <a:lnTo>
                    <a:pt x="2879" y="1477"/>
                  </a:lnTo>
                  <a:lnTo>
                    <a:pt x="2888" y="1529"/>
                  </a:lnTo>
                  <a:lnTo>
                    <a:pt x="2894" y="1582"/>
                  </a:lnTo>
                  <a:lnTo>
                    <a:pt x="2896" y="1635"/>
                  </a:lnTo>
                  <a:lnTo>
                    <a:pt x="2895" y="1710"/>
                  </a:lnTo>
                  <a:lnTo>
                    <a:pt x="2895" y="1781"/>
                  </a:lnTo>
                  <a:lnTo>
                    <a:pt x="2893" y="1848"/>
                  </a:lnTo>
                  <a:lnTo>
                    <a:pt x="2889" y="1913"/>
                  </a:lnTo>
                  <a:lnTo>
                    <a:pt x="2887" y="1944"/>
                  </a:lnTo>
                  <a:lnTo>
                    <a:pt x="2883" y="1975"/>
                  </a:lnTo>
                  <a:lnTo>
                    <a:pt x="2879" y="2005"/>
                  </a:lnTo>
                  <a:lnTo>
                    <a:pt x="2875" y="2034"/>
                  </a:lnTo>
                  <a:lnTo>
                    <a:pt x="2869" y="2063"/>
                  </a:lnTo>
                  <a:lnTo>
                    <a:pt x="2863" y="2093"/>
                  </a:lnTo>
                  <a:lnTo>
                    <a:pt x="2855" y="2121"/>
                  </a:lnTo>
                  <a:lnTo>
                    <a:pt x="2847" y="2150"/>
                  </a:lnTo>
                  <a:lnTo>
                    <a:pt x="2838" y="2178"/>
                  </a:lnTo>
                  <a:lnTo>
                    <a:pt x="2828" y="2205"/>
                  </a:lnTo>
                  <a:lnTo>
                    <a:pt x="2816" y="2234"/>
                  </a:lnTo>
                  <a:lnTo>
                    <a:pt x="2803" y="2262"/>
                  </a:lnTo>
                  <a:lnTo>
                    <a:pt x="2790" y="2289"/>
                  </a:lnTo>
                  <a:lnTo>
                    <a:pt x="2774" y="2317"/>
                  </a:lnTo>
                  <a:lnTo>
                    <a:pt x="2757" y="2345"/>
                  </a:lnTo>
                  <a:lnTo>
                    <a:pt x="2739" y="2373"/>
                  </a:lnTo>
                  <a:lnTo>
                    <a:pt x="2719" y="2402"/>
                  </a:lnTo>
                  <a:lnTo>
                    <a:pt x="2699" y="2430"/>
                  </a:lnTo>
                  <a:lnTo>
                    <a:pt x="2676" y="2459"/>
                  </a:lnTo>
                  <a:lnTo>
                    <a:pt x="2651" y="2488"/>
                  </a:lnTo>
                  <a:lnTo>
                    <a:pt x="2625" y="2518"/>
                  </a:lnTo>
                  <a:lnTo>
                    <a:pt x="2597" y="2548"/>
                  </a:lnTo>
                  <a:lnTo>
                    <a:pt x="2566" y="2578"/>
                  </a:lnTo>
                  <a:lnTo>
                    <a:pt x="2535" y="2610"/>
                  </a:lnTo>
                  <a:lnTo>
                    <a:pt x="2460" y="2676"/>
                  </a:lnTo>
                  <a:lnTo>
                    <a:pt x="2384" y="2734"/>
                  </a:lnTo>
                  <a:lnTo>
                    <a:pt x="2306" y="2784"/>
                  </a:lnTo>
                  <a:lnTo>
                    <a:pt x="2225" y="2828"/>
                  </a:lnTo>
                  <a:lnTo>
                    <a:pt x="2145" y="2862"/>
                  </a:lnTo>
                  <a:lnTo>
                    <a:pt x="2064" y="2891"/>
                  </a:lnTo>
                  <a:lnTo>
                    <a:pt x="1982" y="2911"/>
                  </a:lnTo>
                  <a:lnTo>
                    <a:pt x="1900" y="2925"/>
                  </a:lnTo>
                  <a:lnTo>
                    <a:pt x="1818" y="2933"/>
                  </a:lnTo>
                  <a:lnTo>
                    <a:pt x="1737" y="2934"/>
                  </a:lnTo>
                  <a:lnTo>
                    <a:pt x="1656" y="2930"/>
                  </a:lnTo>
                  <a:lnTo>
                    <a:pt x="1575" y="2919"/>
                  </a:lnTo>
                  <a:lnTo>
                    <a:pt x="1497" y="2902"/>
                  </a:lnTo>
                  <a:lnTo>
                    <a:pt x="1419" y="2881"/>
                  </a:lnTo>
                  <a:lnTo>
                    <a:pt x="1344" y="2854"/>
                  </a:lnTo>
                  <a:lnTo>
                    <a:pt x="1270" y="2821"/>
                  </a:lnTo>
                  <a:lnTo>
                    <a:pt x="1199" y="2785"/>
                  </a:lnTo>
                  <a:lnTo>
                    <a:pt x="1129" y="2744"/>
                  </a:lnTo>
                  <a:lnTo>
                    <a:pt x="1064" y="2699"/>
                  </a:lnTo>
                  <a:lnTo>
                    <a:pt x="1001" y="2649"/>
                  </a:lnTo>
                  <a:lnTo>
                    <a:pt x="941" y="2596"/>
                  </a:lnTo>
                  <a:lnTo>
                    <a:pt x="886" y="2538"/>
                  </a:lnTo>
                  <a:lnTo>
                    <a:pt x="834" y="2479"/>
                  </a:lnTo>
                  <a:lnTo>
                    <a:pt x="786" y="2415"/>
                  </a:lnTo>
                  <a:lnTo>
                    <a:pt x="744" y="2349"/>
                  </a:lnTo>
                  <a:lnTo>
                    <a:pt x="706" y="2279"/>
                  </a:lnTo>
                  <a:lnTo>
                    <a:pt x="672" y="2208"/>
                  </a:lnTo>
                  <a:lnTo>
                    <a:pt x="645" y="2134"/>
                  </a:lnTo>
                  <a:lnTo>
                    <a:pt x="623" y="2058"/>
                  </a:lnTo>
                  <a:lnTo>
                    <a:pt x="607" y="1981"/>
                  </a:lnTo>
                  <a:lnTo>
                    <a:pt x="597" y="1902"/>
                  </a:lnTo>
                  <a:lnTo>
                    <a:pt x="594" y="1821"/>
                  </a:lnTo>
                  <a:close/>
                  <a:moveTo>
                    <a:pt x="0" y="1598"/>
                  </a:moveTo>
                  <a:lnTo>
                    <a:pt x="0" y="1652"/>
                  </a:lnTo>
                  <a:lnTo>
                    <a:pt x="1" y="1705"/>
                  </a:lnTo>
                  <a:lnTo>
                    <a:pt x="2" y="1757"/>
                  </a:lnTo>
                  <a:lnTo>
                    <a:pt x="4" y="1808"/>
                  </a:lnTo>
                  <a:lnTo>
                    <a:pt x="8" y="1860"/>
                  </a:lnTo>
                  <a:lnTo>
                    <a:pt x="12" y="1910"/>
                  </a:lnTo>
                  <a:lnTo>
                    <a:pt x="16" y="1959"/>
                  </a:lnTo>
                  <a:lnTo>
                    <a:pt x="22" y="2009"/>
                  </a:lnTo>
                  <a:lnTo>
                    <a:pt x="28" y="2058"/>
                  </a:lnTo>
                  <a:lnTo>
                    <a:pt x="36" y="2106"/>
                  </a:lnTo>
                  <a:lnTo>
                    <a:pt x="45" y="2153"/>
                  </a:lnTo>
                  <a:lnTo>
                    <a:pt x="54" y="2201"/>
                  </a:lnTo>
                  <a:lnTo>
                    <a:pt x="65" y="2248"/>
                  </a:lnTo>
                  <a:lnTo>
                    <a:pt x="77" y="2294"/>
                  </a:lnTo>
                  <a:lnTo>
                    <a:pt x="89" y="2340"/>
                  </a:lnTo>
                  <a:lnTo>
                    <a:pt x="103" y="2384"/>
                  </a:lnTo>
                  <a:lnTo>
                    <a:pt x="119" y="2429"/>
                  </a:lnTo>
                  <a:lnTo>
                    <a:pt x="136" y="2473"/>
                  </a:lnTo>
                  <a:lnTo>
                    <a:pt x="154" y="2517"/>
                  </a:lnTo>
                  <a:lnTo>
                    <a:pt x="173" y="2560"/>
                  </a:lnTo>
                  <a:lnTo>
                    <a:pt x="194" y="2602"/>
                  </a:lnTo>
                  <a:lnTo>
                    <a:pt x="216" y="2644"/>
                  </a:lnTo>
                  <a:lnTo>
                    <a:pt x="240" y="2686"/>
                  </a:lnTo>
                  <a:lnTo>
                    <a:pt x="265" y="2727"/>
                  </a:lnTo>
                  <a:lnTo>
                    <a:pt x="292" y="2767"/>
                  </a:lnTo>
                  <a:lnTo>
                    <a:pt x="320" y="2807"/>
                  </a:lnTo>
                  <a:lnTo>
                    <a:pt x="351" y="2847"/>
                  </a:lnTo>
                  <a:lnTo>
                    <a:pt x="382" y="2885"/>
                  </a:lnTo>
                  <a:lnTo>
                    <a:pt x="416" y="2924"/>
                  </a:lnTo>
                  <a:lnTo>
                    <a:pt x="452" y="2962"/>
                  </a:lnTo>
                  <a:lnTo>
                    <a:pt x="489" y="2999"/>
                  </a:lnTo>
                  <a:lnTo>
                    <a:pt x="528" y="3036"/>
                  </a:lnTo>
                  <a:lnTo>
                    <a:pt x="667" y="3153"/>
                  </a:lnTo>
                  <a:lnTo>
                    <a:pt x="809" y="3253"/>
                  </a:lnTo>
                  <a:lnTo>
                    <a:pt x="953" y="3337"/>
                  </a:lnTo>
                  <a:lnTo>
                    <a:pt x="1100" y="3404"/>
                  </a:lnTo>
                  <a:lnTo>
                    <a:pt x="1248" y="3457"/>
                  </a:lnTo>
                  <a:lnTo>
                    <a:pt x="1397" y="3496"/>
                  </a:lnTo>
                  <a:lnTo>
                    <a:pt x="1547" y="3520"/>
                  </a:lnTo>
                  <a:lnTo>
                    <a:pt x="1696" y="3531"/>
                  </a:lnTo>
                  <a:lnTo>
                    <a:pt x="1843" y="3529"/>
                  </a:lnTo>
                  <a:lnTo>
                    <a:pt x="1990" y="3514"/>
                  </a:lnTo>
                  <a:lnTo>
                    <a:pt x="2133" y="3487"/>
                  </a:lnTo>
                  <a:lnTo>
                    <a:pt x="2273" y="3448"/>
                  </a:lnTo>
                  <a:lnTo>
                    <a:pt x="2409" y="3398"/>
                  </a:lnTo>
                  <a:lnTo>
                    <a:pt x="2541" y="3338"/>
                  </a:lnTo>
                  <a:lnTo>
                    <a:pt x="2667" y="3268"/>
                  </a:lnTo>
                  <a:lnTo>
                    <a:pt x="2789" y="3189"/>
                  </a:lnTo>
                  <a:lnTo>
                    <a:pt x="2903" y="3100"/>
                  </a:lnTo>
                  <a:lnTo>
                    <a:pt x="3009" y="3002"/>
                  </a:lnTo>
                  <a:lnTo>
                    <a:pt x="3109" y="2897"/>
                  </a:lnTo>
                  <a:lnTo>
                    <a:pt x="3199" y="2785"/>
                  </a:lnTo>
                  <a:lnTo>
                    <a:pt x="3281" y="2665"/>
                  </a:lnTo>
                  <a:lnTo>
                    <a:pt x="3352" y="2539"/>
                  </a:lnTo>
                  <a:lnTo>
                    <a:pt x="3413" y="2408"/>
                  </a:lnTo>
                  <a:lnTo>
                    <a:pt x="3463" y="2271"/>
                  </a:lnTo>
                  <a:lnTo>
                    <a:pt x="3501" y="2129"/>
                  </a:lnTo>
                  <a:lnTo>
                    <a:pt x="3527" y="1982"/>
                  </a:lnTo>
                  <a:lnTo>
                    <a:pt x="3539" y="1833"/>
                  </a:lnTo>
                  <a:lnTo>
                    <a:pt x="3538" y="1679"/>
                  </a:lnTo>
                  <a:lnTo>
                    <a:pt x="3522" y="1523"/>
                  </a:lnTo>
                  <a:lnTo>
                    <a:pt x="3490" y="1364"/>
                  </a:lnTo>
                  <a:lnTo>
                    <a:pt x="3442" y="1204"/>
                  </a:lnTo>
                  <a:lnTo>
                    <a:pt x="3379" y="1042"/>
                  </a:lnTo>
                  <a:lnTo>
                    <a:pt x="3329" y="941"/>
                  </a:lnTo>
                  <a:lnTo>
                    <a:pt x="3275" y="843"/>
                  </a:lnTo>
                  <a:lnTo>
                    <a:pt x="3214" y="751"/>
                  </a:lnTo>
                  <a:lnTo>
                    <a:pt x="3149" y="664"/>
                  </a:lnTo>
                  <a:lnTo>
                    <a:pt x="3080" y="583"/>
                  </a:lnTo>
                  <a:lnTo>
                    <a:pt x="3006" y="506"/>
                  </a:lnTo>
                  <a:lnTo>
                    <a:pt x="2928" y="434"/>
                  </a:lnTo>
                  <a:lnTo>
                    <a:pt x="2846" y="367"/>
                  </a:lnTo>
                  <a:lnTo>
                    <a:pt x="2762" y="306"/>
                  </a:lnTo>
                  <a:lnTo>
                    <a:pt x="2673" y="251"/>
                  </a:lnTo>
                  <a:lnTo>
                    <a:pt x="2581" y="200"/>
                  </a:lnTo>
                  <a:lnTo>
                    <a:pt x="2488" y="156"/>
                  </a:lnTo>
                  <a:lnTo>
                    <a:pt x="2392" y="117"/>
                  </a:lnTo>
                  <a:lnTo>
                    <a:pt x="2294" y="82"/>
                  </a:lnTo>
                  <a:lnTo>
                    <a:pt x="2194" y="54"/>
                  </a:lnTo>
                  <a:lnTo>
                    <a:pt x="2093" y="32"/>
                  </a:lnTo>
                  <a:lnTo>
                    <a:pt x="1991" y="15"/>
                  </a:lnTo>
                  <a:lnTo>
                    <a:pt x="1888" y="4"/>
                  </a:lnTo>
                  <a:lnTo>
                    <a:pt x="1785" y="0"/>
                  </a:lnTo>
                  <a:lnTo>
                    <a:pt x="1680" y="1"/>
                  </a:lnTo>
                  <a:lnTo>
                    <a:pt x="1577" y="7"/>
                  </a:lnTo>
                  <a:lnTo>
                    <a:pt x="1474" y="20"/>
                  </a:lnTo>
                  <a:lnTo>
                    <a:pt x="1371" y="40"/>
                  </a:lnTo>
                  <a:lnTo>
                    <a:pt x="1270" y="65"/>
                  </a:lnTo>
                  <a:lnTo>
                    <a:pt x="1170" y="96"/>
                  </a:lnTo>
                  <a:lnTo>
                    <a:pt x="1071" y="134"/>
                  </a:lnTo>
                  <a:lnTo>
                    <a:pt x="974" y="177"/>
                  </a:lnTo>
                  <a:lnTo>
                    <a:pt x="879" y="228"/>
                  </a:lnTo>
                  <a:lnTo>
                    <a:pt x="787" y="285"/>
                  </a:lnTo>
                  <a:lnTo>
                    <a:pt x="698" y="349"/>
                  </a:lnTo>
                  <a:lnTo>
                    <a:pt x="611" y="418"/>
                  </a:lnTo>
                  <a:lnTo>
                    <a:pt x="528" y="495"/>
                  </a:lnTo>
                  <a:lnTo>
                    <a:pt x="506" y="517"/>
                  </a:lnTo>
                  <a:lnTo>
                    <a:pt x="483" y="541"/>
                  </a:lnTo>
                  <a:lnTo>
                    <a:pt x="460" y="564"/>
                  </a:lnTo>
                  <a:lnTo>
                    <a:pt x="438" y="590"/>
                  </a:lnTo>
                  <a:lnTo>
                    <a:pt x="415" y="616"/>
                  </a:lnTo>
                  <a:lnTo>
                    <a:pt x="391" y="645"/>
                  </a:lnTo>
                  <a:lnTo>
                    <a:pt x="368" y="673"/>
                  </a:lnTo>
                  <a:lnTo>
                    <a:pt x="345" y="702"/>
                  </a:lnTo>
                  <a:lnTo>
                    <a:pt x="322" y="732"/>
                  </a:lnTo>
                  <a:lnTo>
                    <a:pt x="301" y="763"/>
                  </a:lnTo>
                  <a:lnTo>
                    <a:pt x="278" y="795"/>
                  </a:lnTo>
                  <a:lnTo>
                    <a:pt x="256" y="828"/>
                  </a:lnTo>
                  <a:lnTo>
                    <a:pt x="236" y="861"/>
                  </a:lnTo>
                  <a:lnTo>
                    <a:pt x="215" y="895"/>
                  </a:lnTo>
                  <a:lnTo>
                    <a:pt x="194" y="930"/>
                  </a:lnTo>
                  <a:lnTo>
                    <a:pt x="175" y="965"/>
                  </a:lnTo>
                  <a:lnTo>
                    <a:pt x="156" y="1001"/>
                  </a:lnTo>
                  <a:lnTo>
                    <a:pt x="138" y="1038"/>
                  </a:lnTo>
                  <a:lnTo>
                    <a:pt x="121" y="1075"/>
                  </a:lnTo>
                  <a:lnTo>
                    <a:pt x="104" y="1113"/>
                  </a:lnTo>
                  <a:lnTo>
                    <a:pt x="89" y="1152"/>
                  </a:lnTo>
                  <a:lnTo>
                    <a:pt x="75" y="1191"/>
                  </a:lnTo>
                  <a:lnTo>
                    <a:pt x="61" y="1230"/>
                  </a:lnTo>
                  <a:lnTo>
                    <a:pt x="49" y="1269"/>
                  </a:lnTo>
                  <a:lnTo>
                    <a:pt x="38" y="1309"/>
                  </a:lnTo>
                  <a:lnTo>
                    <a:pt x="28" y="1350"/>
                  </a:lnTo>
                  <a:lnTo>
                    <a:pt x="20" y="1390"/>
                  </a:lnTo>
                  <a:lnTo>
                    <a:pt x="13" y="1432"/>
                  </a:lnTo>
                  <a:lnTo>
                    <a:pt x="7" y="1473"/>
                  </a:lnTo>
                  <a:lnTo>
                    <a:pt x="3" y="1515"/>
                  </a:lnTo>
                  <a:lnTo>
                    <a:pt x="0" y="1556"/>
                  </a:lnTo>
                  <a:lnTo>
                    <a:pt x="0" y="15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121" name="Freeform 12">
              <a:extLst>
                <a:ext uri="{FF2B5EF4-FFF2-40B4-BE49-F238E27FC236}">
                  <a16:creationId xmlns:a16="http://schemas.microsoft.com/office/drawing/2014/main" id="{F618B6EE-6993-4316-9B02-2B52CEF59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59475" y="7680325"/>
              <a:ext cx="628650" cy="622300"/>
            </a:xfrm>
            <a:custGeom>
              <a:avLst/>
              <a:gdLst>
                <a:gd name="T0" fmla="*/ 1527 w 3556"/>
                <a:gd name="T1" fmla="*/ 2895 h 3527"/>
                <a:gd name="T2" fmla="*/ 1195 w 3556"/>
                <a:gd name="T3" fmla="*/ 2760 h 3527"/>
                <a:gd name="T4" fmla="*/ 934 w 3556"/>
                <a:gd name="T5" fmla="*/ 2540 h 3527"/>
                <a:gd name="T6" fmla="*/ 750 w 3556"/>
                <a:gd name="T7" fmla="*/ 2260 h 3527"/>
                <a:gd name="T8" fmla="*/ 649 w 3556"/>
                <a:gd name="T9" fmla="*/ 1943 h 3527"/>
                <a:gd name="T10" fmla="*/ 638 w 3556"/>
                <a:gd name="T11" fmla="*/ 1612 h 3527"/>
                <a:gd name="T12" fmla="*/ 723 w 3556"/>
                <a:gd name="T13" fmla="*/ 1290 h 3527"/>
                <a:gd name="T14" fmla="*/ 911 w 3556"/>
                <a:gd name="T15" fmla="*/ 999 h 3527"/>
                <a:gd name="T16" fmla="*/ 1312 w 3556"/>
                <a:gd name="T17" fmla="*/ 699 h 3527"/>
                <a:gd name="T18" fmla="*/ 1774 w 3556"/>
                <a:gd name="T19" fmla="*/ 594 h 3527"/>
                <a:gd name="T20" fmla="*/ 2209 w 3556"/>
                <a:gd name="T21" fmla="*/ 688 h 3527"/>
                <a:gd name="T22" fmla="*/ 2577 w 3556"/>
                <a:gd name="T23" fmla="*/ 937 h 3527"/>
                <a:gd name="T24" fmla="*/ 2840 w 3556"/>
                <a:gd name="T25" fmla="*/ 1296 h 3527"/>
                <a:gd name="T26" fmla="*/ 2957 w 3556"/>
                <a:gd name="T27" fmla="*/ 1722 h 3527"/>
                <a:gd name="T28" fmla="*/ 2888 w 3556"/>
                <a:gd name="T29" fmla="*/ 2171 h 3527"/>
                <a:gd name="T30" fmla="*/ 2592 w 3556"/>
                <a:gd name="T31" fmla="*/ 2598 h 3527"/>
                <a:gd name="T32" fmla="*/ 2378 w 3556"/>
                <a:gd name="T33" fmla="*/ 2762 h 3527"/>
                <a:gd name="T34" fmla="*/ 2213 w 3556"/>
                <a:gd name="T35" fmla="*/ 2841 h 3527"/>
                <a:gd name="T36" fmla="*/ 2033 w 3556"/>
                <a:gd name="T37" fmla="*/ 2900 h 3527"/>
                <a:gd name="T38" fmla="*/ 1880 w 3556"/>
                <a:gd name="T39" fmla="*/ 2926 h 3527"/>
                <a:gd name="T40" fmla="*/ 0 w 3556"/>
                <a:gd name="T41" fmla="*/ 1780 h 3527"/>
                <a:gd name="T42" fmla="*/ 81 w 3556"/>
                <a:gd name="T43" fmla="*/ 2286 h 3527"/>
                <a:gd name="T44" fmla="*/ 305 w 3556"/>
                <a:gd name="T45" fmla="*/ 2734 h 3527"/>
                <a:gd name="T46" fmla="*/ 644 w 3556"/>
                <a:gd name="T47" fmla="*/ 3100 h 3527"/>
                <a:gd name="T48" fmla="*/ 1067 w 3556"/>
                <a:gd name="T49" fmla="*/ 3366 h 3527"/>
                <a:gd name="T50" fmla="*/ 1547 w 3556"/>
                <a:gd name="T51" fmla="*/ 3509 h 3527"/>
                <a:gd name="T52" fmla="*/ 2055 w 3556"/>
                <a:gd name="T53" fmla="*/ 3508 h 3527"/>
                <a:gd name="T54" fmla="*/ 2561 w 3556"/>
                <a:gd name="T55" fmla="*/ 3344 h 3527"/>
                <a:gd name="T56" fmla="*/ 3036 w 3556"/>
                <a:gd name="T57" fmla="*/ 2994 h 3527"/>
                <a:gd name="T58" fmla="*/ 3262 w 3556"/>
                <a:gd name="T59" fmla="*/ 2721 h 3527"/>
                <a:gd name="T60" fmla="*/ 3424 w 3556"/>
                <a:gd name="T61" fmla="*/ 2419 h 3527"/>
                <a:gd name="T62" fmla="*/ 3522 w 3556"/>
                <a:gd name="T63" fmla="*/ 2098 h 3527"/>
                <a:gd name="T64" fmla="*/ 3556 w 3556"/>
                <a:gd name="T65" fmla="*/ 1767 h 3527"/>
                <a:gd name="T66" fmla="*/ 3528 w 3556"/>
                <a:gd name="T67" fmla="*/ 1437 h 3527"/>
                <a:gd name="T68" fmla="*/ 3435 w 3556"/>
                <a:gd name="T69" fmla="*/ 1118 h 3527"/>
                <a:gd name="T70" fmla="*/ 3277 w 3556"/>
                <a:gd name="T71" fmla="*/ 817 h 3527"/>
                <a:gd name="T72" fmla="*/ 3055 w 3556"/>
                <a:gd name="T73" fmla="*/ 546 h 3527"/>
                <a:gd name="T74" fmla="*/ 2908 w 3556"/>
                <a:gd name="T75" fmla="*/ 408 h 3527"/>
                <a:gd name="T76" fmla="*/ 2767 w 3556"/>
                <a:gd name="T77" fmla="*/ 292 h 3527"/>
                <a:gd name="T78" fmla="*/ 2625 w 3556"/>
                <a:gd name="T79" fmla="*/ 197 h 3527"/>
                <a:gd name="T80" fmla="*/ 2477 w 3556"/>
                <a:gd name="T81" fmla="*/ 123 h 3527"/>
                <a:gd name="T82" fmla="*/ 2318 w 3556"/>
                <a:gd name="T83" fmla="*/ 67 h 3527"/>
                <a:gd name="T84" fmla="*/ 2141 w 3556"/>
                <a:gd name="T85" fmla="*/ 29 h 3527"/>
                <a:gd name="T86" fmla="*/ 1939 w 3556"/>
                <a:gd name="T87" fmla="*/ 7 h 3527"/>
                <a:gd name="T88" fmla="*/ 1709 w 3556"/>
                <a:gd name="T89" fmla="*/ 0 h 3527"/>
                <a:gd name="T90" fmla="*/ 1520 w 3556"/>
                <a:gd name="T91" fmla="*/ 13 h 3527"/>
                <a:gd name="T92" fmla="*/ 1334 w 3556"/>
                <a:gd name="T93" fmla="*/ 48 h 3527"/>
                <a:gd name="T94" fmla="*/ 1162 w 3556"/>
                <a:gd name="T95" fmla="*/ 99 h 3527"/>
                <a:gd name="T96" fmla="*/ 1015 w 3556"/>
                <a:gd name="T97" fmla="*/ 159 h 3527"/>
                <a:gd name="T98" fmla="*/ 495 w 3556"/>
                <a:gd name="T99" fmla="*/ 554 h 3527"/>
                <a:gd name="T100" fmla="*/ 384 w 3556"/>
                <a:gd name="T101" fmla="*/ 684 h 3527"/>
                <a:gd name="T102" fmla="*/ 286 w 3556"/>
                <a:gd name="T103" fmla="*/ 825 h 3527"/>
                <a:gd name="T104" fmla="*/ 200 w 3556"/>
                <a:gd name="T105" fmla="*/ 975 h 3527"/>
                <a:gd name="T106" fmla="*/ 127 w 3556"/>
                <a:gd name="T107" fmla="*/ 1132 h 3527"/>
                <a:gd name="T108" fmla="*/ 71 w 3556"/>
                <a:gd name="T109" fmla="*/ 1296 h 3527"/>
                <a:gd name="T110" fmla="*/ 29 w 3556"/>
                <a:gd name="T111" fmla="*/ 1467 h 3527"/>
                <a:gd name="T112" fmla="*/ 6 w 3556"/>
                <a:gd name="T113" fmla="*/ 1643 h 3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56" h="3527">
                  <a:moveTo>
                    <a:pt x="1819" y="2929"/>
                  </a:moveTo>
                  <a:lnTo>
                    <a:pt x="1718" y="2926"/>
                  </a:lnTo>
                  <a:lnTo>
                    <a:pt x="1621" y="2914"/>
                  </a:lnTo>
                  <a:lnTo>
                    <a:pt x="1527" y="2895"/>
                  </a:lnTo>
                  <a:lnTo>
                    <a:pt x="1438" y="2870"/>
                  </a:lnTo>
                  <a:lnTo>
                    <a:pt x="1353" y="2840"/>
                  </a:lnTo>
                  <a:lnTo>
                    <a:pt x="1272" y="2802"/>
                  </a:lnTo>
                  <a:lnTo>
                    <a:pt x="1195" y="2760"/>
                  </a:lnTo>
                  <a:lnTo>
                    <a:pt x="1124" y="2712"/>
                  </a:lnTo>
                  <a:lnTo>
                    <a:pt x="1055" y="2659"/>
                  </a:lnTo>
                  <a:lnTo>
                    <a:pt x="992" y="2602"/>
                  </a:lnTo>
                  <a:lnTo>
                    <a:pt x="934" y="2540"/>
                  </a:lnTo>
                  <a:lnTo>
                    <a:pt x="880" y="2475"/>
                  </a:lnTo>
                  <a:lnTo>
                    <a:pt x="832" y="2406"/>
                  </a:lnTo>
                  <a:lnTo>
                    <a:pt x="788" y="2335"/>
                  </a:lnTo>
                  <a:lnTo>
                    <a:pt x="750" y="2260"/>
                  </a:lnTo>
                  <a:lnTo>
                    <a:pt x="717" y="2183"/>
                  </a:lnTo>
                  <a:lnTo>
                    <a:pt x="689" y="2105"/>
                  </a:lnTo>
                  <a:lnTo>
                    <a:pt x="667" y="2025"/>
                  </a:lnTo>
                  <a:lnTo>
                    <a:pt x="649" y="1943"/>
                  </a:lnTo>
                  <a:lnTo>
                    <a:pt x="638" y="1860"/>
                  </a:lnTo>
                  <a:lnTo>
                    <a:pt x="633" y="1778"/>
                  </a:lnTo>
                  <a:lnTo>
                    <a:pt x="633" y="1694"/>
                  </a:lnTo>
                  <a:lnTo>
                    <a:pt x="638" y="1612"/>
                  </a:lnTo>
                  <a:lnTo>
                    <a:pt x="650" y="1530"/>
                  </a:lnTo>
                  <a:lnTo>
                    <a:pt x="669" y="1448"/>
                  </a:lnTo>
                  <a:lnTo>
                    <a:pt x="693" y="1368"/>
                  </a:lnTo>
                  <a:lnTo>
                    <a:pt x="723" y="1290"/>
                  </a:lnTo>
                  <a:lnTo>
                    <a:pt x="760" y="1213"/>
                  </a:lnTo>
                  <a:lnTo>
                    <a:pt x="803" y="1139"/>
                  </a:lnTo>
                  <a:lnTo>
                    <a:pt x="853" y="1068"/>
                  </a:lnTo>
                  <a:lnTo>
                    <a:pt x="911" y="999"/>
                  </a:lnTo>
                  <a:lnTo>
                    <a:pt x="974" y="934"/>
                  </a:lnTo>
                  <a:lnTo>
                    <a:pt x="1085" y="840"/>
                  </a:lnTo>
                  <a:lnTo>
                    <a:pt x="1199" y="761"/>
                  </a:lnTo>
                  <a:lnTo>
                    <a:pt x="1312" y="699"/>
                  </a:lnTo>
                  <a:lnTo>
                    <a:pt x="1429" y="652"/>
                  </a:lnTo>
                  <a:lnTo>
                    <a:pt x="1544" y="619"/>
                  </a:lnTo>
                  <a:lnTo>
                    <a:pt x="1660" y="600"/>
                  </a:lnTo>
                  <a:lnTo>
                    <a:pt x="1774" y="594"/>
                  </a:lnTo>
                  <a:lnTo>
                    <a:pt x="1887" y="601"/>
                  </a:lnTo>
                  <a:lnTo>
                    <a:pt x="1997" y="619"/>
                  </a:lnTo>
                  <a:lnTo>
                    <a:pt x="2105" y="648"/>
                  </a:lnTo>
                  <a:lnTo>
                    <a:pt x="2209" y="688"/>
                  </a:lnTo>
                  <a:lnTo>
                    <a:pt x="2309" y="737"/>
                  </a:lnTo>
                  <a:lnTo>
                    <a:pt x="2403" y="796"/>
                  </a:lnTo>
                  <a:lnTo>
                    <a:pt x="2494" y="863"/>
                  </a:lnTo>
                  <a:lnTo>
                    <a:pt x="2577" y="937"/>
                  </a:lnTo>
                  <a:lnTo>
                    <a:pt x="2654" y="1018"/>
                  </a:lnTo>
                  <a:lnTo>
                    <a:pt x="2725" y="1106"/>
                  </a:lnTo>
                  <a:lnTo>
                    <a:pt x="2787" y="1199"/>
                  </a:lnTo>
                  <a:lnTo>
                    <a:pt x="2840" y="1296"/>
                  </a:lnTo>
                  <a:lnTo>
                    <a:pt x="2884" y="1398"/>
                  </a:lnTo>
                  <a:lnTo>
                    <a:pt x="2919" y="1504"/>
                  </a:lnTo>
                  <a:lnTo>
                    <a:pt x="2943" y="1612"/>
                  </a:lnTo>
                  <a:lnTo>
                    <a:pt x="2957" y="1722"/>
                  </a:lnTo>
                  <a:lnTo>
                    <a:pt x="2958" y="1834"/>
                  </a:lnTo>
                  <a:lnTo>
                    <a:pt x="2947" y="1947"/>
                  </a:lnTo>
                  <a:lnTo>
                    <a:pt x="2925" y="2060"/>
                  </a:lnTo>
                  <a:lnTo>
                    <a:pt x="2888" y="2171"/>
                  </a:lnTo>
                  <a:lnTo>
                    <a:pt x="2837" y="2282"/>
                  </a:lnTo>
                  <a:lnTo>
                    <a:pt x="2770" y="2390"/>
                  </a:lnTo>
                  <a:lnTo>
                    <a:pt x="2689" y="2496"/>
                  </a:lnTo>
                  <a:lnTo>
                    <a:pt x="2592" y="2598"/>
                  </a:lnTo>
                  <a:lnTo>
                    <a:pt x="2478" y="2697"/>
                  </a:lnTo>
                  <a:lnTo>
                    <a:pt x="2448" y="2719"/>
                  </a:lnTo>
                  <a:lnTo>
                    <a:pt x="2414" y="2741"/>
                  </a:lnTo>
                  <a:lnTo>
                    <a:pt x="2378" y="2762"/>
                  </a:lnTo>
                  <a:lnTo>
                    <a:pt x="2339" y="2784"/>
                  </a:lnTo>
                  <a:lnTo>
                    <a:pt x="2299" y="2803"/>
                  </a:lnTo>
                  <a:lnTo>
                    <a:pt x="2257" y="2823"/>
                  </a:lnTo>
                  <a:lnTo>
                    <a:pt x="2213" y="2841"/>
                  </a:lnTo>
                  <a:lnTo>
                    <a:pt x="2169" y="2857"/>
                  </a:lnTo>
                  <a:lnTo>
                    <a:pt x="2123" y="2874"/>
                  </a:lnTo>
                  <a:lnTo>
                    <a:pt x="2078" y="2887"/>
                  </a:lnTo>
                  <a:lnTo>
                    <a:pt x="2033" y="2900"/>
                  </a:lnTo>
                  <a:lnTo>
                    <a:pt x="1988" y="2909"/>
                  </a:lnTo>
                  <a:lnTo>
                    <a:pt x="1944" y="2918"/>
                  </a:lnTo>
                  <a:lnTo>
                    <a:pt x="1901" y="2923"/>
                  </a:lnTo>
                  <a:lnTo>
                    <a:pt x="1880" y="2926"/>
                  </a:lnTo>
                  <a:lnTo>
                    <a:pt x="1860" y="2928"/>
                  </a:lnTo>
                  <a:lnTo>
                    <a:pt x="1839" y="2929"/>
                  </a:lnTo>
                  <a:lnTo>
                    <a:pt x="1819" y="2929"/>
                  </a:lnTo>
                  <a:close/>
                  <a:moveTo>
                    <a:pt x="0" y="1780"/>
                  </a:moveTo>
                  <a:lnTo>
                    <a:pt x="6" y="1911"/>
                  </a:lnTo>
                  <a:lnTo>
                    <a:pt x="22" y="2039"/>
                  </a:lnTo>
                  <a:lnTo>
                    <a:pt x="47" y="2165"/>
                  </a:lnTo>
                  <a:lnTo>
                    <a:pt x="81" y="2286"/>
                  </a:lnTo>
                  <a:lnTo>
                    <a:pt x="125" y="2404"/>
                  </a:lnTo>
                  <a:lnTo>
                    <a:pt x="177" y="2519"/>
                  </a:lnTo>
                  <a:lnTo>
                    <a:pt x="238" y="2629"/>
                  </a:lnTo>
                  <a:lnTo>
                    <a:pt x="305" y="2734"/>
                  </a:lnTo>
                  <a:lnTo>
                    <a:pt x="381" y="2834"/>
                  </a:lnTo>
                  <a:lnTo>
                    <a:pt x="463" y="2928"/>
                  </a:lnTo>
                  <a:lnTo>
                    <a:pt x="550" y="3017"/>
                  </a:lnTo>
                  <a:lnTo>
                    <a:pt x="644" y="3100"/>
                  </a:lnTo>
                  <a:lnTo>
                    <a:pt x="743" y="3177"/>
                  </a:lnTo>
                  <a:lnTo>
                    <a:pt x="847" y="3246"/>
                  </a:lnTo>
                  <a:lnTo>
                    <a:pt x="955" y="3309"/>
                  </a:lnTo>
                  <a:lnTo>
                    <a:pt x="1067" y="3366"/>
                  </a:lnTo>
                  <a:lnTo>
                    <a:pt x="1183" y="3413"/>
                  </a:lnTo>
                  <a:lnTo>
                    <a:pt x="1302" y="3454"/>
                  </a:lnTo>
                  <a:lnTo>
                    <a:pt x="1423" y="3485"/>
                  </a:lnTo>
                  <a:lnTo>
                    <a:pt x="1547" y="3509"/>
                  </a:lnTo>
                  <a:lnTo>
                    <a:pt x="1673" y="3523"/>
                  </a:lnTo>
                  <a:lnTo>
                    <a:pt x="1799" y="3527"/>
                  </a:lnTo>
                  <a:lnTo>
                    <a:pt x="1927" y="3523"/>
                  </a:lnTo>
                  <a:lnTo>
                    <a:pt x="2055" y="3508"/>
                  </a:lnTo>
                  <a:lnTo>
                    <a:pt x="2182" y="3483"/>
                  </a:lnTo>
                  <a:lnTo>
                    <a:pt x="2309" y="3448"/>
                  </a:lnTo>
                  <a:lnTo>
                    <a:pt x="2436" y="3401"/>
                  </a:lnTo>
                  <a:lnTo>
                    <a:pt x="2561" y="3344"/>
                  </a:lnTo>
                  <a:lnTo>
                    <a:pt x="2684" y="3275"/>
                  </a:lnTo>
                  <a:lnTo>
                    <a:pt x="2804" y="3193"/>
                  </a:lnTo>
                  <a:lnTo>
                    <a:pt x="2922" y="3100"/>
                  </a:lnTo>
                  <a:lnTo>
                    <a:pt x="3036" y="2994"/>
                  </a:lnTo>
                  <a:lnTo>
                    <a:pt x="3098" y="2929"/>
                  </a:lnTo>
                  <a:lnTo>
                    <a:pt x="3157" y="2862"/>
                  </a:lnTo>
                  <a:lnTo>
                    <a:pt x="3211" y="2792"/>
                  </a:lnTo>
                  <a:lnTo>
                    <a:pt x="3262" y="2721"/>
                  </a:lnTo>
                  <a:lnTo>
                    <a:pt x="3308" y="2648"/>
                  </a:lnTo>
                  <a:lnTo>
                    <a:pt x="3350" y="2573"/>
                  </a:lnTo>
                  <a:lnTo>
                    <a:pt x="3389" y="2496"/>
                  </a:lnTo>
                  <a:lnTo>
                    <a:pt x="3424" y="2419"/>
                  </a:lnTo>
                  <a:lnTo>
                    <a:pt x="3454" y="2340"/>
                  </a:lnTo>
                  <a:lnTo>
                    <a:pt x="3480" y="2260"/>
                  </a:lnTo>
                  <a:lnTo>
                    <a:pt x="3503" y="2180"/>
                  </a:lnTo>
                  <a:lnTo>
                    <a:pt x="3522" y="2098"/>
                  </a:lnTo>
                  <a:lnTo>
                    <a:pt x="3537" y="2016"/>
                  </a:lnTo>
                  <a:lnTo>
                    <a:pt x="3548" y="1933"/>
                  </a:lnTo>
                  <a:lnTo>
                    <a:pt x="3554" y="1850"/>
                  </a:lnTo>
                  <a:lnTo>
                    <a:pt x="3556" y="1767"/>
                  </a:lnTo>
                  <a:lnTo>
                    <a:pt x="3555" y="1685"/>
                  </a:lnTo>
                  <a:lnTo>
                    <a:pt x="3550" y="1602"/>
                  </a:lnTo>
                  <a:lnTo>
                    <a:pt x="3541" y="1519"/>
                  </a:lnTo>
                  <a:lnTo>
                    <a:pt x="3528" y="1437"/>
                  </a:lnTo>
                  <a:lnTo>
                    <a:pt x="3511" y="1356"/>
                  </a:lnTo>
                  <a:lnTo>
                    <a:pt x="3489" y="1275"/>
                  </a:lnTo>
                  <a:lnTo>
                    <a:pt x="3464" y="1196"/>
                  </a:lnTo>
                  <a:lnTo>
                    <a:pt x="3435" y="1118"/>
                  </a:lnTo>
                  <a:lnTo>
                    <a:pt x="3401" y="1040"/>
                  </a:lnTo>
                  <a:lnTo>
                    <a:pt x="3364" y="964"/>
                  </a:lnTo>
                  <a:lnTo>
                    <a:pt x="3322" y="890"/>
                  </a:lnTo>
                  <a:lnTo>
                    <a:pt x="3277" y="817"/>
                  </a:lnTo>
                  <a:lnTo>
                    <a:pt x="3227" y="746"/>
                  </a:lnTo>
                  <a:lnTo>
                    <a:pt x="3174" y="678"/>
                  </a:lnTo>
                  <a:lnTo>
                    <a:pt x="3117" y="610"/>
                  </a:lnTo>
                  <a:lnTo>
                    <a:pt x="3055" y="546"/>
                  </a:lnTo>
                  <a:lnTo>
                    <a:pt x="3017" y="510"/>
                  </a:lnTo>
                  <a:lnTo>
                    <a:pt x="2980" y="475"/>
                  </a:lnTo>
                  <a:lnTo>
                    <a:pt x="2944" y="440"/>
                  </a:lnTo>
                  <a:lnTo>
                    <a:pt x="2908" y="408"/>
                  </a:lnTo>
                  <a:lnTo>
                    <a:pt x="2872" y="377"/>
                  </a:lnTo>
                  <a:lnTo>
                    <a:pt x="2837" y="347"/>
                  </a:lnTo>
                  <a:lnTo>
                    <a:pt x="2802" y="319"/>
                  </a:lnTo>
                  <a:lnTo>
                    <a:pt x="2767" y="292"/>
                  </a:lnTo>
                  <a:lnTo>
                    <a:pt x="2731" y="267"/>
                  </a:lnTo>
                  <a:lnTo>
                    <a:pt x="2697" y="242"/>
                  </a:lnTo>
                  <a:lnTo>
                    <a:pt x="2661" y="219"/>
                  </a:lnTo>
                  <a:lnTo>
                    <a:pt x="2625" y="197"/>
                  </a:lnTo>
                  <a:lnTo>
                    <a:pt x="2589" y="177"/>
                  </a:lnTo>
                  <a:lnTo>
                    <a:pt x="2552" y="157"/>
                  </a:lnTo>
                  <a:lnTo>
                    <a:pt x="2515" y="140"/>
                  </a:lnTo>
                  <a:lnTo>
                    <a:pt x="2477" y="123"/>
                  </a:lnTo>
                  <a:lnTo>
                    <a:pt x="2439" y="107"/>
                  </a:lnTo>
                  <a:lnTo>
                    <a:pt x="2399" y="92"/>
                  </a:lnTo>
                  <a:lnTo>
                    <a:pt x="2359" y="79"/>
                  </a:lnTo>
                  <a:lnTo>
                    <a:pt x="2318" y="67"/>
                  </a:lnTo>
                  <a:lnTo>
                    <a:pt x="2275" y="56"/>
                  </a:lnTo>
                  <a:lnTo>
                    <a:pt x="2232" y="46"/>
                  </a:lnTo>
                  <a:lnTo>
                    <a:pt x="2186" y="37"/>
                  </a:lnTo>
                  <a:lnTo>
                    <a:pt x="2141" y="29"/>
                  </a:lnTo>
                  <a:lnTo>
                    <a:pt x="2093" y="22"/>
                  </a:lnTo>
                  <a:lnTo>
                    <a:pt x="2043" y="16"/>
                  </a:lnTo>
                  <a:lnTo>
                    <a:pt x="1992" y="11"/>
                  </a:lnTo>
                  <a:lnTo>
                    <a:pt x="1939" y="7"/>
                  </a:lnTo>
                  <a:lnTo>
                    <a:pt x="1885" y="3"/>
                  </a:lnTo>
                  <a:lnTo>
                    <a:pt x="1828" y="1"/>
                  </a:lnTo>
                  <a:lnTo>
                    <a:pt x="1769" y="0"/>
                  </a:lnTo>
                  <a:lnTo>
                    <a:pt x="1709" y="0"/>
                  </a:lnTo>
                  <a:lnTo>
                    <a:pt x="1662" y="1"/>
                  </a:lnTo>
                  <a:lnTo>
                    <a:pt x="1615" y="3"/>
                  </a:lnTo>
                  <a:lnTo>
                    <a:pt x="1568" y="8"/>
                  </a:lnTo>
                  <a:lnTo>
                    <a:pt x="1520" y="13"/>
                  </a:lnTo>
                  <a:lnTo>
                    <a:pt x="1473" y="20"/>
                  </a:lnTo>
                  <a:lnTo>
                    <a:pt x="1426" y="27"/>
                  </a:lnTo>
                  <a:lnTo>
                    <a:pt x="1380" y="37"/>
                  </a:lnTo>
                  <a:lnTo>
                    <a:pt x="1334" y="48"/>
                  </a:lnTo>
                  <a:lnTo>
                    <a:pt x="1289" y="59"/>
                  </a:lnTo>
                  <a:lnTo>
                    <a:pt x="1245" y="71"/>
                  </a:lnTo>
                  <a:lnTo>
                    <a:pt x="1203" y="85"/>
                  </a:lnTo>
                  <a:lnTo>
                    <a:pt x="1162" y="99"/>
                  </a:lnTo>
                  <a:lnTo>
                    <a:pt x="1121" y="113"/>
                  </a:lnTo>
                  <a:lnTo>
                    <a:pt x="1083" y="128"/>
                  </a:lnTo>
                  <a:lnTo>
                    <a:pt x="1049" y="143"/>
                  </a:lnTo>
                  <a:lnTo>
                    <a:pt x="1015" y="159"/>
                  </a:lnTo>
                  <a:lnTo>
                    <a:pt x="542" y="504"/>
                  </a:lnTo>
                  <a:lnTo>
                    <a:pt x="533" y="513"/>
                  </a:lnTo>
                  <a:lnTo>
                    <a:pt x="524" y="523"/>
                  </a:lnTo>
                  <a:lnTo>
                    <a:pt x="495" y="554"/>
                  </a:lnTo>
                  <a:lnTo>
                    <a:pt x="466" y="585"/>
                  </a:lnTo>
                  <a:lnTo>
                    <a:pt x="439" y="618"/>
                  </a:lnTo>
                  <a:lnTo>
                    <a:pt x="411" y="650"/>
                  </a:lnTo>
                  <a:lnTo>
                    <a:pt x="384" y="684"/>
                  </a:lnTo>
                  <a:lnTo>
                    <a:pt x="358" y="719"/>
                  </a:lnTo>
                  <a:lnTo>
                    <a:pt x="333" y="753"/>
                  </a:lnTo>
                  <a:lnTo>
                    <a:pt x="309" y="789"/>
                  </a:lnTo>
                  <a:lnTo>
                    <a:pt x="286" y="825"/>
                  </a:lnTo>
                  <a:lnTo>
                    <a:pt x="263" y="862"/>
                  </a:lnTo>
                  <a:lnTo>
                    <a:pt x="241" y="899"/>
                  </a:lnTo>
                  <a:lnTo>
                    <a:pt x="220" y="936"/>
                  </a:lnTo>
                  <a:lnTo>
                    <a:pt x="200" y="975"/>
                  </a:lnTo>
                  <a:lnTo>
                    <a:pt x="180" y="1012"/>
                  </a:lnTo>
                  <a:lnTo>
                    <a:pt x="162" y="1052"/>
                  </a:lnTo>
                  <a:lnTo>
                    <a:pt x="144" y="1092"/>
                  </a:lnTo>
                  <a:lnTo>
                    <a:pt x="127" y="1132"/>
                  </a:lnTo>
                  <a:lnTo>
                    <a:pt x="112" y="1172"/>
                  </a:lnTo>
                  <a:lnTo>
                    <a:pt x="97" y="1213"/>
                  </a:lnTo>
                  <a:lnTo>
                    <a:pt x="83" y="1254"/>
                  </a:lnTo>
                  <a:lnTo>
                    <a:pt x="71" y="1296"/>
                  </a:lnTo>
                  <a:lnTo>
                    <a:pt x="59" y="1339"/>
                  </a:lnTo>
                  <a:lnTo>
                    <a:pt x="48" y="1381"/>
                  </a:lnTo>
                  <a:lnTo>
                    <a:pt x="38" y="1423"/>
                  </a:lnTo>
                  <a:lnTo>
                    <a:pt x="29" y="1467"/>
                  </a:lnTo>
                  <a:lnTo>
                    <a:pt x="22" y="1511"/>
                  </a:lnTo>
                  <a:lnTo>
                    <a:pt x="15" y="1554"/>
                  </a:lnTo>
                  <a:lnTo>
                    <a:pt x="10" y="1599"/>
                  </a:lnTo>
                  <a:lnTo>
                    <a:pt x="6" y="1643"/>
                  </a:lnTo>
                  <a:lnTo>
                    <a:pt x="3" y="1689"/>
                  </a:lnTo>
                  <a:lnTo>
                    <a:pt x="1" y="1734"/>
                  </a:lnTo>
                  <a:lnTo>
                    <a:pt x="0" y="17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122" name="Freeform 13">
              <a:extLst>
                <a:ext uri="{FF2B5EF4-FFF2-40B4-BE49-F238E27FC236}">
                  <a16:creationId xmlns:a16="http://schemas.microsoft.com/office/drawing/2014/main" id="{4E3936C6-B771-4DFD-AB53-72A0C9139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400" y="7129463"/>
              <a:ext cx="58738" cy="506412"/>
            </a:xfrm>
            <a:custGeom>
              <a:avLst/>
              <a:gdLst>
                <a:gd name="T0" fmla="*/ 0 w 334"/>
                <a:gd name="T1" fmla="*/ 123 h 2869"/>
                <a:gd name="T2" fmla="*/ 0 w 334"/>
                <a:gd name="T3" fmla="*/ 2866 h 2869"/>
                <a:gd name="T4" fmla="*/ 83 w 334"/>
                <a:gd name="T5" fmla="*/ 2867 h 2869"/>
                <a:gd name="T6" fmla="*/ 153 w 334"/>
                <a:gd name="T7" fmla="*/ 2869 h 2869"/>
                <a:gd name="T8" fmla="*/ 183 w 334"/>
                <a:gd name="T9" fmla="*/ 2869 h 2869"/>
                <a:gd name="T10" fmla="*/ 211 w 334"/>
                <a:gd name="T11" fmla="*/ 2869 h 2869"/>
                <a:gd name="T12" fmla="*/ 235 w 334"/>
                <a:gd name="T13" fmla="*/ 2868 h 2869"/>
                <a:gd name="T14" fmla="*/ 257 w 334"/>
                <a:gd name="T15" fmla="*/ 2865 h 2869"/>
                <a:gd name="T16" fmla="*/ 267 w 334"/>
                <a:gd name="T17" fmla="*/ 2863 h 2869"/>
                <a:gd name="T18" fmla="*/ 276 w 334"/>
                <a:gd name="T19" fmla="*/ 2861 h 2869"/>
                <a:gd name="T20" fmla="*/ 284 w 334"/>
                <a:gd name="T21" fmla="*/ 2857 h 2869"/>
                <a:gd name="T22" fmla="*/ 292 w 334"/>
                <a:gd name="T23" fmla="*/ 2854 h 2869"/>
                <a:gd name="T24" fmla="*/ 298 w 334"/>
                <a:gd name="T25" fmla="*/ 2850 h 2869"/>
                <a:gd name="T26" fmla="*/ 305 w 334"/>
                <a:gd name="T27" fmla="*/ 2844 h 2869"/>
                <a:gd name="T28" fmla="*/ 310 w 334"/>
                <a:gd name="T29" fmla="*/ 2839 h 2869"/>
                <a:gd name="T30" fmla="*/ 316 w 334"/>
                <a:gd name="T31" fmla="*/ 2833 h 2869"/>
                <a:gd name="T32" fmla="*/ 320 w 334"/>
                <a:gd name="T33" fmla="*/ 2827 h 2869"/>
                <a:gd name="T34" fmla="*/ 324 w 334"/>
                <a:gd name="T35" fmla="*/ 2819 h 2869"/>
                <a:gd name="T36" fmla="*/ 328 w 334"/>
                <a:gd name="T37" fmla="*/ 2811 h 2869"/>
                <a:gd name="T38" fmla="*/ 330 w 334"/>
                <a:gd name="T39" fmla="*/ 2801 h 2869"/>
                <a:gd name="T40" fmla="*/ 332 w 334"/>
                <a:gd name="T41" fmla="*/ 2791 h 2869"/>
                <a:gd name="T42" fmla="*/ 333 w 334"/>
                <a:gd name="T43" fmla="*/ 2780 h 2869"/>
                <a:gd name="T44" fmla="*/ 334 w 334"/>
                <a:gd name="T45" fmla="*/ 2768 h 2869"/>
                <a:gd name="T46" fmla="*/ 334 w 334"/>
                <a:gd name="T47" fmla="*/ 2755 h 2869"/>
                <a:gd name="T48" fmla="*/ 334 w 334"/>
                <a:gd name="T49" fmla="*/ 123 h 2869"/>
                <a:gd name="T50" fmla="*/ 333 w 334"/>
                <a:gd name="T51" fmla="*/ 107 h 2869"/>
                <a:gd name="T52" fmla="*/ 331 w 334"/>
                <a:gd name="T53" fmla="*/ 94 h 2869"/>
                <a:gd name="T54" fmla="*/ 327 w 334"/>
                <a:gd name="T55" fmla="*/ 81 h 2869"/>
                <a:gd name="T56" fmla="*/ 320 w 334"/>
                <a:gd name="T57" fmla="*/ 69 h 2869"/>
                <a:gd name="T58" fmla="*/ 312 w 334"/>
                <a:gd name="T59" fmla="*/ 59 h 2869"/>
                <a:gd name="T60" fmla="*/ 304 w 334"/>
                <a:gd name="T61" fmla="*/ 48 h 2869"/>
                <a:gd name="T62" fmla="*/ 294 w 334"/>
                <a:gd name="T63" fmla="*/ 39 h 2869"/>
                <a:gd name="T64" fmla="*/ 282 w 334"/>
                <a:gd name="T65" fmla="*/ 31 h 2869"/>
                <a:gd name="T66" fmla="*/ 270 w 334"/>
                <a:gd name="T67" fmla="*/ 24 h 2869"/>
                <a:gd name="T68" fmla="*/ 257 w 334"/>
                <a:gd name="T69" fmla="*/ 17 h 2869"/>
                <a:gd name="T70" fmla="*/ 243 w 334"/>
                <a:gd name="T71" fmla="*/ 12 h 2869"/>
                <a:gd name="T72" fmla="*/ 229 w 334"/>
                <a:gd name="T73" fmla="*/ 8 h 2869"/>
                <a:gd name="T74" fmla="*/ 214 w 334"/>
                <a:gd name="T75" fmla="*/ 4 h 2869"/>
                <a:gd name="T76" fmla="*/ 198 w 334"/>
                <a:gd name="T77" fmla="*/ 2 h 2869"/>
                <a:gd name="T78" fmla="*/ 183 w 334"/>
                <a:gd name="T79" fmla="*/ 1 h 2869"/>
                <a:gd name="T80" fmla="*/ 167 w 334"/>
                <a:gd name="T81" fmla="*/ 0 h 2869"/>
                <a:gd name="T82" fmla="*/ 152 w 334"/>
                <a:gd name="T83" fmla="*/ 1 h 2869"/>
                <a:gd name="T84" fmla="*/ 137 w 334"/>
                <a:gd name="T85" fmla="*/ 2 h 2869"/>
                <a:gd name="T86" fmla="*/ 121 w 334"/>
                <a:gd name="T87" fmla="*/ 4 h 2869"/>
                <a:gd name="T88" fmla="*/ 106 w 334"/>
                <a:gd name="T89" fmla="*/ 8 h 2869"/>
                <a:gd name="T90" fmla="*/ 92 w 334"/>
                <a:gd name="T91" fmla="*/ 12 h 2869"/>
                <a:gd name="T92" fmla="*/ 78 w 334"/>
                <a:gd name="T93" fmla="*/ 17 h 2869"/>
                <a:gd name="T94" fmla="*/ 65 w 334"/>
                <a:gd name="T95" fmla="*/ 24 h 2869"/>
                <a:gd name="T96" fmla="*/ 53 w 334"/>
                <a:gd name="T97" fmla="*/ 31 h 2869"/>
                <a:gd name="T98" fmla="*/ 41 w 334"/>
                <a:gd name="T99" fmla="*/ 39 h 2869"/>
                <a:gd name="T100" fmla="*/ 31 w 334"/>
                <a:gd name="T101" fmla="*/ 48 h 2869"/>
                <a:gd name="T102" fmla="*/ 23 w 334"/>
                <a:gd name="T103" fmla="*/ 59 h 2869"/>
                <a:gd name="T104" fmla="*/ 15 w 334"/>
                <a:gd name="T105" fmla="*/ 69 h 2869"/>
                <a:gd name="T106" fmla="*/ 8 w 334"/>
                <a:gd name="T107" fmla="*/ 81 h 2869"/>
                <a:gd name="T108" fmla="*/ 4 w 334"/>
                <a:gd name="T109" fmla="*/ 94 h 2869"/>
                <a:gd name="T110" fmla="*/ 1 w 334"/>
                <a:gd name="T111" fmla="*/ 107 h 2869"/>
                <a:gd name="T112" fmla="*/ 0 w 334"/>
                <a:gd name="T113" fmla="*/ 123 h 2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4" h="2869">
                  <a:moveTo>
                    <a:pt x="0" y="123"/>
                  </a:moveTo>
                  <a:lnTo>
                    <a:pt x="0" y="2866"/>
                  </a:lnTo>
                  <a:lnTo>
                    <a:pt x="83" y="2867"/>
                  </a:lnTo>
                  <a:lnTo>
                    <a:pt x="153" y="2869"/>
                  </a:lnTo>
                  <a:lnTo>
                    <a:pt x="183" y="2869"/>
                  </a:lnTo>
                  <a:lnTo>
                    <a:pt x="211" y="2869"/>
                  </a:lnTo>
                  <a:lnTo>
                    <a:pt x="235" y="2868"/>
                  </a:lnTo>
                  <a:lnTo>
                    <a:pt x="257" y="2865"/>
                  </a:lnTo>
                  <a:lnTo>
                    <a:pt x="267" y="2863"/>
                  </a:lnTo>
                  <a:lnTo>
                    <a:pt x="276" y="2861"/>
                  </a:lnTo>
                  <a:lnTo>
                    <a:pt x="284" y="2857"/>
                  </a:lnTo>
                  <a:lnTo>
                    <a:pt x="292" y="2854"/>
                  </a:lnTo>
                  <a:lnTo>
                    <a:pt x="298" y="2850"/>
                  </a:lnTo>
                  <a:lnTo>
                    <a:pt x="305" y="2844"/>
                  </a:lnTo>
                  <a:lnTo>
                    <a:pt x="310" y="2839"/>
                  </a:lnTo>
                  <a:lnTo>
                    <a:pt x="316" y="2833"/>
                  </a:lnTo>
                  <a:lnTo>
                    <a:pt x="320" y="2827"/>
                  </a:lnTo>
                  <a:lnTo>
                    <a:pt x="324" y="2819"/>
                  </a:lnTo>
                  <a:lnTo>
                    <a:pt x="328" y="2811"/>
                  </a:lnTo>
                  <a:lnTo>
                    <a:pt x="330" y="2801"/>
                  </a:lnTo>
                  <a:lnTo>
                    <a:pt x="332" y="2791"/>
                  </a:lnTo>
                  <a:lnTo>
                    <a:pt x="333" y="2780"/>
                  </a:lnTo>
                  <a:lnTo>
                    <a:pt x="334" y="2768"/>
                  </a:lnTo>
                  <a:lnTo>
                    <a:pt x="334" y="2755"/>
                  </a:lnTo>
                  <a:lnTo>
                    <a:pt x="334" y="123"/>
                  </a:lnTo>
                  <a:lnTo>
                    <a:pt x="333" y="107"/>
                  </a:lnTo>
                  <a:lnTo>
                    <a:pt x="331" y="94"/>
                  </a:lnTo>
                  <a:lnTo>
                    <a:pt x="327" y="81"/>
                  </a:lnTo>
                  <a:lnTo>
                    <a:pt x="320" y="69"/>
                  </a:lnTo>
                  <a:lnTo>
                    <a:pt x="312" y="59"/>
                  </a:lnTo>
                  <a:lnTo>
                    <a:pt x="304" y="48"/>
                  </a:lnTo>
                  <a:lnTo>
                    <a:pt x="294" y="39"/>
                  </a:lnTo>
                  <a:lnTo>
                    <a:pt x="282" y="31"/>
                  </a:lnTo>
                  <a:lnTo>
                    <a:pt x="270" y="24"/>
                  </a:lnTo>
                  <a:lnTo>
                    <a:pt x="257" y="17"/>
                  </a:lnTo>
                  <a:lnTo>
                    <a:pt x="243" y="12"/>
                  </a:lnTo>
                  <a:lnTo>
                    <a:pt x="229" y="8"/>
                  </a:lnTo>
                  <a:lnTo>
                    <a:pt x="214" y="4"/>
                  </a:lnTo>
                  <a:lnTo>
                    <a:pt x="198" y="2"/>
                  </a:lnTo>
                  <a:lnTo>
                    <a:pt x="183" y="1"/>
                  </a:lnTo>
                  <a:lnTo>
                    <a:pt x="167" y="0"/>
                  </a:lnTo>
                  <a:lnTo>
                    <a:pt x="152" y="1"/>
                  </a:lnTo>
                  <a:lnTo>
                    <a:pt x="137" y="2"/>
                  </a:lnTo>
                  <a:lnTo>
                    <a:pt x="121" y="4"/>
                  </a:lnTo>
                  <a:lnTo>
                    <a:pt x="106" y="8"/>
                  </a:lnTo>
                  <a:lnTo>
                    <a:pt x="92" y="12"/>
                  </a:lnTo>
                  <a:lnTo>
                    <a:pt x="78" y="17"/>
                  </a:lnTo>
                  <a:lnTo>
                    <a:pt x="65" y="24"/>
                  </a:lnTo>
                  <a:lnTo>
                    <a:pt x="53" y="31"/>
                  </a:lnTo>
                  <a:lnTo>
                    <a:pt x="41" y="39"/>
                  </a:lnTo>
                  <a:lnTo>
                    <a:pt x="31" y="48"/>
                  </a:lnTo>
                  <a:lnTo>
                    <a:pt x="23" y="59"/>
                  </a:lnTo>
                  <a:lnTo>
                    <a:pt x="15" y="69"/>
                  </a:lnTo>
                  <a:lnTo>
                    <a:pt x="8" y="81"/>
                  </a:lnTo>
                  <a:lnTo>
                    <a:pt x="4" y="94"/>
                  </a:lnTo>
                  <a:lnTo>
                    <a:pt x="1" y="107"/>
                  </a:lnTo>
                  <a:lnTo>
                    <a:pt x="0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123" name="Freeform 14">
              <a:extLst>
                <a:ext uri="{FF2B5EF4-FFF2-40B4-BE49-F238E27FC236}">
                  <a16:creationId xmlns:a16="http://schemas.microsoft.com/office/drawing/2014/main" id="{FB0DCEC5-26F2-4024-8E44-3FDD01C486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2263" y="7129463"/>
              <a:ext cx="60325" cy="506412"/>
            </a:xfrm>
            <a:custGeom>
              <a:avLst/>
              <a:gdLst>
                <a:gd name="T0" fmla="*/ 0 w 334"/>
                <a:gd name="T1" fmla="*/ 123 h 2869"/>
                <a:gd name="T2" fmla="*/ 0 w 334"/>
                <a:gd name="T3" fmla="*/ 2755 h 2869"/>
                <a:gd name="T4" fmla="*/ 0 w 334"/>
                <a:gd name="T5" fmla="*/ 2768 h 2869"/>
                <a:gd name="T6" fmla="*/ 1 w 334"/>
                <a:gd name="T7" fmla="*/ 2780 h 2869"/>
                <a:gd name="T8" fmla="*/ 2 w 334"/>
                <a:gd name="T9" fmla="*/ 2791 h 2869"/>
                <a:gd name="T10" fmla="*/ 4 w 334"/>
                <a:gd name="T11" fmla="*/ 2801 h 2869"/>
                <a:gd name="T12" fmla="*/ 6 w 334"/>
                <a:gd name="T13" fmla="*/ 2811 h 2869"/>
                <a:gd name="T14" fmla="*/ 10 w 334"/>
                <a:gd name="T15" fmla="*/ 2819 h 2869"/>
                <a:gd name="T16" fmla="*/ 14 w 334"/>
                <a:gd name="T17" fmla="*/ 2827 h 2869"/>
                <a:gd name="T18" fmla="*/ 18 w 334"/>
                <a:gd name="T19" fmla="*/ 2833 h 2869"/>
                <a:gd name="T20" fmla="*/ 24 w 334"/>
                <a:gd name="T21" fmla="*/ 2839 h 2869"/>
                <a:gd name="T22" fmla="*/ 29 w 334"/>
                <a:gd name="T23" fmla="*/ 2844 h 2869"/>
                <a:gd name="T24" fmla="*/ 36 w 334"/>
                <a:gd name="T25" fmla="*/ 2850 h 2869"/>
                <a:gd name="T26" fmla="*/ 42 w 334"/>
                <a:gd name="T27" fmla="*/ 2854 h 2869"/>
                <a:gd name="T28" fmla="*/ 50 w 334"/>
                <a:gd name="T29" fmla="*/ 2857 h 2869"/>
                <a:gd name="T30" fmla="*/ 58 w 334"/>
                <a:gd name="T31" fmla="*/ 2861 h 2869"/>
                <a:gd name="T32" fmla="*/ 67 w 334"/>
                <a:gd name="T33" fmla="*/ 2863 h 2869"/>
                <a:gd name="T34" fmla="*/ 77 w 334"/>
                <a:gd name="T35" fmla="*/ 2865 h 2869"/>
                <a:gd name="T36" fmla="*/ 99 w 334"/>
                <a:gd name="T37" fmla="*/ 2868 h 2869"/>
                <a:gd name="T38" fmla="*/ 124 w 334"/>
                <a:gd name="T39" fmla="*/ 2869 h 2869"/>
                <a:gd name="T40" fmla="*/ 151 w 334"/>
                <a:gd name="T41" fmla="*/ 2869 h 2869"/>
                <a:gd name="T42" fmla="*/ 181 w 334"/>
                <a:gd name="T43" fmla="*/ 2869 h 2869"/>
                <a:gd name="T44" fmla="*/ 251 w 334"/>
                <a:gd name="T45" fmla="*/ 2867 h 2869"/>
                <a:gd name="T46" fmla="*/ 334 w 334"/>
                <a:gd name="T47" fmla="*/ 2866 h 2869"/>
                <a:gd name="T48" fmla="*/ 334 w 334"/>
                <a:gd name="T49" fmla="*/ 123 h 2869"/>
                <a:gd name="T50" fmla="*/ 333 w 334"/>
                <a:gd name="T51" fmla="*/ 107 h 2869"/>
                <a:gd name="T52" fmla="*/ 330 w 334"/>
                <a:gd name="T53" fmla="*/ 94 h 2869"/>
                <a:gd name="T54" fmla="*/ 325 w 334"/>
                <a:gd name="T55" fmla="*/ 81 h 2869"/>
                <a:gd name="T56" fmla="*/ 319 w 334"/>
                <a:gd name="T57" fmla="*/ 69 h 2869"/>
                <a:gd name="T58" fmla="*/ 312 w 334"/>
                <a:gd name="T59" fmla="*/ 59 h 2869"/>
                <a:gd name="T60" fmla="*/ 303 w 334"/>
                <a:gd name="T61" fmla="*/ 48 h 2869"/>
                <a:gd name="T62" fmla="*/ 293 w 334"/>
                <a:gd name="T63" fmla="*/ 39 h 2869"/>
                <a:gd name="T64" fmla="*/ 282 w 334"/>
                <a:gd name="T65" fmla="*/ 31 h 2869"/>
                <a:gd name="T66" fmla="*/ 269 w 334"/>
                <a:gd name="T67" fmla="*/ 24 h 2869"/>
                <a:gd name="T68" fmla="*/ 256 w 334"/>
                <a:gd name="T69" fmla="*/ 17 h 2869"/>
                <a:gd name="T70" fmla="*/ 243 w 334"/>
                <a:gd name="T71" fmla="*/ 12 h 2869"/>
                <a:gd name="T72" fmla="*/ 228 w 334"/>
                <a:gd name="T73" fmla="*/ 8 h 2869"/>
                <a:gd name="T74" fmla="*/ 214 w 334"/>
                <a:gd name="T75" fmla="*/ 4 h 2869"/>
                <a:gd name="T76" fmla="*/ 198 w 334"/>
                <a:gd name="T77" fmla="*/ 2 h 2869"/>
                <a:gd name="T78" fmla="*/ 182 w 334"/>
                <a:gd name="T79" fmla="*/ 1 h 2869"/>
                <a:gd name="T80" fmla="*/ 167 w 334"/>
                <a:gd name="T81" fmla="*/ 0 h 2869"/>
                <a:gd name="T82" fmla="*/ 151 w 334"/>
                <a:gd name="T83" fmla="*/ 1 h 2869"/>
                <a:gd name="T84" fmla="*/ 136 w 334"/>
                <a:gd name="T85" fmla="*/ 2 h 2869"/>
                <a:gd name="T86" fmla="*/ 120 w 334"/>
                <a:gd name="T87" fmla="*/ 4 h 2869"/>
                <a:gd name="T88" fmla="*/ 105 w 334"/>
                <a:gd name="T89" fmla="*/ 8 h 2869"/>
                <a:gd name="T90" fmla="*/ 91 w 334"/>
                <a:gd name="T91" fmla="*/ 12 h 2869"/>
                <a:gd name="T92" fmla="*/ 77 w 334"/>
                <a:gd name="T93" fmla="*/ 17 h 2869"/>
                <a:gd name="T94" fmla="*/ 64 w 334"/>
                <a:gd name="T95" fmla="*/ 24 h 2869"/>
                <a:gd name="T96" fmla="*/ 52 w 334"/>
                <a:gd name="T97" fmla="*/ 31 h 2869"/>
                <a:gd name="T98" fmla="*/ 41 w 334"/>
                <a:gd name="T99" fmla="*/ 39 h 2869"/>
                <a:gd name="T100" fmla="*/ 30 w 334"/>
                <a:gd name="T101" fmla="*/ 48 h 2869"/>
                <a:gd name="T102" fmla="*/ 22 w 334"/>
                <a:gd name="T103" fmla="*/ 59 h 2869"/>
                <a:gd name="T104" fmla="*/ 14 w 334"/>
                <a:gd name="T105" fmla="*/ 69 h 2869"/>
                <a:gd name="T106" fmla="*/ 7 w 334"/>
                <a:gd name="T107" fmla="*/ 81 h 2869"/>
                <a:gd name="T108" fmla="*/ 3 w 334"/>
                <a:gd name="T109" fmla="*/ 94 h 2869"/>
                <a:gd name="T110" fmla="*/ 1 w 334"/>
                <a:gd name="T111" fmla="*/ 107 h 2869"/>
                <a:gd name="T112" fmla="*/ 0 w 334"/>
                <a:gd name="T113" fmla="*/ 123 h 2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4" h="2869">
                  <a:moveTo>
                    <a:pt x="0" y="123"/>
                  </a:moveTo>
                  <a:lnTo>
                    <a:pt x="0" y="2755"/>
                  </a:lnTo>
                  <a:lnTo>
                    <a:pt x="0" y="2768"/>
                  </a:lnTo>
                  <a:lnTo>
                    <a:pt x="1" y="2780"/>
                  </a:lnTo>
                  <a:lnTo>
                    <a:pt x="2" y="2791"/>
                  </a:lnTo>
                  <a:lnTo>
                    <a:pt x="4" y="2801"/>
                  </a:lnTo>
                  <a:lnTo>
                    <a:pt x="6" y="2811"/>
                  </a:lnTo>
                  <a:lnTo>
                    <a:pt x="10" y="2819"/>
                  </a:lnTo>
                  <a:lnTo>
                    <a:pt x="14" y="2827"/>
                  </a:lnTo>
                  <a:lnTo>
                    <a:pt x="18" y="2833"/>
                  </a:lnTo>
                  <a:lnTo>
                    <a:pt x="24" y="2839"/>
                  </a:lnTo>
                  <a:lnTo>
                    <a:pt x="29" y="2844"/>
                  </a:lnTo>
                  <a:lnTo>
                    <a:pt x="36" y="2850"/>
                  </a:lnTo>
                  <a:lnTo>
                    <a:pt x="42" y="2854"/>
                  </a:lnTo>
                  <a:lnTo>
                    <a:pt x="50" y="2857"/>
                  </a:lnTo>
                  <a:lnTo>
                    <a:pt x="58" y="2861"/>
                  </a:lnTo>
                  <a:lnTo>
                    <a:pt x="67" y="2863"/>
                  </a:lnTo>
                  <a:lnTo>
                    <a:pt x="77" y="2865"/>
                  </a:lnTo>
                  <a:lnTo>
                    <a:pt x="99" y="2868"/>
                  </a:lnTo>
                  <a:lnTo>
                    <a:pt x="124" y="2869"/>
                  </a:lnTo>
                  <a:lnTo>
                    <a:pt x="151" y="2869"/>
                  </a:lnTo>
                  <a:lnTo>
                    <a:pt x="181" y="2869"/>
                  </a:lnTo>
                  <a:lnTo>
                    <a:pt x="251" y="2867"/>
                  </a:lnTo>
                  <a:lnTo>
                    <a:pt x="334" y="2866"/>
                  </a:lnTo>
                  <a:lnTo>
                    <a:pt x="334" y="123"/>
                  </a:lnTo>
                  <a:lnTo>
                    <a:pt x="333" y="107"/>
                  </a:lnTo>
                  <a:lnTo>
                    <a:pt x="330" y="94"/>
                  </a:lnTo>
                  <a:lnTo>
                    <a:pt x="325" y="81"/>
                  </a:lnTo>
                  <a:lnTo>
                    <a:pt x="319" y="69"/>
                  </a:lnTo>
                  <a:lnTo>
                    <a:pt x="312" y="59"/>
                  </a:lnTo>
                  <a:lnTo>
                    <a:pt x="303" y="48"/>
                  </a:lnTo>
                  <a:lnTo>
                    <a:pt x="293" y="39"/>
                  </a:lnTo>
                  <a:lnTo>
                    <a:pt x="282" y="31"/>
                  </a:lnTo>
                  <a:lnTo>
                    <a:pt x="269" y="24"/>
                  </a:lnTo>
                  <a:lnTo>
                    <a:pt x="256" y="17"/>
                  </a:lnTo>
                  <a:lnTo>
                    <a:pt x="243" y="12"/>
                  </a:lnTo>
                  <a:lnTo>
                    <a:pt x="228" y="8"/>
                  </a:lnTo>
                  <a:lnTo>
                    <a:pt x="214" y="4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7" y="0"/>
                  </a:lnTo>
                  <a:lnTo>
                    <a:pt x="151" y="1"/>
                  </a:lnTo>
                  <a:lnTo>
                    <a:pt x="136" y="2"/>
                  </a:lnTo>
                  <a:lnTo>
                    <a:pt x="120" y="4"/>
                  </a:lnTo>
                  <a:lnTo>
                    <a:pt x="105" y="8"/>
                  </a:lnTo>
                  <a:lnTo>
                    <a:pt x="91" y="12"/>
                  </a:lnTo>
                  <a:lnTo>
                    <a:pt x="77" y="17"/>
                  </a:lnTo>
                  <a:lnTo>
                    <a:pt x="64" y="24"/>
                  </a:lnTo>
                  <a:lnTo>
                    <a:pt x="52" y="31"/>
                  </a:lnTo>
                  <a:lnTo>
                    <a:pt x="41" y="39"/>
                  </a:lnTo>
                  <a:lnTo>
                    <a:pt x="30" y="48"/>
                  </a:lnTo>
                  <a:lnTo>
                    <a:pt x="22" y="59"/>
                  </a:lnTo>
                  <a:lnTo>
                    <a:pt x="14" y="69"/>
                  </a:lnTo>
                  <a:lnTo>
                    <a:pt x="7" y="81"/>
                  </a:lnTo>
                  <a:lnTo>
                    <a:pt x="3" y="94"/>
                  </a:lnTo>
                  <a:lnTo>
                    <a:pt x="1" y="107"/>
                  </a:lnTo>
                  <a:lnTo>
                    <a:pt x="0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124" name="Freeform 15">
              <a:extLst>
                <a:ext uri="{FF2B5EF4-FFF2-40B4-BE49-F238E27FC236}">
                  <a16:creationId xmlns:a16="http://schemas.microsoft.com/office/drawing/2014/main" id="{948A2342-CA68-40F1-B0EA-DEEF2FF781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7225" y="6327775"/>
              <a:ext cx="452438" cy="293687"/>
            </a:xfrm>
            <a:custGeom>
              <a:avLst/>
              <a:gdLst>
                <a:gd name="T0" fmla="*/ 0 w 2563"/>
                <a:gd name="T1" fmla="*/ 1372 h 1668"/>
                <a:gd name="T2" fmla="*/ 7 w 2563"/>
                <a:gd name="T3" fmla="*/ 1397 h 1668"/>
                <a:gd name="T4" fmla="*/ 13 w 2563"/>
                <a:gd name="T5" fmla="*/ 1419 h 1668"/>
                <a:gd name="T6" fmla="*/ 21 w 2563"/>
                <a:gd name="T7" fmla="*/ 1439 h 1668"/>
                <a:gd name="T8" fmla="*/ 27 w 2563"/>
                <a:gd name="T9" fmla="*/ 1458 h 1668"/>
                <a:gd name="T10" fmla="*/ 41 w 2563"/>
                <a:gd name="T11" fmla="*/ 1490 h 1668"/>
                <a:gd name="T12" fmla="*/ 56 w 2563"/>
                <a:gd name="T13" fmla="*/ 1519 h 1668"/>
                <a:gd name="T14" fmla="*/ 71 w 2563"/>
                <a:gd name="T15" fmla="*/ 1550 h 1668"/>
                <a:gd name="T16" fmla="*/ 85 w 2563"/>
                <a:gd name="T17" fmla="*/ 1582 h 1668"/>
                <a:gd name="T18" fmla="*/ 92 w 2563"/>
                <a:gd name="T19" fmla="*/ 1601 h 1668"/>
                <a:gd name="T20" fmla="*/ 99 w 2563"/>
                <a:gd name="T21" fmla="*/ 1620 h 1668"/>
                <a:gd name="T22" fmla="*/ 105 w 2563"/>
                <a:gd name="T23" fmla="*/ 1643 h 1668"/>
                <a:gd name="T24" fmla="*/ 112 w 2563"/>
                <a:gd name="T25" fmla="*/ 1668 h 1668"/>
                <a:gd name="T26" fmla="*/ 2563 w 2563"/>
                <a:gd name="T27" fmla="*/ 259 h 1668"/>
                <a:gd name="T28" fmla="*/ 2555 w 2563"/>
                <a:gd name="T29" fmla="*/ 235 h 1668"/>
                <a:gd name="T30" fmla="*/ 2549 w 2563"/>
                <a:gd name="T31" fmla="*/ 214 h 1668"/>
                <a:gd name="T32" fmla="*/ 2541 w 2563"/>
                <a:gd name="T33" fmla="*/ 197 h 1668"/>
                <a:gd name="T34" fmla="*/ 2535 w 2563"/>
                <a:gd name="T35" fmla="*/ 183 h 1668"/>
                <a:gd name="T36" fmla="*/ 2521 w 2563"/>
                <a:gd name="T37" fmla="*/ 159 h 1668"/>
                <a:gd name="T38" fmla="*/ 2508 w 2563"/>
                <a:gd name="T39" fmla="*/ 138 h 1668"/>
                <a:gd name="T40" fmla="*/ 2500 w 2563"/>
                <a:gd name="T41" fmla="*/ 129 h 1668"/>
                <a:gd name="T42" fmla="*/ 2493 w 2563"/>
                <a:gd name="T43" fmla="*/ 118 h 1668"/>
                <a:gd name="T44" fmla="*/ 2487 w 2563"/>
                <a:gd name="T45" fmla="*/ 105 h 1668"/>
                <a:gd name="T46" fmla="*/ 2479 w 2563"/>
                <a:gd name="T47" fmla="*/ 91 h 1668"/>
                <a:gd name="T48" fmla="*/ 2473 w 2563"/>
                <a:gd name="T49" fmla="*/ 73 h 1668"/>
                <a:gd name="T50" fmla="*/ 2465 w 2563"/>
                <a:gd name="T51" fmla="*/ 53 h 1668"/>
                <a:gd name="T52" fmla="*/ 2459 w 2563"/>
                <a:gd name="T53" fmla="*/ 28 h 1668"/>
                <a:gd name="T54" fmla="*/ 2451 w 2563"/>
                <a:gd name="T55" fmla="*/ 0 h 1668"/>
                <a:gd name="T56" fmla="*/ 2428 w 2563"/>
                <a:gd name="T57" fmla="*/ 4 h 1668"/>
                <a:gd name="T58" fmla="*/ 2396 w 2563"/>
                <a:gd name="T59" fmla="*/ 16 h 1668"/>
                <a:gd name="T60" fmla="*/ 2353 w 2563"/>
                <a:gd name="T61" fmla="*/ 34 h 1668"/>
                <a:gd name="T62" fmla="*/ 2302 w 2563"/>
                <a:gd name="T63" fmla="*/ 58 h 1668"/>
                <a:gd name="T64" fmla="*/ 2244 w 2563"/>
                <a:gd name="T65" fmla="*/ 86 h 1668"/>
                <a:gd name="T66" fmla="*/ 2176 w 2563"/>
                <a:gd name="T67" fmla="*/ 121 h 1668"/>
                <a:gd name="T68" fmla="*/ 2104 w 2563"/>
                <a:gd name="T69" fmla="*/ 160 h 1668"/>
                <a:gd name="T70" fmla="*/ 2023 w 2563"/>
                <a:gd name="T71" fmla="*/ 202 h 1668"/>
                <a:gd name="T72" fmla="*/ 1849 w 2563"/>
                <a:gd name="T73" fmla="*/ 299 h 1668"/>
                <a:gd name="T74" fmla="*/ 1658 w 2563"/>
                <a:gd name="T75" fmla="*/ 407 h 1668"/>
                <a:gd name="T76" fmla="*/ 1455 w 2563"/>
                <a:gd name="T77" fmla="*/ 523 h 1668"/>
                <a:gd name="T78" fmla="*/ 1246 w 2563"/>
                <a:gd name="T79" fmla="*/ 644 h 1668"/>
                <a:gd name="T80" fmla="*/ 1037 w 2563"/>
                <a:gd name="T81" fmla="*/ 766 h 1668"/>
                <a:gd name="T82" fmla="*/ 833 w 2563"/>
                <a:gd name="T83" fmla="*/ 886 h 1668"/>
                <a:gd name="T84" fmla="*/ 637 w 2563"/>
                <a:gd name="T85" fmla="*/ 1000 h 1668"/>
                <a:gd name="T86" fmla="*/ 458 w 2563"/>
                <a:gd name="T87" fmla="*/ 1106 h 1668"/>
                <a:gd name="T88" fmla="*/ 300 w 2563"/>
                <a:gd name="T89" fmla="*/ 1200 h 1668"/>
                <a:gd name="T90" fmla="*/ 167 w 2563"/>
                <a:gd name="T91" fmla="*/ 1277 h 1668"/>
                <a:gd name="T92" fmla="*/ 65 w 2563"/>
                <a:gd name="T93" fmla="*/ 1335 h 1668"/>
                <a:gd name="T94" fmla="*/ 0 w 2563"/>
                <a:gd name="T95" fmla="*/ 1372 h 1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563" h="1668">
                  <a:moveTo>
                    <a:pt x="0" y="1372"/>
                  </a:moveTo>
                  <a:lnTo>
                    <a:pt x="7" y="1397"/>
                  </a:lnTo>
                  <a:lnTo>
                    <a:pt x="13" y="1419"/>
                  </a:lnTo>
                  <a:lnTo>
                    <a:pt x="21" y="1439"/>
                  </a:lnTo>
                  <a:lnTo>
                    <a:pt x="27" y="1458"/>
                  </a:lnTo>
                  <a:lnTo>
                    <a:pt x="41" y="1490"/>
                  </a:lnTo>
                  <a:lnTo>
                    <a:pt x="56" y="1519"/>
                  </a:lnTo>
                  <a:lnTo>
                    <a:pt x="71" y="1550"/>
                  </a:lnTo>
                  <a:lnTo>
                    <a:pt x="85" y="1582"/>
                  </a:lnTo>
                  <a:lnTo>
                    <a:pt x="92" y="1601"/>
                  </a:lnTo>
                  <a:lnTo>
                    <a:pt x="99" y="1620"/>
                  </a:lnTo>
                  <a:lnTo>
                    <a:pt x="105" y="1643"/>
                  </a:lnTo>
                  <a:lnTo>
                    <a:pt x="112" y="1668"/>
                  </a:lnTo>
                  <a:lnTo>
                    <a:pt x="2563" y="259"/>
                  </a:lnTo>
                  <a:lnTo>
                    <a:pt x="2555" y="235"/>
                  </a:lnTo>
                  <a:lnTo>
                    <a:pt x="2549" y="214"/>
                  </a:lnTo>
                  <a:lnTo>
                    <a:pt x="2541" y="197"/>
                  </a:lnTo>
                  <a:lnTo>
                    <a:pt x="2535" y="183"/>
                  </a:lnTo>
                  <a:lnTo>
                    <a:pt x="2521" y="159"/>
                  </a:lnTo>
                  <a:lnTo>
                    <a:pt x="2508" y="138"/>
                  </a:lnTo>
                  <a:lnTo>
                    <a:pt x="2500" y="129"/>
                  </a:lnTo>
                  <a:lnTo>
                    <a:pt x="2493" y="118"/>
                  </a:lnTo>
                  <a:lnTo>
                    <a:pt x="2487" y="105"/>
                  </a:lnTo>
                  <a:lnTo>
                    <a:pt x="2479" y="91"/>
                  </a:lnTo>
                  <a:lnTo>
                    <a:pt x="2473" y="73"/>
                  </a:lnTo>
                  <a:lnTo>
                    <a:pt x="2465" y="53"/>
                  </a:lnTo>
                  <a:lnTo>
                    <a:pt x="2459" y="28"/>
                  </a:lnTo>
                  <a:lnTo>
                    <a:pt x="2451" y="0"/>
                  </a:lnTo>
                  <a:lnTo>
                    <a:pt x="2428" y="4"/>
                  </a:lnTo>
                  <a:lnTo>
                    <a:pt x="2396" y="16"/>
                  </a:lnTo>
                  <a:lnTo>
                    <a:pt x="2353" y="34"/>
                  </a:lnTo>
                  <a:lnTo>
                    <a:pt x="2302" y="58"/>
                  </a:lnTo>
                  <a:lnTo>
                    <a:pt x="2244" y="86"/>
                  </a:lnTo>
                  <a:lnTo>
                    <a:pt x="2176" y="121"/>
                  </a:lnTo>
                  <a:lnTo>
                    <a:pt x="2104" y="160"/>
                  </a:lnTo>
                  <a:lnTo>
                    <a:pt x="2023" y="202"/>
                  </a:lnTo>
                  <a:lnTo>
                    <a:pt x="1849" y="299"/>
                  </a:lnTo>
                  <a:lnTo>
                    <a:pt x="1658" y="407"/>
                  </a:lnTo>
                  <a:lnTo>
                    <a:pt x="1455" y="523"/>
                  </a:lnTo>
                  <a:lnTo>
                    <a:pt x="1246" y="644"/>
                  </a:lnTo>
                  <a:lnTo>
                    <a:pt x="1037" y="766"/>
                  </a:lnTo>
                  <a:lnTo>
                    <a:pt x="833" y="886"/>
                  </a:lnTo>
                  <a:lnTo>
                    <a:pt x="637" y="1000"/>
                  </a:lnTo>
                  <a:lnTo>
                    <a:pt x="458" y="1106"/>
                  </a:lnTo>
                  <a:lnTo>
                    <a:pt x="300" y="1200"/>
                  </a:lnTo>
                  <a:lnTo>
                    <a:pt x="167" y="1277"/>
                  </a:lnTo>
                  <a:lnTo>
                    <a:pt x="65" y="1335"/>
                  </a:lnTo>
                  <a:lnTo>
                    <a:pt x="0" y="13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125" name="Freeform 16">
              <a:extLst>
                <a:ext uri="{FF2B5EF4-FFF2-40B4-BE49-F238E27FC236}">
                  <a16:creationId xmlns:a16="http://schemas.microsoft.com/office/drawing/2014/main" id="{D8A25C4C-F811-4B7A-9CD5-49CC8D0632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7225" y="8151813"/>
              <a:ext cx="452438" cy="293687"/>
            </a:xfrm>
            <a:custGeom>
              <a:avLst/>
              <a:gdLst>
                <a:gd name="T0" fmla="*/ 0 w 2563"/>
                <a:gd name="T1" fmla="*/ 296 h 1668"/>
                <a:gd name="T2" fmla="*/ 14 w 2563"/>
                <a:gd name="T3" fmla="*/ 300 h 1668"/>
                <a:gd name="T4" fmla="*/ 28 w 2563"/>
                <a:gd name="T5" fmla="*/ 304 h 1668"/>
                <a:gd name="T6" fmla="*/ 45 w 2563"/>
                <a:gd name="T7" fmla="*/ 310 h 1668"/>
                <a:gd name="T8" fmla="*/ 61 w 2563"/>
                <a:gd name="T9" fmla="*/ 316 h 1668"/>
                <a:gd name="T10" fmla="*/ 96 w 2563"/>
                <a:gd name="T11" fmla="*/ 330 h 1668"/>
                <a:gd name="T12" fmla="*/ 134 w 2563"/>
                <a:gd name="T13" fmla="*/ 349 h 1668"/>
                <a:gd name="T14" fmla="*/ 173 w 2563"/>
                <a:gd name="T15" fmla="*/ 368 h 1668"/>
                <a:gd name="T16" fmla="*/ 214 w 2563"/>
                <a:gd name="T17" fmla="*/ 390 h 1668"/>
                <a:gd name="T18" fmla="*/ 257 w 2563"/>
                <a:gd name="T19" fmla="*/ 414 h 1668"/>
                <a:gd name="T20" fmla="*/ 300 w 2563"/>
                <a:gd name="T21" fmla="*/ 438 h 1668"/>
                <a:gd name="T22" fmla="*/ 386 w 2563"/>
                <a:gd name="T23" fmla="*/ 489 h 1668"/>
                <a:gd name="T24" fmla="*/ 469 w 2563"/>
                <a:gd name="T25" fmla="*/ 537 h 1668"/>
                <a:gd name="T26" fmla="*/ 544 w 2563"/>
                <a:gd name="T27" fmla="*/ 581 h 1668"/>
                <a:gd name="T28" fmla="*/ 607 w 2563"/>
                <a:gd name="T29" fmla="*/ 617 h 1668"/>
                <a:gd name="T30" fmla="*/ 2451 w 2563"/>
                <a:gd name="T31" fmla="*/ 1668 h 1668"/>
                <a:gd name="T32" fmla="*/ 2458 w 2563"/>
                <a:gd name="T33" fmla="*/ 1643 h 1668"/>
                <a:gd name="T34" fmla="*/ 2464 w 2563"/>
                <a:gd name="T35" fmla="*/ 1620 h 1668"/>
                <a:gd name="T36" fmla="*/ 2471 w 2563"/>
                <a:gd name="T37" fmla="*/ 1600 h 1668"/>
                <a:gd name="T38" fmla="*/ 2478 w 2563"/>
                <a:gd name="T39" fmla="*/ 1582 h 1668"/>
                <a:gd name="T40" fmla="*/ 2492 w 2563"/>
                <a:gd name="T41" fmla="*/ 1550 h 1668"/>
                <a:gd name="T42" fmla="*/ 2506 w 2563"/>
                <a:gd name="T43" fmla="*/ 1520 h 1668"/>
                <a:gd name="T44" fmla="*/ 2522 w 2563"/>
                <a:gd name="T45" fmla="*/ 1490 h 1668"/>
                <a:gd name="T46" fmla="*/ 2536 w 2563"/>
                <a:gd name="T47" fmla="*/ 1458 h 1668"/>
                <a:gd name="T48" fmla="*/ 2542 w 2563"/>
                <a:gd name="T49" fmla="*/ 1439 h 1668"/>
                <a:gd name="T50" fmla="*/ 2550 w 2563"/>
                <a:gd name="T51" fmla="*/ 1419 h 1668"/>
                <a:gd name="T52" fmla="*/ 2556 w 2563"/>
                <a:gd name="T53" fmla="*/ 1397 h 1668"/>
                <a:gd name="T54" fmla="*/ 2563 w 2563"/>
                <a:gd name="T55" fmla="*/ 1371 h 1668"/>
                <a:gd name="T56" fmla="*/ 1353 w 2563"/>
                <a:gd name="T57" fmla="*/ 688 h 1668"/>
                <a:gd name="T58" fmla="*/ 1313 w 2563"/>
                <a:gd name="T59" fmla="*/ 665 h 1668"/>
                <a:gd name="T60" fmla="*/ 1259 w 2563"/>
                <a:gd name="T61" fmla="*/ 632 h 1668"/>
                <a:gd name="T62" fmla="*/ 1192 w 2563"/>
                <a:gd name="T63" fmla="*/ 592 h 1668"/>
                <a:gd name="T64" fmla="*/ 1113 w 2563"/>
                <a:gd name="T65" fmla="*/ 545 h 1668"/>
                <a:gd name="T66" fmla="*/ 1026 w 2563"/>
                <a:gd name="T67" fmla="*/ 493 h 1668"/>
                <a:gd name="T68" fmla="*/ 931 w 2563"/>
                <a:gd name="T69" fmla="*/ 438 h 1668"/>
                <a:gd name="T70" fmla="*/ 834 w 2563"/>
                <a:gd name="T71" fmla="*/ 380 h 1668"/>
                <a:gd name="T72" fmla="*/ 733 w 2563"/>
                <a:gd name="T73" fmla="*/ 322 h 1668"/>
                <a:gd name="T74" fmla="*/ 633 w 2563"/>
                <a:gd name="T75" fmla="*/ 264 h 1668"/>
                <a:gd name="T76" fmla="*/ 534 w 2563"/>
                <a:gd name="T77" fmla="*/ 209 h 1668"/>
                <a:gd name="T78" fmla="*/ 441 w 2563"/>
                <a:gd name="T79" fmla="*/ 157 h 1668"/>
                <a:gd name="T80" fmla="*/ 353 w 2563"/>
                <a:gd name="T81" fmla="*/ 109 h 1668"/>
                <a:gd name="T82" fmla="*/ 275 w 2563"/>
                <a:gd name="T83" fmla="*/ 69 h 1668"/>
                <a:gd name="T84" fmla="*/ 206 w 2563"/>
                <a:gd name="T85" fmla="*/ 37 h 1668"/>
                <a:gd name="T86" fmla="*/ 177 w 2563"/>
                <a:gd name="T87" fmla="*/ 24 h 1668"/>
                <a:gd name="T88" fmla="*/ 152 w 2563"/>
                <a:gd name="T89" fmla="*/ 13 h 1668"/>
                <a:gd name="T90" fmla="*/ 129 w 2563"/>
                <a:gd name="T91" fmla="*/ 4 h 1668"/>
                <a:gd name="T92" fmla="*/ 112 w 2563"/>
                <a:gd name="T93" fmla="*/ 0 h 1668"/>
                <a:gd name="T94" fmla="*/ 103 w 2563"/>
                <a:gd name="T95" fmla="*/ 32 h 1668"/>
                <a:gd name="T96" fmla="*/ 94 w 2563"/>
                <a:gd name="T97" fmla="*/ 59 h 1668"/>
                <a:gd name="T98" fmla="*/ 86 w 2563"/>
                <a:gd name="T99" fmla="*/ 82 h 1668"/>
                <a:gd name="T100" fmla="*/ 78 w 2563"/>
                <a:gd name="T101" fmla="*/ 101 h 1668"/>
                <a:gd name="T102" fmla="*/ 69 w 2563"/>
                <a:gd name="T103" fmla="*/ 116 h 1668"/>
                <a:gd name="T104" fmla="*/ 61 w 2563"/>
                <a:gd name="T105" fmla="*/ 129 h 1668"/>
                <a:gd name="T106" fmla="*/ 53 w 2563"/>
                <a:gd name="T107" fmla="*/ 141 h 1668"/>
                <a:gd name="T108" fmla="*/ 46 w 2563"/>
                <a:gd name="T109" fmla="*/ 151 h 1668"/>
                <a:gd name="T110" fmla="*/ 38 w 2563"/>
                <a:gd name="T111" fmla="*/ 161 h 1668"/>
                <a:gd name="T112" fmla="*/ 30 w 2563"/>
                <a:gd name="T113" fmla="*/ 172 h 1668"/>
                <a:gd name="T114" fmla="*/ 24 w 2563"/>
                <a:gd name="T115" fmla="*/ 185 h 1668"/>
                <a:gd name="T116" fmla="*/ 18 w 2563"/>
                <a:gd name="T117" fmla="*/ 199 h 1668"/>
                <a:gd name="T118" fmla="*/ 13 w 2563"/>
                <a:gd name="T119" fmla="*/ 217 h 1668"/>
                <a:gd name="T120" fmla="*/ 8 w 2563"/>
                <a:gd name="T121" fmla="*/ 238 h 1668"/>
                <a:gd name="T122" fmla="*/ 3 w 2563"/>
                <a:gd name="T123" fmla="*/ 264 h 1668"/>
                <a:gd name="T124" fmla="*/ 0 w 2563"/>
                <a:gd name="T125" fmla="*/ 296 h 1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63" h="1668">
                  <a:moveTo>
                    <a:pt x="0" y="296"/>
                  </a:moveTo>
                  <a:lnTo>
                    <a:pt x="14" y="300"/>
                  </a:lnTo>
                  <a:lnTo>
                    <a:pt x="28" y="304"/>
                  </a:lnTo>
                  <a:lnTo>
                    <a:pt x="45" y="310"/>
                  </a:lnTo>
                  <a:lnTo>
                    <a:pt x="61" y="316"/>
                  </a:lnTo>
                  <a:lnTo>
                    <a:pt x="96" y="330"/>
                  </a:lnTo>
                  <a:lnTo>
                    <a:pt x="134" y="349"/>
                  </a:lnTo>
                  <a:lnTo>
                    <a:pt x="173" y="368"/>
                  </a:lnTo>
                  <a:lnTo>
                    <a:pt x="214" y="390"/>
                  </a:lnTo>
                  <a:lnTo>
                    <a:pt x="257" y="414"/>
                  </a:lnTo>
                  <a:lnTo>
                    <a:pt x="300" y="438"/>
                  </a:lnTo>
                  <a:lnTo>
                    <a:pt x="386" y="489"/>
                  </a:lnTo>
                  <a:lnTo>
                    <a:pt x="469" y="537"/>
                  </a:lnTo>
                  <a:lnTo>
                    <a:pt x="544" y="581"/>
                  </a:lnTo>
                  <a:lnTo>
                    <a:pt x="607" y="617"/>
                  </a:lnTo>
                  <a:lnTo>
                    <a:pt x="2451" y="1668"/>
                  </a:lnTo>
                  <a:lnTo>
                    <a:pt x="2458" y="1643"/>
                  </a:lnTo>
                  <a:lnTo>
                    <a:pt x="2464" y="1620"/>
                  </a:lnTo>
                  <a:lnTo>
                    <a:pt x="2471" y="1600"/>
                  </a:lnTo>
                  <a:lnTo>
                    <a:pt x="2478" y="1582"/>
                  </a:lnTo>
                  <a:lnTo>
                    <a:pt x="2492" y="1550"/>
                  </a:lnTo>
                  <a:lnTo>
                    <a:pt x="2506" y="1520"/>
                  </a:lnTo>
                  <a:lnTo>
                    <a:pt x="2522" y="1490"/>
                  </a:lnTo>
                  <a:lnTo>
                    <a:pt x="2536" y="1458"/>
                  </a:lnTo>
                  <a:lnTo>
                    <a:pt x="2542" y="1439"/>
                  </a:lnTo>
                  <a:lnTo>
                    <a:pt x="2550" y="1419"/>
                  </a:lnTo>
                  <a:lnTo>
                    <a:pt x="2556" y="1397"/>
                  </a:lnTo>
                  <a:lnTo>
                    <a:pt x="2563" y="1371"/>
                  </a:lnTo>
                  <a:lnTo>
                    <a:pt x="1353" y="688"/>
                  </a:lnTo>
                  <a:lnTo>
                    <a:pt x="1313" y="665"/>
                  </a:lnTo>
                  <a:lnTo>
                    <a:pt x="1259" y="632"/>
                  </a:lnTo>
                  <a:lnTo>
                    <a:pt x="1192" y="592"/>
                  </a:lnTo>
                  <a:lnTo>
                    <a:pt x="1113" y="545"/>
                  </a:lnTo>
                  <a:lnTo>
                    <a:pt x="1026" y="493"/>
                  </a:lnTo>
                  <a:lnTo>
                    <a:pt x="931" y="438"/>
                  </a:lnTo>
                  <a:lnTo>
                    <a:pt x="834" y="380"/>
                  </a:lnTo>
                  <a:lnTo>
                    <a:pt x="733" y="322"/>
                  </a:lnTo>
                  <a:lnTo>
                    <a:pt x="633" y="264"/>
                  </a:lnTo>
                  <a:lnTo>
                    <a:pt x="534" y="209"/>
                  </a:lnTo>
                  <a:lnTo>
                    <a:pt x="441" y="157"/>
                  </a:lnTo>
                  <a:lnTo>
                    <a:pt x="353" y="109"/>
                  </a:lnTo>
                  <a:lnTo>
                    <a:pt x="275" y="69"/>
                  </a:lnTo>
                  <a:lnTo>
                    <a:pt x="206" y="37"/>
                  </a:lnTo>
                  <a:lnTo>
                    <a:pt x="177" y="24"/>
                  </a:lnTo>
                  <a:lnTo>
                    <a:pt x="152" y="13"/>
                  </a:lnTo>
                  <a:lnTo>
                    <a:pt x="129" y="4"/>
                  </a:lnTo>
                  <a:lnTo>
                    <a:pt x="112" y="0"/>
                  </a:lnTo>
                  <a:lnTo>
                    <a:pt x="103" y="32"/>
                  </a:lnTo>
                  <a:lnTo>
                    <a:pt x="94" y="59"/>
                  </a:lnTo>
                  <a:lnTo>
                    <a:pt x="86" y="82"/>
                  </a:lnTo>
                  <a:lnTo>
                    <a:pt x="78" y="101"/>
                  </a:lnTo>
                  <a:lnTo>
                    <a:pt x="69" y="116"/>
                  </a:lnTo>
                  <a:lnTo>
                    <a:pt x="61" y="129"/>
                  </a:lnTo>
                  <a:lnTo>
                    <a:pt x="53" y="141"/>
                  </a:lnTo>
                  <a:lnTo>
                    <a:pt x="46" y="151"/>
                  </a:lnTo>
                  <a:lnTo>
                    <a:pt x="38" y="161"/>
                  </a:lnTo>
                  <a:lnTo>
                    <a:pt x="30" y="172"/>
                  </a:lnTo>
                  <a:lnTo>
                    <a:pt x="24" y="185"/>
                  </a:lnTo>
                  <a:lnTo>
                    <a:pt x="18" y="199"/>
                  </a:lnTo>
                  <a:lnTo>
                    <a:pt x="13" y="217"/>
                  </a:lnTo>
                  <a:lnTo>
                    <a:pt x="8" y="238"/>
                  </a:lnTo>
                  <a:lnTo>
                    <a:pt x="3" y="264"/>
                  </a:lnTo>
                  <a:lnTo>
                    <a:pt x="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126" name="Freeform 17">
              <a:extLst>
                <a:ext uri="{FF2B5EF4-FFF2-40B4-BE49-F238E27FC236}">
                  <a16:creationId xmlns:a16="http://schemas.microsoft.com/office/drawing/2014/main" id="{C63B50B1-94B2-4CE6-AD53-6D1AB784EF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1325" y="8151813"/>
              <a:ext cx="458788" cy="287337"/>
            </a:xfrm>
            <a:custGeom>
              <a:avLst/>
              <a:gdLst>
                <a:gd name="T0" fmla="*/ 0 w 2599"/>
                <a:gd name="T1" fmla="*/ 1371 h 1631"/>
                <a:gd name="T2" fmla="*/ 16 w 2599"/>
                <a:gd name="T3" fmla="*/ 1404 h 1631"/>
                <a:gd name="T4" fmla="*/ 33 w 2599"/>
                <a:gd name="T5" fmla="*/ 1434 h 1631"/>
                <a:gd name="T6" fmla="*/ 49 w 2599"/>
                <a:gd name="T7" fmla="*/ 1463 h 1631"/>
                <a:gd name="T8" fmla="*/ 63 w 2599"/>
                <a:gd name="T9" fmla="*/ 1494 h 1631"/>
                <a:gd name="T10" fmla="*/ 77 w 2599"/>
                <a:gd name="T11" fmla="*/ 1525 h 1631"/>
                <a:gd name="T12" fmla="*/ 89 w 2599"/>
                <a:gd name="T13" fmla="*/ 1557 h 1631"/>
                <a:gd name="T14" fmla="*/ 101 w 2599"/>
                <a:gd name="T15" fmla="*/ 1592 h 1631"/>
                <a:gd name="T16" fmla="*/ 111 w 2599"/>
                <a:gd name="T17" fmla="*/ 1631 h 1631"/>
                <a:gd name="T18" fmla="*/ 135 w 2599"/>
                <a:gd name="T19" fmla="*/ 1628 h 1631"/>
                <a:gd name="T20" fmla="*/ 159 w 2599"/>
                <a:gd name="T21" fmla="*/ 1624 h 1631"/>
                <a:gd name="T22" fmla="*/ 181 w 2599"/>
                <a:gd name="T23" fmla="*/ 1618 h 1631"/>
                <a:gd name="T24" fmla="*/ 203 w 2599"/>
                <a:gd name="T25" fmla="*/ 1611 h 1631"/>
                <a:gd name="T26" fmla="*/ 224 w 2599"/>
                <a:gd name="T27" fmla="*/ 1602 h 1631"/>
                <a:gd name="T28" fmla="*/ 245 w 2599"/>
                <a:gd name="T29" fmla="*/ 1593 h 1631"/>
                <a:gd name="T30" fmla="*/ 265 w 2599"/>
                <a:gd name="T31" fmla="*/ 1582 h 1631"/>
                <a:gd name="T32" fmla="*/ 286 w 2599"/>
                <a:gd name="T33" fmla="*/ 1572 h 1631"/>
                <a:gd name="T34" fmla="*/ 325 w 2599"/>
                <a:gd name="T35" fmla="*/ 1549 h 1631"/>
                <a:gd name="T36" fmla="*/ 363 w 2599"/>
                <a:gd name="T37" fmla="*/ 1524 h 1631"/>
                <a:gd name="T38" fmla="*/ 401 w 2599"/>
                <a:gd name="T39" fmla="*/ 1499 h 1631"/>
                <a:gd name="T40" fmla="*/ 438 w 2599"/>
                <a:gd name="T41" fmla="*/ 1475 h 1631"/>
                <a:gd name="T42" fmla="*/ 1360 w 2599"/>
                <a:gd name="T43" fmla="*/ 950 h 1631"/>
                <a:gd name="T44" fmla="*/ 1440 w 2599"/>
                <a:gd name="T45" fmla="*/ 907 h 1631"/>
                <a:gd name="T46" fmla="*/ 1518 w 2599"/>
                <a:gd name="T47" fmla="*/ 865 h 1631"/>
                <a:gd name="T48" fmla="*/ 1595 w 2599"/>
                <a:gd name="T49" fmla="*/ 821 h 1631"/>
                <a:gd name="T50" fmla="*/ 1671 w 2599"/>
                <a:gd name="T51" fmla="*/ 778 h 1631"/>
                <a:gd name="T52" fmla="*/ 1747 w 2599"/>
                <a:gd name="T53" fmla="*/ 735 h 1631"/>
                <a:gd name="T54" fmla="*/ 1823 w 2599"/>
                <a:gd name="T55" fmla="*/ 690 h 1631"/>
                <a:gd name="T56" fmla="*/ 1899 w 2599"/>
                <a:gd name="T57" fmla="*/ 646 h 1631"/>
                <a:gd name="T58" fmla="*/ 1975 w 2599"/>
                <a:gd name="T59" fmla="*/ 600 h 1631"/>
                <a:gd name="T60" fmla="*/ 2015 w 2599"/>
                <a:gd name="T61" fmla="*/ 576 h 1631"/>
                <a:gd name="T62" fmla="*/ 2053 w 2599"/>
                <a:gd name="T63" fmla="*/ 555 h 1631"/>
                <a:gd name="T64" fmla="*/ 2090 w 2599"/>
                <a:gd name="T65" fmla="*/ 533 h 1631"/>
                <a:gd name="T66" fmla="*/ 2127 w 2599"/>
                <a:gd name="T67" fmla="*/ 513 h 1631"/>
                <a:gd name="T68" fmla="*/ 2163 w 2599"/>
                <a:gd name="T69" fmla="*/ 492 h 1631"/>
                <a:gd name="T70" fmla="*/ 2200 w 2599"/>
                <a:gd name="T71" fmla="*/ 471 h 1631"/>
                <a:gd name="T72" fmla="*/ 2240 w 2599"/>
                <a:gd name="T73" fmla="*/ 449 h 1631"/>
                <a:gd name="T74" fmla="*/ 2281 w 2599"/>
                <a:gd name="T75" fmla="*/ 424 h 1631"/>
                <a:gd name="T76" fmla="*/ 2322 w 2599"/>
                <a:gd name="T77" fmla="*/ 398 h 1631"/>
                <a:gd name="T78" fmla="*/ 2361 w 2599"/>
                <a:gd name="T79" fmla="*/ 373 h 1631"/>
                <a:gd name="T80" fmla="*/ 2399 w 2599"/>
                <a:gd name="T81" fmla="*/ 349 h 1631"/>
                <a:gd name="T82" fmla="*/ 2436 w 2599"/>
                <a:gd name="T83" fmla="*/ 326 h 1631"/>
                <a:gd name="T84" fmla="*/ 2455 w 2599"/>
                <a:gd name="T85" fmla="*/ 315 h 1631"/>
                <a:gd name="T86" fmla="*/ 2473 w 2599"/>
                <a:gd name="T87" fmla="*/ 306 h 1631"/>
                <a:gd name="T88" fmla="*/ 2493 w 2599"/>
                <a:gd name="T89" fmla="*/ 296 h 1631"/>
                <a:gd name="T90" fmla="*/ 2512 w 2599"/>
                <a:gd name="T91" fmla="*/ 287 h 1631"/>
                <a:gd name="T92" fmla="*/ 2533 w 2599"/>
                <a:gd name="T93" fmla="*/ 279 h 1631"/>
                <a:gd name="T94" fmla="*/ 2553 w 2599"/>
                <a:gd name="T95" fmla="*/ 272 h 1631"/>
                <a:gd name="T96" fmla="*/ 2576 w 2599"/>
                <a:gd name="T97" fmla="*/ 265 h 1631"/>
                <a:gd name="T98" fmla="*/ 2599 w 2599"/>
                <a:gd name="T99" fmla="*/ 259 h 1631"/>
                <a:gd name="T100" fmla="*/ 2579 w 2599"/>
                <a:gd name="T101" fmla="*/ 222 h 1631"/>
                <a:gd name="T102" fmla="*/ 2560 w 2599"/>
                <a:gd name="T103" fmla="*/ 186 h 1631"/>
                <a:gd name="T104" fmla="*/ 2540 w 2599"/>
                <a:gd name="T105" fmla="*/ 151 h 1631"/>
                <a:gd name="T106" fmla="*/ 2520 w 2599"/>
                <a:gd name="T107" fmla="*/ 116 h 1631"/>
                <a:gd name="T108" fmla="*/ 2508 w 2599"/>
                <a:gd name="T109" fmla="*/ 100 h 1631"/>
                <a:gd name="T110" fmla="*/ 2497 w 2599"/>
                <a:gd name="T111" fmla="*/ 83 h 1631"/>
                <a:gd name="T112" fmla="*/ 2485 w 2599"/>
                <a:gd name="T113" fmla="*/ 68 h 1631"/>
                <a:gd name="T114" fmla="*/ 2472 w 2599"/>
                <a:gd name="T115" fmla="*/ 53 h 1631"/>
                <a:gd name="T116" fmla="*/ 2459 w 2599"/>
                <a:gd name="T117" fmla="*/ 39 h 1631"/>
                <a:gd name="T118" fmla="*/ 2445 w 2599"/>
                <a:gd name="T119" fmla="*/ 25 h 1631"/>
                <a:gd name="T120" fmla="*/ 2430 w 2599"/>
                <a:gd name="T121" fmla="*/ 12 h 1631"/>
                <a:gd name="T122" fmla="*/ 2413 w 2599"/>
                <a:gd name="T123" fmla="*/ 0 h 1631"/>
                <a:gd name="T124" fmla="*/ 0 w 2599"/>
                <a:gd name="T125" fmla="*/ 1371 h 1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99" h="1631">
                  <a:moveTo>
                    <a:pt x="0" y="1371"/>
                  </a:moveTo>
                  <a:lnTo>
                    <a:pt x="16" y="1404"/>
                  </a:lnTo>
                  <a:lnTo>
                    <a:pt x="33" y="1434"/>
                  </a:lnTo>
                  <a:lnTo>
                    <a:pt x="49" y="1463"/>
                  </a:lnTo>
                  <a:lnTo>
                    <a:pt x="63" y="1494"/>
                  </a:lnTo>
                  <a:lnTo>
                    <a:pt x="77" y="1525"/>
                  </a:lnTo>
                  <a:lnTo>
                    <a:pt x="89" y="1557"/>
                  </a:lnTo>
                  <a:lnTo>
                    <a:pt x="101" y="1592"/>
                  </a:lnTo>
                  <a:lnTo>
                    <a:pt x="111" y="1631"/>
                  </a:lnTo>
                  <a:lnTo>
                    <a:pt x="135" y="1628"/>
                  </a:lnTo>
                  <a:lnTo>
                    <a:pt x="159" y="1624"/>
                  </a:lnTo>
                  <a:lnTo>
                    <a:pt x="181" y="1618"/>
                  </a:lnTo>
                  <a:lnTo>
                    <a:pt x="203" y="1611"/>
                  </a:lnTo>
                  <a:lnTo>
                    <a:pt x="224" y="1602"/>
                  </a:lnTo>
                  <a:lnTo>
                    <a:pt x="245" y="1593"/>
                  </a:lnTo>
                  <a:lnTo>
                    <a:pt x="265" y="1582"/>
                  </a:lnTo>
                  <a:lnTo>
                    <a:pt x="286" y="1572"/>
                  </a:lnTo>
                  <a:lnTo>
                    <a:pt x="325" y="1549"/>
                  </a:lnTo>
                  <a:lnTo>
                    <a:pt x="363" y="1524"/>
                  </a:lnTo>
                  <a:lnTo>
                    <a:pt x="401" y="1499"/>
                  </a:lnTo>
                  <a:lnTo>
                    <a:pt x="438" y="1475"/>
                  </a:lnTo>
                  <a:lnTo>
                    <a:pt x="1360" y="950"/>
                  </a:lnTo>
                  <a:lnTo>
                    <a:pt x="1440" y="907"/>
                  </a:lnTo>
                  <a:lnTo>
                    <a:pt x="1518" y="865"/>
                  </a:lnTo>
                  <a:lnTo>
                    <a:pt x="1595" y="821"/>
                  </a:lnTo>
                  <a:lnTo>
                    <a:pt x="1671" y="778"/>
                  </a:lnTo>
                  <a:lnTo>
                    <a:pt x="1747" y="735"/>
                  </a:lnTo>
                  <a:lnTo>
                    <a:pt x="1823" y="690"/>
                  </a:lnTo>
                  <a:lnTo>
                    <a:pt x="1899" y="646"/>
                  </a:lnTo>
                  <a:lnTo>
                    <a:pt x="1975" y="600"/>
                  </a:lnTo>
                  <a:lnTo>
                    <a:pt x="2015" y="576"/>
                  </a:lnTo>
                  <a:lnTo>
                    <a:pt x="2053" y="555"/>
                  </a:lnTo>
                  <a:lnTo>
                    <a:pt x="2090" y="533"/>
                  </a:lnTo>
                  <a:lnTo>
                    <a:pt x="2127" y="513"/>
                  </a:lnTo>
                  <a:lnTo>
                    <a:pt x="2163" y="492"/>
                  </a:lnTo>
                  <a:lnTo>
                    <a:pt x="2200" y="471"/>
                  </a:lnTo>
                  <a:lnTo>
                    <a:pt x="2240" y="449"/>
                  </a:lnTo>
                  <a:lnTo>
                    <a:pt x="2281" y="424"/>
                  </a:lnTo>
                  <a:lnTo>
                    <a:pt x="2322" y="398"/>
                  </a:lnTo>
                  <a:lnTo>
                    <a:pt x="2361" y="373"/>
                  </a:lnTo>
                  <a:lnTo>
                    <a:pt x="2399" y="349"/>
                  </a:lnTo>
                  <a:lnTo>
                    <a:pt x="2436" y="326"/>
                  </a:lnTo>
                  <a:lnTo>
                    <a:pt x="2455" y="315"/>
                  </a:lnTo>
                  <a:lnTo>
                    <a:pt x="2473" y="306"/>
                  </a:lnTo>
                  <a:lnTo>
                    <a:pt x="2493" y="296"/>
                  </a:lnTo>
                  <a:lnTo>
                    <a:pt x="2512" y="287"/>
                  </a:lnTo>
                  <a:lnTo>
                    <a:pt x="2533" y="279"/>
                  </a:lnTo>
                  <a:lnTo>
                    <a:pt x="2553" y="272"/>
                  </a:lnTo>
                  <a:lnTo>
                    <a:pt x="2576" y="265"/>
                  </a:lnTo>
                  <a:lnTo>
                    <a:pt x="2599" y="259"/>
                  </a:lnTo>
                  <a:lnTo>
                    <a:pt x="2579" y="222"/>
                  </a:lnTo>
                  <a:lnTo>
                    <a:pt x="2560" y="186"/>
                  </a:lnTo>
                  <a:lnTo>
                    <a:pt x="2540" y="151"/>
                  </a:lnTo>
                  <a:lnTo>
                    <a:pt x="2520" y="116"/>
                  </a:lnTo>
                  <a:lnTo>
                    <a:pt x="2508" y="100"/>
                  </a:lnTo>
                  <a:lnTo>
                    <a:pt x="2497" y="83"/>
                  </a:lnTo>
                  <a:lnTo>
                    <a:pt x="2485" y="68"/>
                  </a:lnTo>
                  <a:lnTo>
                    <a:pt x="2472" y="53"/>
                  </a:lnTo>
                  <a:lnTo>
                    <a:pt x="2459" y="39"/>
                  </a:lnTo>
                  <a:lnTo>
                    <a:pt x="2445" y="25"/>
                  </a:lnTo>
                  <a:lnTo>
                    <a:pt x="2430" y="12"/>
                  </a:lnTo>
                  <a:lnTo>
                    <a:pt x="2413" y="0"/>
                  </a:lnTo>
                  <a:lnTo>
                    <a:pt x="0" y="13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127" name="Freeform 18">
              <a:extLst>
                <a:ext uri="{FF2B5EF4-FFF2-40B4-BE49-F238E27FC236}">
                  <a16:creationId xmlns:a16="http://schemas.microsoft.com/office/drawing/2014/main" id="{A148DDF1-61F3-4DDB-AE39-780A634E5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1325" y="6327775"/>
              <a:ext cx="452438" cy="287337"/>
            </a:xfrm>
            <a:custGeom>
              <a:avLst/>
              <a:gdLst>
                <a:gd name="T0" fmla="*/ 73 w 2562"/>
                <a:gd name="T1" fmla="*/ 299 h 1631"/>
                <a:gd name="T2" fmla="*/ 222 w 2562"/>
                <a:gd name="T3" fmla="*/ 381 h 1631"/>
                <a:gd name="T4" fmla="*/ 370 w 2562"/>
                <a:gd name="T5" fmla="*/ 466 h 1631"/>
                <a:gd name="T6" fmla="*/ 518 w 2562"/>
                <a:gd name="T7" fmla="*/ 553 h 1631"/>
                <a:gd name="T8" fmla="*/ 2123 w 2562"/>
                <a:gd name="T9" fmla="*/ 1475 h 1631"/>
                <a:gd name="T10" fmla="*/ 2198 w 2562"/>
                <a:gd name="T11" fmla="*/ 1524 h 1631"/>
                <a:gd name="T12" fmla="*/ 2275 w 2562"/>
                <a:gd name="T13" fmla="*/ 1573 h 1631"/>
                <a:gd name="T14" fmla="*/ 2317 w 2562"/>
                <a:gd name="T15" fmla="*/ 1593 h 1631"/>
                <a:gd name="T16" fmla="*/ 2359 w 2562"/>
                <a:gd name="T17" fmla="*/ 1610 h 1631"/>
                <a:gd name="T18" fmla="*/ 2403 w 2562"/>
                <a:gd name="T19" fmla="*/ 1623 h 1631"/>
                <a:gd name="T20" fmla="*/ 2450 w 2562"/>
                <a:gd name="T21" fmla="*/ 1631 h 1631"/>
                <a:gd name="T22" fmla="*/ 2464 w 2562"/>
                <a:gd name="T23" fmla="*/ 1587 h 1631"/>
                <a:gd name="T24" fmla="*/ 2478 w 2562"/>
                <a:gd name="T25" fmla="*/ 1554 h 1631"/>
                <a:gd name="T26" fmla="*/ 2506 w 2562"/>
                <a:gd name="T27" fmla="*/ 1511 h 1631"/>
                <a:gd name="T28" fmla="*/ 2520 w 2562"/>
                <a:gd name="T29" fmla="*/ 1490 h 1631"/>
                <a:gd name="T30" fmla="*/ 2534 w 2562"/>
                <a:gd name="T31" fmla="*/ 1462 h 1631"/>
                <a:gd name="T32" fmla="*/ 2548 w 2562"/>
                <a:gd name="T33" fmla="*/ 1425 h 1631"/>
                <a:gd name="T34" fmla="*/ 2562 w 2562"/>
                <a:gd name="T35" fmla="*/ 1372 h 1631"/>
                <a:gd name="T36" fmla="*/ 2410 w 2562"/>
                <a:gd name="T37" fmla="*/ 1290 h 1631"/>
                <a:gd name="T38" fmla="*/ 2260 w 2562"/>
                <a:gd name="T39" fmla="*/ 1204 h 1631"/>
                <a:gd name="T40" fmla="*/ 2111 w 2562"/>
                <a:gd name="T41" fmla="*/ 1117 h 1631"/>
                <a:gd name="T42" fmla="*/ 1964 w 2562"/>
                <a:gd name="T43" fmla="*/ 1029 h 1631"/>
                <a:gd name="T44" fmla="*/ 1815 w 2562"/>
                <a:gd name="T45" fmla="*/ 942 h 1631"/>
                <a:gd name="T46" fmla="*/ 1666 w 2562"/>
                <a:gd name="T47" fmla="*/ 853 h 1631"/>
                <a:gd name="T48" fmla="*/ 1514 w 2562"/>
                <a:gd name="T49" fmla="*/ 766 h 1631"/>
                <a:gd name="T50" fmla="*/ 1360 w 2562"/>
                <a:gd name="T51" fmla="*/ 679 h 1631"/>
                <a:gd name="T52" fmla="*/ 1202 w 2562"/>
                <a:gd name="T53" fmla="*/ 592 h 1631"/>
                <a:gd name="T54" fmla="*/ 1049 w 2562"/>
                <a:gd name="T55" fmla="*/ 506 h 1631"/>
                <a:gd name="T56" fmla="*/ 898 w 2562"/>
                <a:gd name="T57" fmla="*/ 419 h 1631"/>
                <a:gd name="T58" fmla="*/ 744 w 2562"/>
                <a:gd name="T59" fmla="*/ 331 h 1631"/>
                <a:gd name="T60" fmla="*/ 671 w 2562"/>
                <a:gd name="T61" fmla="*/ 289 h 1631"/>
                <a:gd name="T62" fmla="*/ 594 w 2562"/>
                <a:gd name="T63" fmla="*/ 246 h 1631"/>
                <a:gd name="T64" fmla="*/ 516 w 2562"/>
                <a:gd name="T65" fmla="*/ 201 h 1631"/>
                <a:gd name="T66" fmla="*/ 438 w 2562"/>
                <a:gd name="T67" fmla="*/ 155 h 1631"/>
                <a:gd name="T68" fmla="*/ 359 w 2562"/>
                <a:gd name="T69" fmla="*/ 107 h 1631"/>
                <a:gd name="T70" fmla="*/ 285 w 2562"/>
                <a:gd name="T71" fmla="*/ 65 h 1631"/>
                <a:gd name="T72" fmla="*/ 244 w 2562"/>
                <a:gd name="T73" fmla="*/ 45 h 1631"/>
                <a:gd name="T74" fmla="*/ 203 w 2562"/>
                <a:gd name="T75" fmla="*/ 28 h 1631"/>
                <a:gd name="T76" fmla="*/ 159 w 2562"/>
                <a:gd name="T77" fmla="*/ 13 h 1631"/>
                <a:gd name="T78" fmla="*/ 111 w 2562"/>
                <a:gd name="T79" fmla="*/ 0 h 1631"/>
                <a:gd name="T80" fmla="*/ 77 w 2562"/>
                <a:gd name="T81" fmla="*/ 62 h 1631"/>
                <a:gd name="T82" fmla="*/ 47 w 2562"/>
                <a:gd name="T83" fmla="*/ 122 h 1631"/>
                <a:gd name="T84" fmla="*/ 21 w 2562"/>
                <a:gd name="T85" fmla="*/ 185 h 1631"/>
                <a:gd name="T86" fmla="*/ 0 w 2562"/>
                <a:gd name="T87" fmla="*/ 259 h 1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562" h="1631">
                  <a:moveTo>
                    <a:pt x="0" y="259"/>
                  </a:moveTo>
                  <a:lnTo>
                    <a:pt x="73" y="299"/>
                  </a:lnTo>
                  <a:lnTo>
                    <a:pt x="147" y="339"/>
                  </a:lnTo>
                  <a:lnTo>
                    <a:pt x="222" y="381"/>
                  </a:lnTo>
                  <a:lnTo>
                    <a:pt x="295" y="424"/>
                  </a:lnTo>
                  <a:lnTo>
                    <a:pt x="370" y="466"/>
                  </a:lnTo>
                  <a:lnTo>
                    <a:pt x="444" y="509"/>
                  </a:lnTo>
                  <a:lnTo>
                    <a:pt x="518" y="553"/>
                  </a:lnTo>
                  <a:lnTo>
                    <a:pt x="592" y="595"/>
                  </a:lnTo>
                  <a:lnTo>
                    <a:pt x="2123" y="1475"/>
                  </a:lnTo>
                  <a:lnTo>
                    <a:pt x="2161" y="1499"/>
                  </a:lnTo>
                  <a:lnTo>
                    <a:pt x="2198" y="1524"/>
                  </a:lnTo>
                  <a:lnTo>
                    <a:pt x="2236" y="1549"/>
                  </a:lnTo>
                  <a:lnTo>
                    <a:pt x="2275" y="1573"/>
                  </a:lnTo>
                  <a:lnTo>
                    <a:pt x="2296" y="1583"/>
                  </a:lnTo>
                  <a:lnTo>
                    <a:pt x="2317" y="1593"/>
                  </a:lnTo>
                  <a:lnTo>
                    <a:pt x="2337" y="1603"/>
                  </a:lnTo>
                  <a:lnTo>
                    <a:pt x="2359" y="1610"/>
                  </a:lnTo>
                  <a:lnTo>
                    <a:pt x="2381" y="1618"/>
                  </a:lnTo>
                  <a:lnTo>
                    <a:pt x="2403" y="1623"/>
                  </a:lnTo>
                  <a:lnTo>
                    <a:pt x="2426" y="1628"/>
                  </a:lnTo>
                  <a:lnTo>
                    <a:pt x="2450" y="1631"/>
                  </a:lnTo>
                  <a:lnTo>
                    <a:pt x="2458" y="1607"/>
                  </a:lnTo>
                  <a:lnTo>
                    <a:pt x="2464" y="1587"/>
                  </a:lnTo>
                  <a:lnTo>
                    <a:pt x="2471" y="1569"/>
                  </a:lnTo>
                  <a:lnTo>
                    <a:pt x="2478" y="1554"/>
                  </a:lnTo>
                  <a:lnTo>
                    <a:pt x="2491" y="1531"/>
                  </a:lnTo>
                  <a:lnTo>
                    <a:pt x="2506" y="1511"/>
                  </a:lnTo>
                  <a:lnTo>
                    <a:pt x="2512" y="1501"/>
                  </a:lnTo>
                  <a:lnTo>
                    <a:pt x="2520" y="1490"/>
                  </a:lnTo>
                  <a:lnTo>
                    <a:pt x="2526" y="1477"/>
                  </a:lnTo>
                  <a:lnTo>
                    <a:pt x="2534" y="1462"/>
                  </a:lnTo>
                  <a:lnTo>
                    <a:pt x="2540" y="1445"/>
                  </a:lnTo>
                  <a:lnTo>
                    <a:pt x="2548" y="1425"/>
                  </a:lnTo>
                  <a:lnTo>
                    <a:pt x="2554" y="1400"/>
                  </a:lnTo>
                  <a:lnTo>
                    <a:pt x="2562" y="1372"/>
                  </a:lnTo>
                  <a:lnTo>
                    <a:pt x="2485" y="1331"/>
                  </a:lnTo>
                  <a:lnTo>
                    <a:pt x="2410" y="1290"/>
                  </a:lnTo>
                  <a:lnTo>
                    <a:pt x="2335" y="1247"/>
                  </a:lnTo>
                  <a:lnTo>
                    <a:pt x="2260" y="1204"/>
                  </a:lnTo>
                  <a:lnTo>
                    <a:pt x="2185" y="1161"/>
                  </a:lnTo>
                  <a:lnTo>
                    <a:pt x="2111" y="1117"/>
                  </a:lnTo>
                  <a:lnTo>
                    <a:pt x="2038" y="1074"/>
                  </a:lnTo>
                  <a:lnTo>
                    <a:pt x="1964" y="1029"/>
                  </a:lnTo>
                  <a:lnTo>
                    <a:pt x="1890" y="985"/>
                  </a:lnTo>
                  <a:lnTo>
                    <a:pt x="1815" y="942"/>
                  </a:lnTo>
                  <a:lnTo>
                    <a:pt x="1741" y="897"/>
                  </a:lnTo>
                  <a:lnTo>
                    <a:pt x="1666" y="853"/>
                  </a:lnTo>
                  <a:lnTo>
                    <a:pt x="1590" y="809"/>
                  </a:lnTo>
                  <a:lnTo>
                    <a:pt x="1514" y="766"/>
                  </a:lnTo>
                  <a:lnTo>
                    <a:pt x="1438" y="723"/>
                  </a:lnTo>
                  <a:lnTo>
                    <a:pt x="1360" y="679"/>
                  </a:lnTo>
                  <a:lnTo>
                    <a:pt x="1280" y="635"/>
                  </a:lnTo>
                  <a:lnTo>
                    <a:pt x="1202" y="592"/>
                  </a:lnTo>
                  <a:lnTo>
                    <a:pt x="1125" y="548"/>
                  </a:lnTo>
                  <a:lnTo>
                    <a:pt x="1049" y="506"/>
                  </a:lnTo>
                  <a:lnTo>
                    <a:pt x="974" y="463"/>
                  </a:lnTo>
                  <a:lnTo>
                    <a:pt x="898" y="419"/>
                  </a:lnTo>
                  <a:lnTo>
                    <a:pt x="822" y="376"/>
                  </a:lnTo>
                  <a:lnTo>
                    <a:pt x="744" y="331"/>
                  </a:lnTo>
                  <a:lnTo>
                    <a:pt x="708" y="311"/>
                  </a:lnTo>
                  <a:lnTo>
                    <a:pt x="671" y="289"/>
                  </a:lnTo>
                  <a:lnTo>
                    <a:pt x="633" y="267"/>
                  </a:lnTo>
                  <a:lnTo>
                    <a:pt x="594" y="246"/>
                  </a:lnTo>
                  <a:lnTo>
                    <a:pt x="555" y="224"/>
                  </a:lnTo>
                  <a:lnTo>
                    <a:pt x="516" y="201"/>
                  </a:lnTo>
                  <a:lnTo>
                    <a:pt x="477" y="179"/>
                  </a:lnTo>
                  <a:lnTo>
                    <a:pt x="438" y="155"/>
                  </a:lnTo>
                  <a:lnTo>
                    <a:pt x="399" y="131"/>
                  </a:lnTo>
                  <a:lnTo>
                    <a:pt x="359" y="107"/>
                  </a:lnTo>
                  <a:lnTo>
                    <a:pt x="323" y="85"/>
                  </a:lnTo>
                  <a:lnTo>
                    <a:pt x="285" y="65"/>
                  </a:lnTo>
                  <a:lnTo>
                    <a:pt x="265" y="55"/>
                  </a:lnTo>
                  <a:lnTo>
                    <a:pt x="244" y="45"/>
                  </a:lnTo>
                  <a:lnTo>
                    <a:pt x="225" y="37"/>
                  </a:lnTo>
                  <a:lnTo>
                    <a:pt x="203" y="28"/>
                  </a:lnTo>
                  <a:lnTo>
                    <a:pt x="181" y="20"/>
                  </a:lnTo>
                  <a:lnTo>
                    <a:pt x="159" y="13"/>
                  </a:lnTo>
                  <a:lnTo>
                    <a:pt x="136" y="6"/>
                  </a:lnTo>
                  <a:lnTo>
                    <a:pt x="111" y="0"/>
                  </a:lnTo>
                  <a:lnTo>
                    <a:pt x="93" y="31"/>
                  </a:lnTo>
                  <a:lnTo>
                    <a:pt x="77" y="62"/>
                  </a:lnTo>
                  <a:lnTo>
                    <a:pt x="62" y="92"/>
                  </a:lnTo>
                  <a:lnTo>
                    <a:pt x="47" y="122"/>
                  </a:lnTo>
                  <a:lnTo>
                    <a:pt x="34" y="153"/>
                  </a:lnTo>
                  <a:lnTo>
                    <a:pt x="21" y="185"/>
                  </a:lnTo>
                  <a:lnTo>
                    <a:pt x="10" y="221"/>
                  </a:lnTo>
                  <a:lnTo>
                    <a:pt x="0" y="2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35" name="Gruppieren 134">
            <a:extLst>
              <a:ext uri="{FF2B5EF4-FFF2-40B4-BE49-F238E27FC236}">
                <a16:creationId xmlns:a16="http://schemas.microsoft.com/office/drawing/2014/main" id="{B44320BC-F637-469D-9242-2AED73610F10}"/>
              </a:ext>
            </a:extLst>
          </p:cNvPr>
          <p:cNvGrpSpPr/>
          <p:nvPr/>
        </p:nvGrpSpPr>
        <p:grpSpPr>
          <a:xfrm>
            <a:off x="2285797" y="2778095"/>
            <a:ext cx="1100560" cy="1228724"/>
            <a:chOff x="3851275" y="5856288"/>
            <a:chExt cx="2740026" cy="3059112"/>
          </a:xfrm>
          <a:solidFill>
            <a:schemeClr val="bg1"/>
          </a:solidFill>
        </p:grpSpPr>
        <p:sp>
          <p:nvSpPr>
            <p:cNvPr id="137" name="Freeform 7">
              <a:extLst>
                <a:ext uri="{FF2B5EF4-FFF2-40B4-BE49-F238E27FC236}">
                  <a16:creationId xmlns:a16="http://schemas.microsoft.com/office/drawing/2014/main" id="{27CC0254-D16F-42B4-ACF0-479A718FA5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5375" y="8288338"/>
              <a:ext cx="628650" cy="627062"/>
            </a:xfrm>
            <a:custGeom>
              <a:avLst/>
              <a:gdLst>
                <a:gd name="T0" fmla="*/ 637 w 3565"/>
                <a:gd name="T1" fmla="*/ 1692 h 3554"/>
                <a:gd name="T2" fmla="*/ 652 w 3565"/>
                <a:gd name="T3" fmla="*/ 1539 h 3554"/>
                <a:gd name="T4" fmla="*/ 676 w 3565"/>
                <a:gd name="T5" fmla="*/ 1425 h 3554"/>
                <a:gd name="T6" fmla="*/ 712 w 3565"/>
                <a:gd name="T7" fmla="*/ 1317 h 3554"/>
                <a:gd name="T8" fmla="*/ 761 w 3565"/>
                <a:gd name="T9" fmla="*/ 1211 h 3554"/>
                <a:gd name="T10" fmla="*/ 827 w 3565"/>
                <a:gd name="T11" fmla="*/ 1106 h 3554"/>
                <a:gd name="T12" fmla="*/ 912 w 3565"/>
                <a:gd name="T13" fmla="*/ 1002 h 3554"/>
                <a:gd name="T14" fmla="*/ 1116 w 3565"/>
                <a:gd name="T15" fmla="*/ 827 h 3554"/>
                <a:gd name="T16" fmla="*/ 1407 w 3565"/>
                <a:gd name="T17" fmla="*/ 690 h 3554"/>
                <a:gd name="T18" fmla="*/ 1733 w 3565"/>
                <a:gd name="T19" fmla="*/ 631 h 3554"/>
                <a:gd name="T20" fmla="*/ 2065 w 3565"/>
                <a:gd name="T21" fmla="*/ 657 h 3554"/>
                <a:gd name="T22" fmla="*/ 2378 w 3565"/>
                <a:gd name="T23" fmla="*/ 775 h 3554"/>
                <a:gd name="T24" fmla="*/ 2644 w 3565"/>
                <a:gd name="T25" fmla="*/ 995 h 3554"/>
                <a:gd name="T26" fmla="*/ 2838 w 3565"/>
                <a:gd name="T27" fmla="*/ 1322 h 3554"/>
                <a:gd name="T28" fmla="*/ 2930 w 3565"/>
                <a:gd name="T29" fmla="*/ 1766 h 3554"/>
                <a:gd name="T30" fmla="*/ 2907 w 3565"/>
                <a:gd name="T31" fmla="*/ 2097 h 3554"/>
                <a:gd name="T32" fmla="*/ 2796 w 3565"/>
                <a:gd name="T33" fmla="*/ 2357 h 3554"/>
                <a:gd name="T34" fmla="*/ 2613 w 3565"/>
                <a:gd name="T35" fmla="*/ 2589 h 3554"/>
                <a:gd name="T36" fmla="*/ 2369 w 3565"/>
                <a:gd name="T37" fmla="*/ 2777 h 3554"/>
                <a:gd name="T38" fmla="*/ 2079 w 3565"/>
                <a:gd name="T39" fmla="*/ 2899 h 3554"/>
                <a:gd name="T40" fmla="*/ 1756 w 3565"/>
                <a:gd name="T41" fmla="*/ 2938 h 3554"/>
                <a:gd name="T42" fmla="*/ 1414 w 3565"/>
                <a:gd name="T43" fmla="*/ 2874 h 3554"/>
                <a:gd name="T44" fmla="*/ 1066 w 3565"/>
                <a:gd name="T45" fmla="*/ 2689 h 3554"/>
                <a:gd name="T46" fmla="*/ 936 w 3565"/>
                <a:gd name="T47" fmla="*/ 2581 h 3554"/>
                <a:gd name="T48" fmla="*/ 876 w 3565"/>
                <a:gd name="T49" fmla="*/ 2511 h 3554"/>
                <a:gd name="T50" fmla="*/ 816 w 3565"/>
                <a:gd name="T51" fmla="*/ 2428 h 3554"/>
                <a:gd name="T52" fmla="*/ 761 w 3565"/>
                <a:gd name="T53" fmla="*/ 2335 h 3554"/>
                <a:gd name="T54" fmla="*/ 712 w 3565"/>
                <a:gd name="T55" fmla="*/ 2234 h 3554"/>
                <a:gd name="T56" fmla="*/ 672 w 3565"/>
                <a:gd name="T57" fmla="*/ 2129 h 3554"/>
                <a:gd name="T58" fmla="*/ 645 w 3565"/>
                <a:gd name="T59" fmla="*/ 2023 h 3554"/>
                <a:gd name="T60" fmla="*/ 632 w 3565"/>
                <a:gd name="T61" fmla="*/ 1921 h 3554"/>
                <a:gd name="T62" fmla="*/ 5 w 3565"/>
                <a:gd name="T63" fmla="*/ 1885 h 3554"/>
                <a:gd name="T64" fmla="*/ 46 w 3565"/>
                <a:gd name="T65" fmla="*/ 2152 h 3554"/>
                <a:gd name="T66" fmla="*/ 124 w 3565"/>
                <a:gd name="T67" fmla="*/ 2406 h 3554"/>
                <a:gd name="T68" fmla="*/ 233 w 3565"/>
                <a:gd name="T69" fmla="*/ 2643 h 3554"/>
                <a:gd name="T70" fmla="*/ 372 w 3565"/>
                <a:gd name="T71" fmla="*/ 2859 h 3554"/>
                <a:gd name="T72" fmla="*/ 536 w 3565"/>
                <a:gd name="T73" fmla="*/ 3050 h 3554"/>
                <a:gd name="T74" fmla="*/ 721 w 3565"/>
                <a:gd name="T75" fmla="*/ 3211 h 3554"/>
                <a:gd name="T76" fmla="*/ 922 w 3565"/>
                <a:gd name="T77" fmla="*/ 3339 h 3554"/>
                <a:gd name="T78" fmla="*/ 1280 w 3565"/>
                <a:gd name="T79" fmla="*/ 3480 h 3554"/>
                <a:gd name="T80" fmla="*/ 1765 w 3565"/>
                <a:gd name="T81" fmla="*/ 3554 h 3554"/>
                <a:gd name="T82" fmla="*/ 2217 w 3565"/>
                <a:gd name="T83" fmla="*/ 3502 h 3554"/>
                <a:gd name="T84" fmla="*/ 2623 w 3565"/>
                <a:gd name="T85" fmla="*/ 3344 h 3554"/>
                <a:gd name="T86" fmla="*/ 2970 w 3565"/>
                <a:gd name="T87" fmla="*/ 3098 h 3554"/>
                <a:gd name="T88" fmla="*/ 3249 w 3565"/>
                <a:gd name="T89" fmla="*/ 2783 h 3554"/>
                <a:gd name="T90" fmla="*/ 3447 w 3565"/>
                <a:gd name="T91" fmla="*/ 2419 h 3554"/>
                <a:gd name="T92" fmla="*/ 3551 w 3565"/>
                <a:gd name="T93" fmla="*/ 2025 h 3554"/>
                <a:gd name="T94" fmla="*/ 3544 w 3565"/>
                <a:gd name="T95" fmla="*/ 1535 h 3554"/>
                <a:gd name="T96" fmla="*/ 3386 w 3565"/>
                <a:gd name="T97" fmla="*/ 1018 h 3554"/>
                <a:gd name="T98" fmla="*/ 3099 w 3565"/>
                <a:gd name="T99" fmla="*/ 589 h 3554"/>
                <a:gd name="T100" fmla="*/ 2712 w 3565"/>
                <a:gd name="T101" fmla="*/ 265 h 3554"/>
                <a:gd name="T102" fmla="*/ 2253 w 3565"/>
                <a:gd name="T103" fmla="*/ 64 h 3554"/>
                <a:gd name="T104" fmla="*/ 1753 w 3565"/>
                <a:gd name="T105" fmla="*/ 0 h 3554"/>
                <a:gd name="T106" fmla="*/ 1240 w 3565"/>
                <a:gd name="T107" fmla="*/ 90 h 3554"/>
                <a:gd name="T108" fmla="*/ 744 w 3565"/>
                <a:gd name="T109" fmla="*/ 351 h 3554"/>
                <a:gd name="T110" fmla="*/ 460 w 3565"/>
                <a:gd name="T111" fmla="*/ 604 h 3554"/>
                <a:gd name="T112" fmla="*/ 363 w 3565"/>
                <a:gd name="T113" fmla="*/ 716 h 3554"/>
                <a:gd name="T114" fmla="*/ 271 w 3565"/>
                <a:gd name="T115" fmla="*/ 843 h 3554"/>
                <a:gd name="T116" fmla="*/ 190 w 3565"/>
                <a:gd name="T117" fmla="*/ 981 h 3554"/>
                <a:gd name="T118" fmla="*/ 121 w 3565"/>
                <a:gd name="T119" fmla="*/ 1130 h 3554"/>
                <a:gd name="T120" fmla="*/ 64 w 3565"/>
                <a:gd name="T121" fmla="*/ 1293 h 3554"/>
                <a:gd name="T122" fmla="*/ 24 w 3565"/>
                <a:gd name="T123" fmla="*/ 1466 h 3554"/>
                <a:gd name="T124" fmla="*/ 3 w 3565"/>
                <a:gd name="T125" fmla="*/ 1651 h 3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65" h="3554">
                  <a:moveTo>
                    <a:pt x="632" y="1896"/>
                  </a:moveTo>
                  <a:lnTo>
                    <a:pt x="632" y="1825"/>
                  </a:lnTo>
                  <a:lnTo>
                    <a:pt x="634" y="1757"/>
                  </a:lnTo>
                  <a:lnTo>
                    <a:pt x="637" y="1692"/>
                  </a:lnTo>
                  <a:lnTo>
                    <a:pt x="642" y="1629"/>
                  </a:lnTo>
                  <a:lnTo>
                    <a:pt x="645" y="1599"/>
                  </a:lnTo>
                  <a:lnTo>
                    <a:pt x="648" y="1569"/>
                  </a:lnTo>
                  <a:lnTo>
                    <a:pt x="652" y="1539"/>
                  </a:lnTo>
                  <a:lnTo>
                    <a:pt x="658" y="1510"/>
                  </a:lnTo>
                  <a:lnTo>
                    <a:pt x="663" y="1482"/>
                  </a:lnTo>
                  <a:lnTo>
                    <a:pt x="670" y="1453"/>
                  </a:lnTo>
                  <a:lnTo>
                    <a:pt x="676" y="1425"/>
                  </a:lnTo>
                  <a:lnTo>
                    <a:pt x="684" y="1398"/>
                  </a:lnTo>
                  <a:lnTo>
                    <a:pt x="693" y="1370"/>
                  </a:lnTo>
                  <a:lnTo>
                    <a:pt x="701" y="1343"/>
                  </a:lnTo>
                  <a:lnTo>
                    <a:pt x="712" y="1317"/>
                  </a:lnTo>
                  <a:lnTo>
                    <a:pt x="723" y="1290"/>
                  </a:lnTo>
                  <a:lnTo>
                    <a:pt x="735" y="1264"/>
                  </a:lnTo>
                  <a:lnTo>
                    <a:pt x="748" y="1237"/>
                  </a:lnTo>
                  <a:lnTo>
                    <a:pt x="761" y="1211"/>
                  </a:lnTo>
                  <a:lnTo>
                    <a:pt x="776" y="1185"/>
                  </a:lnTo>
                  <a:lnTo>
                    <a:pt x="792" y="1158"/>
                  </a:lnTo>
                  <a:lnTo>
                    <a:pt x="809" y="1132"/>
                  </a:lnTo>
                  <a:lnTo>
                    <a:pt x="827" y="1106"/>
                  </a:lnTo>
                  <a:lnTo>
                    <a:pt x="847" y="1080"/>
                  </a:lnTo>
                  <a:lnTo>
                    <a:pt x="867" y="1054"/>
                  </a:lnTo>
                  <a:lnTo>
                    <a:pt x="889" y="1028"/>
                  </a:lnTo>
                  <a:lnTo>
                    <a:pt x="912" y="1002"/>
                  </a:lnTo>
                  <a:lnTo>
                    <a:pt x="937" y="976"/>
                  </a:lnTo>
                  <a:lnTo>
                    <a:pt x="991" y="922"/>
                  </a:lnTo>
                  <a:lnTo>
                    <a:pt x="1052" y="872"/>
                  </a:lnTo>
                  <a:lnTo>
                    <a:pt x="1116" y="827"/>
                  </a:lnTo>
                  <a:lnTo>
                    <a:pt x="1183" y="786"/>
                  </a:lnTo>
                  <a:lnTo>
                    <a:pt x="1255" y="749"/>
                  </a:lnTo>
                  <a:lnTo>
                    <a:pt x="1330" y="717"/>
                  </a:lnTo>
                  <a:lnTo>
                    <a:pt x="1407" y="690"/>
                  </a:lnTo>
                  <a:lnTo>
                    <a:pt x="1486" y="667"/>
                  </a:lnTo>
                  <a:lnTo>
                    <a:pt x="1566" y="650"/>
                  </a:lnTo>
                  <a:lnTo>
                    <a:pt x="1649" y="638"/>
                  </a:lnTo>
                  <a:lnTo>
                    <a:pt x="1733" y="631"/>
                  </a:lnTo>
                  <a:lnTo>
                    <a:pt x="1816" y="628"/>
                  </a:lnTo>
                  <a:lnTo>
                    <a:pt x="1900" y="633"/>
                  </a:lnTo>
                  <a:lnTo>
                    <a:pt x="1982" y="641"/>
                  </a:lnTo>
                  <a:lnTo>
                    <a:pt x="2065" y="657"/>
                  </a:lnTo>
                  <a:lnTo>
                    <a:pt x="2146" y="677"/>
                  </a:lnTo>
                  <a:lnTo>
                    <a:pt x="2225" y="703"/>
                  </a:lnTo>
                  <a:lnTo>
                    <a:pt x="2304" y="737"/>
                  </a:lnTo>
                  <a:lnTo>
                    <a:pt x="2378" y="775"/>
                  </a:lnTo>
                  <a:lnTo>
                    <a:pt x="2450" y="820"/>
                  </a:lnTo>
                  <a:lnTo>
                    <a:pt x="2518" y="871"/>
                  </a:lnTo>
                  <a:lnTo>
                    <a:pt x="2584" y="930"/>
                  </a:lnTo>
                  <a:lnTo>
                    <a:pt x="2644" y="995"/>
                  </a:lnTo>
                  <a:lnTo>
                    <a:pt x="2701" y="1066"/>
                  </a:lnTo>
                  <a:lnTo>
                    <a:pt x="2752" y="1144"/>
                  </a:lnTo>
                  <a:lnTo>
                    <a:pt x="2797" y="1229"/>
                  </a:lnTo>
                  <a:lnTo>
                    <a:pt x="2838" y="1322"/>
                  </a:lnTo>
                  <a:lnTo>
                    <a:pt x="2871" y="1422"/>
                  </a:lnTo>
                  <a:lnTo>
                    <a:pt x="2897" y="1528"/>
                  </a:lnTo>
                  <a:lnTo>
                    <a:pt x="2917" y="1643"/>
                  </a:lnTo>
                  <a:lnTo>
                    <a:pt x="2930" y="1766"/>
                  </a:lnTo>
                  <a:lnTo>
                    <a:pt x="2933" y="1896"/>
                  </a:lnTo>
                  <a:lnTo>
                    <a:pt x="2931" y="1963"/>
                  </a:lnTo>
                  <a:lnTo>
                    <a:pt x="2922" y="2030"/>
                  </a:lnTo>
                  <a:lnTo>
                    <a:pt x="2907" y="2097"/>
                  </a:lnTo>
                  <a:lnTo>
                    <a:pt x="2888" y="2163"/>
                  </a:lnTo>
                  <a:lnTo>
                    <a:pt x="2863" y="2229"/>
                  </a:lnTo>
                  <a:lnTo>
                    <a:pt x="2832" y="2293"/>
                  </a:lnTo>
                  <a:lnTo>
                    <a:pt x="2796" y="2357"/>
                  </a:lnTo>
                  <a:lnTo>
                    <a:pt x="2757" y="2418"/>
                  </a:lnTo>
                  <a:lnTo>
                    <a:pt x="2713" y="2478"/>
                  </a:lnTo>
                  <a:lnTo>
                    <a:pt x="2665" y="2535"/>
                  </a:lnTo>
                  <a:lnTo>
                    <a:pt x="2613" y="2589"/>
                  </a:lnTo>
                  <a:lnTo>
                    <a:pt x="2558" y="2641"/>
                  </a:lnTo>
                  <a:lnTo>
                    <a:pt x="2498" y="2690"/>
                  </a:lnTo>
                  <a:lnTo>
                    <a:pt x="2435" y="2736"/>
                  </a:lnTo>
                  <a:lnTo>
                    <a:pt x="2369" y="2777"/>
                  </a:lnTo>
                  <a:lnTo>
                    <a:pt x="2300" y="2814"/>
                  </a:lnTo>
                  <a:lnTo>
                    <a:pt x="2229" y="2847"/>
                  </a:lnTo>
                  <a:lnTo>
                    <a:pt x="2155" y="2875"/>
                  </a:lnTo>
                  <a:lnTo>
                    <a:pt x="2079" y="2899"/>
                  </a:lnTo>
                  <a:lnTo>
                    <a:pt x="2001" y="2918"/>
                  </a:lnTo>
                  <a:lnTo>
                    <a:pt x="1920" y="2930"/>
                  </a:lnTo>
                  <a:lnTo>
                    <a:pt x="1839" y="2937"/>
                  </a:lnTo>
                  <a:lnTo>
                    <a:pt x="1756" y="2938"/>
                  </a:lnTo>
                  <a:lnTo>
                    <a:pt x="1672" y="2932"/>
                  </a:lnTo>
                  <a:lnTo>
                    <a:pt x="1587" y="2920"/>
                  </a:lnTo>
                  <a:lnTo>
                    <a:pt x="1500" y="2900"/>
                  </a:lnTo>
                  <a:lnTo>
                    <a:pt x="1414" y="2874"/>
                  </a:lnTo>
                  <a:lnTo>
                    <a:pt x="1328" y="2840"/>
                  </a:lnTo>
                  <a:lnTo>
                    <a:pt x="1240" y="2798"/>
                  </a:lnTo>
                  <a:lnTo>
                    <a:pt x="1153" y="2748"/>
                  </a:lnTo>
                  <a:lnTo>
                    <a:pt x="1066" y="2689"/>
                  </a:lnTo>
                  <a:lnTo>
                    <a:pt x="980" y="2622"/>
                  </a:lnTo>
                  <a:lnTo>
                    <a:pt x="966" y="2610"/>
                  </a:lnTo>
                  <a:lnTo>
                    <a:pt x="951" y="2596"/>
                  </a:lnTo>
                  <a:lnTo>
                    <a:pt x="936" y="2581"/>
                  </a:lnTo>
                  <a:lnTo>
                    <a:pt x="921" y="2564"/>
                  </a:lnTo>
                  <a:lnTo>
                    <a:pt x="905" y="2548"/>
                  </a:lnTo>
                  <a:lnTo>
                    <a:pt x="891" y="2530"/>
                  </a:lnTo>
                  <a:lnTo>
                    <a:pt x="876" y="2511"/>
                  </a:lnTo>
                  <a:lnTo>
                    <a:pt x="861" y="2492"/>
                  </a:lnTo>
                  <a:lnTo>
                    <a:pt x="846" y="2471"/>
                  </a:lnTo>
                  <a:lnTo>
                    <a:pt x="830" y="2449"/>
                  </a:lnTo>
                  <a:lnTo>
                    <a:pt x="816" y="2428"/>
                  </a:lnTo>
                  <a:lnTo>
                    <a:pt x="802" y="2405"/>
                  </a:lnTo>
                  <a:lnTo>
                    <a:pt x="788" y="2382"/>
                  </a:lnTo>
                  <a:lnTo>
                    <a:pt x="774" y="2358"/>
                  </a:lnTo>
                  <a:lnTo>
                    <a:pt x="761" y="2335"/>
                  </a:lnTo>
                  <a:lnTo>
                    <a:pt x="748" y="2310"/>
                  </a:lnTo>
                  <a:lnTo>
                    <a:pt x="735" y="2285"/>
                  </a:lnTo>
                  <a:lnTo>
                    <a:pt x="723" y="2260"/>
                  </a:lnTo>
                  <a:lnTo>
                    <a:pt x="712" y="2234"/>
                  </a:lnTo>
                  <a:lnTo>
                    <a:pt x="701" y="2208"/>
                  </a:lnTo>
                  <a:lnTo>
                    <a:pt x="690" y="2182"/>
                  </a:lnTo>
                  <a:lnTo>
                    <a:pt x="682" y="2156"/>
                  </a:lnTo>
                  <a:lnTo>
                    <a:pt x="672" y="2129"/>
                  </a:lnTo>
                  <a:lnTo>
                    <a:pt x="664" y="2103"/>
                  </a:lnTo>
                  <a:lnTo>
                    <a:pt x="657" y="2077"/>
                  </a:lnTo>
                  <a:lnTo>
                    <a:pt x="650" y="2049"/>
                  </a:lnTo>
                  <a:lnTo>
                    <a:pt x="645" y="2023"/>
                  </a:lnTo>
                  <a:lnTo>
                    <a:pt x="641" y="1997"/>
                  </a:lnTo>
                  <a:lnTo>
                    <a:pt x="636" y="1971"/>
                  </a:lnTo>
                  <a:lnTo>
                    <a:pt x="634" y="1945"/>
                  </a:lnTo>
                  <a:lnTo>
                    <a:pt x="632" y="1921"/>
                  </a:lnTo>
                  <a:lnTo>
                    <a:pt x="632" y="1896"/>
                  </a:lnTo>
                  <a:close/>
                  <a:moveTo>
                    <a:pt x="0" y="1747"/>
                  </a:moveTo>
                  <a:lnTo>
                    <a:pt x="1" y="1815"/>
                  </a:lnTo>
                  <a:lnTo>
                    <a:pt x="5" y="1885"/>
                  </a:lnTo>
                  <a:lnTo>
                    <a:pt x="12" y="1952"/>
                  </a:lnTo>
                  <a:lnTo>
                    <a:pt x="21" y="2019"/>
                  </a:lnTo>
                  <a:lnTo>
                    <a:pt x="33" y="2086"/>
                  </a:lnTo>
                  <a:lnTo>
                    <a:pt x="46" y="2152"/>
                  </a:lnTo>
                  <a:lnTo>
                    <a:pt x="62" y="2216"/>
                  </a:lnTo>
                  <a:lnTo>
                    <a:pt x="80" y="2281"/>
                  </a:lnTo>
                  <a:lnTo>
                    <a:pt x="101" y="2344"/>
                  </a:lnTo>
                  <a:lnTo>
                    <a:pt x="124" y="2406"/>
                  </a:lnTo>
                  <a:lnTo>
                    <a:pt x="148" y="2467"/>
                  </a:lnTo>
                  <a:lnTo>
                    <a:pt x="175" y="2528"/>
                  </a:lnTo>
                  <a:lnTo>
                    <a:pt x="203" y="2586"/>
                  </a:lnTo>
                  <a:lnTo>
                    <a:pt x="233" y="2643"/>
                  </a:lnTo>
                  <a:lnTo>
                    <a:pt x="266" y="2699"/>
                  </a:lnTo>
                  <a:lnTo>
                    <a:pt x="300" y="2754"/>
                  </a:lnTo>
                  <a:lnTo>
                    <a:pt x="335" y="2807"/>
                  </a:lnTo>
                  <a:lnTo>
                    <a:pt x="372" y="2859"/>
                  </a:lnTo>
                  <a:lnTo>
                    <a:pt x="411" y="2909"/>
                  </a:lnTo>
                  <a:lnTo>
                    <a:pt x="452" y="2958"/>
                  </a:lnTo>
                  <a:lnTo>
                    <a:pt x="493" y="3004"/>
                  </a:lnTo>
                  <a:lnTo>
                    <a:pt x="536" y="3050"/>
                  </a:lnTo>
                  <a:lnTo>
                    <a:pt x="581" y="3092"/>
                  </a:lnTo>
                  <a:lnTo>
                    <a:pt x="626" y="3135"/>
                  </a:lnTo>
                  <a:lnTo>
                    <a:pt x="673" y="3174"/>
                  </a:lnTo>
                  <a:lnTo>
                    <a:pt x="721" y="3211"/>
                  </a:lnTo>
                  <a:lnTo>
                    <a:pt x="770" y="3246"/>
                  </a:lnTo>
                  <a:lnTo>
                    <a:pt x="820" y="3280"/>
                  </a:lnTo>
                  <a:lnTo>
                    <a:pt x="871" y="3311"/>
                  </a:lnTo>
                  <a:lnTo>
                    <a:pt x="922" y="3339"/>
                  </a:lnTo>
                  <a:lnTo>
                    <a:pt x="975" y="3366"/>
                  </a:lnTo>
                  <a:lnTo>
                    <a:pt x="1028" y="3390"/>
                  </a:lnTo>
                  <a:lnTo>
                    <a:pt x="1154" y="3440"/>
                  </a:lnTo>
                  <a:lnTo>
                    <a:pt x="1280" y="3480"/>
                  </a:lnTo>
                  <a:lnTo>
                    <a:pt x="1404" y="3512"/>
                  </a:lnTo>
                  <a:lnTo>
                    <a:pt x="1526" y="3533"/>
                  </a:lnTo>
                  <a:lnTo>
                    <a:pt x="1647" y="3547"/>
                  </a:lnTo>
                  <a:lnTo>
                    <a:pt x="1765" y="3554"/>
                  </a:lnTo>
                  <a:lnTo>
                    <a:pt x="1881" y="3552"/>
                  </a:lnTo>
                  <a:lnTo>
                    <a:pt x="1995" y="3542"/>
                  </a:lnTo>
                  <a:lnTo>
                    <a:pt x="2107" y="3526"/>
                  </a:lnTo>
                  <a:lnTo>
                    <a:pt x="2217" y="3502"/>
                  </a:lnTo>
                  <a:lnTo>
                    <a:pt x="2323" y="3472"/>
                  </a:lnTo>
                  <a:lnTo>
                    <a:pt x="2426" y="3435"/>
                  </a:lnTo>
                  <a:lnTo>
                    <a:pt x="2526" y="3392"/>
                  </a:lnTo>
                  <a:lnTo>
                    <a:pt x="2623" y="3344"/>
                  </a:lnTo>
                  <a:lnTo>
                    <a:pt x="2715" y="3290"/>
                  </a:lnTo>
                  <a:lnTo>
                    <a:pt x="2804" y="3231"/>
                  </a:lnTo>
                  <a:lnTo>
                    <a:pt x="2890" y="3167"/>
                  </a:lnTo>
                  <a:lnTo>
                    <a:pt x="2970" y="3098"/>
                  </a:lnTo>
                  <a:lnTo>
                    <a:pt x="3047" y="3025"/>
                  </a:lnTo>
                  <a:lnTo>
                    <a:pt x="3119" y="2948"/>
                  </a:lnTo>
                  <a:lnTo>
                    <a:pt x="3187" y="2868"/>
                  </a:lnTo>
                  <a:lnTo>
                    <a:pt x="3249" y="2783"/>
                  </a:lnTo>
                  <a:lnTo>
                    <a:pt x="3307" y="2697"/>
                  </a:lnTo>
                  <a:lnTo>
                    <a:pt x="3359" y="2607"/>
                  </a:lnTo>
                  <a:lnTo>
                    <a:pt x="3405" y="2513"/>
                  </a:lnTo>
                  <a:lnTo>
                    <a:pt x="3447" y="2419"/>
                  </a:lnTo>
                  <a:lnTo>
                    <a:pt x="3482" y="2323"/>
                  </a:lnTo>
                  <a:lnTo>
                    <a:pt x="3512" y="2224"/>
                  </a:lnTo>
                  <a:lnTo>
                    <a:pt x="3535" y="2124"/>
                  </a:lnTo>
                  <a:lnTo>
                    <a:pt x="3551" y="2025"/>
                  </a:lnTo>
                  <a:lnTo>
                    <a:pt x="3562" y="1923"/>
                  </a:lnTo>
                  <a:lnTo>
                    <a:pt x="3565" y="1821"/>
                  </a:lnTo>
                  <a:lnTo>
                    <a:pt x="3560" y="1676"/>
                  </a:lnTo>
                  <a:lnTo>
                    <a:pt x="3544" y="1535"/>
                  </a:lnTo>
                  <a:lnTo>
                    <a:pt x="3518" y="1398"/>
                  </a:lnTo>
                  <a:lnTo>
                    <a:pt x="3484" y="1266"/>
                  </a:lnTo>
                  <a:lnTo>
                    <a:pt x="3439" y="1139"/>
                  </a:lnTo>
                  <a:lnTo>
                    <a:pt x="3386" y="1018"/>
                  </a:lnTo>
                  <a:lnTo>
                    <a:pt x="3325" y="902"/>
                  </a:lnTo>
                  <a:lnTo>
                    <a:pt x="3257" y="791"/>
                  </a:lnTo>
                  <a:lnTo>
                    <a:pt x="3182" y="687"/>
                  </a:lnTo>
                  <a:lnTo>
                    <a:pt x="3099" y="589"/>
                  </a:lnTo>
                  <a:lnTo>
                    <a:pt x="3010" y="498"/>
                  </a:lnTo>
                  <a:lnTo>
                    <a:pt x="2916" y="414"/>
                  </a:lnTo>
                  <a:lnTo>
                    <a:pt x="2816" y="336"/>
                  </a:lnTo>
                  <a:lnTo>
                    <a:pt x="2712" y="265"/>
                  </a:lnTo>
                  <a:lnTo>
                    <a:pt x="2602" y="204"/>
                  </a:lnTo>
                  <a:lnTo>
                    <a:pt x="2489" y="148"/>
                  </a:lnTo>
                  <a:lnTo>
                    <a:pt x="2373" y="102"/>
                  </a:lnTo>
                  <a:lnTo>
                    <a:pt x="2253" y="64"/>
                  </a:lnTo>
                  <a:lnTo>
                    <a:pt x="2131" y="34"/>
                  </a:lnTo>
                  <a:lnTo>
                    <a:pt x="2006" y="13"/>
                  </a:lnTo>
                  <a:lnTo>
                    <a:pt x="1880" y="2"/>
                  </a:lnTo>
                  <a:lnTo>
                    <a:pt x="1753" y="0"/>
                  </a:lnTo>
                  <a:lnTo>
                    <a:pt x="1624" y="7"/>
                  </a:lnTo>
                  <a:lnTo>
                    <a:pt x="1496" y="25"/>
                  </a:lnTo>
                  <a:lnTo>
                    <a:pt x="1368" y="52"/>
                  </a:lnTo>
                  <a:lnTo>
                    <a:pt x="1240" y="90"/>
                  </a:lnTo>
                  <a:lnTo>
                    <a:pt x="1113" y="139"/>
                  </a:lnTo>
                  <a:lnTo>
                    <a:pt x="988" y="198"/>
                  </a:lnTo>
                  <a:lnTo>
                    <a:pt x="864" y="269"/>
                  </a:lnTo>
                  <a:lnTo>
                    <a:pt x="744" y="351"/>
                  </a:lnTo>
                  <a:lnTo>
                    <a:pt x="625" y="445"/>
                  </a:lnTo>
                  <a:lnTo>
                    <a:pt x="510" y="550"/>
                  </a:lnTo>
                  <a:lnTo>
                    <a:pt x="485" y="576"/>
                  </a:lnTo>
                  <a:lnTo>
                    <a:pt x="460" y="604"/>
                  </a:lnTo>
                  <a:lnTo>
                    <a:pt x="435" y="631"/>
                  </a:lnTo>
                  <a:lnTo>
                    <a:pt x="410" y="658"/>
                  </a:lnTo>
                  <a:lnTo>
                    <a:pt x="386" y="687"/>
                  </a:lnTo>
                  <a:lnTo>
                    <a:pt x="363" y="716"/>
                  </a:lnTo>
                  <a:lnTo>
                    <a:pt x="339" y="747"/>
                  </a:lnTo>
                  <a:lnTo>
                    <a:pt x="316" y="778"/>
                  </a:lnTo>
                  <a:lnTo>
                    <a:pt x="294" y="809"/>
                  </a:lnTo>
                  <a:lnTo>
                    <a:pt x="271" y="843"/>
                  </a:lnTo>
                  <a:lnTo>
                    <a:pt x="251" y="876"/>
                  </a:lnTo>
                  <a:lnTo>
                    <a:pt x="230" y="910"/>
                  </a:lnTo>
                  <a:lnTo>
                    <a:pt x="210" y="945"/>
                  </a:lnTo>
                  <a:lnTo>
                    <a:pt x="190" y="981"/>
                  </a:lnTo>
                  <a:lnTo>
                    <a:pt x="172" y="1018"/>
                  </a:lnTo>
                  <a:lnTo>
                    <a:pt x="153" y="1054"/>
                  </a:lnTo>
                  <a:lnTo>
                    <a:pt x="137" y="1092"/>
                  </a:lnTo>
                  <a:lnTo>
                    <a:pt x="121" y="1130"/>
                  </a:lnTo>
                  <a:lnTo>
                    <a:pt x="104" y="1170"/>
                  </a:lnTo>
                  <a:lnTo>
                    <a:pt x="90" y="1211"/>
                  </a:lnTo>
                  <a:lnTo>
                    <a:pt x="76" y="1251"/>
                  </a:lnTo>
                  <a:lnTo>
                    <a:pt x="64" y="1293"/>
                  </a:lnTo>
                  <a:lnTo>
                    <a:pt x="52" y="1335"/>
                  </a:lnTo>
                  <a:lnTo>
                    <a:pt x="41" y="1377"/>
                  </a:lnTo>
                  <a:lnTo>
                    <a:pt x="33" y="1422"/>
                  </a:lnTo>
                  <a:lnTo>
                    <a:pt x="24" y="1466"/>
                  </a:lnTo>
                  <a:lnTo>
                    <a:pt x="17" y="1511"/>
                  </a:lnTo>
                  <a:lnTo>
                    <a:pt x="11" y="1556"/>
                  </a:lnTo>
                  <a:lnTo>
                    <a:pt x="7" y="1603"/>
                  </a:lnTo>
                  <a:lnTo>
                    <a:pt x="3" y="1651"/>
                  </a:lnTo>
                  <a:lnTo>
                    <a:pt x="1" y="1698"/>
                  </a:lnTo>
                  <a:lnTo>
                    <a:pt x="0" y="17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138" name="Freeform 8">
              <a:extLst>
                <a:ext uri="{FF2B5EF4-FFF2-40B4-BE49-F238E27FC236}">
                  <a16:creationId xmlns:a16="http://schemas.microsoft.com/office/drawing/2014/main" id="{8CE693B8-DFEA-42A9-B2CA-C4CA260D19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5375" y="5856288"/>
              <a:ext cx="630238" cy="622300"/>
            </a:xfrm>
            <a:custGeom>
              <a:avLst/>
              <a:gdLst>
                <a:gd name="T0" fmla="*/ 636 w 3568"/>
                <a:gd name="T1" fmla="*/ 1647 h 3526"/>
                <a:gd name="T2" fmla="*/ 649 w 3568"/>
                <a:gd name="T3" fmla="*/ 1524 h 3526"/>
                <a:gd name="T4" fmla="*/ 672 w 3568"/>
                <a:gd name="T5" fmla="*/ 1410 h 3526"/>
                <a:gd name="T6" fmla="*/ 708 w 3568"/>
                <a:gd name="T7" fmla="*/ 1304 h 3526"/>
                <a:gd name="T8" fmla="*/ 759 w 3568"/>
                <a:gd name="T9" fmla="*/ 1202 h 3526"/>
                <a:gd name="T10" fmla="*/ 826 w 3568"/>
                <a:gd name="T11" fmla="*/ 1100 h 3526"/>
                <a:gd name="T12" fmla="*/ 913 w 3568"/>
                <a:gd name="T13" fmla="*/ 997 h 3526"/>
                <a:gd name="T14" fmla="*/ 1099 w 3568"/>
                <a:gd name="T15" fmla="*/ 825 h 3526"/>
                <a:gd name="T16" fmla="*/ 1535 w 3568"/>
                <a:gd name="T17" fmla="*/ 606 h 3526"/>
                <a:gd name="T18" fmla="*/ 1968 w 3568"/>
                <a:gd name="T19" fmla="*/ 595 h 3526"/>
                <a:gd name="T20" fmla="*/ 2362 w 3568"/>
                <a:gd name="T21" fmla="*/ 753 h 3526"/>
                <a:gd name="T22" fmla="*/ 2681 w 3568"/>
                <a:gd name="T23" fmla="*/ 1041 h 3526"/>
                <a:gd name="T24" fmla="*/ 2888 w 3568"/>
                <a:gd name="T25" fmla="*/ 1418 h 3526"/>
                <a:gd name="T26" fmla="*/ 2948 w 3568"/>
                <a:gd name="T27" fmla="*/ 1843 h 3526"/>
                <a:gd name="T28" fmla="*/ 2825 w 3568"/>
                <a:gd name="T29" fmla="*/ 2278 h 3526"/>
                <a:gd name="T30" fmla="*/ 2520 w 3568"/>
                <a:gd name="T31" fmla="*/ 2652 h 3526"/>
                <a:gd name="T32" fmla="*/ 2213 w 3568"/>
                <a:gd name="T33" fmla="*/ 2839 h 3526"/>
                <a:gd name="T34" fmla="*/ 1888 w 3568"/>
                <a:gd name="T35" fmla="*/ 2919 h 3526"/>
                <a:gd name="T36" fmla="*/ 1563 w 3568"/>
                <a:gd name="T37" fmla="*/ 2901 h 3526"/>
                <a:gd name="T38" fmla="*/ 1258 w 3568"/>
                <a:gd name="T39" fmla="*/ 2797 h 3526"/>
                <a:gd name="T40" fmla="*/ 993 w 3568"/>
                <a:gd name="T41" fmla="*/ 2617 h 3526"/>
                <a:gd name="T42" fmla="*/ 788 w 3568"/>
                <a:gd name="T43" fmla="*/ 2371 h 3526"/>
                <a:gd name="T44" fmla="*/ 662 w 3568"/>
                <a:gd name="T45" fmla="*/ 2071 h 3526"/>
                <a:gd name="T46" fmla="*/ 0 w 3568"/>
                <a:gd name="T47" fmla="*/ 1743 h 3526"/>
                <a:gd name="T48" fmla="*/ 13 w 3568"/>
                <a:gd name="T49" fmla="*/ 1978 h 3526"/>
                <a:gd name="T50" fmla="*/ 51 w 3568"/>
                <a:gd name="T51" fmla="*/ 2193 h 3526"/>
                <a:gd name="T52" fmla="*/ 112 w 3568"/>
                <a:gd name="T53" fmla="*/ 2389 h 3526"/>
                <a:gd name="T54" fmla="*/ 193 w 3568"/>
                <a:gd name="T55" fmla="*/ 2569 h 3526"/>
                <a:gd name="T56" fmla="*/ 295 w 3568"/>
                <a:gd name="T57" fmla="*/ 2735 h 3526"/>
                <a:gd name="T58" fmla="*/ 414 w 3568"/>
                <a:gd name="T59" fmla="*/ 2888 h 3526"/>
                <a:gd name="T60" fmla="*/ 548 w 3568"/>
                <a:gd name="T61" fmla="*/ 3029 h 3526"/>
                <a:gd name="T62" fmla="*/ 697 w 3568"/>
                <a:gd name="T63" fmla="*/ 3161 h 3526"/>
                <a:gd name="T64" fmla="*/ 981 w 3568"/>
                <a:gd name="T65" fmla="*/ 3345 h 3526"/>
                <a:gd name="T66" fmla="*/ 1296 w 3568"/>
                <a:gd name="T67" fmla="*/ 3464 h 3526"/>
                <a:gd name="T68" fmla="*/ 1628 w 3568"/>
                <a:gd name="T69" fmla="*/ 3521 h 3526"/>
                <a:gd name="T70" fmla="*/ 1965 w 3568"/>
                <a:gd name="T71" fmla="*/ 3516 h 3526"/>
                <a:gd name="T72" fmla="*/ 2292 w 3568"/>
                <a:gd name="T73" fmla="*/ 3457 h 3526"/>
                <a:gd name="T74" fmla="*/ 2597 w 3568"/>
                <a:gd name="T75" fmla="*/ 3344 h 3526"/>
                <a:gd name="T76" fmla="*/ 2867 w 3568"/>
                <a:gd name="T77" fmla="*/ 3181 h 3526"/>
                <a:gd name="T78" fmla="*/ 3088 w 3568"/>
                <a:gd name="T79" fmla="*/ 2972 h 3526"/>
                <a:gd name="T80" fmla="*/ 3422 w 3568"/>
                <a:gd name="T81" fmla="*/ 2442 h 3526"/>
                <a:gd name="T82" fmla="*/ 3561 w 3568"/>
                <a:gd name="T83" fmla="*/ 1917 h 3526"/>
                <a:gd name="T84" fmla="*/ 3533 w 3568"/>
                <a:gd name="T85" fmla="*/ 1417 h 3526"/>
                <a:gd name="T86" fmla="*/ 3372 w 3568"/>
                <a:gd name="T87" fmla="*/ 960 h 3526"/>
                <a:gd name="T88" fmla="*/ 3105 w 3568"/>
                <a:gd name="T89" fmla="*/ 571 h 3526"/>
                <a:gd name="T90" fmla="*/ 2762 w 3568"/>
                <a:gd name="T91" fmla="*/ 268 h 3526"/>
                <a:gd name="T92" fmla="*/ 2373 w 3568"/>
                <a:gd name="T93" fmla="*/ 70 h 3526"/>
                <a:gd name="T94" fmla="*/ 1968 w 3568"/>
                <a:gd name="T95" fmla="*/ 0 h 3526"/>
                <a:gd name="T96" fmla="*/ 1652 w 3568"/>
                <a:gd name="T97" fmla="*/ 9 h 3526"/>
                <a:gd name="T98" fmla="*/ 1452 w 3568"/>
                <a:gd name="T99" fmla="*/ 27 h 3526"/>
                <a:gd name="T100" fmla="*/ 1260 w 3568"/>
                <a:gd name="T101" fmla="*/ 63 h 3526"/>
                <a:gd name="T102" fmla="*/ 1075 w 3568"/>
                <a:gd name="T103" fmla="*/ 119 h 3526"/>
                <a:gd name="T104" fmla="*/ 896 w 3568"/>
                <a:gd name="T105" fmla="*/ 202 h 3526"/>
                <a:gd name="T106" fmla="*/ 723 w 3568"/>
                <a:gd name="T107" fmla="*/ 313 h 3526"/>
                <a:gd name="T108" fmla="*/ 556 w 3568"/>
                <a:gd name="T109" fmla="*/ 460 h 3526"/>
                <a:gd name="T110" fmla="*/ 428 w 3568"/>
                <a:gd name="T111" fmla="*/ 601 h 3526"/>
                <a:gd name="T112" fmla="*/ 340 w 3568"/>
                <a:gd name="T113" fmla="*/ 716 h 3526"/>
                <a:gd name="T114" fmla="*/ 256 w 3568"/>
                <a:gd name="T115" fmla="*/ 845 h 3526"/>
                <a:gd name="T116" fmla="*/ 180 w 3568"/>
                <a:gd name="T117" fmla="*/ 985 h 3526"/>
                <a:gd name="T118" fmla="*/ 114 w 3568"/>
                <a:gd name="T119" fmla="*/ 1136 h 3526"/>
                <a:gd name="T120" fmla="*/ 61 w 3568"/>
                <a:gd name="T121" fmla="*/ 1297 h 3526"/>
                <a:gd name="T122" fmla="*/ 23 w 3568"/>
                <a:gd name="T123" fmla="*/ 1469 h 3526"/>
                <a:gd name="T124" fmla="*/ 3 w 3568"/>
                <a:gd name="T125" fmla="*/ 1649 h 3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68" h="3526">
                  <a:moveTo>
                    <a:pt x="632" y="1817"/>
                  </a:moveTo>
                  <a:lnTo>
                    <a:pt x="632" y="1746"/>
                  </a:lnTo>
                  <a:lnTo>
                    <a:pt x="634" y="1678"/>
                  </a:lnTo>
                  <a:lnTo>
                    <a:pt x="636" y="1647"/>
                  </a:lnTo>
                  <a:lnTo>
                    <a:pt x="638" y="1614"/>
                  </a:lnTo>
                  <a:lnTo>
                    <a:pt x="642" y="1584"/>
                  </a:lnTo>
                  <a:lnTo>
                    <a:pt x="645" y="1553"/>
                  </a:lnTo>
                  <a:lnTo>
                    <a:pt x="649" y="1524"/>
                  </a:lnTo>
                  <a:lnTo>
                    <a:pt x="654" y="1495"/>
                  </a:lnTo>
                  <a:lnTo>
                    <a:pt x="659" y="1465"/>
                  </a:lnTo>
                  <a:lnTo>
                    <a:pt x="665" y="1438"/>
                  </a:lnTo>
                  <a:lnTo>
                    <a:pt x="672" y="1410"/>
                  </a:lnTo>
                  <a:lnTo>
                    <a:pt x="680" y="1383"/>
                  </a:lnTo>
                  <a:lnTo>
                    <a:pt x="688" y="1357"/>
                  </a:lnTo>
                  <a:lnTo>
                    <a:pt x="698" y="1330"/>
                  </a:lnTo>
                  <a:lnTo>
                    <a:pt x="708" y="1304"/>
                  </a:lnTo>
                  <a:lnTo>
                    <a:pt x="719" y="1278"/>
                  </a:lnTo>
                  <a:lnTo>
                    <a:pt x="731" y="1253"/>
                  </a:lnTo>
                  <a:lnTo>
                    <a:pt x="745" y="1227"/>
                  </a:lnTo>
                  <a:lnTo>
                    <a:pt x="759" y="1202"/>
                  </a:lnTo>
                  <a:lnTo>
                    <a:pt x="774" y="1176"/>
                  </a:lnTo>
                  <a:lnTo>
                    <a:pt x="790" y="1151"/>
                  </a:lnTo>
                  <a:lnTo>
                    <a:pt x="808" y="1126"/>
                  </a:lnTo>
                  <a:lnTo>
                    <a:pt x="826" y="1100"/>
                  </a:lnTo>
                  <a:lnTo>
                    <a:pt x="846" y="1075"/>
                  </a:lnTo>
                  <a:lnTo>
                    <a:pt x="867" y="1049"/>
                  </a:lnTo>
                  <a:lnTo>
                    <a:pt x="889" y="1023"/>
                  </a:lnTo>
                  <a:lnTo>
                    <a:pt x="913" y="997"/>
                  </a:lnTo>
                  <a:lnTo>
                    <a:pt x="938" y="970"/>
                  </a:lnTo>
                  <a:lnTo>
                    <a:pt x="965" y="944"/>
                  </a:lnTo>
                  <a:lnTo>
                    <a:pt x="992" y="917"/>
                  </a:lnTo>
                  <a:lnTo>
                    <a:pt x="1099" y="825"/>
                  </a:lnTo>
                  <a:lnTo>
                    <a:pt x="1206" y="748"/>
                  </a:lnTo>
                  <a:lnTo>
                    <a:pt x="1315" y="687"/>
                  </a:lnTo>
                  <a:lnTo>
                    <a:pt x="1425" y="640"/>
                  </a:lnTo>
                  <a:lnTo>
                    <a:pt x="1535" y="606"/>
                  </a:lnTo>
                  <a:lnTo>
                    <a:pt x="1646" y="585"/>
                  </a:lnTo>
                  <a:lnTo>
                    <a:pt x="1754" y="577"/>
                  </a:lnTo>
                  <a:lnTo>
                    <a:pt x="1863" y="581"/>
                  </a:lnTo>
                  <a:lnTo>
                    <a:pt x="1968" y="595"/>
                  </a:lnTo>
                  <a:lnTo>
                    <a:pt x="2072" y="621"/>
                  </a:lnTo>
                  <a:lnTo>
                    <a:pt x="2172" y="656"/>
                  </a:lnTo>
                  <a:lnTo>
                    <a:pt x="2270" y="700"/>
                  </a:lnTo>
                  <a:lnTo>
                    <a:pt x="2362" y="753"/>
                  </a:lnTo>
                  <a:lnTo>
                    <a:pt x="2450" y="815"/>
                  </a:lnTo>
                  <a:lnTo>
                    <a:pt x="2534" y="883"/>
                  </a:lnTo>
                  <a:lnTo>
                    <a:pt x="2611" y="959"/>
                  </a:lnTo>
                  <a:lnTo>
                    <a:pt x="2681" y="1041"/>
                  </a:lnTo>
                  <a:lnTo>
                    <a:pt x="2744" y="1128"/>
                  </a:lnTo>
                  <a:lnTo>
                    <a:pt x="2801" y="1221"/>
                  </a:lnTo>
                  <a:lnTo>
                    <a:pt x="2848" y="1317"/>
                  </a:lnTo>
                  <a:lnTo>
                    <a:pt x="2888" y="1418"/>
                  </a:lnTo>
                  <a:lnTo>
                    <a:pt x="2918" y="1521"/>
                  </a:lnTo>
                  <a:lnTo>
                    <a:pt x="2939" y="1627"/>
                  </a:lnTo>
                  <a:lnTo>
                    <a:pt x="2948" y="1734"/>
                  </a:lnTo>
                  <a:lnTo>
                    <a:pt x="2948" y="1843"/>
                  </a:lnTo>
                  <a:lnTo>
                    <a:pt x="2936" y="1952"/>
                  </a:lnTo>
                  <a:lnTo>
                    <a:pt x="2911" y="2062"/>
                  </a:lnTo>
                  <a:lnTo>
                    <a:pt x="2875" y="2171"/>
                  </a:lnTo>
                  <a:lnTo>
                    <a:pt x="2825" y="2278"/>
                  </a:lnTo>
                  <a:lnTo>
                    <a:pt x="2762" y="2385"/>
                  </a:lnTo>
                  <a:lnTo>
                    <a:pt x="2683" y="2488"/>
                  </a:lnTo>
                  <a:lnTo>
                    <a:pt x="2591" y="2587"/>
                  </a:lnTo>
                  <a:lnTo>
                    <a:pt x="2520" y="2652"/>
                  </a:lnTo>
                  <a:lnTo>
                    <a:pt x="2447" y="2710"/>
                  </a:lnTo>
                  <a:lnTo>
                    <a:pt x="2371" y="2760"/>
                  </a:lnTo>
                  <a:lnTo>
                    <a:pt x="2293" y="2803"/>
                  </a:lnTo>
                  <a:lnTo>
                    <a:pt x="2213" y="2839"/>
                  </a:lnTo>
                  <a:lnTo>
                    <a:pt x="2133" y="2869"/>
                  </a:lnTo>
                  <a:lnTo>
                    <a:pt x="2052" y="2892"/>
                  </a:lnTo>
                  <a:lnTo>
                    <a:pt x="1970" y="2908"/>
                  </a:lnTo>
                  <a:lnTo>
                    <a:pt x="1888" y="2919"/>
                  </a:lnTo>
                  <a:lnTo>
                    <a:pt x="1806" y="2922"/>
                  </a:lnTo>
                  <a:lnTo>
                    <a:pt x="1724" y="2921"/>
                  </a:lnTo>
                  <a:lnTo>
                    <a:pt x="1644" y="2914"/>
                  </a:lnTo>
                  <a:lnTo>
                    <a:pt x="1563" y="2901"/>
                  </a:lnTo>
                  <a:lnTo>
                    <a:pt x="1484" y="2882"/>
                  </a:lnTo>
                  <a:lnTo>
                    <a:pt x="1407" y="2858"/>
                  </a:lnTo>
                  <a:lnTo>
                    <a:pt x="1332" y="2830"/>
                  </a:lnTo>
                  <a:lnTo>
                    <a:pt x="1258" y="2797"/>
                  </a:lnTo>
                  <a:lnTo>
                    <a:pt x="1188" y="2758"/>
                  </a:lnTo>
                  <a:lnTo>
                    <a:pt x="1119" y="2715"/>
                  </a:lnTo>
                  <a:lnTo>
                    <a:pt x="1055" y="2668"/>
                  </a:lnTo>
                  <a:lnTo>
                    <a:pt x="993" y="2617"/>
                  </a:lnTo>
                  <a:lnTo>
                    <a:pt x="936" y="2560"/>
                  </a:lnTo>
                  <a:lnTo>
                    <a:pt x="883" y="2501"/>
                  </a:lnTo>
                  <a:lnTo>
                    <a:pt x="833" y="2438"/>
                  </a:lnTo>
                  <a:lnTo>
                    <a:pt x="788" y="2371"/>
                  </a:lnTo>
                  <a:lnTo>
                    <a:pt x="748" y="2300"/>
                  </a:lnTo>
                  <a:lnTo>
                    <a:pt x="714" y="2227"/>
                  </a:lnTo>
                  <a:lnTo>
                    <a:pt x="685" y="2151"/>
                  </a:lnTo>
                  <a:lnTo>
                    <a:pt x="662" y="2071"/>
                  </a:lnTo>
                  <a:lnTo>
                    <a:pt x="645" y="1989"/>
                  </a:lnTo>
                  <a:lnTo>
                    <a:pt x="635" y="1904"/>
                  </a:lnTo>
                  <a:lnTo>
                    <a:pt x="632" y="1817"/>
                  </a:lnTo>
                  <a:close/>
                  <a:moveTo>
                    <a:pt x="0" y="1743"/>
                  </a:moveTo>
                  <a:lnTo>
                    <a:pt x="1" y="1804"/>
                  </a:lnTo>
                  <a:lnTo>
                    <a:pt x="3" y="1863"/>
                  </a:lnTo>
                  <a:lnTo>
                    <a:pt x="8" y="1921"/>
                  </a:lnTo>
                  <a:lnTo>
                    <a:pt x="13" y="1978"/>
                  </a:lnTo>
                  <a:lnTo>
                    <a:pt x="21" y="2033"/>
                  </a:lnTo>
                  <a:lnTo>
                    <a:pt x="29" y="2088"/>
                  </a:lnTo>
                  <a:lnTo>
                    <a:pt x="39" y="2141"/>
                  </a:lnTo>
                  <a:lnTo>
                    <a:pt x="51" y="2193"/>
                  </a:lnTo>
                  <a:lnTo>
                    <a:pt x="64" y="2244"/>
                  </a:lnTo>
                  <a:lnTo>
                    <a:pt x="78" y="2294"/>
                  </a:lnTo>
                  <a:lnTo>
                    <a:pt x="94" y="2341"/>
                  </a:lnTo>
                  <a:lnTo>
                    <a:pt x="112" y="2389"/>
                  </a:lnTo>
                  <a:lnTo>
                    <a:pt x="130" y="2436"/>
                  </a:lnTo>
                  <a:lnTo>
                    <a:pt x="150" y="2481"/>
                  </a:lnTo>
                  <a:lnTo>
                    <a:pt x="172" y="2526"/>
                  </a:lnTo>
                  <a:lnTo>
                    <a:pt x="193" y="2569"/>
                  </a:lnTo>
                  <a:lnTo>
                    <a:pt x="217" y="2612"/>
                  </a:lnTo>
                  <a:lnTo>
                    <a:pt x="242" y="2653"/>
                  </a:lnTo>
                  <a:lnTo>
                    <a:pt x="268" y="2695"/>
                  </a:lnTo>
                  <a:lnTo>
                    <a:pt x="295" y="2735"/>
                  </a:lnTo>
                  <a:lnTo>
                    <a:pt x="322" y="2774"/>
                  </a:lnTo>
                  <a:lnTo>
                    <a:pt x="352" y="2813"/>
                  </a:lnTo>
                  <a:lnTo>
                    <a:pt x="382" y="2851"/>
                  </a:lnTo>
                  <a:lnTo>
                    <a:pt x="414" y="2888"/>
                  </a:lnTo>
                  <a:lnTo>
                    <a:pt x="446" y="2923"/>
                  </a:lnTo>
                  <a:lnTo>
                    <a:pt x="479" y="2959"/>
                  </a:lnTo>
                  <a:lnTo>
                    <a:pt x="513" y="2994"/>
                  </a:lnTo>
                  <a:lnTo>
                    <a:pt x="548" y="3029"/>
                  </a:lnTo>
                  <a:lnTo>
                    <a:pt x="584" y="3062"/>
                  </a:lnTo>
                  <a:lnTo>
                    <a:pt x="621" y="3096"/>
                  </a:lnTo>
                  <a:lnTo>
                    <a:pt x="659" y="3128"/>
                  </a:lnTo>
                  <a:lnTo>
                    <a:pt x="697" y="3161"/>
                  </a:lnTo>
                  <a:lnTo>
                    <a:pt x="764" y="3213"/>
                  </a:lnTo>
                  <a:lnTo>
                    <a:pt x="835" y="3262"/>
                  </a:lnTo>
                  <a:lnTo>
                    <a:pt x="908" y="3306"/>
                  </a:lnTo>
                  <a:lnTo>
                    <a:pt x="981" y="3345"/>
                  </a:lnTo>
                  <a:lnTo>
                    <a:pt x="1058" y="3381"/>
                  </a:lnTo>
                  <a:lnTo>
                    <a:pt x="1137" y="3413"/>
                  </a:lnTo>
                  <a:lnTo>
                    <a:pt x="1216" y="3440"/>
                  </a:lnTo>
                  <a:lnTo>
                    <a:pt x="1296" y="3464"/>
                  </a:lnTo>
                  <a:lnTo>
                    <a:pt x="1379" y="3484"/>
                  </a:lnTo>
                  <a:lnTo>
                    <a:pt x="1461" y="3500"/>
                  </a:lnTo>
                  <a:lnTo>
                    <a:pt x="1545" y="3512"/>
                  </a:lnTo>
                  <a:lnTo>
                    <a:pt x="1628" y="3521"/>
                  </a:lnTo>
                  <a:lnTo>
                    <a:pt x="1713" y="3525"/>
                  </a:lnTo>
                  <a:lnTo>
                    <a:pt x="1797" y="3526"/>
                  </a:lnTo>
                  <a:lnTo>
                    <a:pt x="1881" y="3523"/>
                  </a:lnTo>
                  <a:lnTo>
                    <a:pt x="1965" y="3516"/>
                  </a:lnTo>
                  <a:lnTo>
                    <a:pt x="2047" y="3507"/>
                  </a:lnTo>
                  <a:lnTo>
                    <a:pt x="2130" y="3494"/>
                  </a:lnTo>
                  <a:lnTo>
                    <a:pt x="2211" y="3477"/>
                  </a:lnTo>
                  <a:lnTo>
                    <a:pt x="2292" y="3457"/>
                  </a:lnTo>
                  <a:lnTo>
                    <a:pt x="2371" y="3433"/>
                  </a:lnTo>
                  <a:lnTo>
                    <a:pt x="2448" y="3407"/>
                  </a:lnTo>
                  <a:lnTo>
                    <a:pt x="2523" y="3376"/>
                  </a:lnTo>
                  <a:lnTo>
                    <a:pt x="2597" y="3344"/>
                  </a:lnTo>
                  <a:lnTo>
                    <a:pt x="2668" y="3308"/>
                  </a:lnTo>
                  <a:lnTo>
                    <a:pt x="2737" y="3269"/>
                  </a:lnTo>
                  <a:lnTo>
                    <a:pt x="2803" y="3227"/>
                  </a:lnTo>
                  <a:lnTo>
                    <a:pt x="2867" y="3181"/>
                  </a:lnTo>
                  <a:lnTo>
                    <a:pt x="2927" y="3134"/>
                  </a:lnTo>
                  <a:lnTo>
                    <a:pt x="2984" y="3083"/>
                  </a:lnTo>
                  <a:lnTo>
                    <a:pt x="3038" y="3029"/>
                  </a:lnTo>
                  <a:lnTo>
                    <a:pt x="3088" y="2972"/>
                  </a:lnTo>
                  <a:lnTo>
                    <a:pt x="3192" y="2841"/>
                  </a:lnTo>
                  <a:lnTo>
                    <a:pt x="3282" y="2709"/>
                  </a:lnTo>
                  <a:lnTo>
                    <a:pt x="3358" y="2575"/>
                  </a:lnTo>
                  <a:lnTo>
                    <a:pt x="3422" y="2442"/>
                  </a:lnTo>
                  <a:lnTo>
                    <a:pt x="3474" y="2310"/>
                  </a:lnTo>
                  <a:lnTo>
                    <a:pt x="3514" y="2178"/>
                  </a:lnTo>
                  <a:lnTo>
                    <a:pt x="3542" y="2046"/>
                  </a:lnTo>
                  <a:lnTo>
                    <a:pt x="3561" y="1917"/>
                  </a:lnTo>
                  <a:lnTo>
                    <a:pt x="3568" y="1788"/>
                  </a:lnTo>
                  <a:lnTo>
                    <a:pt x="3566" y="1663"/>
                  </a:lnTo>
                  <a:lnTo>
                    <a:pt x="3554" y="1538"/>
                  </a:lnTo>
                  <a:lnTo>
                    <a:pt x="3533" y="1417"/>
                  </a:lnTo>
                  <a:lnTo>
                    <a:pt x="3505" y="1297"/>
                  </a:lnTo>
                  <a:lnTo>
                    <a:pt x="3468" y="1181"/>
                  </a:lnTo>
                  <a:lnTo>
                    <a:pt x="3424" y="1070"/>
                  </a:lnTo>
                  <a:lnTo>
                    <a:pt x="3372" y="960"/>
                  </a:lnTo>
                  <a:lnTo>
                    <a:pt x="3314" y="856"/>
                  </a:lnTo>
                  <a:lnTo>
                    <a:pt x="3250" y="757"/>
                  </a:lnTo>
                  <a:lnTo>
                    <a:pt x="3180" y="661"/>
                  </a:lnTo>
                  <a:lnTo>
                    <a:pt x="3105" y="571"/>
                  </a:lnTo>
                  <a:lnTo>
                    <a:pt x="3025" y="487"/>
                  </a:lnTo>
                  <a:lnTo>
                    <a:pt x="2941" y="408"/>
                  </a:lnTo>
                  <a:lnTo>
                    <a:pt x="2853" y="334"/>
                  </a:lnTo>
                  <a:lnTo>
                    <a:pt x="2762" y="268"/>
                  </a:lnTo>
                  <a:lnTo>
                    <a:pt x="2668" y="207"/>
                  </a:lnTo>
                  <a:lnTo>
                    <a:pt x="2572" y="154"/>
                  </a:lnTo>
                  <a:lnTo>
                    <a:pt x="2473" y="108"/>
                  </a:lnTo>
                  <a:lnTo>
                    <a:pt x="2373" y="70"/>
                  </a:lnTo>
                  <a:lnTo>
                    <a:pt x="2272" y="40"/>
                  </a:lnTo>
                  <a:lnTo>
                    <a:pt x="2171" y="18"/>
                  </a:lnTo>
                  <a:lnTo>
                    <a:pt x="2069" y="4"/>
                  </a:lnTo>
                  <a:lnTo>
                    <a:pt x="1968" y="0"/>
                  </a:lnTo>
                  <a:lnTo>
                    <a:pt x="1861" y="1"/>
                  </a:lnTo>
                  <a:lnTo>
                    <a:pt x="1755" y="3"/>
                  </a:lnTo>
                  <a:lnTo>
                    <a:pt x="1703" y="5"/>
                  </a:lnTo>
                  <a:lnTo>
                    <a:pt x="1652" y="9"/>
                  </a:lnTo>
                  <a:lnTo>
                    <a:pt x="1601" y="12"/>
                  </a:lnTo>
                  <a:lnTo>
                    <a:pt x="1551" y="16"/>
                  </a:lnTo>
                  <a:lnTo>
                    <a:pt x="1501" y="22"/>
                  </a:lnTo>
                  <a:lnTo>
                    <a:pt x="1452" y="27"/>
                  </a:lnTo>
                  <a:lnTo>
                    <a:pt x="1404" y="35"/>
                  </a:lnTo>
                  <a:lnTo>
                    <a:pt x="1355" y="43"/>
                  </a:lnTo>
                  <a:lnTo>
                    <a:pt x="1307" y="52"/>
                  </a:lnTo>
                  <a:lnTo>
                    <a:pt x="1260" y="63"/>
                  </a:lnTo>
                  <a:lnTo>
                    <a:pt x="1213" y="75"/>
                  </a:lnTo>
                  <a:lnTo>
                    <a:pt x="1167" y="88"/>
                  </a:lnTo>
                  <a:lnTo>
                    <a:pt x="1120" y="103"/>
                  </a:lnTo>
                  <a:lnTo>
                    <a:pt x="1075" y="119"/>
                  </a:lnTo>
                  <a:lnTo>
                    <a:pt x="1029" y="138"/>
                  </a:lnTo>
                  <a:lnTo>
                    <a:pt x="985" y="157"/>
                  </a:lnTo>
                  <a:lnTo>
                    <a:pt x="940" y="178"/>
                  </a:lnTo>
                  <a:lnTo>
                    <a:pt x="896" y="202"/>
                  </a:lnTo>
                  <a:lnTo>
                    <a:pt x="852" y="227"/>
                  </a:lnTo>
                  <a:lnTo>
                    <a:pt x="809" y="254"/>
                  </a:lnTo>
                  <a:lnTo>
                    <a:pt x="766" y="282"/>
                  </a:lnTo>
                  <a:lnTo>
                    <a:pt x="723" y="313"/>
                  </a:lnTo>
                  <a:lnTo>
                    <a:pt x="681" y="346"/>
                  </a:lnTo>
                  <a:lnTo>
                    <a:pt x="638" y="382"/>
                  </a:lnTo>
                  <a:lnTo>
                    <a:pt x="597" y="419"/>
                  </a:lnTo>
                  <a:lnTo>
                    <a:pt x="556" y="460"/>
                  </a:lnTo>
                  <a:lnTo>
                    <a:pt x="515" y="502"/>
                  </a:lnTo>
                  <a:lnTo>
                    <a:pt x="473" y="547"/>
                  </a:lnTo>
                  <a:lnTo>
                    <a:pt x="451" y="573"/>
                  </a:lnTo>
                  <a:lnTo>
                    <a:pt x="428" y="601"/>
                  </a:lnTo>
                  <a:lnTo>
                    <a:pt x="406" y="629"/>
                  </a:lnTo>
                  <a:lnTo>
                    <a:pt x="383" y="657"/>
                  </a:lnTo>
                  <a:lnTo>
                    <a:pt x="362" y="686"/>
                  </a:lnTo>
                  <a:lnTo>
                    <a:pt x="340" y="716"/>
                  </a:lnTo>
                  <a:lnTo>
                    <a:pt x="318" y="748"/>
                  </a:lnTo>
                  <a:lnTo>
                    <a:pt x="296" y="779"/>
                  </a:lnTo>
                  <a:lnTo>
                    <a:pt x="276" y="812"/>
                  </a:lnTo>
                  <a:lnTo>
                    <a:pt x="256" y="845"/>
                  </a:lnTo>
                  <a:lnTo>
                    <a:pt x="236" y="879"/>
                  </a:lnTo>
                  <a:lnTo>
                    <a:pt x="217" y="914"/>
                  </a:lnTo>
                  <a:lnTo>
                    <a:pt x="198" y="948"/>
                  </a:lnTo>
                  <a:lnTo>
                    <a:pt x="180" y="985"/>
                  </a:lnTo>
                  <a:lnTo>
                    <a:pt x="163" y="1022"/>
                  </a:lnTo>
                  <a:lnTo>
                    <a:pt x="146" y="1059"/>
                  </a:lnTo>
                  <a:lnTo>
                    <a:pt x="129" y="1097"/>
                  </a:lnTo>
                  <a:lnTo>
                    <a:pt x="114" y="1136"/>
                  </a:lnTo>
                  <a:lnTo>
                    <a:pt x="100" y="1175"/>
                  </a:lnTo>
                  <a:lnTo>
                    <a:pt x="86" y="1215"/>
                  </a:lnTo>
                  <a:lnTo>
                    <a:pt x="73" y="1255"/>
                  </a:lnTo>
                  <a:lnTo>
                    <a:pt x="61" y="1297"/>
                  </a:lnTo>
                  <a:lnTo>
                    <a:pt x="50" y="1339"/>
                  </a:lnTo>
                  <a:lnTo>
                    <a:pt x="40" y="1381"/>
                  </a:lnTo>
                  <a:lnTo>
                    <a:pt x="30" y="1424"/>
                  </a:lnTo>
                  <a:lnTo>
                    <a:pt x="23" y="1469"/>
                  </a:lnTo>
                  <a:lnTo>
                    <a:pt x="16" y="1512"/>
                  </a:lnTo>
                  <a:lnTo>
                    <a:pt x="11" y="1558"/>
                  </a:lnTo>
                  <a:lnTo>
                    <a:pt x="7" y="1603"/>
                  </a:lnTo>
                  <a:lnTo>
                    <a:pt x="3" y="1649"/>
                  </a:lnTo>
                  <a:lnTo>
                    <a:pt x="1" y="1695"/>
                  </a:lnTo>
                  <a:lnTo>
                    <a:pt x="0" y="17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139" name="Freeform 9">
              <a:extLst>
                <a:ext uri="{FF2B5EF4-FFF2-40B4-BE49-F238E27FC236}">
                  <a16:creationId xmlns:a16="http://schemas.microsoft.com/office/drawing/2014/main" id="{AB9A533B-0435-442F-B579-F181955954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1275" y="7680325"/>
              <a:ext cx="628650" cy="622300"/>
            </a:xfrm>
            <a:custGeom>
              <a:avLst/>
              <a:gdLst>
                <a:gd name="T0" fmla="*/ 1663 w 3563"/>
                <a:gd name="T1" fmla="*/ 2927 h 3529"/>
                <a:gd name="T2" fmla="*/ 1521 w 3563"/>
                <a:gd name="T3" fmla="*/ 2904 h 3529"/>
                <a:gd name="T4" fmla="*/ 1388 w 3563"/>
                <a:gd name="T5" fmla="*/ 2864 h 3529"/>
                <a:gd name="T6" fmla="*/ 1267 w 3563"/>
                <a:gd name="T7" fmla="*/ 2811 h 3529"/>
                <a:gd name="T8" fmla="*/ 1157 w 3563"/>
                <a:gd name="T9" fmla="*/ 2748 h 3529"/>
                <a:gd name="T10" fmla="*/ 1062 w 3563"/>
                <a:gd name="T11" fmla="*/ 2675 h 3529"/>
                <a:gd name="T12" fmla="*/ 900 w 3563"/>
                <a:gd name="T13" fmla="*/ 2513 h 3529"/>
                <a:gd name="T14" fmla="*/ 795 w 3563"/>
                <a:gd name="T15" fmla="*/ 2384 h 3529"/>
                <a:gd name="T16" fmla="*/ 720 w 3563"/>
                <a:gd name="T17" fmla="*/ 2262 h 3529"/>
                <a:gd name="T18" fmla="*/ 672 w 3563"/>
                <a:gd name="T19" fmla="*/ 2135 h 3529"/>
                <a:gd name="T20" fmla="*/ 645 w 3563"/>
                <a:gd name="T21" fmla="*/ 1994 h 3529"/>
                <a:gd name="T22" fmla="*/ 632 w 3563"/>
                <a:gd name="T23" fmla="*/ 1789 h 3529"/>
                <a:gd name="T24" fmla="*/ 638 w 3563"/>
                <a:gd name="T25" fmla="*/ 1583 h 3529"/>
                <a:gd name="T26" fmla="*/ 667 w 3563"/>
                <a:gd name="T27" fmla="*/ 1439 h 3529"/>
                <a:gd name="T28" fmla="*/ 711 w 3563"/>
                <a:gd name="T29" fmla="*/ 1309 h 3529"/>
                <a:gd name="T30" fmla="*/ 772 w 3563"/>
                <a:gd name="T31" fmla="*/ 1191 h 3529"/>
                <a:gd name="T32" fmla="*/ 843 w 3563"/>
                <a:gd name="T33" fmla="*/ 1086 h 3529"/>
                <a:gd name="T34" fmla="*/ 1057 w 3563"/>
                <a:gd name="T35" fmla="*/ 864 h 3529"/>
                <a:gd name="T36" fmla="*/ 1513 w 3563"/>
                <a:gd name="T37" fmla="*/ 635 h 3529"/>
                <a:gd name="T38" fmla="*/ 1990 w 3563"/>
                <a:gd name="T39" fmla="*/ 631 h 3529"/>
                <a:gd name="T40" fmla="*/ 2425 w 3563"/>
                <a:gd name="T41" fmla="*/ 815 h 3529"/>
                <a:gd name="T42" fmla="*/ 2758 w 3563"/>
                <a:gd name="T43" fmla="*/ 1150 h 3529"/>
                <a:gd name="T44" fmla="*/ 2929 w 3563"/>
                <a:gd name="T45" fmla="*/ 1600 h 3529"/>
                <a:gd name="T46" fmla="*/ 2877 w 3563"/>
                <a:gd name="T47" fmla="*/ 2129 h 3529"/>
                <a:gd name="T48" fmla="*/ 2788 w 3563"/>
                <a:gd name="T49" fmla="*/ 2329 h 3529"/>
                <a:gd name="T50" fmla="*/ 2637 w 3563"/>
                <a:gd name="T51" fmla="*/ 2541 h 3529"/>
                <a:gd name="T52" fmla="*/ 2561 w 3563"/>
                <a:gd name="T53" fmla="*/ 2620 h 3529"/>
                <a:gd name="T54" fmla="*/ 2465 w 3563"/>
                <a:gd name="T55" fmla="*/ 2692 h 3529"/>
                <a:gd name="T56" fmla="*/ 2237 w 3563"/>
                <a:gd name="T57" fmla="*/ 2817 h 3529"/>
                <a:gd name="T58" fmla="*/ 2094 w 3563"/>
                <a:gd name="T59" fmla="*/ 2873 h 3529"/>
                <a:gd name="T60" fmla="*/ 1949 w 3563"/>
                <a:gd name="T61" fmla="*/ 2914 h 3529"/>
                <a:gd name="T62" fmla="*/ 1809 w 3563"/>
                <a:gd name="T63" fmla="*/ 2933 h 3529"/>
                <a:gd name="T64" fmla="*/ 12 w 3563"/>
                <a:gd name="T65" fmla="*/ 1979 h 3529"/>
                <a:gd name="T66" fmla="*/ 83 w 3563"/>
                <a:gd name="T67" fmla="*/ 2289 h 3529"/>
                <a:gd name="T68" fmla="*/ 207 w 3563"/>
                <a:gd name="T69" fmla="*/ 2575 h 3529"/>
                <a:gd name="T70" fmla="*/ 378 w 3563"/>
                <a:gd name="T71" fmla="*/ 2832 h 3529"/>
                <a:gd name="T72" fmla="*/ 586 w 3563"/>
                <a:gd name="T73" fmla="*/ 3055 h 3529"/>
                <a:gd name="T74" fmla="*/ 823 w 3563"/>
                <a:gd name="T75" fmla="*/ 3239 h 3529"/>
                <a:gd name="T76" fmla="*/ 1091 w 3563"/>
                <a:gd name="T77" fmla="*/ 3384 h 3529"/>
                <a:gd name="T78" fmla="*/ 1420 w 3563"/>
                <a:gd name="T79" fmla="*/ 3489 h 3529"/>
                <a:gd name="T80" fmla="*/ 1753 w 3563"/>
                <a:gd name="T81" fmla="*/ 3529 h 3529"/>
                <a:gd name="T82" fmla="*/ 2084 w 3563"/>
                <a:gd name="T83" fmla="*/ 3503 h 3529"/>
                <a:gd name="T84" fmla="*/ 2402 w 3563"/>
                <a:gd name="T85" fmla="*/ 3416 h 3529"/>
                <a:gd name="T86" fmla="*/ 2700 w 3563"/>
                <a:gd name="T87" fmla="*/ 3269 h 3529"/>
                <a:gd name="T88" fmla="*/ 2968 w 3563"/>
                <a:gd name="T89" fmla="*/ 3064 h 3529"/>
                <a:gd name="T90" fmla="*/ 3252 w 3563"/>
                <a:gd name="T91" fmla="*/ 2735 h 3529"/>
                <a:gd name="T92" fmla="*/ 3453 w 3563"/>
                <a:gd name="T93" fmla="*/ 2353 h 3529"/>
                <a:gd name="T94" fmla="*/ 3552 w 3563"/>
                <a:gd name="T95" fmla="*/ 1952 h 3529"/>
                <a:gd name="T96" fmla="*/ 3549 w 3563"/>
                <a:gd name="T97" fmla="*/ 1543 h 3529"/>
                <a:gd name="T98" fmla="*/ 3442 w 3563"/>
                <a:gd name="T99" fmla="*/ 1141 h 3529"/>
                <a:gd name="T100" fmla="*/ 3234 w 3563"/>
                <a:gd name="T101" fmla="*/ 760 h 3529"/>
                <a:gd name="T102" fmla="*/ 2813 w 3563"/>
                <a:gd name="T103" fmla="*/ 330 h 3529"/>
                <a:gd name="T104" fmla="*/ 2641 w 3563"/>
                <a:gd name="T105" fmla="*/ 215 h 3529"/>
                <a:gd name="T106" fmla="*/ 2242 w 3563"/>
                <a:gd name="T107" fmla="*/ 57 h 3529"/>
                <a:gd name="T108" fmla="*/ 1681 w 3563"/>
                <a:gd name="T109" fmla="*/ 3 h 3529"/>
                <a:gd name="T110" fmla="*/ 1146 w 3563"/>
                <a:gd name="T111" fmla="*/ 120 h 3529"/>
                <a:gd name="T112" fmla="*/ 672 w 3563"/>
                <a:gd name="T113" fmla="*/ 388 h 3529"/>
                <a:gd name="T114" fmla="*/ 299 w 3563"/>
                <a:gd name="T115" fmla="*/ 788 h 3529"/>
                <a:gd name="T116" fmla="*/ 63 w 3563"/>
                <a:gd name="T117" fmla="*/ 1303 h 3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563" h="3529">
                  <a:moveTo>
                    <a:pt x="1782" y="2933"/>
                  </a:moveTo>
                  <a:lnTo>
                    <a:pt x="1752" y="2933"/>
                  </a:lnTo>
                  <a:lnTo>
                    <a:pt x="1722" y="2932"/>
                  </a:lnTo>
                  <a:lnTo>
                    <a:pt x="1692" y="2930"/>
                  </a:lnTo>
                  <a:lnTo>
                    <a:pt x="1663" y="2927"/>
                  </a:lnTo>
                  <a:lnTo>
                    <a:pt x="1634" y="2923"/>
                  </a:lnTo>
                  <a:lnTo>
                    <a:pt x="1606" y="2920"/>
                  </a:lnTo>
                  <a:lnTo>
                    <a:pt x="1576" y="2914"/>
                  </a:lnTo>
                  <a:lnTo>
                    <a:pt x="1549" y="2909"/>
                  </a:lnTo>
                  <a:lnTo>
                    <a:pt x="1521" y="2904"/>
                  </a:lnTo>
                  <a:lnTo>
                    <a:pt x="1494" y="2896"/>
                  </a:lnTo>
                  <a:lnTo>
                    <a:pt x="1467" y="2890"/>
                  </a:lnTo>
                  <a:lnTo>
                    <a:pt x="1441" y="2881"/>
                  </a:lnTo>
                  <a:lnTo>
                    <a:pt x="1414" y="2873"/>
                  </a:lnTo>
                  <a:lnTo>
                    <a:pt x="1388" y="2864"/>
                  </a:lnTo>
                  <a:lnTo>
                    <a:pt x="1363" y="2855"/>
                  </a:lnTo>
                  <a:lnTo>
                    <a:pt x="1338" y="2844"/>
                  </a:lnTo>
                  <a:lnTo>
                    <a:pt x="1315" y="2833"/>
                  </a:lnTo>
                  <a:lnTo>
                    <a:pt x="1291" y="2822"/>
                  </a:lnTo>
                  <a:lnTo>
                    <a:pt x="1267" y="2811"/>
                  </a:lnTo>
                  <a:lnTo>
                    <a:pt x="1244" y="2800"/>
                  </a:lnTo>
                  <a:lnTo>
                    <a:pt x="1222" y="2787"/>
                  </a:lnTo>
                  <a:lnTo>
                    <a:pt x="1200" y="2774"/>
                  </a:lnTo>
                  <a:lnTo>
                    <a:pt x="1179" y="2761"/>
                  </a:lnTo>
                  <a:lnTo>
                    <a:pt x="1157" y="2748"/>
                  </a:lnTo>
                  <a:lnTo>
                    <a:pt x="1138" y="2733"/>
                  </a:lnTo>
                  <a:lnTo>
                    <a:pt x="1118" y="2719"/>
                  </a:lnTo>
                  <a:lnTo>
                    <a:pt x="1099" y="2705"/>
                  </a:lnTo>
                  <a:lnTo>
                    <a:pt x="1080" y="2690"/>
                  </a:lnTo>
                  <a:lnTo>
                    <a:pt x="1062" y="2675"/>
                  </a:lnTo>
                  <a:lnTo>
                    <a:pt x="1044" y="2660"/>
                  </a:lnTo>
                  <a:lnTo>
                    <a:pt x="1027" y="2643"/>
                  </a:lnTo>
                  <a:lnTo>
                    <a:pt x="1011" y="2628"/>
                  </a:lnTo>
                  <a:lnTo>
                    <a:pt x="952" y="2569"/>
                  </a:lnTo>
                  <a:lnTo>
                    <a:pt x="900" y="2513"/>
                  </a:lnTo>
                  <a:lnTo>
                    <a:pt x="876" y="2486"/>
                  </a:lnTo>
                  <a:lnTo>
                    <a:pt x="853" y="2460"/>
                  </a:lnTo>
                  <a:lnTo>
                    <a:pt x="833" y="2434"/>
                  </a:lnTo>
                  <a:lnTo>
                    <a:pt x="813" y="2409"/>
                  </a:lnTo>
                  <a:lnTo>
                    <a:pt x="795" y="2384"/>
                  </a:lnTo>
                  <a:lnTo>
                    <a:pt x="777" y="2359"/>
                  </a:lnTo>
                  <a:lnTo>
                    <a:pt x="761" y="2335"/>
                  </a:lnTo>
                  <a:lnTo>
                    <a:pt x="746" y="2311"/>
                  </a:lnTo>
                  <a:lnTo>
                    <a:pt x="733" y="2286"/>
                  </a:lnTo>
                  <a:lnTo>
                    <a:pt x="720" y="2262"/>
                  </a:lnTo>
                  <a:lnTo>
                    <a:pt x="708" y="2237"/>
                  </a:lnTo>
                  <a:lnTo>
                    <a:pt x="698" y="2212"/>
                  </a:lnTo>
                  <a:lnTo>
                    <a:pt x="688" y="2187"/>
                  </a:lnTo>
                  <a:lnTo>
                    <a:pt x="680" y="2161"/>
                  </a:lnTo>
                  <a:lnTo>
                    <a:pt x="672" y="2135"/>
                  </a:lnTo>
                  <a:lnTo>
                    <a:pt x="664" y="2108"/>
                  </a:lnTo>
                  <a:lnTo>
                    <a:pt x="659" y="2081"/>
                  </a:lnTo>
                  <a:lnTo>
                    <a:pt x="653" y="2053"/>
                  </a:lnTo>
                  <a:lnTo>
                    <a:pt x="648" y="2023"/>
                  </a:lnTo>
                  <a:lnTo>
                    <a:pt x="645" y="1994"/>
                  </a:lnTo>
                  <a:lnTo>
                    <a:pt x="640" y="1963"/>
                  </a:lnTo>
                  <a:lnTo>
                    <a:pt x="638" y="1930"/>
                  </a:lnTo>
                  <a:lnTo>
                    <a:pt x="636" y="1898"/>
                  </a:lnTo>
                  <a:lnTo>
                    <a:pt x="634" y="1863"/>
                  </a:lnTo>
                  <a:lnTo>
                    <a:pt x="632" y="1789"/>
                  </a:lnTo>
                  <a:lnTo>
                    <a:pt x="632" y="1709"/>
                  </a:lnTo>
                  <a:lnTo>
                    <a:pt x="632" y="1677"/>
                  </a:lnTo>
                  <a:lnTo>
                    <a:pt x="633" y="1645"/>
                  </a:lnTo>
                  <a:lnTo>
                    <a:pt x="635" y="1614"/>
                  </a:lnTo>
                  <a:lnTo>
                    <a:pt x="638" y="1583"/>
                  </a:lnTo>
                  <a:lnTo>
                    <a:pt x="643" y="1553"/>
                  </a:lnTo>
                  <a:lnTo>
                    <a:pt x="647" y="1524"/>
                  </a:lnTo>
                  <a:lnTo>
                    <a:pt x="652" y="1495"/>
                  </a:lnTo>
                  <a:lnTo>
                    <a:pt x="659" y="1466"/>
                  </a:lnTo>
                  <a:lnTo>
                    <a:pt x="667" y="1439"/>
                  </a:lnTo>
                  <a:lnTo>
                    <a:pt x="674" y="1412"/>
                  </a:lnTo>
                  <a:lnTo>
                    <a:pt x="683" y="1385"/>
                  </a:lnTo>
                  <a:lnTo>
                    <a:pt x="691" y="1359"/>
                  </a:lnTo>
                  <a:lnTo>
                    <a:pt x="701" y="1334"/>
                  </a:lnTo>
                  <a:lnTo>
                    <a:pt x="711" y="1309"/>
                  </a:lnTo>
                  <a:lnTo>
                    <a:pt x="723" y="1284"/>
                  </a:lnTo>
                  <a:lnTo>
                    <a:pt x="734" y="1260"/>
                  </a:lnTo>
                  <a:lnTo>
                    <a:pt x="746" y="1237"/>
                  </a:lnTo>
                  <a:lnTo>
                    <a:pt x="759" y="1214"/>
                  </a:lnTo>
                  <a:lnTo>
                    <a:pt x="772" y="1191"/>
                  </a:lnTo>
                  <a:lnTo>
                    <a:pt x="785" y="1169"/>
                  </a:lnTo>
                  <a:lnTo>
                    <a:pt x="799" y="1148"/>
                  </a:lnTo>
                  <a:lnTo>
                    <a:pt x="813" y="1127"/>
                  </a:lnTo>
                  <a:lnTo>
                    <a:pt x="828" y="1106"/>
                  </a:lnTo>
                  <a:lnTo>
                    <a:pt x="843" y="1086"/>
                  </a:lnTo>
                  <a:lnTo>
                    <a:pt x="874" y="1047"/>
                  </a:lnTo>
                  <a:lnTo>
                    <a:pt x="906" y="1009"/>
                  </a:lnTo>
                  <a:lnTo>
                    <a:pt x="940" y="973"/>
                  </a:lnTo>
                  <a:lnTo>
                    <a:pt x="974" y="938"/>
                  </a:lnTo>
                  <a:lnTo>
                    <a:pt x="1057" y="864"/>
                  </a:lnTo>
                  <a:lnTo>
                    <a:pt x="1144" y="798"/>
                  </a:lnTo>
                  <a:lnTo>
                    <a:pt x="1233" y="742"/>
                  </a:lnTo>
                  <a:lnTo>
                    <a:pt x="1325" y="698"/>
                  </a:lnTo>
                  <a:lnTo>
                    <a:pt x="1419" y="662"/>
                  </a:lnTo>
                  <a:lnTo>
                    <a:pt x="1513" y="635"/>
                  </a:lnTo>
                  <a:lnTo>
                    <a:pt x="1609" y="618"/>
                  </a:lnTo>
                  <a:lnTo>
                    <a:pt x="1705" y="609"/>
                  </a:lnTo>
                  <a:lnTo>
                    <a:pt x="1801" y="608"/>
                  </a:lnTo>
                  <a:lnTo>
                    <a:pt x="1895" y="615"/>
                  </a:lnTo>
                  <a:lnTo>
                    <a:pt x="1990" y="631"/>
                  </a:lnTo>
                  <a:lnTo>
                    <a:pt x="2082" y="654"/>
                  </a:lnTo>
                  <a:lnTo>
                    <a:pt x="2172" y="684"/>
                  </a:lnTo>
                  <a:lnTo>
                    <a:pt x="2259" y="721"/>
                  </a:lnTo>
                  <a:lnTo>
                    <a:pt x="2344" y="765"/>
                  </a:lnTo>
                  <a:lnTo>
                    <a:pt x="2425" y="815"/>
                  </a:lnTo>
                  <a:lnTo>
                    <a:pt x="2501" y="871"/>
                  </a:lnTo>
                  <a:lnTo>
                    <a:pt x="2574" y="933"/>
                  </a:lnTo>
                  <a:lnTo>
                    <a:pt x="2641" y="1000"/>
                  </a:lnTo>
                  <a:lnTo>
                    <a:pt x="2703" y="1073"/>
                  </a:lnTo>
                  <a:lnTo>
                    <a:pt x="2758" y="1150"/>
                  </a:lnTo>
                  <a:lnTo>
                    <a:pt x="2807" y="1232"/>
                  </a:lnTo>
                  <a:lnTo>
                    <a:pt x="2850" y="1318"/>
                  </a:lnTo>
                  <a:lnTo>
                    <a:pt x="2884" y="1409"/>
                  </a:lnTo>
                  <a:lnTo>
                    <a:pt x="2910" y="1502"/>
                  </a:lnTo>
                  <a:lnTo>
                    <a:pt x="2929" y="1600"/>
                  </a:lnTo>
                  <a:lnTo>
                    <a:pt x="2939" y="1700"/>
                  </a:lnTo>
                  <a:lnTo>
                    <a:pt x="2939" y="1805"/>
                  </a:lnTo>
                  <a:lnTo>
                    <a:pt x="2929" y="1911"/>
                  </a:lnTo>
                  <a:lnTo>
                    <a:pt x="2908" y="2019"/>
                  </a:lnTo>
                  <a:lnTo>
                    <a:pt x="2877" y="2129"/>
                  </a:lnTo>
                  <a:lnTo>
                    <a:pt x="2834" y="2241"/>
                  </a:lnTo>
                  <a:lnTo>
                    <a:pt x="2826" y="2261"/>
                  </a:lnTo>
                  <a:lnTo>
                    <a:pt x="2815" y="2283"/>
                  </a:lnTo>
                  <a:lnTo>
                    <a:pt x="2802" y="2305"/>
                  </a:lnTo>
                  <a:lnTo>
                    <a:pt x="2788" y="2329"/>
                  </a:lnTo>
                  <a:lnTo>
                    <a:pt x="2757" y="2378"/>
                  </a:lnTo>
                  <a:lnTo>
                    <a:pt x="2724" y="2428"/>
                  </a:lnTo>
                  <a:lnTo>
                    <a:pt x="2688" y="2475"/>
                  </a:lnTo>
                  <a:lnTo>
                    <a:pt x="2653" y="2521"/>
                  </a:lnTo>
                  <a:lnTo>
                    <a:pt x="2637" y="2541"/>
                  </a:lnTo>
                  <a:lnTo>
                    <a:pt x="2620" y="2560"/>
                  </a:lnTo>
                  <a:lnTo>
                    <a:pt x="2605" y="2576"/>
                  </a:lnTo>
                  <a:lnTo>
                    <a:pt x="2591" y="2591"/>
                  </a:lnTo>
                  <a:lnTo>
                    <a:pt x="2577" y="2606"/>
                  </a:lnTo>
                  <a:lnTo>
                    <a:pt x="2561" y="2620"/>
                  </a:lnTo>
                  <a:lnTo>
                    <a:pt x="2544" y="2634"/>
                  </a:lnTo>
                  <a:lnTo>
                    <a:pt x="2526" y="2648"/>
                  </a:lnTo>
                  <a:lnTo>
                    <a:pt x="2506" y="2663"/>
                  </a:lnTo>
                  <a:lnTo>
                    <a:pt x="2487" y="2677"/>
                  </a:lnTo>
                  <a:lnTo>
                    <a:pt x="2465" y="2692"/>
                  </a:lnTo>
                  <a:lnTo>
                    <a:pt x="2442" y="2706"/>
                  </a:lnTo>
                  <a:lnTo>
                    <a:pt x="2396" y="2736"/>
                  </a:lnTo>
                  <a:lnTo>
                    <a:pt x="2345" y="2764"/>
                  </a:lnTo>
                  <a:lnTo>
                    <a:pt x="2293" y="2791"/>
                  </a:lnTo>
                  <a:lnTo>
                    <a:pt x="2237" y="2817"/>
                  </a:lnTo>
                  <a:lnTo>
                    <a:pt x="2209" y="2830"/>
                  </a:lnTo>
                  <a:lnTo>
                    <a:pt x="2181" y="2841"/>
                  </a:lnTo>
                  <a:lnTo>
                    <a:pt x="2152" y="2853"/>
                  </a:lnTo>
                  <a:lnTo>
                    <a:pt x="2123" y="2864"/>
                  </a:lnTo>
                  <a:lnTo>
                    <a:pt x="2094" y="2873"/>
                  </a:lnTo>
                  <a:lnTo>
                    <a:pt x="2065" y="2883"/>
                  </a:lnTo>
                  <a:lnTo>
                    <a:pt x="2035" y="2892"/>
                  </a:lnTo>
                  <a:lnTo>
                    <a:pt x="2006" y="2900"/>
                  </a:lnTo>
                  <a:lnTo>
                    <a:pt x="1978" y="2908"/>
                  </a:lnTo>
                  <a:lnTo>
                    <a:pt x="1949" y="2914"/>
                  </a:lnTo>
                  <a:lnTo>
                    <a:pt x="1920" y="2920"/>
                  </a:lnTo>
                  <a:lnTo>
                    <a:pt x="1892" y="2924"/>
                  </a:lnTo>
                  <a:lnTo>
                    <a:pt x="1864" y="2929"/>
                  </a:lnTo>
                  <a:lnTo>
                    <a:pt x="1836" y="2931"/>
                  </a:lnTo>
                  <a:lnTo>
                    <a:pt x="1809" y="2933"/>
                  </a:lnTo>
                  <a:lnTo>
                    <a:pt x="1782" y="2933"/>
                  </a:lnTo>
                  <a:close/>
                  <a:moveTo>
                    <a:pt x="0" y="1784"/>
                  </a:moveTo>
                  <a:lnTo>
                    <a:pt x="1" y="1849"/>
                  </a:lnTo>
                  <a:lnTo>
                    <a:pt x="5" y="1914"/>
                  </a:lnTo>
                  <a:lnTo>
                    <a:pt x="12" y="1979"/>
                  </a:lnTo>
                  <a:lnTo>
                    <a:pt x="22" y="2043"/>
                  </a:lnTo>
                  <a:lnTo>
                    <a:pt x="33" y="2106"/>
                  </a:lnTo>
                  <a:lnTo>
                    <a:pt x="47" y="2168"/>
                  </a:lnTo>
                  <a:lnTo>
                    <a:pt x="63" y="2228"/>
                  </a:lnTo>
                  <a:lnTo>
                    <a:pt x="83" y="2289"/>
                  </a:lnTo>
                  <a:lnTo>
                    <a:pt x="103" y="2348"/>
                  </a:lnTo>
                  <a:lnTo>
                    <a:pt x="126" y="2406"/>
                  </a:lnTo>
                  <a:lnTo>
                    <a:pt x="151" y="2464"/>
                  </a:lnTo>
                  <a:lnTo>
                    <a:pt x="178" y="2520"/>
                  </a:lnTo>
                  <a:lnTo>
                    <a:pt x="207" y="2575"/>
                  </a:lnTo>
                  <a:lnTo>
                    <a:pt x="238" y="2628"/>
                  </a:lnTo>
                  <a:lnTo>
                    <a:pt x="270" y="2681"/>
                  </a:lnTo>
                  <a:lnTo>
                    <a:pt x="305" y="2733"/>
                  </a:lnTo>
                  <a:lnTo>
                    <a:pt x="341" y="2783"/>
                  </a:lnTo>
                  <a:lnTo>
                    <a:pt x="378" y="2832"/>
                  </a:lnTo>
                  <a:lnTo>
                    <a:pt x="417" y="2880"/>
                  </a:lnTo>
                  <a:lnTo>
                    <a:pt x="457" y="2925"/>
                  </a:lnTo>
                  <a:lnTo>
                    <a:pt x="499" y="2970"/>
                  </a:lnTo>
                  <a:lnTo>
                    <a:pt x="542" y="3013"/>
                  </a:lnTo>
                  <a:lnTo>
                    <a:pt x="586" y="3055"/>
                  </a:lnTo>
                  <a:lnTo>
                    <a:pt x="632" y="3095"/>
                  </a:lnTo>
                  <a:lnTo>
                    <a:pt x="677" y="3133"/>
                  </a:lnTo>
                  <a:lnTo>
                    <a:pt x="725" y="3170"/>
                  </a:lnTo>
                  <a:lnTo>
                    <a:pt x="774" y="3205"/>
                  </a:lnTo>
                  <a:lnTo>
                    <a:pt x="823" y="3239"/>
                  </a:lnTo>
                  <a:lnTo>
                    <a:pt x="873" y="3270"/>
                  </a:lnTo>
                  <a:lnTo>
                    <a:pt x="924" y="3300"/>
                  </a:lnTo>
                  <a:lnTo>
                    <a:pt x="975" y="3329"/>
                  </a:lnTo>
                  <a:lnTo>
                    <a:pt x="1027" y="3355"/>
                  </a:lnTo>
                  <a:lnTo>
                    <a:pt x="1091" y="3384"/>
                  </a:lnTo>
                  <a:lnTo>
                    <a:pt x="1156" y="3410"/>
                  </a:lnTo>
                  <a:lnTo>
                    <a:pt x="1221" y="3434"/>
                  </a:lnTo>
                  <a:lnTo>
                    <a:pt x="1287" y="3455"/>
                  </a:lnTo>
                  <a:lnTo>
                    <a:pt x="1354" y="3474"/>
                  </a:lnTo>
                  <a:lnTo>
                    <a:pt x="1420" y="3489"/>
                  </a:lnTo>
                  <a:lnTo>
                    <a:pt x="1486" y="3502"/>
                  </a:lnTo>
                  <a:lnTo>
                    <a:pt x="1553" y="3513"/>
                  </a:lnTo>
                  <a:lnTo>
                    <a:pt x="1620" y="3520"/>
                  </a:lnTo>
                  <a:lnTo>
                    <a:pt x="1687" y="3526"/>
                  </a:lnTo>
                  <a:lnTo>
                    <a:pt x="1753" y="3529"/>
                  </a:lnTo>
                  <a:lnTo>
                    <a:pt x="1820" y="3529"/>
                  </a:lnTo>
                  <a:lnTo>
                    <a:pt x="1887" y="3526"/>
                  </a:lnTo>
                  <a:lnTo>
                    <a:pt x="1953" y="3521"/>
                  </a:lnTo>
                  <a:lnTo>
                    <a:pt x="2019" y="3514"/>
                  </a:lnTo>
                  <a:lnTo>
                    <a:pt x="2084" y="3503"/>
                  </a:lnTo>
                  <a:lnTo>
                    <a:pt x="2149" y="3491"/>
                  </a:lnTo>
                  <a:lnTo>
                    <a:pt x="2213" y="3476"/>
                  </a:lnTo>
                  <a:lnTo>
                    <a:pt x="2277" y="3459"/>
                  </a:lnTo>
                  <a:lnTo>
                    <a:pt x="2340" y="3439"/>
                  </a:lnTo>
                  <a:lnTo>
                    <a:pt x="2402" y="3416"/>
                  </a:lnTo>
                  <a:lnTo>
                    <a:pt x="2464" y="3391"/>
                  </a:lnTo>
                  <a:lnTo>
                    <a:pt x="2524" y="3364"/>
                  </a:lnTo>
                  <a:lnTo>
                    <a:pt x="2584" y="3335"/>
                  </a:lnTo>
                  <a:lnTo>
                    <a:pt x="2642" y="3304"/>
                  </a:lnTo>
                  <a:lnTo>
                    <a:pt x="2700" y="3269"/>
                  </a:lnTo>
                  <a:lnTo>
                    <a:pt x="2756" y="3233"/>
                  </a:lnTo>
                  <a:lnTo>
                    <a:pt x="2812" y="3194"/>
                  </a:lnTo>
                  <a:lnTo>
                    <a:pt x="2865" y="3153"/>
                  </a:lnTo>
                  <a:lnTo>
                    <a:pt x="2917" y="3110"/>
                  </a:lnTo>
                  <a:lnTo>
                    <a:pt x="2968" y="3064"/>
                  </a:lnTo>
                  <a:lnTo>
                    <a:pt x="3017" y="3016"/>
                  </a:lnTo>
                  <a:lnTo>
                    <a:pt x="3082" y="2948"/>
                  </a:lnTo>
                  <a:lnTo>
                    <a:pt x="3143" y="2879"/>
                  </a:lnTo>
                  <a:lnTo>
                    <a:pt x="3199" y="2807"/>
                  </a:lnTo>
                  <a:lnTo>
                    <a:pt x="3252" y="2735"/>
                  </a:lnTo>
                  <a:lnTo>
                    <a:pt x="3300" y="2661"/>
                  </a:lnTo>
                  <a:lnTo>
                    <a:pt x="3345" y="2585"/>
                  </a:lnTo>
                  <a:lnTo>
                    <a:pt x="3385" y="2509"/>
                  </a:lnTo>
                  <a:lnTo>
                    <a:pt x="3422" y="2431"/>
                  </a:lnTo>
                  <a:lnTo>
                    <a:pt x="3453" y="2353"/>
                  </a:lnTo>
                  <a:lnTo>
                    <a:pt x="3481" y="2274"/>
                  </a:lnTo>
                  <a:lnTo>
                    <a:pt x="3505" y="2194"/>
                  </a:lnTo>
                  <a:lnTo>
                    <a:pt x="3525" y="2113"/>
                  </a:lnTo>
                  <a:lnTo>
                    <a:pt x="3540" y="2033"/>
                  </a:lnTo>
                  <a:lnTo>
                    <a:pt x="3552" y="1952"/>
                  </a:lnTo>
                  <a:lnTo>
                    <a:pt x="3559" y="1870"/>
                  </a:lnTo>
                  <a:lnTo>
                    <a:pt x="3563" y="1788"/>
                  </a:lnTo>
                  <a:lnTo>
                    <a:pt x="3562" y="1707"/>
                  </a:lnTo>
                  <a:lnTo>
                    <a:pt x="3557" y="1625"/>
                  </a:lnTo>
                  <a:lnTo>
                    <a:pt x="3549" y="1543"/>
                  </a:lnTo>
                  <a:lnTo>
                    <a:pt x="3536" y="1462"/>
                  </a:lnTo>
                  <a:lnTo>
                    <a:pt x="3518" y="1381"/>
                  </a:lnTo>
                  <a:lnTo>
                    <a:pt x="3497" y="1300"/>
                  </a:lnTo>
                  <a:lnTo>
                    <a:pt x="3472" y="1220"/>
                  </a:lnTo>
                  <a:lnTo>
                    <a:pt x="3442" y="1141"/>
                  </a:lnTo>
                  <a:lnTo>
                    <a:pt x="3409" y="1063"/>
                  </a:lnTo>
                  <a:lnTo>
                    <a:pt x="3371" y="986"/>
                  </a:lnTo>
                  <a:lnTo>
                    <a:pt x="3329" y="909"/>
                  </a:lnTo>
                  <a:lnTo>
                    <a:pt x="3284" y="833"/>
                  </a:lnTo>
                  <a:lnTo>
                    <a:pt x="3234" y="760"/>
                  </a:lnTo>
                  <a:lnTo>
                    <a:pt x="3180" y="687"/>
                  </a:lnTo>
                  <a:lnTo>
                    <a:pt x="3121" y="615"/>
                  </a:lnTo>
                  <a:lnTo>
                    <a:pt x="3059" y="546"/>
                  </a:lnTo>
                  <a:lnTo>
                    <a:pt x="2844" y="353"/>
                  </a:lnTo>
                  <a:lnTo>
                    <a:pt x="2813" y="330"/>
                  </a:lnTo>
                  <a:lnTo>
                    <a:pt x="2780" y="307"/>
                  </a:lnTo>
                  <a:lnTo>
                    <a:pt x="2746" y="283"/>
                  </a:lnTo>
                  <a:lnTo>
                    <a:pt x="2712" y="259"/>
                  </a:lnTo>
                  <a:lnTo>
                    <a:pt x="2676" y="236"/>
                  </a:lnTo>
                  <a:lnTo>
                    <a:pt x="2641" y="215"/>
                  </a:lnTo>
                  <a:lnTo>
                    <a:pt x="2606" y="196"/>
                  </a:lnTo>
                  <a:lnTo>
                    <a:pt x="2573" y="179"/>
                  </a:lnTo>
                  <a:lnTo>
                    <a:pt x="2463" y="130"/>
                  </a:lnTo>
                  <a:lnTo>
                    <a:pt x="2352" y="90"/>
                  </a:lnTo>
                  <a:lnTo>
                    <a:pt x="2242" y="57"/>
                  </a:lnTo>
                  <a:lnTo>
                    <a:pt x="2130" y="32"/>
                  </a:lnTo>
                  <a:lnTo>
                    <a:pt x="2017" y="14"/>
                  </a:lnTo>
                  <a:lnTo>
                    <a:pt x="1905" y="3"/>
                  </a:lnTo>
                  <a:lnTo>
                    <a:pt x="1793" y="0"/>
                  </a:lnTo>
                  <a:lnTo>
                    <a:pt x="1681" y="3"/>
                  </a:lnTo>
                  <a:lnTo>
                    <a:pt x="1572" y="14"/>
                  </a:lnTo>
                  <a:lnTo>
                    <a:pt x="1462" y="30"/>
                  </a:lnTo>
                  <a:lnTo>
                    <a:pt x="1355" y="54"/>
                  </a:lnTo>
                  <a:lnTo>
                    <a:pt x="1249" y="84"/>
                  </a:lnTo>
                  <a:lnTo>
                    <a:pt x="1146" y="120"/>
                  </a:lnTo>
                  <a:lnTo>
                    <a:pt x="1045" y="161"/>
                  </a:lnTo>
                  <a:lnTo>
                    <a:pt x="947" y="210"/>
                  </a:lnTo>
                  <a:lnTo>
                    <a:pt x="852" y="263"/>
                  </a:lnTo>
                  <a:lnTo>
                    <a:pt x="760" y="323"/>
                  </a:lnTo>
                  <a:lnTo>
                    <a:pt x="672" y="388"/>
                  </a:lnTo>
                  <a:lnTo>
                    <a:pt x="588" y="457"/>
                  </a:lnTo>
                  <a:lnTo>
                    <a:pt x="508" y="533"/>
                  </a:lnTo>
                  <a:lnTo>
                    <a:pt x="433" y="613"/>
                  </a:lnTo>
                  <a:lnTo>
                    <a:pt x="364" y="698"/>
                  </a:lnTo>
                  <a:lnTo>
                    <a:pt x="299" y="788"/>
                  </a:lnTo>
                  <a:lnTo>
                    <a:pt x="239" y="882"/>
                  </a:lnTo>
                  <a:lnTo>
                    <a:pt x="186" y="981"/>
                  </a:lnTo>
                  <a:lnTo>
                    <a:pt x="138" y="1084"/>
                  </a:lnTo>
                  <a:lnTo>
                    <a:pt x="98" y="1191"/>
                  </a:lnTo>
                  <a:lnTo>
                    <a:pt x="63" y="1303"/>
                  </a:lnTo>
                  <a:lnTo>
                    <a:pt x="36" y="1418"/>
                  </a:lnTo>
                  <a:lnTo>
                    <a:pt x="16" y="1536"/>
                  </a:lnTo>
                  <a:lnTo>
                    <a:pt x="4" y="1658"/>
                  </a:lnTo>
                  <a:lnTo>
                    <a:pt x="0" y="17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140" name="Freeform 10">
              <a:extLst>
                <a:ext uri="{FF2B5EF4-FFF2-40B4-BE49-F238E27FC236}">
                  <a16:creationId xmlns:a16="http://schemas.microsoft.com/office/drawing/2014/main" id="{3B7F2AD9-387B-4D2E-B18E-B72485531A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1275" y="6464300"/>
              <a:ext cx="622300" cy="620712"/>
            </a:xfrm>
            <a:custGeom>
              <a:avLst/>
              <a:gdLst>
                <a:gd name="T0" fmla="*/ 1613 w 3532"/>
                <a:gd name="T1" fmla="*/ 2916 h 3522"/>
                <a:gd name="T2" fmla="*/ 1398 w 3532"/>
                <a:gd name="T3" fmla="*/ 2857 h 3522"/>
                <a:gd name="T4" fmla="*/ 1198 w 3532"/>
                <a:gd name="T5" fmla="*/ 2759 h 3522"/>
                <a:gd name="T6" fmla="*/ 1019 w 3532"/>
                <a:gd name="T7" fmla="*/ 2630 h 3522"/>
                <a:gd name="T8" fmla="*/ 868 w 3532"/>
                <a:gd name="T9" fmla="*/ 2476 h 3522"/>
                <a:gd name="T10" fmla="*/ 750 w 3532"/>
                <a:gd name="T11" fmla="*/ 2303 h 3522"/>
                <a:gd name="T12" fmla="*/ 670 w 3532"/>
                <a:gd name="T13" fmla="*/ 2122 h 3522"/>
                <a:gd name="T14" fmla="*/ 633 w 3532"/>
                <a:gd name="T15" fmla="*/ 1937 h 3522"/>
                <a:gd name="T16" fmla="*/ 634 w 3532"/>
                <a:gd name="T17" fmla="*/ 1666 h 3522"/>
                <a:gd name="T18" fmla="*/ 648 w 3532"/>
                <a:gd name="T19" fmla="*/ 1506 h 3522"/>
                <a:gd name="T20" fmla="*/ 673 w 3532"/>
                <a:gd name="T21" fmla="*/ 1389 h 3522"/>
                <a:gd name="T22" fmla="*/ 714 w 3532"/>
                <a:gd name="T23" fmla="*/ 1277 h 3522"/>
                <a:gd name="T24" fmla="*/ 775 w 3532"/>
                <a:gd name="T25" fmla="*/ 1166 h 3522"/>
                <a:gd name="T26" fmla="*/ 862 w 3532"/>
                <a:gd name="T27" fmla="*/ 1053 h 3522"/>
                <a:gd name="T28" fmla="*/ 977 w 3532"/>
                <a:gd name="T29" fmla="*/ 931 h 3522"/>
                <a:gd name="T30" fmla="*/ 1221 w 3532"/>
                <a:gd name="T31" fmla="*/ 745 h 3522"/>
                <a:gd name="T32" fmla="*/ 1530 w 3532"/>
                <a:gd name="T33" fmla="*/ 629 h 3522"/>
                <a:gd name="T34" fmla="*/ 1850 w 3532"/>
                <a:gd name="T35" fmla="*/ 609 h 3522"/>
                <a:gd name="T36" fmla="*/ 2162 w 3532"/>
                <a:gd name="T37" fmla="*/ 677 h 3522"/>
                <a:gd name="T38" fmla="*/ 2447 w 3532"/>
                <a:gd name="T39" fmla="*/ 827 h 3522"/>
                <a:gd name="T40" fmla="*/ 2683 w 3532"/>
                <a:gd name="T41" fmla="*/ 1050 h 3522"/>
                <a:gd name="T42" fmla="*/ 2851 w 3532"/>
                <a:gd name="T43" fmla="*/ 1339 h 3522"/>
                <a:gd name="T44" fmla="*/ 2930 w 3532"/>
                <a:gd name="T45" fmla="*/ 1686 h 3522"/>
                <a:gd name="T46" fmla="*/ 2920 w 3532"/>
                <a:gd name="T47" fmla="*/ 1952 h 3522"/>
                <a:gd name="T48" fmla="*/ 2863 w 3532"/>
                <a:gd name="T49" fmla="*/ 2170 h 3522"/>
                <a:gd name="T50" fmla="*/ 2764 w 3532"/>
                <a:gd name="T51" fmla="*/ 2371 h 3522"/>
                <a:gd name="T52" fmla="*/ 2630 w 3532"/>
                <a:gd name="T53" fmla="*/ 2548 h 3522"/>
                <a:gd name="T54" fmla="*/ 2465 w 3532"/>
                <a:gd name="T55" fmla="*/ 2698 h 3522"/>
                <a:gd name="T56" fmla="*/ 2275 w 3532"/>
                <a:gd name="T57" fmla="*/ 2814 h 3522"/>
                <a:gd name="T58" fmla="*/ 2066 w 3532"/>
                <a:gd name="T59" fmla="*/ 2893 h 3522"/>
                <a:gd name="T60" fmla="*/ 1840 w 3532"/>
                <a:gd name="T61" fmla="*/ 2928 h 3522"/>
                <a:gd name="T62" fmla="*/ 4 w 3532"/>
                <a:gd name="T63" fmla="*/ 1859 h 3522"/>
                <a:gd name="T64" fmla="*/ 16 w 3532"/>
                <a:gd name="T65" fmla="*/ 2003 h 3522"/>
                <a:gd name="T66" fmla="*/ 39 w 3532"/>
                <a:gd name="T67" fmla="*/ 2140 h 3522"/>
                <a:gd name="T68" fmla="*/ 71 w 3532"/>
                <a:gd name="T69" fmla="*/ 2271 h 3522"/>
                <a:gd name="T70" fmla="*/ 113 w 3532"/>
                <a:gd name="T71" fmla="*/ 2397 h 3522"/>
                <a:gd name="T72" fmla="*/ 167 w 3532"/>
                <a:gd name="T73" fmla="*/ 2520 h 3522"/>
                <a:gd name="T74" fmla="*/ 233 w 3532"/>
                <a:gd name="T75" fmla="*/ 2643 h 3522"/>
                <a:gd name="T76" fmla="*/ 314 w 3532"/>
                <a:gd name="T77" fmla="*/ 2765 h 3522"/>
                <a:gd name="T78" fmla="*/ 695 w 3532"/>
                <a:gd name="T79" fmla="*/ 3181 h 3522"/>
                <a:gd name="T80" fmla="*/ 980 w 3532"/>
                <a:gd name="T81" fmla="*/ 3355 h 3522"/>
                <a:gd name="T82" fmla="*/ 1298 w 3532"/>
                <a:gd name="T83" fmla="*/ 3468 h 3522"/>
                <a:gd name="T84" fmla="*/ 1637 w 3532"/>
                <a:gd name="T85" fmla="*/ 3518 h 3522"/>
                <a:gd name="T86" fmla="*/ 1983 w 3532"/>
                <a:gd name="T87" fmla="*/ 3508 h 3522"/>
                <a:gd name="T88" fmla="*/ 2323 w 3532"/>
                <a:gd name="T89" fmla="*/ 3434 h 3522"/>
                <a:gd name="T90" fmla="*/ 2644 w 3532"/>
                <a:gd name="T91" fmla="*/ 3296 h 3522"/>
                <a:gd name="T92" fmla="*/ 2934 w 3532"/>
                <a:gd name="T93" fmla="*/ 3094 h 3522"/>
                <a:gd name="T94" fmla="*/ 3272 w 3532"/>
                <a:gd name="T95" fmla="*/ 2696 h 3522"/>
                <a:gd name="T96" fmla="*/ 3481 w 3532"/>
                <a:gd name="T97" fmla="*/ 2207 h 3522"/>
                <a:gd name="T98" fmla="*/ 3531 w 3532"/>
                <a:gd name="T99" fmla="*/ 1701 h 3522"/>
                <a:gd name="T100" fmla="*/ 3438 w 3532"/>
                <a:gd name="T101" fmla="*/ 1209 h 3522"/>
                <a:gd name="T102" fmla="*/ 3220 w 3532"/>
                <a:gd name="T103" fmla="*/ 762 h 3522"/>
                <a:gd name="T104" fmla="*/ 2894 w 3532"/>
                <a:gd name="T105" fmla="*/ 391 h 3522"/>
                <a:gd name="T106" fmla="*/ 2477 w 3532"/>
                <a:gd name="T107" fmla="*/ 129 h 3522"/>
                <a:gd name="T108" fmla="*/ 1989 w 3532"/>
                <a:gd name="T109" fmla="*/ 5 h 3522"/>
                <a:gd name="T110" fmla="*/ 1560 w 3532"/>
                <a:gd name="T111" fmla="*/ 20 h 3522"/>
                <a:gd name="T112" fmla="*/ 1193 w 3532"/>
                <a:gd name="T113" fmla="*/ 104 h 3522"/>
                <a:gd name="T114" fmla="*/ 866 w 3532"/>
                <a:gd name="T115" fmla="*/ 247 h 3522"/>
                <a:gd name="T116" fmla="*/ 583 w 3532"/>
                <a:gd name="T117" fmla="*/ 443 h 3522"/>
                <a:gd name="T118" fmla="*/ 351 w 3532"/>
                <a:gd name="T119" fmla="*/ 686 h 3522"/>
                <a:gd name="T120" fmla="*/ 173 w 3532"/>
                <a:gd name="T121" fmla="*/ 967 h 3522"/>
                <a:gd name="T122" fmla="*/ 54 w 3532"/>
                <a:gd name="T123" fmla="*/ 1280 h 3522"/>
                <a:gd name="T124" fmla="*/ 2 w 3532"/>
                <a:gd name="T125" fmla="*/ 1618 h 3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32" h="3522">
                  <a:moveTo>
                    <a:pt x="1782" y="2930"/>
                  </a:moveTo>
                  <a:lnTo>
                    <a:pt x="1726" y="2928"/>
                  </a:lnTo>
                  <a:lnTo>
                    <a:pt x="1670" y="2923"/>
                  </a:lnTo>
                  <a:lnTo>
                    <a:pt x="1613" y="2916"/>
                  </a:lnTo>
                  <a:lnTo>
                    <a:pt x="1559" y="2905"/>
                  </a:lnTo>
                  <a:lnTo>
                    <a:pt x="1505" y="2892"/>
                  </a:lnTo>
                  <a:lnTo>
                    <a:pt x="1450" y="2876"/>
                  </a:lnTo>
                  <a:lnTo>
                    <a:pt x="1398" y="2857"/>
                  </a:lnTo>
                  <a:lnTo>
                    <a:pt x="1346" y="2836"/>
                  </a:lnTo>
                  <a:lnTo>
                    <a:pt x="1295" y="2813"/>
                  </a:lnTo>
                  <a:lnTo>
                    <a:pt x="1246" y="2787"/>
                  </a:lnTo>
                  <a:lnTo>
                    <a:pt x="1198" y="2759"/>
                  </a:lnTo>
                  <a:lnTo>
                    <a:pt x="1151" y="2729"/>
                  </a:lnTo>
                  <a:lnTo>
                    <a:pt x="1106" y="2698"/>
                  </a:lnTo>
                  <a:lnTo>
                    <a:pt x="1062" y="2664"/>
                  </a:lnTo>
                  <a:lnTo>
                    <a:pt x="1019" y="2630"/>
                  </a:lnTo>
                  <a:lnTo>
                    <a:pt x="979" y="2593"/>
                  </a:lnTo>
                  <a:lnTo>
                    <a:pt x="940" y="2555"/>
                  </a:lnTo>
                  <a:lnTo>
                    <a:pt x="903" y="2516"/>
                  </a:lnTo>
                  <a:lnTo>
                    <a:pt x="868" y="2476"/>
                  </a:lnTo>
                  <a:lnTo>
                    <a:pt x="835" y="2433"/>
                  </a:lnTo>
                  <a:lnTo>
                    <a:pt x="804" y="2391"/>
                  </a:lnTo>
                  <a:lnTo>
                    <a:pt x="776" y="2348"/>
                  </a:lnTo>
                  <a:lnTo>
                    <a:pt x="750" y="2303"/>
                  </a:lnTo>
                  <a:lnTo>
                    <a:pt x="725" y="2259"/>
                  </a:lnTo>
                  <a:lnTo>
                    <a:pt x="705" y="2213"/>
                  </a:lnTo>
                  <a:lnTo>
                    <a:pt x="685" y="2168"/>
                  </a:lnTo>
                  <a:lnTo>
                    <a:pt x="670" y="2122"/>
                  </a:lnTo>
                  <a:lnTo>
                    <a:pt x="656" y="2076"/>
                  </a:lnTo>
                  <a:lnTo>
                    <a:pt x="645" y="2029"/>
                  </a:lnTo>
                  <a:lnTo>
                    <a:pt x="637" y="1984"/>
                  </a:lnTo>
                  <a:lnTo>
                    <a:pt x="633" y="1937"/>
                  </a:lnTo>
                  <a:lnTo>
                    <a:pt x="632" y="1891"/>
                  </a:lnTo>
                  <a:lnTo>
                    <a:pt x="632" y="1811"/>
                  </a:lnTo>
                  <a:lnTo>
                    <a:pt x="632" y="1736"/>
                  </a:lnTo>
                  <a:lnTo>
                    <a:pt x="634" y="1666"/>
                  </a:lnTo>
                  <a:lnTo>
                    <a:pt x="638" y="1600"/>
                  </a:lnTo>
                  <a:lnTo>
                    <a:pt x="640" y="1567"/>
                  </a:lnTo>
                  <a:lnTo>
                    <a:pt x="645" y="1536"/>
                  </a:lnTo>
                  <a:lnTo>
                    <a:pt x="648" y="1506"/>
                  </a:lnTo>
                  <a:lnTo>
                    <a:pt x="653" y="1475"/>
                  </a:lnTo>
                  <a:lnTo>
                    <a:pt x="659" y="1446"/>
                  </a:lnTo>
                  <a:lnTo>
                    <a:pt x="665" y="1417"/>
                  </a:lnTo>
                  <a:lnTo>
                    <a:pt x="673" y="1389"/>
                  </a:lnTo>
                  <a:lnTo>
                    <a:pt x="682" y="1360"/>
                  </a:lnTo>
                  <a:lnTo>
                    <a:pt x="691" y="1332"/>
                  </a:lnTo>
                  <a:lnTo>
                    <a:pt x="702" y="1304"/>
                  </a:lnTo>
                  <a:lnTo>
                    <a:pt x="714" y="1277"/>
                  </a:lnTo>
                  <a:lnTo>
                    <a:pt x="727" y="1249"/>
                  </a:lnTo>
                  <a:lnTo>
                    <a:pt x="741" y="1222"/>
                  </a:lnTo>
                  <a:lnTo>
                    <a:pt x="758" y="1193"/>
                  </a:lnTo>
                  <a:lnTo>
                    <a:pt x="775" y="1166"/>
                  </a:lnTo>
                  <a:lnTo>
                    <a:pt x="795" y="1138"/>
                  </a:lnTo>
                  <a:lnTo>
                    <a:pt x="815" y="1110"/>
                  </a:lnTo>
                  <a:lnTo>
                    <a:pt x="838" y="1082"/>
                  </a:lnTo>
                  <a:lnTo>
                    <a:pt x="862" y="1053"/>
                  </a:lnTo>
                  <a:lnTo>
                    <a:pt x="888" y="1023"/>
                  </a:lnTo>
                  <a:lnTo>
                    <a:pt x="916" y="993"/>
                  </a:lnTo>
                  <a:lnTo>
                    <a:pt x="946" y="963"/>
                  </a:lnTo>
                  <a:lnTo>
                    <a:pt x="977" y="931"/>
                  </a:lnTo>
                  <a:lnTo>
                    <a:pt x="1011" y="899"/>
                  </a:lnTo>
                  <a:lnTo>
                    <a:pt x="1079" y="841"/>
                  </a:lnTo>
                  <a:lnTo>
                    <a:pt x="1148" y="789"/>
                  </a:lnTo>
                  <a:lnTo>
                    <a:pt x="1221" y="745"/>
                  </a:lnTo>
                  <a:lnTo>
                    <a:pt x="1296" y="706"/>
                  </a:lnTo>
                  <a:lnTo>
                    <a:pt x="1373" y="674"/>
                  </a:lnTo>
                  <a:lnTo>
                    <a:pt x="1450" y="648"/>
                  </a:lnTo>
                  <a:lnTo>
                    <a:pt x="1530" y="629"/>
                  </a:lnTo>
                  <a:lnTo>
                    <a:pt x="1609" y="616"/>
                  </a:lnTo>
                  <a:lnTo>
                    <a:pt x="1689" y="607"/>
                  </a:lnTo>
                  <a:lnTo>
                    <a:pt x="1769" y="606"/>
                  </a:lnTo>
                  <a:lnTo>
                    <a:pt x="1850" y="609"/>
                  </a:lnTo>
                  <a:lnTo>
                    <a:pt x="1929" y="619"/>
                  </a:lnTo>
                  <a:lnTo>
                    <a:pt x="2008" y="633"/>
                  </a:lnTo>
                  <a:lnTo>
                    <a:pt x="2086" y="653"/>
                  </a:lnTo>
                  <a:lnTo>
                    <a:pt x="2162" y="677"/>
                  </a:lnTo>
                  <a:lnTo>
                    <a:pt x="2237" y="708"/>
                  </a:lnTo>
                  <a:lnTo>
                    <a:pt x="2309" y="744"/>
                  </a:lnTo>
                  <a:lnTo>
                    <a:pt x="2379" y="783"/>
                  </a:lnTo>
                  <a:lnTo>
                    <a:pt x="2447" y="827"/>
                  </a:lnTo>
                  <a:lnTo>
                    <a:pt x="2511" y="877"/>
                  </a:lnTo>
                  <a:lnTo>
                    <a:pt x="2573" y="930"/>
                  </a:lnTo>
                  <a:lnTo>
                    <a:pt x="2629" y="989"/>
                  </a:lnTo>
                  <a:lnTo>
                    <a:pt x="2683" y="1050"/>
                  </a:lnTo>
                  <a:lnTo>
                    <a:pt x="2732" y="1116"/>
                  </a:lnTo>
                  <a:lnTo>
                    <a:pt x="2777" y="1187"/>
                  </a:lnTo>
                  <a:lnTo>
                    <a:pt x="2817" y="1261"/>
                  </a:lnTo>
                  <a:lnTo>
                    <a:pt x="2851" y="1339"/>
                  </a:lnTo>
                  <a:lnTo>
                    <a:pt x="2880" y="1420"/>
                  </a:lnTo>
                  <a:lnTo>
                    <a:pt x="2903" y="1506"/>
                  </a:lnTo>
                  <a:lnTo>
                    <a:pt x="2920" y="1593"/>
                  </a:lnTo>
                  <a:lnTo>
                    <a:pt x="2930" y="1686"/>
                  </a:lnTo>
                  <a:lnTo>
                    <a:pt x="2933" y="1780"/>
                  </a:lnTo>
                  <a:lnTo>
                    <a:pt x="2932" y="1838"/>
                  </a:lnTo>
                  <a:lnTo>
                    <a:pt x="2928" y="1896"/>
                  </a:lnTo>
                  <a:lnTo>
                    <a:pt x="2920" y="1952"/>
                  </a:lnTo>
                  <a:lnTo>
                    <a:pt x="2909" y="2009"/>
                  </a:lnTo>
                  <a:lnTo>
                    <a:pt x="2896" y="2063"/>
                  </a:lnTo>
                  <a:lnTo>
                    <a:pt x="2881" y="2117"/>
                  </a:lnTo>
                  <a:lnTo>
                    <a:pt x="2863" y="2170"/>
                  </a:lnTo>
                  <a:lnTo>
                    <a:pt x="2841" y="2222"/>
                  </a:lnTo>
                  <a:lnTo>
                    <a:pt x="2818" y="2273"/>
                  </a:lnTo>
                  <a:lnTo>
                    <a:pt x="2792" y="2322"/>
                  </a:lnTo>
                  <a:lnTo>
                    <a:pt x="2764" y="2371"/>
                  </a:lnTo>
                  <a:lnTo>
                    <a:pt x="2733" y="2417"/>
                  </a:lnTo>
                  <a:lnTo>
                    <a:pt x="2701" y="2463"/>
                  </a:lnTo>
                  <a:lnTo>
                    <a:pt x="2666" y="2506"/>
                  </a:lnTo>
                  <a:lnTo>
                    <a:pt x="2630" y="2548"/>
                  </a:lnTo>
                  <a:lnTo>
                    <a:pt x="2591" y="2588"/>
                  </a:lnTo>
                  <a:lnTo>
                    <a:pt x="2551" y="2626"/>
                  </a:lnTo>
                  <a:lnTo>
                    <a:pt x="2509" y="2663"/>
                  </a:lnTo>
                  <a:lnTo>
                    <a:pt x="2465" y="2698"/>
                  </a:lnTo>
                  <a:lnTo>
                    <a:pt x="2421" y="2729"/>
                  </a:lnTo>
                  <a:lnTo>
                    <a:pt x="2374" y="2760"/>
                  </a:lnTo>
                  <a:lnTo>
                    <a:pt x="2325" y="2788"/>
                  </a:lnTo>
                  <a:lnTo>
                    <a:pt x="2275" y="2814"/>
                  </a:lnTo>
                  <a:lnTo>
                    <a:pt x="2225" y="2838"/>
                  </a:lnTo>
                  <a:lnTo>
                    <a:pt x="2173" y="2858"/>
                  </a:lnTo>
                  <a:lnTo>
                    <a:pt x="2120" y="2877"/>
                  </a:lnTo>
                  <a:lnTo>
                    <a:pt x="2066" y="2893"/>
                  </a:lnTo>
                  <a:lnTo>
                    <a:pt x="2010" y="2906"/>
                  </a:lnTo>
                  <a:lnTo>
                    <a:pt x="1955" y="2916"/>
                  </a:lnTo>
                  <a:lnTo>
                    <a:pt x="1898" y="2923"/>
                  </a:lnTo>
                  <a:lnTo>
                    <a:pt x="1840" y="2928"/>
                  </a:lnTo>
                  <a:lnTo>
                    <a:pt x="1782" y="2930"/>
                  </a:lnTo>
                  <a:close/>
                  <a:moveTo>
                    <a:pt x="0" y="1706"/>
                  </a:moveTo>
                  <a:lnTo>
                    <a:pt x="1" y="1784"/>
                  </a:lnTo>
                  <a:lnTo>
                    <a:pt x="4" y="1859"/>
                  </a:lnTo>
                  <a:lnTo>
                    <a:pt x="7" y="1896"/>
                  </a:lnTo>
                  <a:lnTo>
                    <a:pt x="10" y="1933"/>
                  </a:lnTo>
                  <a:lnTo>
                    <a:pt x="13" y="1968"/>
                  </a:lnTo>
                  <a:lnTo>
                    <a:pt x="16" y="2003"/>
                  </a:lnTo>
                  <a:lnTo>
                    <a:pt x="22" y="2038"/>
                  </a:lnTo>
                  <a:lnTo>
                    <a:pt x="26" y="2072"/>
                  </a:lnTo>
                  <a:lnTo>
                    <a:pt x="33" y="2106"/>
                  </a:lnTo>
                  <a:lnTo>
                    <a:pt x="39" y="2140"/>
                  </a:lnTo>
                  <a:lnTo>
                    <a:pt x="46" y="2173"/>
                  </a:lnTo>
                  <a:lnTo>
                    <a:pt x="53" y="2206"/>
                  </a:lnTo>
                  <a:lnTo>
                    <a:pt x="62" y="2238"/>
                  </a:lnTo>
                  <a:lnTo>
                    <a:pt x="71" y="2271"/>
                  </a:lnTo>
                  <a:lnTo>
                    <a:pt x="80" y="2302"/>
                  </a:lnTo>
                  <a:lnTo>
                    <a:pt x="90" y="2334"/>
                  </a:lnTo>
                  <a:lnTo>
                    <a:pt x="102" y="2365"/>
                  </a:lnTo>
                  <a:lnTo>
                    <a:pt x="113" y="2397"/>
                  </a:lnTo>
                  <a:lnTo>
                    <a:pt x="126" y="2428"/>
                  </a:lnTo>
                  <a:lnTo>
                    <a:pt x="139" y="2458"/>
                  </a:lnTo>
                  <a:lnTo>
                    <a:pt x="153" y="2490"/>
                  </a:lnTo>
                  <a:lnTo>
                    <a:pt x="167" y="2520"/>
                  </a:lnTo>
                  <a:lnTo>
                    <a:pt x="182" y="2551"/>
                  </a:lnTo>
                  <a:lnTo>
                    <a:pt x="199" y="2581"/>
                  </a:lnTo>
                  <a:lnTo>
                    <a:pt x="216" y="2612"/>
                  </a:lnTo>
                  <a:lnTo>
                    <a:pt x="233" y="2643"/>
                  </a:lnTo>
                  <a:lnTo>
                    <a:pt x="253" y="2673"/>
                  </a:lnTo>
                  <a:lnTo>
                    <a:pt x="271" y="2703"/>
                  </a:lnTo>
                  <a:lnTo>
                    <a:pt x="292" y="2735"/>
                  </a:lnTo>
                  <a:lnTo>
                    <a:pt x="314" y="2765"/>
                  </a:lnTo>
                  <a:lnTo>
                    <a:pt x="510" y="3013"/>
                  </a:lnTo>
                  <a:lnTo>
                    <a:pt x="569" y="3073"/>
                  </a:lnTo>
                  <a:lnTo>
                    <a:pt x="630" y="3129"/>
                  </a:lnTo>
                  <a:lnTo>
                    <a:pt x="695" y="3181"/>
                  </a:lnTo>
                  <a:lnTo>
                    <a:pt x="762" y="3230"/>
                  </a:lnTo>
                  <a:lnTo>
                    <a:pt x="833" y="3276"/>
                  </a:lnTo>
                  <a:lnTo>
                    <a:pt x="905" y="3317"/>
                  </a:lnTo>
                  <a:lnTo>
                    <a:pt x="980" y="3355"/>
                  </a:lnTo>
                  <a:lnTo>
                    <a:pt x="1057" y="3388"/>
                  </a:lnTo>
                  <a:lnTo>
                    <a:pt x="1135" y="3419"/>
                  </a:lnTo>
                  <a:lnTo>
                    <a:pt x="1217" y="3445"/>
                  </a:lnTo>
                  <a:lnTo>
                    <a:pt x="1298" y="3468"/>
                  </a:lnTo>
                  <a:lnTo>
                    <a:pt x="1382" y="3486"/>
                  </a:lnTo>
                  <a:lnTo>
                    <a:pt x="1467" y="3501"/>
                  </a:lnTo>
                  <a:lnTo>
                    <a:pt x="1551" y="3512"/>
                  </a:lnTo>
                  <a:lnTo>
                    <a:pt x="1637" y="3518"/>
                  </a:lnTo>
                  <a:lnTo>
                    <a:pt x="1724" y="3522"/>
                  </a:lnTo>
                  <a:lnTo>
                    <a:pt x="1811" y="3521"/>
                  </a:lnTo>
                  <a:lnTo>
                    <a:pt x="1896" y="3516"/>
                  </a:lnTo>
                  <a:lnTo>
                    <a:pt x="1983" y="3508"/>
                  </a:lnTo>
                  <a:lnTo>
                    <a:pt x="2069" y="3496"/>
                  </a:lnTo>
                  <a:lnTo>
                    <a:pt x="2155" y="3479"/>
                  </a:lnTo>
                  <a:lnTo>
                    <a:pt x="2239" y="3459"/>
                  </a:lnTo>
                  <a:lnTo>
                    <a:pt x="2323" y="3434"/>
                  </a:lnTo>
                  <a:lnTo>
                    <a:pt x="2407" y="3406"/>
                  </a:lnTo>
                  <a:lnTo>
                    <a:pt x="2487" y="3373"/>
                  </a:lnTo>
                  <a:lnTo>
                    <a:pt x="2567" y="3336"/>
                  </a:lnTo>
                  <a:lnTo>
                    <a:pt x="2644" y="3296"/>
                  </a:lnTo>
                  <a:lnTo>
                    <a:pt x="2720" y="3252"/>
                  </a:lnTo>
                  <a:lnTo>
                    <a:pt x="2794" y="3203"/>
                  </a:lnTo>
                  <a:lnTo>
                    <a:pt x="2865" y="3150"/>
                  </a:lnTo>
                  <a:lnTo>
                    <a:pt x="2934" y="3094"/>
                  </a:lnTo>
                  <a:lnTo>
                    <a:pt x="2999" y="3033"/>
                  </a:lnTo>
                  <a:lnTo>
                    <a:pt x="3101" y="2924"/>
                  </a:lnTo>
                  <a:lnTo>
                    <a:pt x="3193" y="2812"/>
                  </a:lnTo>
                  <a:lnTo>
                    <a:pt x="3272" y="2696"/>
                  </a:lnTo>
                  <a:lnTo>
                    <a:pt x="3340" y="2577"/>
                  </a:lnTo>
                  <a:lnTo>
                    <a:pt x="3398" y="2455"/>
                  </a:lnTo>
                  <a:lnTo>
                    <a:pt x="3444" y="2332"/>
                  </a:lnTo>
                  <a:lnTo>
                    <a:pt x="3481" y="2207"/>
                  </a:lnTo>
                  <a:lnTo>
                    <a:pt x="3508" y="2080"/>
                  </a:lnTo>
                  <a:lnTo>
                    <a:pt x="3525" y="1954"/>
                  </a:lnTo>
                  <a:lnTo>
                    <a:pt x="3532" y="1828"/>
                  </a:lnTo>
                  <a:lnTo>
                    <a:pt x="3531" y="1701"/>
                  </a:lnTo>
                  <a:lnTo>
                    <a:pt x="3520" y="1575"/>
                  </a:lnTo>
                  <a:lnTo>
                    <a:pt x="3501" y="1450"/>
                  </a:lnTo>
                  <a:lnTo>
                    <a:pt x="3474" y="1329"/>
                  </a:lnTo>
                  <a:lnTo>
                    <a:pt x="3438" y="1209"/>
                  </a:lnTo>
                  <a:lnTo>
                    <a:pt x="3394" y="1092"/>
                  </a:lnTo>
                  <a:lnTo>
                    <a:pt x="3343" y="978"/>
                  </a:lnTo>
                  <a:lnTo>
                    <a:pt x="3285" y="867"/>
                  </a:lnTo>
                  <a:lnTo>
                    <a:pt x="3220" y="762"/>
                  </a:lnTo>
                  <a:lnTo>
                    <a:pt x="3148" y="661"/>
                  </a:lnTo>
                  <a:lnTo>
                    <a:pt x="3069" y="565"/>
                  </a:lnTo>
                  <a:lnTo>
                    <a:pt x="2984" y="475"/>
                  </a:lnTo>
                  <a:lnTo>
                    <a:pt x="2894" y="391"/>
                  </a:lnTo>
                  <a:lnTo>
                    <a:pt x="2797" y="314"/>
                  </a:lnTo>
                  <a:lnTo>
                    <a:pt x="2695" y="245"/>
                  </a:lnTo>
                  <a:lnTo>
                    <a:pt x="2589" y="183"/>
                  </a:lnTo>
                  <a:lnTo>
                    <a:pt x="2477" y="129"/>
                  </a:lnTo>
                  <a:lnTo>
                    <a:pt x="2361" y="85"/>
                  </a:lnTo>
                  <a:lnTo>
                    <a:pt x="2241" y="48"/>
                  </a:lnTo>
                  <a:lnTo>
                    <a:pt x="2117" y="22"/>
                  </a:lnTo>
                  <a:lnTo>
                    <a:pt x="1989" y="5"/>
                  </a:lnTo>
                  <a:lnTo>
                    <a:pt x="1856" y="0"/>
                  </a:lnTo>
                  <a:lnTo>
                    <a:pt x="1755" y="2"/>
                  </a:lnTo>
                  <a:lnTo>
                    <a:pt x="1657" y="9"/>
                  </a:lnTo>
                  <a:lnTo>
                    <a:pt x="1560" y="20"/>
                  </a:lnTo>
                  <a:lnTo>
                    <a:pt x="1464" y="35"/>
                  </a:lnTo>
                  <a:lnTo>
                    <a:pt x="1372" y="54"/>
                  </a:lnTo>
                  <a:lnTo>
                    <a:pt x="1281" y="77"/>
                  </a:lnTo>
                  <a:lnTo>
                    <a:pt x="1193" y="104"/>
                  </a:lnTo>
                  <a:lnTo>
                    <a:pt x="1107" y="134"/>
                  </a:lnTo>
                  <a:lnTo>
                    <a:pt x="1025" y="169"/>
                  </a:lnTo>
                  <a:lnTo>
                    <a:pt x="944" y="206"/>
                  </a:lnTo>
                  <a:lnTo>
                    <a:pt x="866" y="247"/>
                  </a:lnTo>
                  <a:lnTo>
                    <a:pt x="791" y="292"/>
                  </a:lnTo>
                  <a:lnTo>
                    <a:pt x="719" y="339"/>
                  </a:lnTo>
                  <a:lnTo>
                    <a:pt x="649" y="390"/>
                  </a:lnTo>
                  <a:lnTo>
                    <a:pt x="583" y="443"/>
                  </a:lnTo>
                  <a:lnTo>
                    <a:pt x="520" y="501"/>
                  </a:lnTo>
                  <a:lnTo>
                    <a:pt x="460" y="559"/>
                  </a:lnTo>
                  <a:lnTo>
                    <a:pt x="404" y="621"/>
                  </a:lnTo>
                  <a:lnTo>
                    <a:pt x="351" y="686"/>
                  </a:lnTo>
                  <a:lnTo>
                    <a:pt x="301" y="752"/>
                  </a:lnTo>
                  <a:lnTo>
                    <a:pt x="254" y="822"/>
                  </a:lnTo>
                  <a:lnTo>
                    <a:pt x="212" y="893"/>
                  </a:lnTo>
                  <a:lnTo>
                    <a:pt x="173" y="967"/>
                  </a:lnTo>
                  <a:lnTo>
                    <a:pt x="137" y="1043"/>
                  </a:lnTo>
                  <a:lnTo>
                    <a:pt x="105" y="1120"/>
                  </a:lnTo>
                  <a:lnTo>
                    <a:pt x="78" y="1199"/>
                  </a:lnTo>
                  <a:lnTo>
                    <a:pt x="54" y="1280"/>
                  </a:lnTo>
                  <a:lnTo>
                    <a:pt x="35" y="1363"/>
                  </a:lnTo>
                  <a:lnTo>
                    <a:pt x="20" y="1446"/>
                  </a:lnTo>
                  <a:lnTo>
                    <a:pt x="9" y="1532"/>
                  </a:lnTo>
                  <a:lnTo>
                    <a:pt x="2" y="1618"/>
                  </a:lnTo>
                  <a:lnTo>
                    <a:pt x="0" y="17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141" name="Freeform 11">
              <a:extLst>
                <a:ext uri="{FF2B5EF4-FFF2-40B4-BE49-F238E27FC236}">
                  <a16:creationId xmlns:a16="http://schemas.microsoft.com/office/drawing/2014/main" id="{5077E2F6-8CD3-486E-8775-04FFFFBAA4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67413" y="6464300"/>
              <a:ext cx="623888" cy="622300"/>
            </a:xfrm>
            <a:custGeom>
              <a:avLst/>
              <a:gdLst>
                <a:gd name="T0" fmla="*/ 606 w 3539"/>
                <a:gd name="T1" fmla="*/ 1637 h 3531"/>
                <a:gd name="T2" fmla="*/ 656 w 3539"/>
                <a:gd name="T3" fmla="*/ 1413 h 3531"/>
                <a:gd name="T4" fmla="*/ 741 w 3539"/>
                <a:gd name="T5" fmla="*/ 1212 h 3531"/>
                <a:gd name="T6" fmla="*/ 860 w 3539"/>
                <a:gd name="T7" fmla="*/ 1036 h 3531"/>
                <a:gd name="T8" fmla="*/ 1009 w 3539"/>
                <a:gd name="T9" fmla="*/ 887 h 3531"/>
                <a:gd name="T10" fmla="*/ 1182 w 3539"/>
                <a:gd name="T11" fmla="*/ 767 h 3531"/>
                <a:gd name="T12" fmla="*/ 1378 w 3539"/>
                <a:gd name="T13" fmla="*/ 677 h 3531"/>
                <a:gd name="T14" fmla="*/ 1593 w 3539"/>
                <a:gd name="T15" fmla="*/ 620 h 3531"/>
                <a:gd name="T16" fmla="*/ 1810 w 3539"/>
                <a:gd name="T17" fmla="*/ 602 h 3531"/>
                <a:gd name="T18" fmla="*/ 2027 w 3539"/>
                <a:gd name="T19" fmla="*/ 638 h 3531"/>
                <a:gd name="T20" fmla="*/ 2240 w 3539"/>
                <a:gd name="T21" fmla="*/ 720 h 3531"/>
                <a:gd name="T22" fmla="*/ 2437 w 3539"/>
                <a:gd name="T23" fmla="*/ 842 h 3531"/>
                <a:gd name="T24" fmla="*/ 2611 w 3539"/>
                <a:gd name="T25" fmla="*/ 996 h 3531"/>
                <a:gd name="T26" fmla="*/ 2752 w 3539"/>
                <a:gd name="T27" fmla="*/ 1176 h 3531"/>
                <a:gd name="T28" fmla="*/ 2849 w 3539"/>
                <a:gd name="T29" fmla="*/ 1373 h 3531"/>
                <a:gd name="T30" fmla="*/ 2894 w 3539"/>
                <a:gd name="T31" fmla="*/ 1582 h 3531"/>
                <a:gd name="T32" fmla="*/ 2893 w 3539"/>
                <a:gd name="T33" fmla="*/ 1848 h 3531"/>
                <a:gd name="T34" fmla="*/ 2879 w 3539"/>
                <a:gd name="T35" fmla="*/ 2005 h 3531"/>
                <a:gd name="T36" fmla="*/ 2855 w 3539"/>
                <a:gd name="T37" fmla="*/ 2121 h 3531"/>
                <a:gd name="T38" fmla="*/ 2816 w 3539"/>
                <a:gd name="T39" fmla="*/ 2234 h 3531"/>
                <a:gd name="T40" fmla="*/ 2757 w 3539"/>
                <a:gd name="T41" fmla="*/ 2345 h 3531"/>
                <a:gd name="T42" fmla="*/ 2676 w 3539"/>
                <a:gd name="T43" fmla="*/ 2459 h 3531"/>
                <a:gd name="T44" fmla="*/ 2566 w 3539"/>
                <a:gd name="T45" fmla="*/ 2578 h 3531"/>
                <a:gd name="T46" fmla="*/ 2306 w 3539"/>
                <a:gd name="T47" fmla="*/ 2784 h 3531"/>
                <a:gd name="T48" fmla="*/ 1982 w 3539"/>
                <a:gd name="T49" fmla="*/ 2911 h 3531"/>
                <a:gd name="T50" fmla="*/ 1656 w 3539"/>
                <a:gd name="T51" fmla="*/ 2930 h 3531"/>
                <a:gd name="T52" fmla="*/ 1344 w 3539"/>
                <a:gd name="T53" fmla="*/ 2854 h 3531"/>
                <a:gd name="T54" fmla="*/ 1064 w 3539"/>
                <a:gd name="T55" fmla="*/ 2699 h 3531"/>
                <a:gd name="T56" fmla="*/ 834 w 3539"/>
                <a:gd name="T57" fmla="*/ 2479 h 3531"/>
                <a:gd name="T58" fmla="*/ 672 w 3539"/>
                <a:gd name="T59" fmla="*/ 2208 h 3531"/>
                <a:gd name="T60" fmla="*/ 597 w 3539"/>
                <a:gd name="T61" fmla="*/ 1902 h 3531"/>
                <a:gd name="T62" fmla="*/ 1 w 3539"/>
                <a:gd name="T63" fmla="*/ 1705 h 3531"/>
                <a:gd name="T64" fmla="*/ 12 w 3539"/>
                <a:gd name="T65" fmla="*/ 1910 h 3531"/>
                <a:gd name="T66" fmla="*/ 36 w 3539"/>
                <a:gd name="T67" fmla="*/ 2106 h 3531"/>
                <a:gd name="T68" fmla="*/ 77 w 3539"/>
                <a:gd name="T69" fmla="*/ 2294 h 3531"/>
                <a:gd name="T70" fmla="*/ 136 w 3539"/>
                <a:gd name="T71" fmla="*/ 2473 h 3531"/>
                <a:gd name="T72" fmla="*/ 216 w 3539"/>
                <a:gd name="T73" fmla="*/ 2644 h 3531"/>
                <a:gd name="T74" fmla="*/ 320 w 3539"/>
                <a:gd name="T75" fmla="*/ 2807 h 3531"/>
                <a:gd name="T76" fmla="*/ 452 w 3539"/>
                <a:gd name="T77" fmla="*/ 2962 h 3531"/>
                <a:gd name="T78" fmla="*/ 809 w 3539"/>
                <a:gd name="T79" fmla="*/ 3253 h 3531"/>
                <a:gd name="T80" fmla="*/ 1397 w 3539"/>
                <a:gd name="T81" fmla="*/ 3496 h 3531"/>
                <a:gd name="T82" fmla="*/ 1990 w 3539"/>
                <a:gd name="T83" fmla="*/ 3514 h 3531"/>
                <a:gd name="T84" fmla="*/ 2541 w 3539"/>
                <a:gd name="T85" fmla="*/ 3338 h 3531"/>
                <a:gd name="T86" fmla="*/ 3009 w 3539"/>
                <a:gd name="T87" fmla="*/ 3002 h 3531"/>
                <a:gd name="T88" fmla="*/ 3352 w 3539"/>
                <a:gd name="T89" fmla="*/ 2539 h 3531"/>
                <a:gd name="T90" fmla="*/ 3527 w 3539"/>
                <a:gd name="T91" fmla="*/ 1982 h 3531"/>
                <a:gd name="T92" fmla="*/ 3490 w 3539"/>
                <a:gd name="T93" fmla="*/ 1364 h 3531"/>
                <a:gd name="T94" fmla="*/ 3275 w 3539"/>
                <a:gd name="T95" fmla="*/ 843 h 3531"/>
                <a:gd name="T96" fmla="*/ 3006 w 3539"/>
                <a:gd name="T97" fmla="*/ 506 h 3531"/>
                <a:gd name="T98" fmla="*/ 2673 w 3539"/>
                <a:gd name="T99" fmla="*/ 251 h 3531"/>
                <a:gd name="T100" fmla="*/ 2294 w 3539"/>
                <a:gd name="T101" fmla="*/ 82 h 3531"/>
                <a:gd name="T102" fmla="*/ 1888 w 3539"/>
                <a:gd name="T103" fmla="*/ 4 h 3531"/>
                <a:gd name="T104" fmla="*/ 1474 w 3539"/>
                <a:gd name="T105" fmla="*/ 20 h 3531"/>
                <a:gd name="T106" fmla="*/ 1071 w 3539"/>
                <a:gd name="T107" fmla="*/ 134 h 3531"/>
                <a:gd name="T108" fmla="*/ 698 w 3539"/>
                <a:gd name="T109" fmla="*/ 349 h 3531"/>
                <a:gd name="T110" fmla="*/ 483 w 3539"/>
                <a:gd name="T111" fmla="*/ 541 h 3531"/>
                <a:gd name="T112" fmla="*/ 391 w 3539"/>
                <a:gd name="T113" fmla="*/ 645 h 3531"/>
                <a:gd name="T114" fmla="*/ 301 w 3539"/>
                <a:gd name="T115" fmla="*/ 763 h 3531"/>
                <a:gd name="T116" fmla="*/ 215 w 3539"/>
                <a:gd name="T117" fmla="*/ 895 h 3531"/>
                <a:gd name="T118" fmla="*/ 138 w 3539"/>
                <a:gd name="T119" fmla="*/ 1038 h 3531"/>
                <a:gd name="T120" fmla="*/ 75 w 3539"/>
                <a:gd name="T121" fmla="*/ 1191 h 3531"/>
                <a:gd name="T122" fmla="*/ 28 w 3539"/>
                <a:gd name="T123" fmla="*/ 1350 h 3531"/>
                <a:gd name="T124" fmla="*/ 3 w 3539"/>
                <a:gd name="T125" fmla="*/ 1515 h 3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39" h="3531">
                  <a:moveTo>
                    <a:pt x="594" y="1821"/>
                  </a:moveTo>
                  <a:lnTo>
                    <a:pt x="595" y="1759"/>
                  </a:lnTo>
                  <a:lnTo>
                    <a:pt x="599" y="1697"/>
                  </a:lnTo>
                  <a:lnTo>
                    <a:pt x="606" y="1637"/>
                  </a:lnTo>
                  <a:lnTo>
                    <a:pt x="614" y="1579"/>
                  </a:lnTo>
                  <a:lnTo>
                    <a:pt x="625" y="1523"/>
                  </a:lnTo>
                  <a:lnTo>
                    <a:pt x="639" y="1466"/>
                  </a:lnTo>
                  <a:lnTo>
                    <a:pt x="656" y="1413"/>
                  </a:lnTo>
                  <a:lnTo>
                    <a:pt x="673" y="1360"/>
                  </a:lnTo>
                  <a:lnTo>
                    <a:pt x="694" y="1309"/>
                  </a:lnTo>
                  <a:lnTo>
                    <a:pt x="717" y="1259"/>
                  </a:lnTo>
                  <a:lnTo>
                    <a:pt x="741" y="1212"/>
                  </a:lnTo>
                  <a:lnTo>
                    <a:pt x="769" y="1165"/>
                  </a:lnTo>
                  <a:lnTo>
                    <a:pt x="797" y="1120"/>
                  </a:lnTo>
                  <a:lnTo>
                    <a:pt x="827" y="1077"/>
                  </a:lnTo>
                  <a:lnTo>
                    <a:pt x="860" y="1036"/>
                  </a:lnTo>
                  <a:lnTo>
                    <a:pt x="895" y="997"/>
                  </a:lnTo>
                  <a:lnTo>
                    <a:pt x="930" y="958"/>
                  </a:lnTo>
                  <a:lnTo>
                    <a:pt x="968" y="922"/>
                  </a:lnTo>
                  <a:lnTo>
                    <a:pt x="1009" y="887"/>
                  </a:lnTo>
                  <a:lnTo>
                    <a:pt x="1050" y="855"/>
                  </a:lnTo>
                  <a:lnTo>
                    <a:pt x="1092" y="823"/>
                  </a:lnTo>
                  <a:lnTo>
                    <a:pt x="1137" y="795"/>
                  </a:lnTo>
                  <a:lnTo>
                    <a:pt x="1182" y="767"/>
                  </a:lnTo>
                  <a:lnTo>
                    <a:pt x="1229" y="742"/>
                  </a:lnTo>
                  <a:lnTo>
                    <a:pt x="1278" y="718"/>
                  </a:lnTo>
                  <a:lnTo>
                    <a:pt x="1327" y="698"/>
                  </a:lnTo>
                  <a:lnTo>
                    <a:pt x="1378" y="677"/>
                  </a:lnTo>
                  <a:lnTo>
                    <a:pt x="1430" y="660"/>
                  </a:lnTo>
                  <a:lnTo>
                    <a:pt x="1483" y="645"/>
                  </a:lnTo>
                  <a:lnTo>
                    <a:pt x="1537" y="631"/>
                  </a:lnTo>
                  <a:lnTo>
                    <a:pt x="1593" y="620"/>
                  </a:lnTo>
                  <a:lnTo>
                    <a:pt x="1649" y="610"/>
                  </a:lnTo>
                  <a:lnTo>
                    <a:pt x="1702" y="605"/>
                  </a:lnTo>
                  <a:lnTo>
                    <a:pt x="1755" y="601"/>
                  </a:lnTo>
                  <a:lnTo>
                    <a:pt x="1810" y="602"/>
                  </a:lnTo>
                  <a:lnTo>
                    <a:pt x="1864" y="607"/>
                  </a:lnTo>
                  <a:lnTo>
                    <a:pt x="1918" y="614"/>
                  </a:lnTo>
                  <a:lnTo>
                    <a:pt x="1972" y="625"/>
                  </a:lnTo>
                  <a:lnTo>
                    <a:pt x="2027" y="638"/>
                  </a:lnTo>
                  <a:lnTo>
                    <a:pt x="2081" y="655"/>
                  </a:lnTo>
                  <a:lnTo>
                    <a:pt x="2134" y="674"/>
                  </a:lnTo>
                  <a:lnTo>
                    <a:pt x="2187" y="697"/>
                  </a:lnTo>
                  <a:lnTo>
                    <a:pt x="2240" y="720"/>
                  </a:lnTo>
                  <a:lnTo>
                    <a:pt x="2291" y="748"/>
                  </a:lnTo>
                  <a:lnTo>
                    <a:pt x="2340" y="777"/>
                  </a:lnTo>
                  <a:lnTo>
                    <a:pt x="2389" y="808"/>
                  </a:lnTo>
                  <a:lnTo>
                    <a:pt x="2437" y="842"/>
                  </a:lnTo>
                  <a:lnTo>
                    <a:pt x="2484" y="878"/>
                  </a:lnTo>
                  <a:lnTo>
                    <a:pt x="2527" y="916"/>
                  </a:lnTo>
                  <a:lnTo>
                    <a:pt x="2571" y="955"/>
                  </a:lnTo>
                  <a:lnTo>
                    <a:pt x="2611" y="996"/>
                  </a:lnTo>
                  <a:lnTo>
                    <a:pt x="2650" y="1039"/>
                  </a:lnTo>
                  <a:lnTo>
                    <a:pt x="2686" y="1083"/>
                  </a:lnTo>
                  <a:lnTo>
                    <a:pt x="2720" y="1129"/>
                  </a:lnTo>
                  <a:lnTo>
                    <a:pt x="2752" y="1176"/>
                  </a:lnTo>
                  <a:lnTo>
                    <a:pt x="2780" y="1223"/>
                  </a:lnTo>
                  <a:lnTo>
                    <a:pt x="2806" y="1272"/>
                  </a:lnTo>
                  <a:lnTo>
                    <a:pt x="2829" y="1322"/>
                  </a:lnTo>
                  <a:lnTo>
                    <a:pt x="2849" y="1373"/>
                  </a:lnTo>
                  <a:lnTo>
                    <a:pt x="2866" y="1425"/>
                  </a:lnTo>
                  <a:lnTo>
                    <a:pt x="2879" y="1477"/>
                  </a:lnTo>
                  <a:lnTo>
                    <a:pt x="2888" y="1529"/>
                  </a:lnTo>
                  <a:lnTo>
                    <a:pt x="2894" y="1582"/>
                  </a:lnTo>
                  <a:lnTo>
                    <a:pt x="2896" y="1635"/>
                  </a:lnTo>
                  <a:lnTo>
                    <a:pt x="2895" y="1710"/>
                  </a:lnTo>
                  <a:lnTo>
                    <a:pt x="2895" y="1781"/>
                  </a:lnTo>
                  <a:lnTo>
                    <a:pt x="2893" y="1848"/>
                  </a:lnTo>
                  <a:lnTo>
                    <a:pt x="2889" y="1913"/>
                  </a:lnTo>
                  <a:lnTo>
                    <a:pt x="2887" y="1944"/>
                  </a:lnTo>
                  <a:lnTo>
                    <a:pt x="2883" y="1975"/>
                  </a:lnTo>
                  <a:lnTo>
                    <a:pt x="2879" y="2005"/>
                  </a:lnTo>
                  <a:lnTo>
                    <a:pt x="2875" y="2034"/>
                  </a:lnTo>
                  <a:lnTo>
                    <a:pt x="2869" y="2063"/>
                  </a:lnTo>
                  <a:lnTo>
                    <a:pt x="2863" y="2093"/>
                  </a:lnTo>
                  <a:lnTo>
                    <a:pt x="2855" y="2121"/>
                  </a:lnTo>
                  <a:lnTo>
                    <a:pt x="2847" y="2150"/>
                  </a:lnTo>
                  <a:lnTo>
                    <a:pt x="2838" y="2178"/>
                  </a:lnTo>
                  <a:lnTo>
                    <a:pt x="2828" y="2205"/>
                  </a:lnTo>
                  <a:lnTo>
                    <a:pt x="2816" y="2234"/>
                  </a:lnTo>
                  <a:lnTo>
                    <a:pt x="2803" y="2262"/>
                  </a:lnTo>
                  <a:lnTo>
                    <a:pt x="2790" y="2289"/>
                  </a:lnTo>
                  <a:lnTo>
                    <a:pt x="2774" y="2317"/>
                  </a:lnTo>
                  <a:lnTo>
                    <a:pt x="2757" y="2345"/>
                  </a:lnTo>
                  <a:lnTo>
                    <a:pt x="2739" y="2373"/>
                  </a:lnTo>
                  <a:lnTo>
                    <a:pt x="2719" y="2402"/>
                  </a:lnTo>
                  <a:lnTo>
                    <a:pt x="2699" y="2430"/>
                  </a:lnTo>
                  <a:lnTo>
                    <a:pt x="2676" y="2459"/>
                  </a:lnTo>
                  <a:lnTo>
                    <a:pt x="2651" y="2488"/>
                  </a:lnTo>
                  <a:lnTo>
                    <a:pt x="2625" y="2518"/>
                  </a:lnTo>
                  <a:lnTo>
                    <a:pt x="2597" y="2548"/>
                  </a:lnTo>
                  <a:lnTo>
                    <a:pt x="2566" y="2578"/>
                  </a:lnTo>
                  <a:lnTo>
                    <a:pt x="2535" y="2610"/>
                  </a:lnTo>
                  <a:lnTo>
                    <a:pt x="2460" y="2676"/>
                  </a:lnTo>
                  <a:lnTo>
                    <a:pt x="2384" y="2734"/>
                  </a:lnTo>
                  <a:lnTo>
                    <a:pt x="2306" y="2784"/>
                  </a:lnTo>
                  <a:lnTo>
                    <a:pt x="2225" y="2828"/>
                  </a:lnTo>
                  <a:lnTo>
                    <a:pt x="2145" y="2862"/>
                  </a:lnTo>
                  <a:lnTo>
                    <a:pt x="2064" y="2891"/>
                  </a:lnTo>
                  <a:lnTo>
                    <a:pt x="1982" y="2911"/>
                  </a:lnTo>
                  <a:lnTo>
                    <a:pt x="1900" y="2925"/>
                  </a:lnTo>
                  <a:lnTo>
                    <a:pt x="1818" y="2933"/>
                  </a:lnTo>
                  <a:lnTo>
                    <a:pt x="1737" y="2934"/>
                  </a:lnTo>
                  <a:lnTo>
                    <a:pt x="1656" y="2930"/>
                  </a:lnTo>
                  <a:lnTo>
                    <a:pt x="1575" y="2919"/>
                  </a:lnTo>
                  <a:lnTo>
                    <a:pt x="1497" y="2902"/>
                  </a:lnTo>
                  <a:lnTo>
                    <a:pt x="1419" y="2881"/>
                  </a:lnTo>
                  <a:lnTo>
                    <a:pt x="1344" y="2854"/>
                  </a:lnTo>
                  <a:lnTo>
                    <a:pt x="1270" y="2821"/>
                  </a:lnTo>
                  <a:lnTo>
                    <a:pt x="1199" y="2785"/>
                  </a:lnTo>
                  <a:lnTo>
                    <a:pt x="1129" y="2744"/>
                  </a:lnTo>
                  <a:lnTo>
                    <a:pt x="1064" y="2699"/>
                  </a:lnTo>
                  <a:lnTo>
                    <a:pt x="1001" y="2649"/>
                  </a:lnTo>
                  <a:lnTo>
                    <a:pt x="941" y="2596"/>
                  </a:lnTo>
                  <a:lnTo>
                    <a:pt x="886" y="2538"/>
                  </a:lnTo>
                  <a:lnTo>
                    <a:pt x="834" y="2479"/>
                  </a:lnTo>
                  <a:lnTo>
                    <a:pt x="786" y="2415"/>
                  </a:lnTo>
                  <a:lnTo>
                    <a:pt x="744" y="2349"/>
                  </a:lnTo>
                  <a:lnTo>
                    <a:pt x="706" y="2279"/>
                  </a:lnTo>
                  <a:lnTo>
                    <a:pt x="672" y="2208"/>
                  </a:lnTo>
                  <a:lnTo>
                    <a:pt x="645" y="2134"/>
                  </a:lnTo>
                  <a:lnTo>
                    <a:pt x="623" y="2058"/>
                  </a:lnTo>
                  <a:lnTo>
                    <a:pt x="607" y="1981"/>
                  </a:lnTo>
                  <a:lnTo>
                    <a:pt x="597" y="1902"/>
                  </a:lnTo>
                  <a:lnTo>
                    <a:pt x="594" y="1821"/>
                  </a:lnTo>
                  <a:close/>
                  <a:moveTo>
                    <a:pt x="0" y="1598"/>
                  </a:moveTo>
                  <a:lnTo>
                    <a:pt x="0" y="1652"/>
                  </a:lnTo>
                  <a:lnTo>
                    <a:pt x="1" y="1705"/>
                  </a:lnTo>
                  <a:lnTo>
                    <a:pt x="2" y="1757"/>
                  </a:lnTo>
                  <a:lnTo>
                    <a:pt x="4" y="1808"/>
                  </a:lnTo>
                  <a:lnTo>
                    <a:pt x="8" y="1860"/>
                  </a:lnTo>
                  <a:lnTo>
                    <a:pt x="12" y="1910"/>
                  </a:lnTo>
                  <a:lnTo>
                    <a:pt x="16" y="1959"/>
                  </a:lnTo>
                  <a:lnTo>
                    <a:pt x="22" y="2009"/>
                  </a:lnTo>
                  <a:lnTo>
                    <a:pt x="28" y="2058"/>
                  </a:lnTo>
                  <a:lnTo>
                    <a:pt x="36" y="2106"/>
                  </a:lnTo>
                  <a:lnTo>
                    <a:pt x="45" y="2153"/>
                  </a:lnTo>
                  <a:lnTo>
                    <a:pt x="54" y="2201"/>
                  </a:lnTo>
                  <a:lnTo>
                    <a:pt x="65" y="2248"/>
                  </a:lnTo>
                  <a:lnTo>
                    <a:pt x="77" y="2294"/>
                  </a:lnTo>
                  <a:lnTo>
                    <a:pt x="89" y="2340"/>
                  </a:lnTo>
                  <a:lnTo>
                    <a:pt x="103" y="2384"/>
                  </a:lnTo>
                  <a:lnTo>
                    <a:pt x="119" y="2429"/>
                  </a:lnTo>
                  <a:lnTo>
                    <a:pt x="136" y="2473"/>
                  </a:lnTo>
                  <a:lnTo>
                    <a:pt x="154" y="2517"/>
                  </a:lnTo>
                  <a:lnTo>
                    <a:pt x="173" y="2560"/>
                  </a:lnTo>
                  <a:lnTo>
                    <a:pt x="194" y="2602"/>
                  </a:lnTo>
                  <a:lnTo>
                    <a:pt x="216" y="2644"/>
                  </a:lnTo>
                  <a:lnTo>
                    <a:pt x="240" y="2686"/>
                  </a:lnTo>
                  <a:lnTo>
                    <a:pt x="265" y="2727"/>
                  </a:lnTo>
                  <a:lnTo>
                    <a:pt x="292" y="2767"/>
                  </a:lnTo>
                  <a:lnTo>
                    <a:pt x="320" y="2807"/>
                  </a:lnTo>
                  <a:lnTo>
                    <a:pt x="351" y="2847"/>
                  </a:lnTo>
                  <a:lnTo>
                    <a:pt x="382" y="2885"/>
                  </a:lnTo>
                  <a:lnTo>
                    <a:pt x="416" y="2924"/>
                  </a:lnTo>
                  <a:lnTo>
                    <a:pt x="452" y="2962"/>
                  </a:lnTo>
                  <a:lnTo>
                    <a:pt x="489" y="2999"/>
                  </a:lnTo>
                  <a:lnTo>
                    <a:pt x="528" y="3036"/>
                  </a:lnTo>
                  <a:lnTo>
                    <a:pt x="667" y="3153"/>
                  </a:lnTo>
                  <a:lnTo>
                    <a:pt x="809" y="3253"/>
                  </a:lnTo>
                  <a:lnTo>
                    <a:pt x="953" y="3337"/>
                  </a:lnTo>
                  <a:lnTo>
                    <a:pt x="1100" y="3404"/>
                  </a:lnTo>
                  <a:lnTo>
                    <a:pt x="1248" y="3457"/>
                  </a:lnTo>
                  <a:lnTo>
                    <a:pt x="1397" y="3496"/>
                  </a:lnTo>
                  <a:lnTo>
                    <a:pt x="1547" y="3520"/>
                  </a:lnTo>
                  <a:lnTo>
                    <a:pt x="1696" y="3531"/>
                  </a:lnTo>
                  <a:lnTo>
                    <a:pt x="1843" y="3529"/>
                  </a:lnTo>
                  <a:lnTo>
                    <a:pt x="1990" y="3514"/>
                  </a:lnTo>
                  <a:lnTo>
                    <a:pt x="2133" y="3487"/>
                  </a:lnTo>
                  <a:lnTo>
                    <a:pt x="2273" y="3448"/>
                  </a:lnTo>
                  <a:lnTo>
                    <a:pt x="2409" y="3398"/>
                  </a:lnTo>
                  <a:lnTo>
                    <a:pt x="2541" y="3338"/>
                  </a:lnTo>
                  <a:lnTo>
                    <a:pt x="2667" y="3268"/>
                  </a:lnTo>
                  <a:lnTo>
                    <a:pt x="2789" y="3189"/>
                  </a:lnTo>
                  <a:lnTo>
                    <a:pt x="2903" y="3100"/>
                  </a:lnTo>
                  <a:lnTo>
                    <a:pt x="3009" y="3002"/>
                  </a:lnTo>
                  <a:lnTo>
                    <a:pt x="3109" y="2897"/>
                  </a:lnTo>
                  <a:lnTo>
                    <a:pt x="3199" y="2785"/>
                  </a:lnTo>
                  <a:lnTo>
                    <a:pt x="3281" y="2665"/>
                  </a:lnTo>
                  <a:lnTo>
                    <a:pt x="3352" y="2539"/>
                  </a:lnTo>
                  <a:lnTo>
                    <a:pt x="3413" y="2408"/>
                  </a:lnTo>
                  <a:lnTo>
                    <a:pt x="3463" y="2271"/>
                  </a:lnTo>
                  <a:lnTo>
                    <a:pt x="3501" y="2129"/>
                  </a:lnTo>
                  <a:lnTo>
                    <a:pt x="3527" y="1982"/>
                  </a:lnTo>
                  <a:lnTo>
                    <a:pt x="3539" y="1833"/>
                  </a:lnTo>
                  <a:lnTo>
                    <a:pt x="3538" y="1679"/>
                  </a:lnTo>
                  <a:lnTo>
                    <a:pt x="3522" y="1523"/>
                  </a:lnTo>
                  <a:lnTo>
                    <a:pt x="3490" y="1364"/>
                  </a:lnTo>
                  <a:lnTo>
                    <a:pt x="3442" y="1204"/>
                  </a:lnTo>
                  <a:lnTo>
                    <a:pt x="3379" y="1042"/>
                  </a:lnTo>
                  <a:lnTo>
                    <a:pt x="3329" y="941"/>
                  </a:lnTo>
                  <a:lnTo>
                    <a:pt x="3275" y="843"/>
                  </a:lnTo>
                  <a:lnTo>
                    <a:pt x="3214" y="751"/>
                  </a:lnTo>
                  <a:lnTo>
                    <a:pt x="3149" y="664"/>
                  </a:lnTo>
                  <a:lnTo>
                    <a:pt x="3080" y="583"/>
                  </a:lnTo>
                  <a:lnTo>
                    <a:pt x="3006" y="506"/>
                  </a:lnTo>
                  <a:lnTo>
                    <a:pt x="2928" y="434"/>
                  </a:lnTo>
                  <a:lnTo>
                    <a:pt x="2846" y="367"/>
                  </a:lnTo>
                  <a:lnTo>
                    <a:pt x="2762" y="306"/>
                  </a:lnTo>
                  <a:lnTo>
                    <a:pt x="2673" y="251"/>
                  </a:lnTo>
                  <a:lnTo>
                    <a:pt x="2581" y="200"/>
                  </a:lnTo>
                  <a:lnTo>
                    <a:pt x="2488" y="156"/>
                  </a:lnTo>
                  <a:lnTo>
                    <a:pt x="2392" y="117"/>
                  </a:lnTo>
                  <a:lnTo>
                    <a:pt x="2294" y="82"/>
                  </a:lnTo>
                  <a:lnTo>
                    <a:pt x="2194" y="54"/>
                  </a:lnTo>
                  <a:lnTo>
                    <a:pt x="2093" y="32"/>
                  </a:lnTo>
                  <a:lnTo>
                    <a:pt x="1991" y="15"/>
                  </a:lnTo>
                  <a:lnTo>
                    <a:pt x="1888" y="4"/>
                  </a:lnTo>
                  <a:lnTo>
                    <a:pt x="1785" y="0"/>
                  </a:lnTo>
                  <a:lnTo>
                    <a:pt x="1680" y="1"/>
                  </a:lnTo>
                  <a:lnTo>
                    <a:pt x="1577" y="7"/>
                  </a:lnTo>
                  <a:lnTo>
                    <a:pt x="1474" y="20"/>
                  </a:lnTo>
                  <a:lnTo>
                    <a:pt x="1371" y="40"/>
                  </a:lnTo>
                  <a:lnTo>
                    <a:pt x="1270" y="65"/>
                  </a:lnTo>
                  <a:lnTo>
                    <a:pt x="1170" y="96"/>
                  </a:lnTo>
                  <a:lnTo>
                    <a:pt x="1071" y="134"/>
                  </a:lnTo>
                  <a:lnTo>
                    <a:pt x="974" y="177"/>
                  </a:lnTo>
                  <a:lnTo>
                    <a:pt x="879" y="228"/>
                  </a:lnTo>
                  <a:lnTo>
                    <a:pt x="787" y="285"/>
                  </a:lnTo>
                  <a:lnTo>
                    <a:pt x="698" y="349"/>
                  </a:lnTo>
                  <a:lnTo>
                    <a:pt x="611" y="418"/>
                  </a:lnTo>
                  <a:lnTo>
                    <a:pt x="528" y="495"/>
                  </a:lnTo>
                  <a:lnTo>
                    <a:pt x="506" y="517"/>
                  </a:lnTo>
                  <a:lnTo>
                    <a:pt x="483" y="541"/>
                  </a:lnTo>
                  <a:lnTo>
                    <a:pt x="460" y="564"/>
                  </a:lnTo>
                  <a:lnTo>
                    <a:pt x="438" y="590"/>
                  </a:lnTo>
                  <a:lnTo>
                    <a:pt x="415" y="616"/>
                  </a:lnTo>
                  <a:lnTo>
                    <a:pt x="391" y="645"/>
                  </a:lnTo>
                  <a:lnTo>
                    <a:pt x="368" y="673"/>
                  </a:lnTo>
                  <a:lnTo>
                    <a:pt x="345" y="702"/>
                  </a:lnTo>
                  <a:lnTo>
                    <a:pt x="322" y="732"/>
                  </a:lnTo>
                  <a:lnTo>
                    <a:pt x="301" y="763"/>
                  </a:lnTo>
                  <a:lnTo>
                    <a:pt x="278" y="795"/>
                  </a:lnTo>
                  <a:lnTo>
                    <a:pt x="256" y="828"/>
                  </a:lnTo>
                  <a:lnTo>
                    <a:pt x="236" y="861"/>
                  </a:lnTo>
                  <a:lnTo>
                    <a:pt x="215" y="895"/>
                  </a:lnTo>
                  <a:lnTo>
                    <a:pt x="194" y="930"/>
                  </a:lnTo>
                  <a:lnTo>
                    <a:pt x="175" y="965"/>
                  </a:lnTo>
                  <a:lnTo>
                    <a:pt x="156" y="1001"/>
                  </a:lnTo>
                  <a:lnTo>
                    <a:pt x="138" y="1038"/>
                  </a:lnTo>
                  <a:lnTo>
                    <a:pt x="121" y="1075"/>
                  </a:lnTo>
                  <a:lnTo>
                    <a:pt x="104" y="1113"/>
                  </a:lnTo>
                  <a:lnTo>
                    <a:pt x="89" y="1152"/>
                  </a:lnTo>
                  <a:lnTo>
                    <a:pt x="75" y="1191"/>
                  </a:lnTo>
                  <a:lnTo>
                    <a:pt x="61" y="1230"/>
                  </a:lnTo>
                  <a:lnTo>
                    <a:pt x="49" y="1269"/>
                  </a:lnTo>
                  <a:lnTo>
                    <a:pt x="38" y="1309"/>
                  </a:lnTo>
                  <a:lnTo>
                    <a:pt x="28" y="1350"/>
                  </a:lnTo>
                  <a:lnTo>
                    <a:pt x="20" y="1390"/>
                  </a:lnTo>
                  <a:lnTo>
                    <a:pt x="13" y="1432"/>
                  </a:lnTo>
                  <a:lnTo>
                    <a:pt x="7" y="1473"/>
                  </a:lnTo>
                  <a:lnTo>
                    <a:pt x="3" y="1515"/>
                  </a:lnTo>
                  <a:lnTo>
                    <a:pt x="0" y="1556"/>
                  </a:lnTo>
                  <a:lnTo>
                    <a:pt x="0" y="15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142" name="Freeform 12">
              <a:extLst>
                <a:ext uri="{FF2B5EF4-FFF2-40B4-BE49-F238E27FC236}">
                  <a16:creationId xmlns:a16="http://schemas.microsoft.com/office/drawing/2014/main" id="{43780C00-C579-4CCB-AA01-C477B6BE2D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59475" y="7680325"/>
              <a:ext cx="628650" cy="622300"/>
            </a:xfrm>
            <a:custGeom>
              <a:avLst/>
              <a:gdLst>
                <a:gd name="T0" fmla="*/ 1527 w 3556"/>
                <a:gd name="T1" fmla="*/ 2895 h 3527"/>
                <a:gd name="T2" fmla="*/ 1195 w 3556"/>
                <a:gd name="T3" fmla="*/ 2760 h 3527"/>
                <a:gd name="T4" fmla="*/ 934 w 3556"/>
                <a:gd name="T5" fmla="*/ 2540 h 3527"/>
                <a:gd name="T6" fmla="*/ 750 w 3556"/>
                <a:gd name="T7" fmla="*/ 2260 h 3527"/>
                <a:gd name="T8" fmla="*/ 649 w 3556"/>
                <a:gd name="T9" fmla="*/ 1943 h 3527"/>
                <a:gd name="T10" fmla="*/ 638 w 3556"/>
                <a:gd name="T11" fmla="*/ 1612 h 3527"/>
                <a:gd name="T12" fmla="*/ 723 w 3556"/>
                <a:gd name="T13" fmla="*/ 1290 h 3527"/>
                <a:gd name="T14" fmla="*/ 911 w 3556"/>
                <a:gd name="T15" fmla="*/ 999 h 3527"/>
                <a:gd name="T16" fmla="*/ 1312 w 3556"/>
                <a:gd name="T17" fmla="*/ 699 h 3527"/>
                <a:gd name="T18" fmla="*/ 1774 w 3556"/>
                <a:gd name="T19" fmla="*/ 594 h 3527"/>
                <a:gd name="T20" fmla="*/ 2209 w 3556"/>
                <a:gd name="T21" fmla="*/ 688 h 3527"/>
                <a:gd name="T22" fmla="*/ 2577 w 3556"/>
                <a:gd name="T23" fmla="*/ 937 h 3527"/>
                <a:gd name="T24" fmla="*/ 2840 w 3556"/>
                <a:gd name="T25" fmla="*/ 1296 h 3527"/>
                <a:gd name="T26" fmla="*/ 2957 w 3556"/>
                <a:gd name="T27" fmla="*/ 1722 h 3527"/>
                <a:gd name="T28" fmla="*/ 2888 w 3556"/>
                <a:gd name="T29" fmla="*/ 2171 h 3527"/>
                <a:gd name="T30" fmla="*/ 2592 w 3556"/>
                <a:gd name="T31" fmla="*/ 2598 h 3527"/>
                <a:gd name="T32" fmla="*/ 2378 w 3556"/>
                <a:gd name="T33" fmla="*/ 2762 h 3527"/>
                <a:gd name="T34" fmla="*/ 2213 w 3556"/>
                <a:gd name="T35" fmla="*/ 2841 h 3527"/>
                <a:gd name="T36" fmla="*/ 2033 w 3556"/>
                <a:gd name="T37" fmla="*/ 2900 h 3527"/>
                <a:gd name="T38" fmla="*/ 1880 w 3556"/>
                <a:gd name="T39" fmla="*/ 2926 h 3527"/>
                <a:gd name="T40" fmla="*/ 0 w 3556"/>
                <a:gd name="T41" fmla="*/ 1780 h 3527"/>
                <a:gd name="T42" fmla="*/ 81 w 3556"/>
                <a:gd name="T43" fmla="*/ 2286 h 3527"/>
                <a:gd name="T44" fmla="*/ 305 w 3556"/>
                <a:gd name="T45" fmla="*/ 2734 h 3527"/>
                <a:gd name="T46" fmla="*/ 644 w 3556"/>
                <a:gd name="T47" fmla="*/ 3100 h 3527"/>
                <a:gd name="T48" fmla="*/ 1067 w 3556"/>
                <a:gd name="T49" fmla="*/ 3366 h 3527"/>
                <a:gd name="T50" fmla="*/ 1547 w 3556"/>
                <a:gd name="T51" fmla="*/ 3509 h 3527"/>
                <a:gd name="T52" fmla="*/ 2055 w 3556"/>
                <a:gd name="T53" fmla="*/ 3508 h 3527"/>
                <a:gd name="T54" fmla="*/ 2561 w 3556"/>
                <a:gd name="T55" fmla="*/ 3344 h 3527"/>
                <a:gd name="T56" fmla="*/ 3036 w 3556"/>
                <a:gd name="T57" fmla="*/ 2994 h 3527"/>
                <a:gd name="T58" fmla="*/ 3262 w 3556"/>
                <a:gd name="T59" fmla="*/ 2721 h 3527"/>
                <a:gd name="T60" fmla="*/ 3424 w 3556"/>
                <a:gd name="T61" fmla="*/ 2419 h 3527"/>
                <a:gd name="T62" fmla="*/ 3522 w 3556"/>
                <a:gd name="T63" fmla="*/ 2098 h 3527"/>
                <a:gd name="T64" fmla="*/ 3556 w 3556"/>
                <a:gd name="T65" fmla="*/ 1767 h 3527"/>
                <a:gd name="T66" fmla="*/ 3528 w 3556"/>
                <a:gd name="T67" fmla="*/ 1437 h 3527"/>
                <a:gd name="T68" fmla="*/ 3435 w 3556"/>
                <a:gd name="T69" fmla="*/ 1118 h 3527"/>
                <a:gd name="T70" fmla="*/ 3277 w 3556"/>
                <a:gd name="T71" fmla="*/ 817 h 3527"/>
                <a:gd name="T72" fmla="*/ 3055 w 3556"/>
                <a:gd name="T73" fmla="*/ 546 h 3527"/>
                <a:gd name="T74" fmla="*/ 2908 w 3556"/>
                <a:gd name="T75" fmla="*/ 408 h 3527"/>
                <a:gd name="T76" fmla="*/ 2767 w 3556"/>
                <a:gd name="T77" fmla="*/ 292 h 3527"/>
                <a:gd name="T78" fmla="*/ 2625 w 3556"/>
                <a:gd name="T79" fmla="*/ 197 h 3527"/>
                <a:gd name="T80" fmla="*/ 2477 w 3556"/>
                <a:gd name="T81" fmla="*/ 123 h 3527"/>
                <a:gd name="T82" fmla="*/ 2318 w 3556"/>
                <a:gd name="T83" fmla="*/ 67 h 3527"/>
                <a:gd name="T84" fmla="*/ 2141 w 3556"/>
                <a:gd name="T85" fmla="*/ 29 h 3527"/>
                <a:gd name="T86" fmla="*/ 1939 w 3556"/>
                <a:gd name="T87" fmla="*/ 7 h 3527"/>
                <a:gd name="T88" fmla="*/ 1709 w 3556"/>
                <a:gd name="T89" fmla="*/ 0 h 3527"/>
                <a:gd name="T90" fmla="*/ 1520 w 3556"/>
                <a:gd name="T91" fmla="*/ 13 h 3527"/>
                <a:gd name="T92" fmla="*/ 1334 w 3556"/>
                <a:gd name="T93" fmla="*/ 48 h 3527"/>
                <a:gd name="T94" fmla="*/ 1162 w 3556"/>
                <a:gd name="T95" fmla="*/ 99 h 3527"/>
                <a:gd name="T96" fmla="*/ 1015 w 3556"/>
                <a:gd name="T97" fmla="*/ 159 h 3527"/>
                <a:gd name="T98" fmla="*/ 495 w 3556"/>
                <a:gd name="T99" fmla="*/ 554 h 3527"/>
                <a:gd name="T100" fmla="*/ 384 w 3556"/>
                <a:gd name="T101" fmla="*/ 684 h 3527"/>
                <a:gd name="T102" fmla="*/ 286 w 3556"/>
                <a:gd name="T103" fmla="*/ 825 h 3527"/>
                <a:gd name="T104" fmla="*/ 200 w 3556"/>
                <a:gd name="T105" fmla="*/ 975 h 3527"/>
                <a:gd name="T106" fmla="*/ 127 w 3556"/>
                <a:gd name="T107" fmla="*/ 1132 h 3527"/>
                <a:gd name="T108" fmla="*/ 71 w 3556"/>
                <a:gd name="T109" fmla="*/ 1296 h 3527"/>
                <a:gd name="T110" fmla="*/ 29 w 3556"/>
                <a:gd name="T111" fmla="*/ 1467 h 3527"/>
                <a:gd name="T112" fmla="*/ 6 w 3556"/>
                <a:gd name="T113" fmla="*/ 1643 h 3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56" h="3527">
                  <a:moveTo>
                    <a:pt x="1819" y="2929"/>
                  </a:moveTo>
                  <a:lnTo>
                    <a:pt x="1718" y="2926"/>
                  </a:lnTo>
                  <a:lnTo>
                    <a:pt x="1621" y="2914"/>
                  </a:lnTo>
                  <a:lnTo>
                    <a:pt x="1527" y="2895"/>
                  </a:lnTo>
                  <a:lnTo>
                    <a:pt x="1438" y="2870"/>
                  </a:lnTo>
                  <a:lnTo>
                    <a:pt x="1353" y="2840"/>
                  </a:lnTo>
                  <a:lnTo>
                    <a:pt x="1272" y="2802"/>
                  </a:lnTo>
                  <a:lnTo>
                    <a:pt x="1195" y="2760"/>
                  </a:lnTo>
                  <a:lnTo>
                    <a:pt x="1124" y="2712"/>
                  </a:lnTo>
                  <a:lnTo>
                    <a:pt x="1055" y="2659"/>
                  </a:lnTo>
                  <a:lnTo>
                    <a:pt x="992" y="2602"/>
                  </a:lnTo>
                  <a:lnTo>
                    <a:pt x="934" y="2540"/>
                  </a:lnTo>
                  <a:lnTo>
                    <a:pt x="880" y="2475"/>
                  </a:lnTo>
                  <a:lnTo>
                    <a:pt x="832" y="2406"/>
                  </a:lnTo>
                  <a:lnTo>
                    <a:pt x="788" y="2335"/>
                  </a:lnTo>
                  <a:lnTo>
                    <a:pt x="750" y="2260"/>
                  </a:lnTo>
                  <a:lnTo>
                    <a:pt x="717" y="2183"/>
                  </a:lnTo>
                  <a:lnTo>
                    <a:pt x="689" y="2105"/>
                  </a:lnTo>
                  <a:lnTo>
                    <a:pt x="667" y="2025"/>
                  </a:lnTo>
                  <a:lnTo>
                    <a:pt x="649" y="1943"/>
                  </a:lnTo>
                  <a:lnTo>
                    <a:pt x="638" y="1860"/>
                  </a:lnTo>
                  <a:lnTo>
                    <a:pt x="633" y="1778"/>
                  </a:lnTo>
                  <a:lnTo>
                    <a:pt x="633" y="1694"/>
                  </a:lnTo>
                  <a:lnTo>
                    <a:pt x="638" y="1612"/>
                  </a:lnTo>
                  <a:lnTo>
                    <a:pt x="650" y="1530"/>
                  </a:lnTo>
                  <a:lnTo>
                    <a:pt x="669" y="1448"/>
                  </a:lnTo>
                  <a:lnTo>
                    <a:pt x="693" y="1368"/>
                  </a:lnTo>
                  <a:lnTo>
                    <a:pt x="723" y="1290"/>
                  </a:lnTo>
                  <a:lnTo>
                    <a:pt x="760" y="1213"/>
                  </a:lnTo>
                  <a:lnTo>
                    <a:pt x="803" y="1139"/>
                  </a:lnTo>
                  <a:lnTo>
                    <a:pt x="853" y="1068"/>
                  </a:lnTo>
                  <a:lnTo>
                    <a:pt x="911" y="999"/>
                  </a:lnTo>
                  <a:lnTo>
                    <a:pt x="974" y="934"/>
                  </a:lnTo>
                  <a:lnTo>
                    <a:pt x="1085" y="840"/>
                  </a:lnTo>
                  <a:lnTo>
                    <a:pt x="1199" y="761"/>
                  </a:lnTo>
                  <a:lnTo>
                    <a:pt x="1312" y="699"/>
                  </a:lnTo>
                  <a:lnTo>
                    <a:pt x="1429" y="652"/>
                  </a:lnTo>
                  <a:lnTo>
                    <a:pt x="1544" y="619"/>
                  </a:lnTo>
                  <a:lnTo>
                    <a:pt x="1660" y="600"/>
                  </a:lnTo>
                  <a:lnTo>
                    <a:pt x="1774" y="594"/>
                  </a:lnTo>
                  <a:lnTo>
                    <a:pt x="1887" y="601"/>
                  </a:lnTo>
                  <a:lnTo>
                    <a:pt x="1997" y="619"/>
                  </a:lnTo>
                  <a:lnTo>
                    <a:pt x="2105" y="648"/>
                  </a:lnTo>
                  <a:lnTo>
                    <a:pt x="2209" y="688"/>
                  </a:lnTo>
                  <a:lnTo>
                    <a:pt x="2309" y="737"/>
                  </a:lnTo>
                  <a:lnTo>
                    <a:pt x="2403" y="796"/>
                  </a:lnTo>
                  <a:lnTo>
                    <a:pt x="2494" y="863"/>
                  </a:lnTo>
                  <a:lnTo>
                    <a:pt x="2577" y="937"/>
                  </a:lnTo>
                  <a:lnTo>
                    <a:pt x="2654" y="1018"/>
                  </a:lnTo>
                  <a:lnTo>
                    <a:pt x="2725" y="1106"/>
                  </a:lnTo>
                  <a:lnTo>
                    <a:pt x="2787" y="1199"/>
                  </a:lnTo>
                  <a:lnTo>
                    <a:pt x="2840" y="1296"/>
                  </a:lnTo>
                  <a:lnTo>
                    <a:pt x="2884" y="1398"/>
                  </a:lnTo>
                  <a:lnTo>
                    <a:pt x="2919" y="1504"/>
                  </a:lnTo>
                  <a:lnTo>
                    <a:pt x="2943" y="1612"/>
                  </a:lnTo>
                  <a:lnTo>
                    <a:pt x="2957" y="1722"/>
                  </a:lnTo>
                  <a:lnTo>
                    <a:pt x="2958" y="1834"/>
                  </a:lnTo>
                  <a:lnTo>
                    <a:pt x="2947" y="1947"/>
                  </a:lnTo>
                  <a:lnTo>
                    <a:pt x="2925" y="2060"/>
                  </a:lnTo>
                  <a:lnTo>
                    <a:pt x="2888" y="2171"/>
                  </a:lnTo>
                  <a:lnTo>
                    <a:pt x="2837" y="2282"/>
                  </a:lnTo>
                  <a:lnTo>
                    <a:pt x="2770" y="2390"/>
                  </a:lnTo>
                  <a:lnTo>
                    <a:pt x="2689" y="2496"/>
                  </a:lnTo>
                  <a:lnTo>
                    <a:pt x="2592" y="2598"/>
                  </a:lnTo>
                  <a:lnTo>
                    <a:pt x="2478" y="2697"/>
                  </a:lnTo>
                  <a:lnTo>
                    <a:pt x="2448" y="2719"/>
                  </a:lnTo>
                  <a:lnTo>
                    <a:pt x="2414" y="2741"/>
                  </a:lnTo>
                  <a:lnTo>
                    <a:pt x="2378" y="2762"/>
                  </a:lnTo>
                  <a:lnTo>
                    <a:pt x="2339" y="2784"/>
                  </a:lnTo>
                  <a:lnTo>
                    <a:pt x="2299" y="2803"/>
                  </a:lnTo>
                  <a:lnTo>
                    <a:pt x="2257" y="2823"/>
                  </a:lnTo>
                  <a:lnTo>
                    <a:pt x="2213" y="2841"/>
                  </a:lnTo>
                  <a:lnTo>
                    <a:pt x="2169" y="2857"/>
                  </a:lnTo>
                  <a:lnTo>
                    <a:pt x="2123" y="2874"/>
                  </a:lnTo>
                  <a:lnTo>
                    <a:pt x="2078" y="2887"/>
                  </a:lnTo>
                  <a:lnTo>
                    <a:pt x="2033" y="2900"/>
                  </a:lnTo>
                  <a:lnTo>
                    <a:pt x="1988" y="2909"/>
                  </a:lnTo>
                  <a:lnTo>
                    <a:pt x="1944" y="2918"/>
                  </a:lnTo>
                  <a:lnTo>
                    <a:pt x="1901" y="2923"/>
                  </a:lnTo>
                  <a:lnTo>
                    <a:pt x="1880" y="2926"/>
                  </a:lnTo>
                  <a:lnTo>
                    <a:pt x="1860" y="2928"/>
                  </a:lnTo>
                  <a:lnTo>
                    <a:pt x="1839" y="2929"/>
                  </a:lnTo>
                  <a:lnTo>
                    <a:pt x="1819" y="2929"/>
                  </a:lnTo>
                  <a:close/>
                  <a:moveTo>
                    <a:pt x="0" y="1780"/>
                  </a:moveTo>
                  <a:lnTo>
                    <a:pt x="6" y="1911"/>
                  </a:lnTo>
                  <a:lnTo>
                    <a:pt x="22" y="2039"/>
                  </a:lnTo>
                  <a:lnTo>
                    <a:pt x="47" y="2165"/>
                  </a:lnTo>
                  <a:lnTo>
                    <a:pt x="81" y="2286"/>
                  </a:lnTo>
                  <a:lnTo>
                    <a:pt x="125" y="2404"/>
                  </a:lnTo>
                  <a:lnTo>
                    <a:pt x="177" y="2519"/>
                  </a:lnTo>
                  <a:lnTo>
                    <a:pt x="238" y="2629"/>
                  </a:lnTo>
                  <a:lnTo>
                    <a:pt x="305" y="2734"/>
                  </a:lnTo>
                  <a:lnTo>
                    <a:pt x="381" y="2834"/>
                  </a:lnTo>
                  <a:lnTo>
                    <a:pt x="463" y="2928"/>
                  </a:lnTo>
                  <a:lnTo>
                    <a:pt x="550" y="3017"/>
                  </a:lnTo>
                  <a:lnTo>
                    <a:pt x="644" y="3100"/>
                  </a:lnTo>
                  <a:lnTo>
                    <a:pt x="743" y="3177"/>
                  </a:lnTo>
                  <a:lnTo>
                    <a:pt x="847" y="3246"/>
                  </a:lnTo>
                  <a:lnTo>
                    <a:pt x="955" y="3309"/>
                  </a:lnTo>
                  <a:lnTo>
                    <a:pt x="1067" y="3366"/>
                  </a:lnTo>
                  <a:lnTo>
                    <a:pt x="1183" y="3413"/>
                  </a:lnTo>
                  <a:lnTo>
                    <a:pt x="1302" y="3454"/>
                  </a:lnTo>
                  <a:lnTo>
                    <a:pt x="1423" y="3485"/>
                  </a:lnTo>
                  <a:lnTo>
                    <a:pt x="1547" y="3509"/>
                  </a:lnTo>
                  <a:lnTo>
                    <a:pt x="1673" y="3523"/>
                  </a:lnTo>
                  <a:lnTo>
                    <a:pt x="1799" y="3527"/>
                  </a:lnTo>
                  <a:lnTo>
                    <a:pt x="1927" y="3523"/>
                  </a:lnTo>
                  <a:lnTo>
                    <a:pt x="2055" y="3508"/>
                  </a:lnTo>
                  <a:lnTo>
                    <a:pt x="2182" y="3483"/>
                  </a:lnTo>
                  <a:lnTo>
                    <a:pt x="2309" y="3448"/>
                  </a:lnTo>
                  <a:lnTo>
                    <a:pt x="2436" y="3401"/>
                  </a:lnTo>
                  <a:lnTo>
                    <a:pt x="2561" y="3344"/>
                  </a:lnTo>
                  <a:lnTo>
                    <a:pt x="2684" y="3275"/>
                  </a:lnTo>
                  <a:lnTo>
                    <a:pt x="2804" y="3193"/>
                  </a:lnTo>
                  <a:lnTo>
                    <a:pt x="2922" y="3100"/>
                  </a:lnTo>
                  <a:lnTo>
                    <a:pt x="3036" y="2994"/>
                  </a:lnTo>
                  <a:lnTo>
                    <a:pt x="3098" y="2929"/>
                  </a:lnTo>
                  <a:lnTo>
                    <a:pt x="3157" y="2862"/>
                  </a:lnTo>
                  <a:lnTo>
                    <a:pt x="3211" y="2792"/>
                  </a:lnTo>
                  <a:lnTo>
                    <a:pt x="3262" y="2721"/>
                  </a:lnTo>
                  <a:lnTo>
                    <a:pt x="3308" y="2648"/>
                  </a:lnTo>
                  <a:lnTo>
                    <a:pt x="3350" y="2573"/>
                  </a:lnTo>
                  <a:lnTo>
                    <a:pt x="3389" y="2496"/>
                  </a:lnTo>
                  <a:lnTo>
                    <a:pt x="3424" y="2419"/>
                  </a:lnTo>
                  <a:lnTo>
                    <a:pt x="3454" y="2340"/>
                  </a:lnTo>
                  <a:lnTo>
                    <a:pt x="3480" y="2260"/>
                  </a:lnTo>
                  <a:lnTo>
                    <a:pt x="3503" y="2180"/>
                  </a:lnTo>
                  <a:lnTo>
                    <a:pt x="3522" y="2098"/>
                  </a:lnTo>
                  <a:lnTo>
                    <a:pt x="3537" y="2016"/>
                  </a:lnTo>
                  <a:lnTo>
                    <a:pt x="3548" y="1933"/>
                  </a:lnTo>
                  <a:lnTo>
                    <a:pt x="3554" y="1850"/>
                  </a:lnTo>
                  <a:lnTo>
                    <a:pt x="3556" y="1767"/>
                  </a:lnTo>
                  <a:lnTo>
                    <a:pt x="3555" y="1685"/>
                  </a:lnTo>
                  <a:lnTo>
                    <a:pt x="3550" y="1602"/>
                  </a:lnTo>
                  <a:lnTo>
                    <a:pt x="3541" y="1519"/>
                  </a:lnTo>
                  <a:lnTo>
                    <a:pt x="3528" y="1437"/>
                  </a:lnTo>
                  <a:lnTo>
                    <a:pt x="3511" y="1356"/>
                  </a:lnTo>
                  <a:lnTo>
                    <a:pt x="3489" y="1275"/>
                  </a:lnTo>
                  <a:lnTo>
                    <a:pt x="3464" y="1196"/>
                  </a:lnTo>
                  <a:lnTo>
                    <a:pt x="3435" y="1118"/>
                  </a:lnTo>
                  <a:lnTo>
                    <a:pt x="3401" y="1040"/>
                  </a:lnTo>
                  <a:lnTo>
                    <a:pt x="3364" y="964"/>
                  </a:lnTo>
                  <a:lnTo>
                    <a:pt x="3322" y="890"/>
                  </a:lnTo>
                  <a:lnTo>
                    <a:pt x="3277" y="817"/>
                  </a:lnTo>
                  <a:lnTo>
                    <a:pt x="3227" y="746"/>
                  </a:lnTo>
                  <a:lnTo>
                    <a:pt x="3174" y="678"/>
                  </a:lnTo>
                  <a:lnTo>
                    <a:pt x="3117" y="610"/>
                  </a:lnTo>
                  <a:lnTo>
                    <a:pt x="3055" y="546"/>
                  </a:lnTo>
                  <a:lnTo>
                    <a:pt x="3017" y="510"/>
                  </a:lnTo>
                  <a:lnTo>
                    <a:pt x="2980" y="475"/>
                  </a:lnTo>
                  <a:lnTo>
                    <a:pt x="2944" y="440"/>
                  </a:lnTo>
                  <a:lnTo>
                    <a:pt x="2908" y="408"/>
                  </a:lnTo>
                  <a:lnTo>
                    <a:pt x="2872" y="377"/>
                  </a:lnTo>
                  <a:lnTo>
                    <a:pt x="2837" y="347"/>
                  </a:lnTo>
                  <a:lnTo>
                    <a:pt x="2802" y="319"/>
                  </a:lnTo>
                  <a:lnTo>
                    <a:pt x="2767" y="292"/>
                  </a:lnTo>
                  <a:lnTo>
                    <a:pt x="2731" y="267"/>
                  </a:lnTo>
                  <a:lnTo>
                    <a:pt x="2697" y="242"/>
                  </a:lnTo>
                  <a:lnTo>
                    <a:pt x="2661" y="219"/>
                  </a:lnTo>
                  <a:lnTo>
                    <a:pt x="2625" y="197"/>
                  </a:lnTo>
                  <a:lnTo>
                    <a:pt x="2589" y="177"/>
                  </a:lnTo>
                  <a:lnTo>
                    <a:pt x="2552" y="157"/>
                  </a:lnTo>
                  <a:lnTo>
                    <a:pt x="2515" y="140"/>
                  </a:lnTo>
                  <a:lnTo>
                    <a:pt x="2477" y="123"/>
                  </a:lnTo>
                  <a:lnTo>
                    <a:pt x="2439" y="107"/>
                  </a:lnTo>
                  <a:lnTo>
                    <a:pt x="2399" y="92"/>
                  </a:lnTo>
                  <a:lnTo>
                    <a:pt x="2359" y="79"/>
                  </a:lnTo>
                  <a:lnTo>
                    <a:pt x="2318" y="67"/>
                  </a:lnTo>
                  <a:lnTo>
                    <a:pt x="2275" y="56"/>
                  </a:lnTo>
                  <a:lnTo>
                    <a:pt x="2232" y="46"/>
                  </a:lnTo>
                  <a:lnTo>
                    <a:pt x="2186" y="37"/>
                  </a:lnTo>
                  <a:lnTo>
                    <a:pt x="2141" y="29"/>
                  </a:lnTo>
                  <a:lnTo>
                    <a:pt x="2093" y="22"/>
                  </a:lnTo>
                  <a:lnTo>
                    <a:pt x="2043" y="16"/>
                  </a:lnTo>
                  <a:lnTo>
                    <a:pt x="1992" y="11"/>
                  </a:lnTo>
                  <a:lnTo>
                    <a:pt x="1939" y="7"/>
                  </a:lnTo>
                  <a:lnTo>
                    <a:pt x="1885" y="3"/>
                  </a:lnTo>
                  <a:lnTo>
                    <a:pt x="1828" y="1"/>
                  </a:lnTo>
                  <a:lnTo>
                    <a:pt x="1769" y="0"/>
                  </a:lnTo>
                  <a:lnTo>
                    <a:pt x="1709" y="0"/>
                  </a:lnTo>
                  <a:lnTo>
                    <a:pt x="1662" y="1"/>
                  </a:lnTo>
                  <a:lnTo>
                    <a:pt x="1615" y="3"/>
                  </a:lnTo>
                  <a:lnTo>
                    <a:pt x="1568" y="8"/>
                  </a:lnTo>
                  <a:lnTo>
                    <a:pt x="1520" y="13"/>
                  </a:lnTo>
                  <a:lnTo>
                    <a:pt x="1473" y="20"/>
                  </a:lnTo>
                  <a:lnTo>
                    <a:pt x="1426" y="27"/>
                  </a:lnTo>
                  <a:lnTo>
                    <a:pt x="1380" y="37"/>
                  </a:lnTo>
                  <a:lnTo>
                    <a:pt x="1334" y="48"/>
                  </a:lnTo>
                  <a:lnTo>
                    <a:pt x="1289" y="59"/>
                  </a:lnTo>
                  <a:lnTo>
                    <a:pt x="1245" y="71"/>
                  </a:lnTo>
                  <a:lnTo>
                    <a:pt x="1203" y="85"/>
                  </a:lnTo>
                  <a:lnTo>
                    <a:pt x="1162" y="99"/>
                  </a:lnTo>
                  <a:lnTo>
                    <a:pt x="1121" y="113"/>
                  </a:lnTo>
                  <a:lnTo>
                    <a:pt x="1083" y="128"/>
                  </a:lnTo>
                  <a:lnTo>
                    <a:pt x="1049" y="143"/>
                  </a:lnTo>
                  <a:lnTo>
                    <a:pt x="1015" y="159"/>
                  </a:lnTo>
                  <a:lnTo>
                    <a:pt x="542" y="504"/>
                  </a:lnTo>
                  <a:lnTo>
                    <a:pt x="533" y="513"/>
                  </a:lnTo>
                  <a:lnTo>
                    <a:pt x="524" y="523"/>
                  </a:lnTo>
                  <a:lnTo>
                    <a:pt x="495" y="554"/>
                  </a:lnTo>
                  <a:lnTo>
                    <a:pt x="466" y="585"/>
                  </a:lnTo>
                  <a:lnTo>
                    <a:pt x="439" y="618"/>
                  </a:lnTo>
                  <a:lnTo>
                    <a:pt x="411" y="650"/>
                  </a:lnTo>
                  <a:lnTo>
                    <a:pt x="384" y="684"/>
                  </a:lnTo>
                  <a:lnTo>
                    <a:pt x="358" y="719"/>
                  </a:lnTo>
                  <a:lnTo>
                    <a:pt x="333" y="753"/>
                  </a:lnTo>
                  <a:lnTo>
                    <a:pt x="309" y="789"/>
                  </a:lnTo>
                  <a:lnTo>
                    <a:pt x="286" y="825"/>
                  </a:lnTo>
                  <a:lnTo>
                    <a:pt x="263" y="862"/>
                  </a:lnTo>
                  <a:lnTo>
                    <a:pt x="241" y="899"/>
                  </a:lnTo>
                  <a:lnTo>
                    <a:pt x="220" y="936"/>
                  </a:lnTo>
                  <a:lnTo>
                    <a:pt x="200" y="975"/>
                  </a:lnTo>
                  <a:lnTo>
                    <a:pt x="180" y="1012"/>
                  </a:lnTo>
                  <a:lnTo>
                    <a:pt x="162" y="1052"/>
                  </a:lnTo>
                  <a:lnTo>
                    <a:pt x="144" y="1092"/>
                  </a:lnTo>
                  <a:lnTo>
                    <a:pt x="127" y="1132"/>
                  </a:lnTo>
                  <a:lnTo>
                    <a:pt x="112" y="1172"/>
                  </a:lnTo>
                  <a:lnTo>
                    <a:pt x="97" y="1213"/>
                  </a:lnTo>
                  <a:lnTo>
                    <a:pt x="83" y="1254"/>
                  </a:lnTo>
                  <a:lnTo>
                    <a:pt x="71" y="1296"/>
                  </a:lnTo>
                  <a:lnTo>
                    <a:pt x="59" y="1339"/>
                  </a:lnTo>
                  <a:lnTo>
                    <a:pt x="48" y="1381"/>
                  </a:lnTo>
                  <a:lnTo>
                    <a:pt x="38" y="1423"/>
                  </a:lnTo>
                  <a:lnTo>
                    <a:pt x="29" y="1467"/>
                  </a:lnTo>
                  <a:lnTo>
                    <a:pt x="22" y="1511"/>
                  </a:lnTo>
                  <a:lnTo>
                    <a:pt x="15" y="1554"/>
                  </a:lnTo>
                  <a:lnTo>
                    <a:pt x="10" y="1599"/>
                  </a:lnTo>
                  <a:lnTo>
                    <a:pt x="6" y="1643"/>
                  </a:lnTo>
                  <a:lnTo>
                    <a:pt x="3" y="1689"/>
                  </a:lnTo>
                  <a:lnTo>
                    <a:pt x="1" y="1734"/>
                  </a:lnTo>
                  <a:lnTo>
                    <a:pt x="0" y="17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chemeClr val="bg1"/>
                </a:solidFill>
              </a:endParaRPr>
            </a:p>
          </p:txBody>
        </p:sp>
      </p:grpSp>
      <p:sp>
        <p:nvSpPr>
          <p:cNvPr id="94" name="Rectangle 93">
            <a:extLst>
              <a:ext uri="{FF2B5EF4-FFF2-40B4-BE49-F238E27FC236}">
                <a16:creationId xmlns:a16="http://schemas.microsoft.com/office/drawing/2014/main" id="{AE11B1F9-7922-49C3-8318-131DB8E1FE2C}"/>
              </a:ext>
            </a:extLst>
          </p:cNvPr>
          <p:cNvSpPr/>
          <p:nvPr/>
        </p:nvSpPr>
        <p:spPr bwMode="auto">
          <a:xfrm>
            <a:off x="2836077" y="4655968"/>
            <a:ext cx="8866622" cy="251942"/>
          </a:xfrm>
          <a:prstGeom prst="rect">
            <a:avLst/>
          </a:prstGeom>
          <a:solidFill>
            <a:srgbClr val="AAB414"/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n-lt"/>
              </a:rPr>
              <a:t>Nutzungs- / Abonnement-Gebühren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3484F935-D7BA-40B8-82CF-FE0045297939}"/>
              </a:ext>
            </a:extLst>
          </p:cNvPr>
          <p:cNvSpPr/>
          <p:nvPr/>
        </p:nvSpPr>
        <p:spPr bwMode="auto">
          <a:xfrm>
            <a:off x="7265898" y="5015417"/>
            <a:ext cx="4436803" cy="289805"/>
          </a:xfrm>
          <a:prstGeom prst="rect">
            <a:avLst/>
          </a:prstGeom>
          <a:solidFill>
            <a:srgbClr val="AAB414"/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n-lt"/>
              </a:rPr>
              <a:t>Mehrwert- /Leistungsabhängige Gebühre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2469CD3-BE07-4F83-B45B-9E66B8E1DCD9}"/>
              </a:ext>
            </a:extLst>
          </p:cNvPr>
          <p:cNvSpPr/>
          <p:nvPr/>
        </p:nvSpPr>
        <p:spPr bwMode="auto">
          <a:xfrm>
            <a:off x="751398" y="4296519"/>
            <a:ext cx="4301985" cy="251942"/>
          </a:xfrm>
          <a:prstGeom prst="rect">
            <a:avLst/>
          </a:prstGeom>
          <a:solidFill>
            <a:srgbClr val="AAB414"/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>
                <a:solidFill>
                  <a:schemeClr val="bg1"/>
                </a:solidFill>
                <a:latin typeface="+mn-lt"/>
              </a:rPr>
              <a:t>Klassischer Produktverkauf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46841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5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6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9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0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3" grpId="0"/>
      <p:bldP spid="99" grpId="0" animBg="1"/>
      <p:bldP spid="10" grpId="0" animBg="1"/>
      <p:bldP spid="100" grpId="0" animBg="1"/>
      <p:bldP spid="11" grpId="0"/>
      <p:bldP spid="103" grpId="0" animBg="1"/>
      <p:bldP spid="105" grpId="0" animBg="1"/>
      <p:bldP spid="115" grpId="0" animBg="1"/>
      <p:bldP spid="116" grpId="0" animBg="1"/>
      <p:bldP spid="117" grpId="0" animBg="1"/>
      <p:bldP spid="3" grpId="0"/>
      <p:bldP spid="104" grpId="0"/>
      <p:bldP spid="106" grpId="0"/>
      <p:bldP spid="107" grpId="0"/>
      <p:bldP spid="108" grpId="0"/>
      <p:bldP spid="109" grpId="0"/>
      <p:bldP spid="94" grpId="0" animBg="1"/>
      <p:bldP spid="98" grpId="0" animBg="1"/>
      <p:bldP spid="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43DC290-2C3E-4B4D-A7BC-A8B352A79C97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89438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6" name="think-cell Folie" r:id="rId7" imgW="622" imgH="623" progId="TCLayout.ActiveDocument.1">
                  <p:embed/>
                </p:oleObj>
              </mc:Choice>
              <mc:Fallback>
                <p:oleObj name="think-cell Folie" r:id="rId7" imgW="622" imgH="62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43DC290-2C3E-4B4D-A7BC-A8B352A79C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64C8CD95-A7A6-4FCB-BA87-E46E28A14526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200" dirty="0"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94D7839E-9040-4256-B059-7898635199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om Produkt hin zum Betriebskonzept</a:t>
            </a:r>
            <a:br>
              <a:rPr lang="en-US"/>
            </a:br>
            <a:r>
              <a:rPr lang="en-US" b="0">
                <a:sym typeface="Wingdings" panose="05000000000000000000" pitchFamily="2" charset="2"/>
              </a:rPr>
              <a:t> </a:t>
            </a:r>
            <a:r>
              <a:rPr lang="en-US" b="0"/>
              <a:t>Das </a:t>
            </a:r>
            <a:r>
              <a:rPr lang="en-US" b="0" dirty="0"/>
              <a:t>Beispiel der Bohrmaschine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98C4420F-67FA-40E5-90E1-74EAB63F721C}"/>
              </a:ext>
            </a:extLst>
          </p:cNvPr>
          <p:cNvSpPr txBox="1"/>
          <p:nvPr/>
        </p:nvSpPr>
        <p:spPr>
          <a:xfrm rot="16200000">
            <a:off x="-98970" y="2702958"/>
            <a:ext cx="1163541" cy="288528"/>
          </a:xfrm>
          <a:prstGeom prst="rect">
            <a:avLst/>
          </a:prstGeom>
          <a:solidFill>
            <a:schemeClr val="bg1">
              <a:alpha val="30000"/>
            </a:schemeClr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300"/>
              </a:spcBef>
              <a:buClr>
                <a:schemeClr val="accent1"/>
              </a:buClr>
            </a:pPr>
            <a:r>
              <a:rPr lang="de-DE" sz="1400">
                <a:solidFill>
                  <a:schemeClr val="accent3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Digitale Reife</a:t>
            </a:r>
            <a:endParaRPr lang="de-DE" sz="1400" dirty="0">
              <a:solidFill>
                <a:schemeClr val="accent3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91" name="Straight Connector 6">
            <a:extLst>
              <a:ext uri="{FF2B5EF4-FFF2-40B4-BE49-F238E27FC236}">
                <a16:creationId xmlns:a16="http://schemas.microsoft.com/office/drawing/2014/main" id="{9B795093-F7B4-4E62-9A95-EEC5B99F8155}"/>
              </a:ext>
            </a:extLst>
          </p:cNvPr>
          <p:cNvCxnSpPr>
            <a:cxnSpLocks/>
          </p:cNvCxnSpPr>
          <p:nvPr/>
        </p:nvCxnSpPr>
        <p:spPr bwMode="auto">
          <a:xfrm>
            <a:off x="338140" y="3501008"/>
            <a:ext cx="11367024" cy="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7" name="Straight Connector 6">
            <a:extLst>
              <a:ext uri="{FF2B5EF4-FFF2-40B4-BE49-F238E27FC236}">
                <a16:creationId xmlns:a16="http://schemas.microsoft.com/office/drawing/2014/main" id="{05874066-7DE0-4481-A3D4-8513C7CF115C}"/>
              </a:ext>
            </a:extLst>
          </p:cNvPr>
          <p:cNvCxnSpPr>
            <a:cxnSpLocks/>
          </p:cNvCxnSpPr>
          <p:nvPr/>
        </p:nvCxnSpPr>
        <p:spPr bwMode="auto">
          <a:xfrm>
            <a:off x="338138" y="2157348"/>
            <a:ext cx="11367026" cy="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A44319A3-42D2-4D6A-A8DB-3BC1A580C00B}"/>
              </a:ext>
            </a:extLst>
          </p:cNvPr>
          <p:cNvCxnSpPr/>
          <p:nvPr/>
        </p:nvCxnSpPr>
        <p:spPr bwMode="auto">
          <a:xfrm>
            <a:off x="2824163" y="2265452"/>
            <a:ext cx="0" cy="115200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4" name="Textfeld 103">
            <a:extLst>
              <a:ext uri="{FF2B5EF4-FFF2-40B4-BE49-F238E27FC236}">
                <a16:creationId xmlns:a16="http://schemas.microsoft.com/office/drawing/2014/main" id="{FDB72972-7369-4AF5-9128-4CA28BF7835A}"/>
              </a:ext>
            </a:extLst>
          </p:cNvPr>
          <p:cNvSpPr txBox="1"/>
          <p:nvPr/>
        </p:nvSpPr>
        <p:spPr>
          <a:xfrm>
            <a:off x="1270385" y="2493500"/>
            <a:ext cx="958042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aschine </a:t>
            </a:r>
            <a:b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de-DE" sz="1600" b="1" dirty="0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wird IoT</a:t>
            </a:r>
            <a:endParaRPr lang="en-US" sz="1600" b="1" dirty="0">
              <a:solidFill>
                <a:srgbClr val="FF0000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06" name="Textfeld 105">
            <a:extLst>
              <a:ext uri="{FF2B5EF4-FFF2-40B4-BE49-F238E27FC236}">
                <a16:creationId xmlns:a16="http://schemas.microsoft.com/office/drawing/2014/main" id="{076811EE-6027-4F03-8E79-D7A1975B9727}"/>
              </a:ext>
            </a:extLst>
          </p:cNvPr>
          <p:cNvSpPr txBox="1"/>
          <p:nvPr/>
        </p:nvSpPr>
        <p:spPr>
          <a:xfrm>
            <a:off x="7359651" y="2493500"/>
            <a:ext cx="208158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600" b="1" dirty="0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ehrwert </a:t>
            </a:r>
            <a:br>
              <a:rPr lang="de-DE" sz="1600" b="1" dirty="0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de-DE" sz="1600" b="1" dirty="0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erkaufen</a:t>
            </a:r>
            <a:endParaRPr lang="en-US" sz="1600" b="1" dirty="0">
              <a:solidFill>
                <a:srgbClr val="FF0000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07" name="Textfeld 106">
            <a:extLst>
              <a:ext uri="{FF2B5EF4-FFF2-40B4-BE49-F238E27FC236}">
                <a16:creationId xmlns:a16="http://schemas.microsoft.com/office/drawing/2014/main" id="{1109524C-F3CD-4F7E-9C56-43C1136C1D46}"/>
              </a:ext>
            </a:extLst>
          </p:cNvPr>
          <p:cNvSpPr txBox="1"/>
          <p:nvPr/>
        </p:nvSpPr>
        <p:spPr>
          <a:xfrm>
            <a:off x="5139111" y="2493500"/>
            <a:ext cx="208012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600" b="1" dirty="0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utput </a:t>
            </a:r>
            <a:br>
              <a:rPr lang="de-DE" sz="1600" b="1" dirty="0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de-DE" sz="1600" b="1" dirty="0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erkaufen</a:t>
            </a:r>
            <a:endParaRPr lang="en-US" sz="1600" b="1" dirty="0">
              <a:solidFill>
                <a:srgbClr val="FF0000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08" name="Textfeld 107">
            <a:extLst>
              <a:ext uri="{FF2B5EF4-FFF2-40B4-BE49-F238E27FC236}">
                <a16:creationId xmlns:a16="http://schemas.microsoft.com/office/drawing/2014/main" id="{70739FCF-65F8-46FF-8A51-92402E472712}"/>
              </a:ext>
            </a:extLst>
          </p:cNvPr>
          <p:cNvSpPr txBox="1"/>
          <p:nvPr/>
        </p:nvSpPr>
        <p:spPr>
          <a:xfrm>
            <a:off x="2917957" y="2493500"/>
            <a:ext cx="206520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ermarktbarkeit von</a:t>
            </a:r>
          </a:p>
          <a:p>
            <a:pPr algn="ctr">
              <a:spcBef>
                <a:spcPts val="0"/>
              </a:spcBef>
            </a:pPr>
            <a: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Daten verstehen</a:t>
            </a:r>
            <a:endParaRPr lang="en-US" sz="1600" b="1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09" name="Textfeld 108">
            <a:extLst>
              <a:ext uri="{FF2B5EF4-FFF2-40B4-BE49-F238E27FC236}">
                <a16:creationId xmlns:a16="http://schemas.microsoft.com/office/drawing/2014/main" id="{D2E102A6-60B3-489D-AEB1-2FE520468B93}"/>
              </a:ext>
            </a:extLst>
          </p:cNvPr>
          <p:cNvSpPr txBox="1"/>
          <p:nvPr/>
        </p:nvSpPr>
        <p:spPr>
          <a:xfrm>
            <a:off x="9591676" y="2493500"/>
            <a:ext cx="211348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Zusammenhänge</a:t>
            </a:r>
            <a:b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erkaufen</a:t>
            </a:r>
            <a:endParaRPr lang="en-US" sz="1600" b="1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F91E2481-5B8D-4841-8DD4-D64C7F9C5E48}"/>
              </a:ext>
            </a:extLst>
          </p:cNvPr>
          <p:cNvCxnSpPr/>
          <p:nvPr/>
        </p:nvCxnSpPr>
        <p:spPr bwMode="auto">
          <a:xfrm>
            <a:off x="5045317" y="2265452"/>
            <a:ext cx="0" cy="115200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4" name="Gerader Verbinder 83">
            <a:extLst>
              <a:ext uri="{FF2B5EF4-FFF2-40B4-BE49-F238E27FC236}">
                <a16:creationId xmlns:a16="http://schemas.microsoft.com/office/drawing/2014/main" id="{A1C5AE45-ABD6-4DDB-B44E-FD49ABEE25FD}"/>
              </a:ext>
            </a:extLst>
          </p:cNvPr>
          <p:cNvCxnSpPr/>
          <p:nvPr/>
        </p:nvCxnSpPr>
        <p:spPr bwMode="auto">
          <a:xfrm>
            <a:off x="7276435" y="2265452"/>
            <a:ext cx="0" cy="115200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5" name="Gerader Verbinder 84">
            <a:extLst>
              <a:ext uri="{FF2B5EF4-FFF2-40B4-BE49-F238E27FC236}">
                <a16:creationId xmlns:a16="http://schemas.microsoft.com/office/drawing/2014/main" id="{BBFB5277-BC70-4061-B5B3-812C4B7EE72E}"/>
              </a:ext>
            </a:extLst>
          </p:cNvPr>
          <p:cNvCxnSpPr/>
          <p:nvPr/>
        </p:nvCxnSpPr>
        <p:spPr bwMode="auto">
          <a:xfrm>
            <a:off x="9510133" y="2265452"/>
            <a:ext cx="0" cy="115200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A6054816-C1A0-405E-AAA8-14807835BBED}"/>
              </a:ext>
            </a:extLst>
          </p:cNvPr>
          <p:cNvCxnSpPr>
            <a:cxnSpLocks/>
          </p:cNvCxnSpPr>
          <p:nvPr/>
        </p:nvCxnSpPr>
        <p:spPr bwMode="auto">
          <a:xfrm>
            <a:off x="5045317" y="3568538"/>
            <a:ext cx="0" cy="262800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" name="AutoShape 85">
            <a:extLst>
              <a:ext uri="{FF2B5EF4-FFF2-40B4-BE49-F238E27FC236}">
                <a16:creationId xmlns:a16="http://schemas.microsoft.com/office/drawing/2014/main" id="{8FCEDE55-BD7A-4EC2-AC85-B4E4E135EA7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146192" y="3276600"/>
            <a:ext cx="294289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0" name="TextBox 9">
            <a:extLst>
              <a:ext uri="{FF2B5EF4-FFF2-40B4-BE49-F238E27FC236}">
                <a16:creationId xmlns:a16="http://schemas.microsoft.com/office/drawing/2014/main" id="{9B5E11E1-2059-46A4-B94F-F7F73F221C3F}"/>
              </a:ext>
            </a:extLst>
          </p:cNvPr>
          <p:cNvSpPr txBox="1"/>
          <p:nvPr/>
        </p:nvSpPr>
        <p:spPr>
          <a:xfrm rot="16200000">
            <a:off x="-826514" y="4737670"/>
            <a:ext cx="2618233" cy="288924"/>
          </a:xfrm>
          <a:prstGeom prst="rect">
            <a:avLst/>
          </a:prstGeom>
          <a:solidFill>
            <a:schemeClr val="bg1">
              <a:alpha val="30000"/>
            </a:schemeClr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300"/>
              </a:spcBef>
              <a:buClr>
                <a:schemeClr val="accent1"/>
              </a:buClr>
            </a:pPr>
            <a:r>
              <a:rPr lang="de-DE" sz="14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Bohrmaschine</a:t>
            </a:r>
          </a:p>
        </p:txBody>
      </p:sp>
      <p:sp>
        <p:nvSpPr>
          <p:cNvPr id="53" name="Rectangle 4">
            <a:extLst>
              <a:ext uri="{FF2B5EF4-FFF2-40B4-BE49-F238E27FC236}">
                <a16:creationId xmlns:a16="http://schemas.microsoft.com/office/drawing/2014/main" id="{98855D07-FCFB-405C-880D-DA96675E3342}"/>
              </a:ext>
            </a:extLst>
          </p:cNvPr>
          <p:cNvSpPr/>
          <p:nvPr/>
        </p:nvSpPr>
        <p:spPr bwMode="auto">
          <a:xfrm>
            <a:off x="702457" y="3573016"/>
            <a:ext cx="4280705" cy="583566"/>
          </a:xfrm>
          <a:prstGeom prst="rect">
            <a:avLst/>
          </a:prstGeom>
          <a:solidFill>
            <a:srgbClr val="FFFFFF">
              <a:alpha val="30000"/>
            </a:srgb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n-lt"/>
              </a:rPr>
              <a:t>Klassischer Verkauf</a:t>
            </a:r>
          </a:p>
        </p:txBody>
      </p:sp>
      <p:sp>
        <p:nvSpPr>
          <p:cNvPr id="55" name="Rectangle 4">
            <a:extLst>
              <a:ext uri="{FF2B5EF4-FFF2-40B4-BE49-F238E27FC236}">
                <a16:creationId xmlns:a16="http://schemas.microsoft.com/office/drawing/2014/main" id="{6C58B851-EB0F-4B5A-8B40-4B7D88ACA99B}"/>
              </a:ext>
            </a:extLst>
          </p:cNvPr>
          <p:cNvSpPr/>
          <p:nvPr/>
        </p:nvSpPr>
        <p:spPr bwMode="auto">
          <a:xfrm>
            <a:off x="7359651" y="3568538"/>
            <a:ext cx="2081585" cy="583566"/>
          </a:xfrm>
          <a:prstGeom prst="rect">
            <a:avLst/>
          </a:prstGeom>
          <a:solidFill>
            <a:srgbClr val="FFFFFF">
              <a:alpha val="30000"/>
            </a:srgb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n-lt"/>
              </a:rPr>
              <a:t>Bezahlung </a:t>
            </a:r>
            <a:r>
              <a:rPr lang="de-DE" sz="1400">
                <a:solidFill>
                  <a:schemeClr val="bg1"/>
                </a:solidFill>
                <a:latin typeface="+mn-lt"/>
              </a:rPr>
              <a:t>nach </a:t>
            </a:r>
            <a:br>
              <a:rPr lang="de-DE" sz="1400">
                <a:solidFill>
                  <a:schemeClr val="bg1"/>
                </a:solidFill>
                <a:latin typeface="+mn-lt"/>
              </a:rPr>
            </a:br>
            <a:r>
              <a:rPr lang="de-DE" sz="1400">
                <a:solidFill>
                  <a:schemeClr val="bg1"/>
                </a:solidFill>
                <a:latin typeface="+mn-lt"/>
              </a:rPr>
              <a:t>Leistung</a:t>
            </a:r>
            <a:endParaRPr lang="de-DE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6" name="Rectangle 4">
            <a:extLst>
              <a:ext uri="{FF2B5EF4-FFF2-40B4-BE49-F238E27FC236}">
                <a16:creationId xmlns:a16="http://schemas.microsoft.com/office/drawing/2014/main" id="{79807EB9-3386-4031-8B25-DD54AF94BECC}"/>
              </a:ext>
            </a:extLst>
          </p:cNvPr>
          <p:cNvSpPr/>
          <p:nvPr/>
        </p:nvSpPr>
        <p:spPr bwMode="auto">
          <a:xfrm>
            <a:off x="9591675" y="3568537"/>
            <a:ext cx="2118757" cy="583567"/>
          </a:xfrm>
          <a:prstGeom prst="rect">
            <a:avLst/>
          </a:prstGeom>
          <a:solidFill>
            <a:srgbClr val="FFFFFF">
              <a:alpha val="30000"/>
            </a:srgb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n-lt"/>
              </a:rPr>
              <a:t>Beziehung zwischen Businesspartner</a:t>
            </a:r>
          </a:p>
        </p:txBody>
      </p:sp>
      <p:sp>
        <p:nvSpPr>
          <p:cNvPr id="68" name="Rectangle 4">
            <a:extLst>
              <a:ext uri="{FF2B5EF4-FFF2-40B4-BE49-F238E27FC236}">
                <a16:creationId xmlns:a16="http://schemas.microsoft.com/office/drawing/2014/main" id="{89FE8AEF-F56E-46A4-A216-3EB324D2A429}"/>
              </a:ext>
            </a:extLst>
          </p:cNvPr>
          <p:cNvSpPr/>
          <p:nvPr/>
        </p:nvSpPr>
        <p:spPr bwMode="auto">
          <a:xfrm>
            <a:off x="5139111" y="3573016"/>
            <a:ext cx="2075167" cy="583566"/>
          </a:xfrm>
          <a:prstGeom prst="rect">
            <a:avLst/>
          </a:prstGeom>
          <a:solidFill>
            <a:srgbClr val="FFFFFF">
              <a:alpha val="30000"/>
            </a:srgb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n-lt"/>
              </a:rPr>
              <a:t>Bezahlung bei Nutzung</a:t>
            </a:r>
          </a:p>
        </p:txBody>
      </p:sp>
      <p:sp>
        <p:nvSpPr>
          <p:cNvPr id="52" name="Rectangle 4">
            <a:extLst>
              <a:ext uri="{FF2B5EF4-FFF2-40B4-BE49-F238E27FC236}">
                <a16:creationId xmlns:a16="http://schemas.microsoft.com/office/drawing/2014/main" id="{6FFB61DC-9B7C-4A55-9F71-B1C5D42C6186}"/>
              </a:ext>
            </a:extLst>
          </p:cNvPr>
          <p:cNvSpPr/>
          <p:nvPr/>
        </p:nvSpPr>
        <p:spPr bwMode="auto">
          <a:xfrm>
            <a:off x="702457" y="4327667"/>
            <a:ext cx="4280705" cy="251942"/>
          </a:xfrm>
          <a:prstGeom prst="rect">
            <a:avLst/>
          </a:prstGeom>
          <a:solidFill>
            <a:srgbClr val="FFFFFF">
              <a:alpha val="30000"/>
            </a:srgb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n-lt"/>
              </a:rPr>
              <a:t>Bohrmaschine</a:t>
            </a:r>
          </a:p>
        </p:txBody>
      </p:sp>
      <p:sp>
        <p:nvSpPr>
          <p:cNvPr id="54" name="Rectangle 4">
            <a:extLst>
              <a:ext uri="{FF2B5EF4-FFF2-40B4-BE49-F238E27FC236}">
                <a16:creationId xmlns:a16="http://schemas.microsoft.com/office/drawing/2014/main" id="{F07BF181-1D15-4414-A67A-46B8F6A54A98}"/>
              </a:ext>
            </a:extLst>
          </p:cNvPr>
          <p:cNvSpPr/>
          <p:nvPr/>
        </p:nvSpPr>
        <p:spPr bwMode="auto">
          <a:xfrm>
            <a:off x="702457" y="5939308"/>
            <a:ext cx="4280705" cy="251942"/>
          </a:xfrm>
          <a:prstGeom prst="rect">
            <a:avLst/>
          </a:prstGeom>
          <a:solidFill>
            <a:srgbClr val="FFFFFF">
              <a:alpha val="30000"/>
            </a:srgb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n-lt"/>
              </a:rPr>
              <a:t>Schraube</a:t>
            </a:r>
          </a:p>
        </p:txBody>
      </p:sp>
      <p:sp>
        <p:nvSpPr>
          <p:cNvPr id="58" name="Rectangle 4">
            <a:extLst>
              <a:ext uri="{FF2B5EF4-FFF2-40B4-BE49-F238E27FC236}">
                <a16:creationId xmlns:a16="http://schemas.microsoft.com/office/drawing/2014/main" id="{78B7BD2F-C7E1-404F-9C73-28A846BB0C0F}"/>
              </a:ext>
            </a:extLst>
          </p:cNvPr>
          <p:cNvSpPr/>
          <p:nvPr/>
        </p:nvSpPr>
        <p:spPr bwMode="auto">
          <a:xfrm>
            <a:off x="702457" y="5294651"/>
            <a:ext cx="4280705" cy="251942"/>
          </a:xfrm>
          <a:prstGeom prst="rect">
            <a:avLst/>
          </a:prstGeom>
          <a:solidFill>
            <a:srgbClr val="FFFFFF">
              <a:alpha val="30000"/>
            </a:srgb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n-lt"/>
              </a:rPr>
              <a:t>Dübel</a:t>
            </a:r>
          </a:p>
        </p:txBody>
      </p:sp>
      <p:sp>
        <p:nvSpPr>
          <p:cNvPr id="59" name="Rectangle 4">
            <a:extLst>
              <a:ext uri="{FF2B5EF4-FFF2-40B4-BE49-F238E27FC236}">
                <a16:creationId xmlns:a16="http://schemas.microsoft.com/office/drawing/2014/main" id="{34AB63B5-5A85-40EB-866D-1F3BA7E71E7D}"/>
              </a:ext>
            </a:extLst>
          </p:cNvPr>
          <p:cNvSpPr/>
          <p:nvPr/>
        </p:nvSpPr>
        <p:spPr bwMode="auto">
          <a:xfrm>
            <a:off x="702457" y="5616979"/>
            <a:ext cx="4280705" cy="251942"/>
          </a:xfrm>
          <a:prstGeom prst="rect">
            <a:avLst/>
          </a:prstGeom>
          <a:solidFill>
            <a:srgbClr val="FFFFFF">
              <a:alpha val="30000"/>
            </a:srgb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n-lt"/>
              </a:rPr>
              <a:t>Schraubendreher</a:t>
            </a:r>
          </a:p>
        </p:txBody>
      </p:sp>
      <p:sp>
        <p:nvSpPr>
          <p:cNvPr id="60" name="Rectangle 4">
            <a:extLst>
              <a:ext uri="{FF2B5EF4-FFF2-40B4-BE49-F238E27FC236}">
                <a16:creationId xmlns:a16="http://schemas.microsoft.com/office/drawing/2014/main" id="{10360AF8-2426-4105-8A43-7D9255D96141}"/>
              </a:ext>
            </a:extLst>
          </p:cNvPr>
          <p:cNvSpPr/>
          <p:nvPr/>
        </p:nvSpPr>
        <p:spPr bwMode="auto">
          <a:xfrm>
            <a:off x="702457" y="4649995"/>
            <a:ext cx="4280705" cy="251942"/>
          </a:xfrm>
          <a:prstGeom prst="rect">
            <a:avLst/>
          </a:prstGeom>
          <a:solidFill>
            <a:srgbClr val="FFFFFF">
              <a:alpha val="30000"/>
            </a:srgb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n-lt"/>
              </a:rPr>
              <a:t>Bohrer</a:t>
            </a:r>
          </a:p>
        </p:txBody>
      </p:sp>
      <p:sp>
        <p:nvSpPr>
          <p:cNvPr id="61" name="Rectangle 4">
            <a:extLst>
              <a:ext uri="{FF2B5EF4-FFF2-40B4-BE49-F238E27FC236}">
                <a16:creationId xmlns:a16="http://schemas.microsoft.com/office/drawing/2014/main" id="{1D594311-0F9F-4CF3-9470-78F81EF29BCB}"/>
              </a:ext>
            </a:extLst>
          </p:cNvPr>
          <p:cNvSpPr/>
          <p:nvPr/>
        </p:nvSpPr>
        <p:spPr bwMode="auto">
          <a:xfrm>
            <a:off x="5122980" y="4327667"/>
            <a:ext cx="2091612" cy="583578"/>
          </a:xfrm>
          <a:prstGeom prst="rect">
            <a:avLst/>
          </a:prstGeom>
          <a:solidFill>
            <a:srgbClr val="FFFFFF">
              <a:alpha val="30000"/>
            </a:srgb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n-lt"/>
              </a:rPr>
              <a:t>Bohrloch</a:t>
            </a:r>
          </a:p>
        </p:txBody>
      </p:sp>
      <p:sp>
        <p:nvSpPr>
          <p:cNvPr id="63" name="Rectangle 4">
            <a:extLst>
              <a:ext uri="{FF2B5EF4-FFF2-40B4-BE49-F238E27FC236}">
                <a16:creationId xmlns:a16="http://schemas.microsoft.com/office/drawing/2014/main" id="{5E9E8A9A-DB6F-4E24-86F3-97B389B96F6B}"/>
              </a:ext>
            </a:extLst>
          </p:cNvPr>
          <p:cNvSpPr/>
          <p:nvPr/>
        </p:nvSpPr>
        <p:spPr bwMode="auto">
          <a:xfrm>
            <a:off x="7359650" y="4327667"/>
            <a:ext cx="2081585" cy="1863583"/>
          </a:xfrm>
          <a:prstGeom prst="rect">
            <a:avLst/>
          </a:prstGeom>
          <a:solidFill>
            <a:srgbClr val="FFFFFF">
              <a:alpha val="30000"/>
            </a:srgb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n-lt"/>
              </a:rPr>
              <a:t>Befestigung mit </a:t>
            </a:r>
            <a:br>
              <a:rPr lang="de-DE" sz="1400" dirty="0">
                <a:solidFill>
                  <a:schemeClr val="bg1"/>
                </a:solidFill>
                <a:latin typeface="+mn-lt"/>
              </a:rPr>
            </a:br>
            <a:r>
              <a:rPr lang="de-DE" sz="1400" dirty="0">
                <a:solidFill>
                  <a:schemeClr val="bg1"/>
                </a:solidFill>
                <a:latin typeface="+mn-lt"/>
              </a:rPr>
              <a:t>Tragkraft </a:t>
            </a:r>
            <a:br>
              <a:rPr lang="de-DE" sz="1400" dirty="0">
                <a:solidFill>
                  <a:schemeClr val="bg1"/>
                </a:solidFill>
                <a:latin typeface="+mn-lt"/>
              </a:rPr>
            </a:br>
            <a:r>
              <a:rPr lang="de-DE" sz="1400" dirty="0">
                <a:solidFill>
                  <a:schemeClr val="bg1"/>
                </a:solidFill>
                <a:latin typeface="+mn-lt"/>
              </a:rPr>
              <a:t>x Kilogramm </a:t>
            </a:r>
            <a:br>
              <a:rPr lang="de-DE" sz="1400" dirty="0">
                <a:solidFill>
                  <a:schemeClr val="bg1"/>
                </a:solidFill>
                <a:latin typeface="+mn-lt"/>
              </a:rPr>
            </a:br>
            <a:r>
              <a:rPr lang="de-DE" sz="1400" dirty="0">
                <a:solidFill>
                  <a:schemeClr val="bg1"/>
                </a:solidFill>
                <a:latin typeface="+mn-lt"/>
              </a:rPr>
              <a:t>in Wand </a:t>
            </a:r>
            <a:br>
              <a:rPr lang="de-DE" sz="1400" dirty="0">
                <a:solidFill>
                  <a:schemeClr val="bg1"/>
                </a:solidFill>
                <a:latin typeface="+mn-lt"/>
              </a:rPr>
            </a:br>
            <a:r>
              <a:rPr lang="de-DE" sz="1400" dirty="0">
                <a:solidFill>
                  <a:schemeClr val="bg1"/>
                </a:solidFill>
                <a:latin typeface="+mn-lt"/>
              </a:rPr>
              <a:t>aus Material y</a:t>
            </a:r>
          </a:p>
        </p:txBody>
      </p:sp>
      <p:sp>
        <p:nvSpPr>
          <p:cNvPr id="64" name="Rectangle 4">
            <a:extLst>
              <a:ext uri="{FF2B5EF4-FFF2-40B4-BE49-F238E27FC236}">
                <a16:creationId xmlns:a16="http://schemas.microsoft.com/office/drawing/2014/main" id="{6FA7D9EE-0B3E-43E1-96E5-2C6F66A3B2BF}"/>
              </a:ext>
            </a:extLst>
          </p:cNvPr>
          <p:cNvSpPr/>
          <p:nvPr/>
        </p:nvSpPr>
        <p:spPr bwMode="auto">
          <a:xfrm>
            <a:off x="5127625" y="5616979"/>
            <a:ext cx="2091612" cy="574271"/>
          </a:xfrm>
          <a:prstGeom prst="rect">
            <a:avLst/>
          </a:prstGeom>
          <a:solidFill>
            <a:srgbClr val="FFFFFF">
              <a:alpha val="30000"/>
            </a:srgb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n-lt"/>
              </a:rPr>
              <a:t>Einschrauben</a:t>
            </a:r>
          </a:p>
        </p:txBody>
      </p:sp>
      <p:sp>
        <p:nvSpPr>
          <p:cNvPr id="65" name="Rectangle 4">
            <a:extLst>
              <a:ext uri="{FF2B5EF4-FFF2-40B4-BE49-F238E27FC236}">
                <a16:creationId xmlns:a16="http://schemas.microsoft.com/office/drawing/2014/main" id="{4BEB862A-80A6-41B8-9BB2-CE8B79738B2C}"/>
              </a:ext>
            </a:extLst>
          </p:cNvPr>
          <p:cNvSpPr/>
          <p:nvPr/>
        </p:nvSpPr>
        <p:spPr bwMode="auto">
          <a:xfrm>
            <a:off x="702457" y="4972323"/>
            <a:ext cx="4280705" cy="251942"/>
          </a:xfrm>
          <a:prstGeom prst="rect">
            <a:avLst/>
          </a:prstGeom>
          <a:solidFill>
            <a:srgbClr val="FFFFFF">
              <a:alpha val="30000"/>
            </a:srgb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n-lt"/>
              </a:rPr>
              <a:t>Hammer</a:t>
            </a:r>
          </a:p>
        </p:txBody>
      </p:sp>
      <p:sp>
        <p:nvSpPr>
          <p:cNvPr id="69" name="Rectangle 4">
            <a:extLst>
              <a:ext uri="{FF2B5EF4-FFF2-40B4-BE49-F238E27FC236}">
                <a16:creationId xmlns:a16="http://schemas.microsoft.com/office/drawing/2014/main" id="{B2582E8C-F8C5-4905-AF1D-AAC311AB7CA5}"/>
              </a:ext>
            </a:extLst>
          </p:cNvPr>
          <p:cNvSpPr/>
          <p:nvPr/>
        </p:nvSpPr>
        <p:spPr bwMode="auto">
          <a:xfrm>
            <a:off x="5126344" y="4994894"/>
            <a:ext cx="2091612" cy="551699"/>
          </a:xfrm>
          <a:prstGeom prst="rect">
            <a:avLst/>
          </a:prstGeom>
          <a:solidFill>
            <a:srgbClr val="FFFFFF">
              <a:alpha val="30000"/>
            </a:srgb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n-lt"/>
              </a:rPr>
              <a:t>Dübel in der Wand</a:t>
            </a:r>
          </a:p>
        </p:txBody>
      </p:sp>
      <p:sp>
        <p:nvSpPr>
          <p:cNvPr id="75" name="Rectangle 4">
            <a:extLst>
              <a:ext uri="{FF2B5EF4-FFF2-40B4-BE49-F238E27FC236}">
                <a16:creationId xmlns:a16="http://schemas.microsoft.com/office/drawing/2014/main" id="{DCDCD7DE-1AB6-44FE-B0A1-FF7AECBBEBA1}"/>
              </a:ext>
            </a:extLst>
          </p:cNvPr>
          <p:cNvSpPr/>
          <p:nvPr/>
        </p:nvSpPr>
        <p:spPr bwMode="auto">
          <a:xfrm>
            <a:off x="9591676" y="4327667"/>
            <a:ext cx="2118756" cy="1863583"/>
          </a:xfrm>
          <a:prstGeom prst="rect">
            <a:avLst/>
          </a:prstGeom>
          <a:solidFill>
            <a:srgbClr val="FFFFFF">
              <a:alpha val="30000"/>
            </a:srgb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n-lt"/>
              </a:rPr>
              <a:t>Schaffen eines Bedarfsnetzwerks</a:t>
            </a:r>
          </a:p>
          <a:p>
            <a:pPr algn="ctr"/>
            <a:r>
              <a:rPr lang="de-DE" sz="1400" dirty="0">
                <a:solidFill>
                  <a:schemeClr val="bg1"/>
                </a:solidFill>
                <a:latin typeface="+mn-lt"/>
              </a:rPr>
              <a:t>Generieren von Wissen und Zusammenhängen = Geschäft</a:t>
            </a:r>
          </a:p>
        </p:txBody>
      </p:sp>
      <p:cxnSp>
        <p:nvCxnSpPr>
          <p:cNvPr id="78" name="Gerader Verbinder 77">
            <a:extLst>
              <a:ext uri="{FF2B5EF4-FFF2-40B4-BE49-F238E27FC236}">
                <a16:creationId xmlns:a16="http://schemas.microsoft.com/office/drawing/2014/main" id="{2E2FC026-0116-4ECD-9560-624BEA1D2793}"/>
              </a:ext>
            </a:extLst>
          </p:cNvPr>
          <p:cNvCxnSpPr>
            <a:cxnSpLocks/>
          </p:cNvCxnSpPr>
          <p:nvPr/>
        </p:nvCxnSpPr>
        <p:spPr bwMode="auto">
          <a:xfrm>
            <a:off x="7276435" y="3568538"/>
            <a:ext cx="0" cy="262800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6566699A-E27A-4B7A-8DFD-2198EC3D081B}"/>
              </a:ext>
            </a:extLst>
          </p:cNvPr>
          <p:cNvCxnSpPr>
            <a:cxnSpLocks/>
          </p:cNvCxnSpPr>
          <p:nvPr/>
        </p:nvCxnSpPr>
        <p:spPr bwMode="auto">
          <a:xfrm>
            <a:off x="9510133" y="3568538"/>
            <a:ext cx="0" cy="262800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1" name="Arrow: Chevron 102">
            <a:extLst>
              <a:ext uri="{FF2B5EF4-FFF2-40B4-BE49-F238E27FC236}">
                <a16:creationId xmlns:a16="http://schemas.microsoft.com/office/drawing/2014/main" id="{1EF9B6AD-1D28-406B-A7A3-D6F8EA49AFD1}"/>
              </a:ext>
            </a:extLst>
          </p:cNvPr>
          <p:cNvSpPr/>
          <p:nvPr/>
        </p:nvSpPr>
        <p:spPr bwMode="auto">
          <a:xfrm>
            <a:off x="615571" y="1585095"/>
            <a:ext cx="2265742" cy="485888"/>
          </a:xfrm>
          <a:prstGeom prst="chevron">
            <a:avLst>
              <a:gd name="adj" fmla="val 21085"/>
            </a:avLst>
          </a:prstGeom>
          <a:solidFill>
            <a:srgbClr val="00646E"/>
          </a:solidFill>
          <a:ln w="12700">
            <a:solidFill>
              <a:srgbClr val="FFFFFF"/>
            </a:solidFill>
          </a:ln>
          <a:effectLst/>
        </p:spPr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>
                <a:solidFill>
                  <a:schemeClr val="bg1"/>
                </a:solidFill>
                <a:latin typeface="+mn-lt"/>
              </a:rPr>
              <a:t>IoTize Produkt</a:t>
            </a:r>
          </a:p>
        </p:txBody>
      </p:sp>
      <p:sp>
        <p:nvSpPr>
          <p:cNvPr id="82" name="Arrow: Chevron 104">
            <a:extLst>
              <a:ext uri="{FF2B5EF4-FFF2-40B4-BE49-F238E27FC236}">
                <a16:creationId xmlns:a16="http://schemas.microsoft.com/office/drawing/2014/main" id="{8DC6B091-B319-4FC3-A7B9-B795467440EC}"/>
              </a:ext>
            </a:extLst>
          </p:cNvPr>
          <p:cNvSpPr/>
          <p:nvPr/>
        </p:nvSpPr>
        <p:spPr bwMode="auto">
          <a:xfrm>
            <a:off x="2836725" y="1585095"/>
            <a:ext cx="2265742" cy="485888"/>
          </a:xfrm>
          <a:prstGeom prst="chevron">
            <a:avLst>
              <a:gd name="adj" fmla="val 22556"/>
            </a:avLst>
          </a:prstGeom>
          <a:solidFill>
            <a:srgbClr val="00646E"/>
          </a:solidFill>
          <a:ln w="12700">
            <a:solidFill>
              <a:srgbClr val="FFFFFF"/>
            </a:solidFill>
          </a:ln>
          <a:effectLst/>
        </p:spPr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>
                <a:solidFill>
                  <a:schemeClr val="bg1"/>
                </a:solidFill>
                <a:latin typeface="+mn-lt"/>
              </a:rPr>
              <a:t>Produkt Service Systeme (PSS)</a:t>
            </a:r>
          </a:p>
        </p:txBody>
      </p:sp>
      <p:sp>
        <p:nvSpPr>
          <p:cNvPr id="88" name="Arrow: Chevron 114">
            <a:extLst>
              <a:ext uri="{FF2B5EF4-FFF2-40B4-BE49-F238E27FC236}">
                <a16:creationId xmlns:a16="http://schemas.microsoft.com/office/drawing/2014/main" id="{22AA2585-10D8-4A71-A0FA-C409FC47D2A4}"/>
              </a:ext>
            </a:extLst>
          </p:cNvPr>
          <p:cNvSpPr/>
          <p:nvPr/>
        </p:nvSpPr>
        <p:spPr bwMode="auto">
          <a:xfrm>
            <a:off x="5057879" y="1585095"/>
            <a:ext cx="2263144" cy="485888"/>
          </a:xfrm>
          <a:prstGeom prst="chevron">
            <a:avLst>
              <a:gd name="adj" fmla="val 22555"/>
            </a:avLst>
          </a:prstGeom>
          <a:solidFill>
            <a:srgbClr val="00646E"/>
          </a:solidFill>
          <a:ln w="12700">
            <a:solidFill>
              <a:srgbClr val="FFFFFF"/>
            </a:solidFill>
          </a:ln>
          <a:effectLst/>
        </p:spPr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>
                <a:solidFill>
                  <a:schemeClr val="bg1"/>
                </a:solidFill>
                <a:latin typeface="+mn-lt"/>
              </a:rPr>
              <a:t>Produkt als Service (XaaS)</a:t>
            </a:r>
          </a:p>
        </p:txBody>
      </p:sp>
      <p:sp>
        <p:nvSpPr>
          <p:cNvPr id="89" name="Arrow: Chevron 115">
            <a:extLst>
              <a:ext uri="{FF2B5EF4-FFF2-40B4-BE49-F238E27FC236}">
                <a16:creationId xmlns:a16="http://schemas.microsoft.com/office/drawing/2014/main" id="{B8AE1DDB-2D63-45E8-AEF9-D0725FBCDD06}"/>
              </a:ext>
            </a:extLst>
          </p:cNvPr>
          <p:cNvSpPr/>
          <p:nvPr/>
        </p:nvSpPr>
        <p:spPr bwMode="auto">
          <a:xfrm>
            <a:off x="7276435" y="1585095"/>
            <a:ext cx="2277275" cy="485888"/>
          </a:xfrm>
          <a:prstGeom prst="chevron">
            <a:avLst>
              <a:gd name="adj" fmla="val 22065"/>
            </a:avLst>
          </a:prstGeom>
          <a:solidFill>
            <a:srgbClr val="00646E"/>
          </a:solidFill>
          <a:ln w="12700">
            <a:solidFill>
              <a:srgbClr val="FFFFFF"/>
            </a:solidFill>
          </a:ln>
          <a:effectLst/>
        </p:spPr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>
                <a:solidFill>
                  <a:schemeClr val="bg1"/>
                </a:solidFill>
                <a:latin typeface="+mn-lt"/>
              </a:rPr>
              <a:t>XaaS + Leistung</a:t>
            </a:r>
          </a:p>
        </p:txBody>
      </p:sp>
      <p:sp>
        <p:nvSpPr>
          <p:cNvPr id="90" name="Arrow: Chevron 116">
            <a:extLst>
              <a:ext uri="{FF2B5EF4-FFF2-40B4-BE49-F238E27FC236}">
                <a16:creationId xmlns:a16="http://schemas.microsoft.com/office/drawing/2014/main" id="{5DF6C95D-2244-4FC7-9FFE-A8577DF80095}"/>
              </a:ext>
            </a:extLst>
          </p:cNvPr>
          <p:cNvSpPr/>
          <p:nvPr/>
        </p:nvSpPr>
        <p:spPr bwMode="auto">
          <a:xfrm>
            <a:off x="9509123" y="1585095"/>
            <a:ext cx="2220507" cy="485888"/>
          </a:xfrm>
          <a:prstGeom prst="chevron">
            <a:avLst>
              <a:gd name="adj" fmla="val 19942"/>
            </a:avLst>
          </a:prstGeom>
          <a:solidFill>
            <a:srgbClr val="004C54"/>
          </a:solidFill>
          <a:ln w="12700">
            <a:solidFill>
              <a:srgbClr val="FFFFFF"/>
            </a:solidFill>
          </a:ln>
          <a:effectLst/>
        </p:spPr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>
                <a:solidFill>
                  <a:schemeClr val="bg1"/>
                </a:solidFill>
                <a:latin typeface="+mn-lt"/>
              </a:rPr>
              <a:t>Eco-Syste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37941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43DC290-2C3E-4B4D-A7BC-A8B352A79C97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5" name="think-cell Folie" r:id="rId7" imgW="622" imgH="623" progId="TCLayout.ActiveDocument.1">
                  <p:embed/>
                </p:oleObj>
              </mc:Choice>
              <mc:Fallback>
                <p:oleObj name="think-cell Folie" r:id="rId7" imgW="622" imgH="62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43DC290-2C3E-4B4D-A7BC-A8B352A79C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64C8CD95-A7A6-4FCB-BA87-E46E28A14526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400" b="1" dirty="0" err="1"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3D721320-748B-4018-9154-C685F77CE06A}"/>
              </a:ext>
            </a:extLst>
          </p:cNvPr>
          <p:cNvSpPr/>
          <p:nvPr/>
        </p:nvSpPr>
        <p:spPr bwMode="auto">
          <a:xfrm>
            <a:off x="9522694" y="5412729"/>
            <a:ext cx="2177412" cy="251942"/>
          </a:xfrm>
          <a:prstGeom prst="rect">
            <a:avLst/>
          </a:prstGeom>
          <a:solidFill>
            <a:srgbClr val="AAB414"/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n-lt"/>
              </a:rPr>
              <a:t>Vermittlungsgebühr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9163CFD-A0DD-4152-9AD2-7D2526FA14FE}"/>
              </a:ext>
            </a:extLst>
          </p:cNvPr>
          <p:cNvCxnSpPr>
            <a:cxnSpLocks/>
          </p:cNvCxnSpPr>
          <p:nvPr/>
        </p:nvCxnSpPr>
        <p:spPr bwMode="auto">
          <a:xfrm>
            <a:off x="350714" y="4224511"/>
            <a:ext cx="11353577" cy="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619B5E0C-6C60-4B94-AA71-CCF99F751E3F}"/>
              </a:ext>
            </a:extLst>
          </p:cNvPr>
          <p:cNvSpPr txBox="1"/>
          <p:nvPr/>
        </p:nvSpPr>
        <p:spPr>
          <a:xfrm rot="16200000">
            <a:off x="-204778" y="4852011"/>
            <a:ext cx="1398984" cy="288000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300"/>
              </a:spcBef>
              <a:buClr>
                <a:schemeClr val="accent1"/>
              </a:buClr>
            </a:pPr>
            <a:r>
              <a:rPr lang="de-DE" sz="140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onetarisierung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98C4420F-67FA-40E5-90E1-74EAB63F721C}"/>
              </a:ext>
            </a:extLst>
          </p:cNvPr>
          <p:cNvSpPr txBox="1"/>
          <p:nvPr/>
        </p:nvSpPr>
        <p:spPr>
          <a:xfrm rot="16200000">
            <a:off x="-464478" y="3068192"/>
            <a:ext cx="1886941" cy="256554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300"/>
              </a:spcBef>
              <a:buClr>
                <a:schemeClr val="accent1"/>
              </a:buClr>
            </a:pPr>
            <a:r>
              <a:rPr lang="de-DE" sz="1400" dirty="0">
                <a:solidFill>
                  <a:schemeClr val="accent3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mart Finance</a:t>
            </a:r>
          </a:p>
        </p:txBody>
      </p:sp>
      <p:sp>
        <p:nvSpPr>
          <p:cNvPr id="103" name="Arrow: Chevron 102">
            <a:extLst>
              <a:ext uri="{FF2B5EF4-FFF2-40B4-BE49-F238E27FC236}">
                <a16:creationId xmlns:a16="http://schemas.microsoft.com/office/drawing/2014/main" id="{2D360368-8E50-4AB7-9E46-5EA11BEE7CA8}"/>
              </a:ext>
            </a:extLst>
          </p:cNvPr>
          <p:cNvSpPr/>
          <p:nvPr/>
        </p:nvSpPr>
        <p:spPr bwMode="auto">
          <a:xfrm>
            <a:off x="615571" y="1585095"/>
            <a:ext cx="2265742" cy="485888"/>
          </a:xfrm>
          <a:prstGeom prst="chevron">
            <a:avLst>
              <a:gd name="adj" fmla="val 21085"/>
            </a:avLst>
          </a:prstGeom>
          <a:solidFill>
            <a:srgbClr val="00646E"/>
          </a:solidFill>
          <a:ln w="12700">
            <a:solidFill>
              <a:srgbClr val="FFFFFF"/>
            </a:solidFill>
          </a:ln>
          <a:effectLst/>
        </p:spPr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>
                <a:solidFill>
                  <a:schemeClr val="bg1"/>
                </a:solidFill>
                <a:latin typeface="+mn-lt"/>
              </a:rPr>
              <a:t>IoTize Produkt</a:t>
            </a:r>
          </a:p>
        </p:txBody>
      </p:sp>
      <p:sp>
        <p:nvSpPr>
          <p:cNvPr id="105" name="Arrow: Chevron 104">
            <a:extLst>
              <a:ext uri="{FF2B5EF4-FFF2-40B4-BE49-F238E27FC236}">
                <a16:creationId xmlns:a16="http://schemas.microsoft.com/office/drawing/2014/main" id="{36FE82BF-7597-407C-AEC6-9D94C67B01DC}"/>
              </a:ext>
            </a:extLst>
          </p:cNvPr>
          <p:cNvSpPr/>
          <p:nvPr/>
        </p:nvSpPr>
        <p:spPr bwMode="auto">
          <a:xfrm>
            <a:off x="2836725" y="1585095"/>
            <a:ext cx="2265742" cy="485888"/>
          </a:xfrm>
          <a:prstGeom prst="chevron">
            <a:avLst>
              <a:gd name="adj" fmla="val 22556"/>
            </a:avLst>
          </a:prstGeom>
          <a:solidFill>
            <a:srgbClr val="00646E"/>
          </a:solidFill>
          <a:ln w="12700">
            <a:solidFill>
              <a:srgbClr val="FFFFFF"/>
            </a:solidFill>
          </a:ln>
          <a:effectLst/>
        </p:spPr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>
                <a:solidFill>
                  <a:schemeClr val="bg1"/>
                </a:solidFill>
                <a:latin typeface="+mn-lt"/>
              </a:rPr>
              <a:t>Produkt Service Systeme (PSS)</a:t>
            </a:r>
          </a:p>
        </p:txBody>
      </p:sp>
      <p:sp>
        <p:nvSpPr>
          <p:cNvPr id="115" name="Arrow: Chevron 114">
            <a:extLst>
              <a:ext uri="{FF2B5EF4-FFF2-40B4-BE49-F238E27FC236}">
                <a16:creationId xmlns:a16="http://schemas.microsoft.com/office/drawing/2014/main" id="{D99B6183-9F33-4F1E-AFD7-1C0E6329727C}"/>
              </a:ext>
            </a:extLst>
          </p:cNvPr>
          <p:cNvSpPr/>
          <p:nvPr/>
        </p:nvSpPr>
        <p:spPr bwMode="auto">
          <a:xfrm>
            <a:off x="5057879" y="1585095"/>
            <a:ext cx="2263144" cy="485888"/>
          </a:xfrm>
          <a:prstGeom prst="chevron">
            <a:avLst>
              <a:gd name="adj" fmla="val 22555"/>
            </a:avLst>
          </a:prstGeom>
          <a:solidFill>
            <a:srgbClr val="00646E"/>
          </a:solidFill>
          <a:ln w="12700">
            <a:solidFill>
              <a:srgbClr val="FFFFFF"/>
            </a:solidFill>
          </a:ln>
          <a:effectLst/>
        </p:spPr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>
                <a:solidFill>
                  <a:schemeClr val="bg1"/>
                </a:solidFill>
                <a:latin typeface="+mn-lt"/>
              </a:rPr>
              <a:t>Produkt als Service (XaaS)</a:t>
            </a:r>
          </a:p>
        </p:txBody>
      </p:sp>
      <p:sp>
        <p:nvSpPr>
          <p:cNvPr id="116" name="Arrow: Chevron 115">
            <a:extLst>
              <a:ext uri="{FF2B5EF4-FFF2-40B4-BE49-F238E27FC236}">
                <a16:creationId xmlns:a16="http://schemas.microsoft.com/office/drawing/2014/main" id="{E331605E-923B-43AE-B61B-940A95D58B86}"/>
              </a:ext>
            </a:extLst>
          </p:cNvPr>
          <p:cNvSpPr/>
          <p:nvPr/>
        </p:nvSpPr>
        <p:spPr bwMode="auto">
          <a:xfrm>
            <a:off x="7276435" y="1585095"/>
            <a:ext cx="2277275" cy="485888"/>
          </a:xfrm>
          <a:prstGeom prst="chevron">
            <a:avLst>
              <a:gd name="adj" fmla="val 22065"/>
            </a:avLst>
          </a:prstGeom>
          <a:solidFill>
            <a:srgbClr val="00646E"/>
          </a:solidFill>
          <a:ln w="12700">
            <a:solidFill>
              <a:srgbClr val="FFFFFF"/>
            </a:solidFill>
          </a:ln>
          <a:effectLst/>
        </p:spPr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>
                <a:solidFill>
                  <a:schemeClr val="bg1"/>
                </a:solidFill>
                <a:latin typeface="+mn-lt"/>
              </a:rPr>
              <a:t>XaaS + Leistung</a:t>
            </a:r>
          </a:p>
        </p:txBody>
      </p:sp>
      <p:sp>
        <p:nvSpPr>
          <p:cNvPr id="117" name="Arrow: Chevron 116">
            <a:extLst>
              <a:ext uri="{FF2B5EF4-FFF2-40B4-BE49-F238E27FC236}">
                <a16:creationId xmlns:a16="http://schemas.microsoft.com/office/drawing/2014/main" id="{6D8CED11-6797-4713-8F77-B38108FCCE25}"/>
              </a:ext>
            </a:extLst>
          </p:cNvPr>
          <p:cNvSpPr/>
          <p:nvPr/>
        </p:nvSpPr>
        <p:spPr bwMode="auto">
          <a:xfrm>
            <a:off x="9509123" y="1585095"/>
            <a:ext cx="2220507" cy="485888"/>
          </a:xfrm>
          <a:prstGeom prst="chevron">
            <a:avLst>
              <a:gd name="adj" fmla="val 19942"/>
            </a:avLst>
          </a:prstGeom>
          <a:solidFill>
            <a:srgbClr val="004C54"/>
          </a:solidFill>
          <a:ln w="12700">
            <a:solidFill>
              <a:srgbClr val="FFFFFF"/>
            </a:solidFill>
          </a:ln>
          <a:effectLst/>
        </p:spPr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>
                <a:solidFill>
                  <a:schemeClr val="bg1"/>
                </a:solidFill>
                <a:latin typeface="+mn-lt"/>
              </a:rPr>
              <a:t>Eco-System</a:t>
            </a:r>
          </a:p>
        </p:txBody>
      </p:sp>
      <p:cxnSp>
        <p:nvCxnSpPr>
          <p:cNvPr id="91" name="Straight Connector 6">
            <a:extLst>
              <a:ext uri="{FF2B5EF4-FFF2-40B4-BE49-F238E27FC236}">
                <a16:creationId xmlns:a16="http://schemas.microsoft.com/office/drawing/2014/main" id="{9B795093-F7B4-4E62-9A95-EEC5B99F8155}"/>
              </a:ext>
            </a:extLst>
          </p:cNvPr>
          <p:cNvCxnSpPr>
            <a:cxnSpLocks/>
          </p:cNvCxnSpPr>
          <p:nvPr/>
        </p:nvCxnSpPr>
        <p:spPr bwMode="auto">
          <a:xfrm>
            <a:off x="350714" y="5767511"/>
            <a:ext cx="11353577" cy="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7" name="Straight Connector 6">
            <a:extLst>
              <a:ext uri="{FF2B5EF4-FFF2-40B4-BE49-F238E27FC236}">
                <a16:creationId xmlns:a16="http://schemas.microsoft.com/office/drawing/2014/main" id="{05874066-7DE0-4481-A3D4-8513C7CF115C}"/>
              </a:ext>
            </a:extLst>
          </p:cNvPr>
          <p:cNvCxnSpPr>
            <a:cxnSpLocks/>
          </p:cNvCxnSpPr>
          <p:nvPr/>
        </p:nvCxnSpPr>
        <p:spPr bwMode="auto">
          <a:xfrm>
            <a:off x="350714" y="2186237"/>
            <a:ext cx="11353577" cy="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8C9F73D3-BE8A-49E9-A81D-9B728EDD65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t Smart Finance die richtigen Lösungen im digitalen Reifeprozess</a:t>
            </a:r>
            <a:br>
              <a:rPr lang="de-DE" dirty="0"/>
            </a:b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58985445-52D1-4E7A-862F-8CCBE111CC88}"/>
              </a:ext>
            </a:extLst>
          </p:cNvPr>
          <p:cNvCxnSpPr/>
          <p:nvPr/>
        </p:nvCxnSpPr>
        <p:spPr bwMode="auto">
          <a:xfrm flipH="1">
            <a:off x="2824163" y="4066641"/>
            <a:ext cx="0" cy="169200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A44319A3-42D2-4D6A-A8DB-3BC1A580C00B}"/>
              </a:ext>
            </a:extLst>
          </p:cNvPr>
          <p:cNvCxnSpPr/>
          <p:nvPr/>
        </p:nvCxnSpPr>
        <p:spPr bwMode="auto">
          <a:xfrm>
            <a:off x="2836164" y="2200142"/>
            <a:ext cx="0" cy="389933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4" name="Textfeld 103">
            <a:extLst>
              <a:ext uri="{FF2B5EF4-FFF2-40B4-BE49-F238E27FC236}">
                <a16:creationId xmlns:a16="http://schemas.microsoft.com/office/drawing/2014/main" id="{FDB72972-7369-4AF5-9128-4CA28BF7835A}"/>
              </a:ext>
            </a:extLst>
          </p:cNvPr>
          <p:cNvSpPr txBox="1"/>
          <p:nvPr/>
        </p:nvSpPr>
        <p:spPr>
          <a:xfrm>
            <a:off x="899716" y="2233991"/>
            <a:ext cx="992259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aschine </a:t>
            </a:r>
            <a:b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ist IoT</a:t>
            </a:r>
            <a:endParaRPr lang="en-US" sz="1600" b="1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06" name="Textfeld 105">
            <a:extLst>
              <a:ext uri="{FF2B5EF4-FFF2-40B4-BE49-F238E27FC236}">
                <a16:creationId xmlns:a16="http://schemas.microsoft.com/office/drawing/2014/main" id="{076811EE-6027-4F03-8E79-D7A1975B9727}"/>
              </a:ext>
            </a:extLst>
          </p:cNvPr>
          <p:cNvSpPr txBox="1"/>
          <p:nvPr/>
        </p:nvSpPr>
        <p:spPr>
          <a:xfrm>
            <a:off x="7420864" y="2233991"/>
            <a:ext cx="193864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ehrwert </a:t>
            </a:r>
            <a:b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erkaufen</a:t>
            </a:r>
            <a:endParaRPr lang="en-US" sz="1600" b="1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07" name="Textfeld 106">
            <a:extLst>
              <a:ext uri="{FF2B5EF4-FFF2-40B4-BE49-F238E27FC236}">
                <a16:creationId xmlns:a16="http://schemas.microsoft.com/office/drawing/2014/main" id="{1109524C-F3CD-4F7E-9C56-43C1136C1D46}"/>
              </a:ext>
            </a:extLst>
          </p:cNvPr>
          <p:cNvSpPr txBox="1"/>
          <p:nvPr/>
        </p:nvSpPr>
        <p:spPr>
          <a:xfrm>
            <a:off x="5718336" y="2233991"/>
            <a:ext cx="968214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utput </a:t>
            </a:r>
            <a:b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erkaufen</a:t>
            </a:r>
            <a:endParaRPr lang="en-US" sz="1600" b="1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08" name="Textfeld 107">
            <a:extLst>
              <a:ext uri="{FF2B5EF4-FFF2-40B4-BE49-F238E27FC236}">
                <a16:creationId xmlns:a16="http://schemas.microsoft.com/office/drawing/2014/main" id="{70739FCF-65F8-46FF-8A51-92402E472712}"/>
              </a:ext>
            </a:extLst>
          </p:cNvPr>
          <p:cNvSpPr txBox="1"/>
          <p:nvPr/>
        </p:nvSpPr>
        <p:spPr>
          <a:xfrm>
            <a:off x="2925392" y="2233991"/>
            <a:ext cx="1973169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ermarktbarkeit von</a:t>
            </a:r>
          </a:p>
          <a:p>
            <a:pPr algn="ctr">
              <a:spcBef>
                <a:spcPts val="0"/>
              </a:spcBef>
            </a:pPr>
            <a: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Daten verstehen</a:t>
            </a:r>
            <a:endParaRPr lang="en-US" sz="1600" b="1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09" name="Textfeld 108">
            <a:extLst>
              <a:ext uri="{FF2B5EF4-FFF2-40B4-BE49-F238E27FC236}">
                <a16:creationId xmlns:a16="http://schemas.microsoft.com/office/drawing/2014/main" id="{D2E102A6-60B3-489D-AEB1-2FE520468B93}"/>
              </a:ext>
            </a:extLst>
          </p:cNvPr>
          <p:cNvSpPr txBox="1"/>
          <p:nvPr/>
        </p:nvSpPr>
        <p:spPr>
          <a:xfrm>
            <a:off x="9845990" y="2233991"/>
            <a:ext cx="1684757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Zusammenhänge</a:t>
            </a:r>
            <a:b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de-DE" sz="16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erkaufen</a:t>
            </a:r>
            <a:endParaRPr lang="en-US" sz="1600" b="1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F91E2481-5B8D-4841-8DD4-D64C7F9C5E48}"/>
              </a:ext>
            </a:extLst>
          </p:cNvPr>
          <p:cNvCxnSpPr/>
          <p:nvPr/>
        </p:nvCxnSpPr>
        <p:spPr bwMode="auto">
          <a:xfrm>
            <a:off x="5053384" y="2200142"/>
            <a:ext cx="0" cy="389933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4" name="Gerader Verbinder 83">
            <a:extLst>
              <a:ext uri="{FF2B5EF4-FFF2-40B4-BE49-F238E27FC236}">
                <a16:creationId xmlns:a16="http://schemas.microsoft.com/office/drawing/2014/main" id="{A1C5AE45-ABD6-4DDB-B44E-FD49ABEE25FD}"/>
              </a:ext>
            </a:extLst>
          </p:cNvPr>
          <p:cNvCxnSpPr/>
          <p:nvPr/>
        </p:nvCxnSpPr>
        <p:spPr bwMode="auto">
          <a:xfrm>
            <a:off x="7265898" y="2200142"/>
            <a:ext cx="0" cy="389933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5" name="Gerader Verbinder 84">
            <a:extLst>
              <a:ext uri="{FF2B5EF4-FFF2-40B4-BE49-F238E27FC236}">
                <a16:creationId xmlns:a16="http://schemas.microsoft.com/office/drawing/2014/main" id="{BBFB5277-BC70-4061-B5B3-812C4B7EE72E}"/>
              </a:ext>
            </a:extLst>
          </p:cNvPr>
          <p:cNvCxnSpPr/>
          <p:nvPr/>
        </p:nvCxnSpPr>
        <p:spPr bwMode="auto">
          <a:xfrm>
            <a:off x="9505638" y="2200142"/>
            <a:ext cx="0" cy="389933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A6054816-C1A0-405E-AAA8-14807835BBED}"/>
              </a:ext>
            </a:extLst>
          </p:cNvPr>
          <p:cNvCxnSpPr/>
          <p:nvPr/>
        </p:nvCxnSpPr>
        <p:spPr bwMode="auto">
          <a:xfrm flipH="1">
            <a:off x="5045317" y="4066641"/>
            <a:ext cx="0" cy="169200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A8BD7E18-BD0F-493B-91DF-C1ACE1986E6A}"/>
              </a:ext>
            </a:extLst>
          </p:cNvPr>
          <p:cNvCxnSpPr/>
          <p:nvPr/>
        </p:nvCxnSpPr>
        <p:spPr bwMode="auto">
          <a:xfrm flipH="1">
            <a:off x="7276435" y="4066641"/>
            <a:ext cx="0" cy="169200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9" name="Gerader Verbinder 88">
            <a:extLst>
              <a:ext uri="{FF2B5EF4-FFF2-40B4-BE49-F238E27FC236}">
                <a16:creationId xmlns:a16="http://schemas.microsoft.com/office/drawing/2014/main" id="{AA747BA8-E37E-4348-A944-E7D735E1A8C3}"/>
              </a:ext>
            </a:extLst>
          </p:cNvPr>
          <p:cNvCxnSpPr/>
          <p:nvPr/>
        </p:nvCxnSpPr>
        <p:spPr bwMode="auto">
          <a:xfrm flipH="1">
            <a:off x="9510133" y="4066641"/>
            <a:ext cx="0" cy="169200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4" name="Rectangle 93">
            <a:extLst>
              <a:ext uri="{FF2B5EF4-FFF2-40B4-BE49-F238E27FC236}">
                <a16:creationId xmlns:a16="http://schemas.microsoft.com/office/drawing/2014/main" id="{AE11B1F9-7922-49C3-8318-131DB8E1FE2C}"/>
              </a:ext>
            </a:extLst>
          </p:cNvPr>
          <p:cNvSpPr/>
          <p:nvPr/>
        </p:nvSpPr>
        <p:spPr bwMode="auto">
          <a:xfrm>
            <a:off x="2836077" y="4655968"/>
            <a:ext cx="8866622" cy="251942"/>
          </a:xfrm>
          <a:prstGeom prst="rect">
            <a:avLst/>
          </a:prstGeom>
          <a:solidFill>
            <a:srgbClr val="AAB414"/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n-lt"/>
              </a:rPr>
              <a:t>Nutzungs- / Abonnement-Gebühren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3484F935-D7BA-40B8-82CF-FE0045297939}"/>
              </a:ext>
            </a:extLst>
          </p:cNvPr>
          <p:cNvSpPr/>
          <p:nvPr/>
        </p:nvSpPr>
        <p:spPr bwMode="auto">
          <a:xfrm>
            <a:off x="7265898" y="5015417"/>
            <a:ext cx="4436803" cy="289805"/>
          </a:xfrm>
          <a:prstGeom prst="rect">
            <a:avLst/>
          </a:prstGeom>
          <a:solidFill>
            <a:srgbClr val="AAB414"/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n-lt"/>
              </a:rPr>
              <a:t>Mehrwert- /Leistungsabhängige Gebühre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2469CD3-BE07-4F83-B45B-9E66B8E1DCD9}"/>
              </a:ext>
            </a:extLst>
          </p:cNvPr>
          <p:cNvSpPr/>
          <p:nvPr/>
        </p:nvSpPr>
        <p:spPr bwMode="auto">
          <a:xfrm>
            <a:off x="751398" y="4296519"/>
            <a:ext cx="4301985" cy="251942"/>
          </a:xfrm>
          <a:prstGeom prst="rect">
            <a:avLst/>
          </a:prstGeom>
          <a:solidFill>
            <a:srgbClr val="AAB414"/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>
                <a:solidFill>
                  <a:schemeClr val="bg1"/>
                </a:solidFill>
                <a:latin typeface="+mn-lt"/>
              </a:rPr>
              <a:t>Klassischer Produktverkauf</a:t>
            </a:r>
          </a:p>
        </p:txBody>
      </p:sp>
      <p:sp>
        <p:nvSpPr>
          <p:cNvPr id="75" name="Scrollen: horizontal 74">
            <a:extLst>
              <a:ext uri="{FF2B5EF4-FFF2-40B4-BE49-F238E27FC236}">
                <a16:creationId xmlns:a16="http://schemas.microsoft.com/office/drawing/2014/main" id="{A4B7554B-BD6F-40D8-8218-56FC0A44D66C}"/>
              </a:ext>
            </a:extLst>
          </p:cNvPr>
          <p:cNvSpPr/>
          <p:nvPr/>
        </p:nvSpPr>
        <p:spPr bwMode="auto">
          <a:xfrm>
            <a:off x="2074645" y="2937551"/>
            <a:ext cx="1438237" cy="843528"/>
          </a:xfrm>
          <a:prstGeom prst="horizontalScroll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Leasing,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ietkauf,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Forderungsankauf,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Finetrading, Kredit</a:t>
            </a:r>
          </a:p>
        </p:txBody>
      </p:sp>
      <p:sp>
        <p:nvSpPr>
          <p:cNvPr id="76" name="Scrollen: horizontal 75">
            <a:extLst>
              <a:ext uri="{FF2B5EF4-FFF2-40B4-BE49-F238E27FC236}">
                <a16:creationId xmlns:a16="http://schemas.microsoft.com/office/drawing/2014/main" id="{9C85C437-637E-4861-882E-C0FDBAA262EC}"/>
              </a:ext>
            </a:extLst>
          </p:cNvPr>
          <p:cNvSpPr/>
          <p:nvPr/>
        </p:nvSpPr>
        <p:spPr bwMode="auto">
          <a:xfrm>
            <a:off x="5414594" y="2937551"/>
            <a:ext cx="1438237" cy="843528"/>
          </a:xfrm>
          <a:prstGeom prst="horizontalScroll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iete,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anaged Services</a:t>
            </a:r>
          </a:p>
        </p:txBody>
      </p:sp>
      <p:sp>
        <p:nvSpPr>
          <p:cNvPr id="77" name="Scrollen: horizontal 76">
            <a:extLst>
              <a:ext uri="{FF2B5EF4-FFF2-40B4-BE49-F238E27FC236}">
                <a16:creationId xmlns:a16="http://schemas.microsoft.com/office/drawing/2014/main" id="{57E4479D-C225-4967-9F39-490BE13CDF45}"/>
              </a:ext>
            </a:extLst>
          </p:cNvPr>
          <p:cNvSpPr/>
          <p:nvPr/>
        </p:nvSpPr>
        <p:spPr bwMode="auto">
          <a:xfrm>
            <a:off x="7620675" y="2937551"/>
            <a:ext cx="1538999" cy="843528"/>
          </a:xfrm>
          <a:prstGeom prst="horizontalScroll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mart Performance Finance “Pay per Use”</a:t>
            </a:r>
            <a:br>
              <a:rPr lang="de-DE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de-DE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anaged Services</a:t>
            </a:r>
          </a:p>
        </p:txBody>
      </p:sp>
      <p:sp>
        <p:nvSpPr>
          <p:cNvPr id="78" name="Scrollen: horizontal 77">
            <a:extLst>
              <a:ext uri="{FF2B5EF4-FFF2-40B4-BE49-F238E27FC236}">
                <a16:creationId xmlns:a16="http://schemas.microsoft.com/office/drawing/2014/main" id="{D5454293-B340-4F68-BA60-21DD13197CF9}"/>
              </a:ext>
            </a:extLst>
          </p:cNvPr>
          <p:cNvSpPr/>
          <p:nvPr/>
        </p:nvSpPr>
        <p:spPr bwMode="auto">
          <a:xfrm>
            <a:off x="9853362" y="2937551"/>
            <a:ext cx="1438237" cy="843528"/>
          </a:xfrm>
          <a:prstGeom prst="horizontalScroll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Kredit,</a:t>
            </a:r>
            <a:br>
              <a:rPr lang="de-DE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de-DE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quity Finance,</a:t>
            </a:r>
            <a:br>
              <a:rPr lang="de-DE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de-DE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next47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5184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1" fill="hold">
                      <p:stCondLst>
                        <p:cond delay="indefinite"/>
                      </p:stCondLst>
                      <p:childTnLst>
                        <p:par>
                          <p:cTn id="122" fill="hold">
                            <p:stCondLst>
                              <p:cond delay="0"/>
                            </p:stCondLst>
                            <p:childTnLst>
                              <p:par>
                                <p:cTn id="1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9" grpId="0" animBg="1"/>
      <p:bldP spid="10" grpId="0" animBg="1"/>
      <p:bldP spid="100" grpId="0" animBg="1"/>
      <p:bldP spid="103" grpId="0" animBg="1"/>
      <p:bldP spid="105" grpId="0" animBg="1"/>
      <p:bldP spid="115" grpId="0" animBg="1"/>
      <p:bldP spid="116" grpId="0" animBg="1"/>
      <p:bldP spid="117" grpId="0" animBg="1"/>
      <p:bldP spid="3" grpId="0"/>
      <p:bldP spid="104" grpId="0"/>
      <p:bldP spid="106" grpId="0"/>
      <p:bldP spid="107" grpId="0"/>
      <p:bldP spid="108" grpId="0"/>
      <p:bldP spid="109" grpId="0"/>
      <p:bldP spid="94" grpId="0" animBg="1"/>
      <p:bldP spid="98" grpId="0" animBg="1"/>
      <p:bldP spid="5" grpId="0" animBg="1"/>
      <p:bldP spid="75" grpId="0" animBg="1"/>
      <p:bldP spid="76" grpId="0" animBg="1"/>
      <p:bldP spid="77" grpId="0" animBg="1"/>
      <p:bldP spid="78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de-DE" sz="2200" b="1" dirty="0">
              <a:solidFill>
                <a:schemeClr val="tx1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unden wünschen </a:t>
            </a:r>
            <a:br>
              <a:rPr lang="de-DE" dirty="0"/>
            </a:br>
            <a:r>
              <a:rPr lang="de-DE" dirty="0"/>
              <a:t>statt Bezahlen bei Lieferung den Finanzplan bei Nutzung</a:t>
            </a:r>
            <a:endParaRPr lang="en-US" dirty="0"/>
          </a:p>
        </p:txBody>
      </p:sp>
      <p:sp>
        <p:nvSpPr>
          <p:cNvPr id="67" name="TextBox 49">
            <a:extLst>
              <a:ext uri="{FF2B5EF4-FFF2-40B4-BE49-F238E27FC236}">
                <a16:creationId xmlns:a16="http://schemas.microsoft.com/office/drawing/2014/main" id="{2736BA44-AEA0-40D6-A290-C12F787E8E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5073" y="1441450"/>
            <a:ext cx="535899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 anchorCtr="0">
            <a:spAutoFit/>
          </a:bodyPr>
          <a:lstStyle>
            <a:defPPr>
              <a:defRPr lang="de-DE"/>
            </a:defPPr>
            <a:lvl1pPr>
              <a:buClr>
                <a:srgbClr val="879BAA"/>
              </a:buClr>
              <a:defRPr sz="2200" b="0">
                <a:solidFill>
                  <a:srgbClr val="41AAAA"/>
                </a:solidFill>
              </a:defRPr>
            </a:lvl1pPr>
          </a:lstStyle>
          <a:p>
            <a:r>
              <a:rPr lang="de-DE" dirty="0">
                <a:solidFill>
                  <a:srgbClr val="A5E1E1"/>
                </a:solidFill>
              </a:rPr>
              <a:t>… so war es gestern</a:t>
            </a:r>
          </a:p>
        </p:txBody>
      </p:sp>
      <p:sp>
        <p:nvSpPr>
          <p:cNvPr id="68" name="TextBox 49">
            <a:extLst>
              <a:ext uri="{FF2B5EF4-FFF2-40B4-BE49-F238E27FC236}">
                <a16:creationId xmlns:a16="http://schemas.microsoft.com/office/drawing/2014/main" id="{6D7A76F4-20FC-4290-8610-9453ED1520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54066" y="1441450"/>
            <a:ext cx="535899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 anchorCtr="0">
            <a:spAutoFit/>
          </a:bodyPr>
          <a:lstStyle>
            <a:defPPr>
              <a:defRPr lang="de-DE"/>
            </a:defPPr>
            <a:lvl1pPr>
              <a:buClr>
                <a:srgbClr val="879BAA"/>
              </a:buClr>
              <a:defRPr sz="2200" b="0">
                <a:solidFill>
                  <a:srgbClr val="41AAAA"/>
                </a:solidFill>
              </a:defRPr>
            </a:lvl1pPr>
          </a:lstStyle>
          <a:p>
            <a:r>
              <a:rPr lang="de-DE" dirty="0">
                <a:solidFill>
                  <a:srgbClr val="A5E1E1"/>
                </a:solidFill>
              </a:rPr>
              <a:t>… und so kann es heute sein!</a:t>
            </a:r>
          </a:p>
        </p:txBody>
      </p:sp>
      <p:sp>
        <p:nvSpPr>
          <p:cNvPr id="96" name="Text Box 60">
            <a:extLst>
              <a:ext uri="{FF2B5EF4-FFF2-40B4-BE49-F238E27FC236}">
                <a16:creationId xmlns:a16="http://schemas.microsoft.com/office/drawing/2014/main" id="{D7AAC277-097B-4CDA-B6C5-239EE567A95D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273053" y="3396513"/>
            <a:ext cx="2201491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>
            <a:defPPr>
              <a:defRPr lang="de-DE"/>
            </a:defPPr>
            <a:lvl1pPr>
              <a:defRPr sz="1200">
                <a:solidFill>
                  <a:srgbClr val="EB780A"/>
                </a:solidFill>
              </a:defRPr>
            </a:lvl1pPr>
          </a:lstStyle>
          <a:p>
            <a:r>
              <a:rPr lang="de-DE" altLang="en-US" sz="1400" dirty="0">
                <a:solidFill>
                  <a:srgbClr val="AAB414"/>
                </a:solidFill>
              </a:rPr>
              <a:t>Geldzahlungen im Einklang </a:t>
            </a:r>
            <a:br>
              <a:rPr lang="de-DE" altLang="en-US" sz="1400" dirty="0">
                <a:solidFill>
                  <a:srgbClr val="AAB414"/>
                </a:solidFill>
              </a:rPr>
            </a:br>
            <a:r>
              <a:rPr lang="de-DE" altLang="en-US" sz="1400" dirty="0">
                <a:solidFill>
                  <a:srgbClr val="AAB414"/>
                </a:solidFill>
              </a:rPr>
              <a:t>mit dem Nutzen</a:t>
            </a:r>
          </a:p>
        </p:txBody>
      </p:sp>
      <p:sp>
        <p:nvSpPr>
          <p:cNvPr id="38" name="Freeform 41"/>
          <p:cNvSpPr>
            <a:spLocks/>
          </p:cNvSpPr>
          <p:nvPr/>
        </p:nvSpPr>
        <p:spPr bwMode="gray">
          <a:xfrm>
            <a:off x="626786" y="4399162"/>
            <a:ext cx="5269909" cy="1514474"/>
          </a:xfrm>
          <a:custGeom>
            <a:avLst/>
            <a:gdLst>
              <a:gd name="T0" fmla="*/ 0 w 2537"/>
              <a:gd name="T1" fmla="*/ 1568 h 1568"/>
              <a:gd name="T2" fmla="*/ 0 w 2537"/>
              <a:gd name="T3" fmla="*/ 0 h 1568"/>
              <a:gd name="T4" fmla="*/ 254 w 2537"/>
              <a:gd name="T5" fmla="*/ 495 h 1568"/>
              <a:gd name="T6" fmla="*/ 508 w 2537"/>
              <a:gd name="T7" fmla="*/ 661 h 1568"/>
              <a:gd name="T8" fmla="*/ 761 w 2537"/>
              <a:gd name="T9" fmla="*/ 661 h 1568"/>
              <a:gd name="T10" fmla="*/ 1015 w 2537"/>
              <a:gd name="T11" fmla="*/ 329 h 1568"/>
              <a:gd name="T12" fmla="*/ 1269 w 2537"/>
              <a:gd name="T13" fmla="*/ 167 h 1568"/>
              <a:gd name="T14" fmla="*/ 1522 w 2537"/>
              <a:gd name="T15" fmla="*/ 907 h 1568"/>
              <a:gd name="T16" fmla="*/ 1776 w 2537"/>
              <a:gd name="T17" fmla="*/ 745 h 1568"/>
              <a:gd name="T18" fmla="*/ 2029 w 2537"/>
              <a:gd name="T19" fmla="*/ 824 h 1568"/>
              <a:gd name="T20" fmla="*/ 2283 w 2537"/>
              <a:gd name="T21" fmla="*/ 907 h 1568"/>
              <a:gd name="T22" fmla="*/ 2537 w 2537"/>
              <a:gd name="T23" fmla="*/ 824 h 1568"/>
              <a:gd name="T24" fmla="*/ 2537 w 2537"/>
              <a:gd name="T25" fmla="*/ 1568 h 1568"/>
              <a:gd name="T26" fmla="*/ 2283 w 2537"/>
              <a:gd name="T27" fmla="*/ 1568 h 1568"/>
              <a:gd name="T28" fmla="*/ 2029 w 2537"/>
              <a:gd name="T29" fmla="*/ 1568 h 1568"/>
              <a:gd name="T30" fmla="*/ 1776 w 2537"/>
              <a:gd name="T31" fmla="*/ 1568 h 1568"/>
              <a:gd name="T32" fmla="*/ 1522 w 2537"/>
              <a:gd name="T33" fmla="*/ 1568 h 1568"/>
              <a:gd name="T34" fmla="*/ 1269 w 2537"/>
              <a:gd name="T35" fmla="*/ 1568 h 1568"/>
              <a:gd name="T36" fmla="*/ 1015 w 2537"/>
              <a:gd name="T37" fmla="*/ 1568 h 1568"/>
              <a:gd name="T38" fmla="*/ 761 w 2537"/>
              <a:gd name="T39" fmla="*/ 1568 h 1568"/>
              <a:gd name="T40" fmla="*/ 508 w 2537"/>
              <a:gd name="T41" fmla="*/ 1568 h 1568"/>
              <a:gd name="T42" fmla="*/ 254 w 2537"/>
              <a:gd name="T43" fmla="*/ 1568 h 1568"/>
              <a:gd name="T44" fmla="*/ 0 w 2537"/>
              <a:gd name="T45" fmla="*/ 1568 h 15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537" h="1568">
                <a:moveTo>
                  <a:pt x="0" y="1568"/>
                </a:moveTo>
                <a:lnTo>
                  <a:pt x="0" y="0"/>
                </a:lnTo>
                <a:lnTo>
                  <a:pt x="254" y="495"/>
                </a:lnTo>
                <a:lnTo>
                  <a:pt x="508" y="661"/>
                </a:lnTo>
                <a:lnTo>
                  <a:pt x="761" y="661"/>
                </a:lnTo>
                <a:lnTo>
                  <a:pt x="1015" y="329"/>
                </a:lnTo>
                <a:lnTo>
                  <a:pt x="1269" y="167"/>
                </a:lnTo>
                <a:lnTo>
                  <a:pt x="1522" y="907"/>
                </a:lnTo>
                <a:lnTo>
                  <a:pt x="1776" y="745"/>
                </a:lnTo>
                <a:lnTo>
                  <a:pt x="2029" y="824"/>
                </a:lnTo>
                <a:lnTo>
                  <a:pt x="2283" y="907"/>
                </a:lnTo>
                <a:lnTo>
                  <a:pt x="2537" y="824"/>
                </a:lnTo>
                <a:lnTo>
                  <a:pt x="2537" y="1568"/>
                </a:lnTo>
                <a:lnTo>
                  <a:pt x="2283" y="1568"/>
                </a:lnTo>
                <a:lnTo>
                  <a:pt x="2029" y="1568"/>
                </a:lnTo>
                <a:lnTo>
                  <a:pt x="1776" y="1568"/>
                </a:lnTo>
                <a:lnTo>
                  <a:pt x="1522" y="1568"/>
                </a:lnTo>
                <a:lnTo>
                  <a:pt x="1269" y="1568"/>
                </a:lnTo>
                <a:lnTo>
                  <a:pt x="1015" y="1568"/>
                </a:lnTo>
                <a:lnTo>
                  <a:pt x="761" y="1568"/>
                </a:lnTo>
                <a:lnTo>
                  <a:pt x="508" y="1568"/>
                </a:lnTo>
                <a:lnTo>
                  <a:pt x="254" y="1568"/>
                </a:lnTo>
                <a:lnTo>
                  <a:pt x="0" y="1568"/>
                </a:lnTo>
                <a:close/>
              </a:path>
            </a:pathLst>
          </a:custGeom>
          <a:solidFill>
            <a:srgbClr val="DFE6ED"/>
          </a:solid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7" name="Rectangle 51"/>
          <p:cNvSpPr>
            <a:spLocks noChangeArrowheads="1"/>
          </p:cNvSpPr>
          <p:nvPr/>
        </p:nvSpPr>
        <p:spPr bwMode="auto">
          <a:xfrm>
            <a:off x="1037198" y="5737423"/>
            <a:ext cx="330824" cy="176213"/>
          </a:xfrm>
          <a:prstGeom prst="rect">
            <a:avLst/>
          </a:prstGeom>
          <a:solidFill>
            <a:schemeClr val="accent1"/>
          </a:solidFill>
          <a:ln w="7938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8" name="Rectangle 52"/>
          <p:cNvSpPr>
            <a:spLocks noChangeArrowheads="1"/>
          </p:cNvSpPr>
          <p:nvPr/>
        </p:nvSpPr>
        <p:spPr bwMode="auto">
          <a:xfrm>
            <a:off x="1568699" y="5669161"/>
            <a:ext cx="344192" cy="244475"/>
          </a:xfrm>
          <a:prstGeom prst="rect">
            <a:avLst/>
          </a:prstGeom>
          <a:solidFill>
            <a:schemeClr val="accent1"/>
          </a:solidFill>
          <a:ln w="7938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9" name="Rectangle 53"/>
          <p:cNvSpPr>
            <a:spLocks noChangeArrowheads="1"/>
          </p:cNvSpPr>
          <p:nvPr/>
        </p:nvSpPr>
        <p:spPr bwMode="auto">
          <a:xfrm>
            <a:off x="2113568" y="5415161"/>
            <a:ext cx="330824" cy="498475"/>
          </a:xfrm>
          <a:prstGeom prst="rect">
            <a:avLst/>
          </a:prstGeom>
          <a:solidFill>
            <a:schemeClr val="accent1"/>
          </a:solidFill>
          <a:ln w="7938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50" name="Rectangle 54"/>
          <p:cNvSpPr>
            <a:spLocks noChangeArrowheads="1"/>
          </p:cNvSpPr>
          <p:nvPr/>
        </p:nvSpPr>
        <p:spPr bwMode="auto">
          <a:xfrm>
            <a:off x="2642322" y="5189736"/>
            <a:ext cx="347533" cy="723900"/>
          </a:xfrm>
          <a:prstGeom prst="rect">
            <a:avLst/>
          </a:prstGeom>
          <a:solidFill>
            <a:schemeClr val="accent1"/>
          </a:solidFill>
          <a:ln w="7938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51" name="Rectangle 55"/>
          <p:cNvSpPr>
            <a:spLocks noChangeArrowheads="1"/>
          </p:cNvSpPr>
          <p:nvPr/>
        </p:nvSpPr>
        <p:spPr bwMode="auto">
          <a:xfrm>
            <a:off x="3189939" y="4562673"/>
            <a:ext cx="330824" cy="1350963"/>
          </a:xfrm>
          <a:prstGeom prst="rect">
            <a:avLst/>
          </a:prstGeom>
          <a:solidFill>
            <a:schemeClr val="accent1"/>
          </a:solidFill>
          <a:ln w="7938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52" name="Rectangle 56"/>
          <p:cNvSpPr>
            <a:spLocks noChangeArrowheads="1"/>
          </p:cNvSpPr>
          <p:nvPr/>
        </p:nvSpPr>
        <p:spPr bwMode="auto">
          <a:xfrm>
            <a:off x="3718692" y="4329311"/>
            <a:ext cx="347533" cy="1584325"/>
          </a:xfrm>
          <a:prstGeom prst="rect">
            <a:avLst/>
          </a:prstGeom>
          <a:solidFill>
            <a:schemeClr val="accent1"/>
          </a:solidFill>
          <a:ln w="7938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53" name="Rectangle 57"/>
          <p:cNvSpPr>
            <a:spLocks noChangeArrowheads="1"/>
          </p:cNvSpPr>
          <p:nvPr/>
        </p:nvSpPr>
        <p:spPr bwMode="auto">
          <a:xfrm>
            <a:off x="4264157" y="4103886"/>
            <a:ext cx="330826" cy="1809750"/>
          </a:xfrm>
          <a:prstGeom prst="rect">
            <a:avLst/>
          </a:prstGeom>
          <a:solidFill>
            <a:schemeClr val="accent1"/>
          </a:solidFill>
          <a:ln w="7938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54" name="Rectangle 58"/>
          <p:cNvSpPr>
            <a:spLocks noChangeArrowheads="1"/>
          </p:cNvSpPr>
          <p:nvPr/>
        </p:nvSpPr>
        <p:spPr bwMode="auto">
          <a:xfrm>
            <a:off x="4795658" y="3878461"/>
            <a:ext cx="344194" cy="2035175"/>
          </a:xfrm>
          <a:prstGeom prst="rect">
            <a:avLst/>
          </a:prstGeom>
          <a:solidFill>
            <a:schemeClr val="accent1"/>
          </a:solidFill>
          <a:ln w="7938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55" name="Rectangle 59"/>
          <p:cNvSpPr>
            <a:spLocks noChangeArrowheads="1"/>
          </p:cNvSpPr>
          <p:nvPr/>
        </p:nvSpPr>
        <p:spPr bwMode="auto">
          <a:xfrm>
            <a:off x="5340527" y="3653036"/>
            <a:ext cx="330826" cy="2260600"/>
          </a:xfrm>
          <a:prstGeom prst="rect">
            <a:avLst/>
          </a:prstGeom>
          <a:solidFill>
            <a:schemeClr val="accent1"/>
          </a:solidFill>
          <a:ln w="7938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60" name="Freeform 41">
            <a:extLst>
              <a:ext uri="{FF2B5EF4-FFF2-40B4-BE49-F238E27FC236}">
                <a16:creationId xmlns:a16="http://schemas.microsoft.com/office/drawing/2014/main" id="{C7B13B25-7C8B-4367-9643-8B90AAFE1EFF}"/>
              </a:ext>
            </a:extLst>
          </p:cNvPr>
          <p:cNvSpPr>
            <a:spLocks/>
          </p:cNvSpPr>
          <p:nvPr/>
        </p:nvSpPr>
        <p:spPr bwMode="gray">
          <a:xfrm>
            <a:off x="626786" y="4399162"/>
            <a:ext cx="5269909" cy="875972"/>
          </a:xfrm>
          <a:custGeom>
            <a:avLst/>
            <a:gdLst>
              <a:gd name="T0" fmla="*/ 0 w 2537"/>
              <a:gd name="T1" fmla="*/ 1568 h 1568"/>
              <a:gd name="T2" fmla="*/ 0 w 2537"/>
              <a:gd name="T3" fmla="*/ 0 h 1568"/>
              <a:gd name="T4" fmla="*/ 254 w 2537"/>
              <a:gd name="T5" fmla="*/ 495 h 1568"/>
              <a:gd name="T6" fmla="*/ 508 w 2537"/>
              <a:gd name="T7" fmla="*/ 661 h 1568"/>
              <a:gd name="T8" fmla="*/ 761 w 2537"/>
              <a:gd name="T9" fmla="*/ 661 h 1568"/>
              <a:gd name="T10" fmla="*/ 1015 w 2537"/>
              <a:gd name="T11" fmla="*/ 329 h 1568"/>
              <a:gd name="T12" fmla="*/ 1269 w 2537"/>
              <a:gd name="T13" fmla="*/ 167 h 1568"/>
              <a:gd name="T14" fmla="*/ 1522 w 2537"/>
              <a:gd name="T15" fmla="*/ 907 h 1568"/>
              <a:gd name="T16" fmla="*/ 1776 w 2537"/>
              <a:gd name="T17" fmla="*/ 745 h 1568"/>
              <a:gd name="T18" fmla="*/ 2029 w 2537"/>
              <a:gd name="T19" fmla="*/ 824 h 1568"/>
              <a:gd name="T20" fmla="*/ 2283 w 2537"/>
              <a:gd name="T21" fmla="*/ 907 h 1568"/>
              <a:gd name="T22" fmla="*/ 2537 w 2537"/>
              <a:gd name="T23" fmla="*/ 824 h 1568"/>
              <a:gd name="T24" fmla="*/ 2537 w 2537"/>
              <a:gd name="T25" fmla="*/ 1568 h 1568"/>
              <a:gd name="T26" fmla="*/ 2283 w 2537"/>
              <a:gd name="T27" fmla="*/ 1568 h 1568"/>
              <a:gd name="T28" fmla="*/ 2029 w 2537"/>
              <a:gd name="T29" fmla="*/ 1568 h 1568"/>
              <a:gd name="T30" fmla="*/ 1776 w 2537"/>
              <a:gd name="T31" fmla="*/ 1568 h 1568"/>
              <a:gd name="T32" fmla="*/ 1522 w 2537"/>
              <a:gd name="T33" fmla="*/ 1568 h 1568"/>
              <a:gd name="T34" fmla="*/ 1269 w 2537"/>
              <a:gd name="T35" fmla="*/ 1568 h 1568"/>
              <a:gd name="T36" fmla="*/ 1015 w 2537"/>
              <a:gd name="T37" fmla="*/ 1568 h 1568"/>
              <a:gd name="T38" fmla="*/ 761 w 2537"/>
              <a:gd name="T39" fmla="*/ 1568 h 1568"/>
              <a:gd name="T40" fmla="*/ 508 w 2537"/>
              <a:gd name="T41" fmla="*/ 1568 h 1568"/>
              <a:gd name="T42" fmla="*/ 254 w 2537"/>
              <a:gd name="T43" fmla="*/ 1568 h 1568"/>
              <a:gd name="T44" fmla="*/ 0 w 2537"/>
              <a:gd name="T45" fmla="*/ 1568 h 1568"/>
              <a:gd name="connsiteX0" fmla="*/ 0 w 10000"/>
              <a:gd name="connsiteY0" fmla="*/ 10000 h 10604"/>
              <a:gd name="connsiteX1" fmla="*/ 0 w 10000"/>
              <a:gd name="connsiteY1" fmla="*/ 0 h 10604"/>
              <a:gd name="connsiteX2" fmla="*/ 1001 w 10000"/>
              <a:gd name="connsiteY2" fmla="*/ 3157 h 10604"/>
              <a:gd name="connsiteX3" fmla="*/ 2002 w 10000"/>
              <a:gd name="connsiteY3" fmla="*/ 4216 h 10604"/>
              <a:gd name="connsiteX4" fmla="*/ 3000 w 10000"/>
              <a:gd name="connsiteY4" fmla="*/ 4216 h 10604"/>
              <a:gd name="connsiteX5" fmla="*/ 4001 w 10000"/>
              <a:gd name="connsiteY5" fmla="*/ 2098 h 10604"/>
              <a:gd name="connsiteX6" fmla="*/ 5002 w 10000"/>
              <a:gd name="connsiteY6" fmla="*/ 1065 h 10604"/>
              <a:gd name="connsiteX7" fmla="*/ 5999 w 10000"/>
              <a:gd name="connsiteY7" fmla="*/ 5784 h 10604"/>
              <a:gd name="connsiteX8" fmla="*/ 7000 w 10000"/>
              <a:gd name="connsiteY8" fmla="*/ 4751 h 10604"/>
              <a:gd name="connsiteX9" fmla="*/ 7998 w 10000"/>
              <a:gd name="connsiteY9" fmla="*/ 5255 h 10604"/>
              <a:gd name="connsiteX10" fmla="*/ 8999 w 10000"/>
              <a:gd name="connsiteY10" fmla="*/ 5784 h 10604"/>
              <a:gd name="connsiteX11" fmla="*/ 10000 w 10000"/>
              <a:gd name="connsiteY11" fmla="*/ 5255 h 10604"/>
              <a:gd name="connsiteX12" fmla="*/ 10000 w 10000"/>
              <a:gd name="connsiteY12" fmla="*/ 10000 h 10604"/>
              <a:gd name="connsiteX13" fmla="*/ 8999 w 10000"/>
              <a:gd name="connsiteY13" fmla="*/ 10000 h 10604"/>
              <a:gd name="connsiteX14" fmla="*/ 7998 w 10000"/>
              <a:gd name="connsiteY14" fmla="*/ 10000 h 10604"/>
              <a:gd name="connsiteX15" fmla="*/ 7000 w 10000"/>
              <a:gd name="connsiteY15" fmla="*/ 10000 h 10604"/>
              <a:gd name="connsiteX16" fmla="*/ 5999 w 10000"/>
              <a:gd name="connsiteY16" fmla="*/ 10000 h 10604"/>
              <a:gd name="connsiteX17" fmla="*/ 5002 w 10000"/>
              <a:gd name="connsiteY17" fmla="*/ 10000 h 10604"/>
              <a:gd name="connsiteX18" fmla="*/ 4001 w 10000"/>
              <a:gd name="connsiteY18" fmla="*/ 10000 h 10604"/>
              <a:gd name="connsiteX19" fmla="*/ 3000 w 10000"/>
              <a:gd name="connsiteY19" fmla="*/ 10000 h 10604"/>
              <a:gd name="connsiteX20" fmla="*/ 2002 w 10000"/>
              <a:gd name="connsiteY20" fmla="*/ 10000 h 10604"/>
              <a:gd name="connsiteX21" fmla="*/ 1001 w 10000"/>
              <a:gd name="connsiteY21" fmla="*/ 10000 h 10604"/>
              <a:gd name="connsiteX22" fmla="*/ 235 w 10000"/>
              <a:gd name="connsiteY22" fmla="*/ 10604 h 10604"/>
              <a:gd name="connsiteX0" fmla="*/ 0 w 10000"/>
              <a:gd name="connsiteY0" fmla="*/ 0 h 10604"/>
              <a:gd name="connsiteX1" fmla="*/ 1001 w 10000"/>
              <a:gd name="connsiteY1" fmla="*/ 3157 h 10604"/>
              <a:gd name="connsiteX2" fmla="*/ 2002 w 10000"/>
              <a:gd name="connsiteY2" fmla="*/ 4216 h 10604"/>
              <a:gd name="connsiteX3" fmla="*/ 3000 w 10000"/>
              <a:gd name="connsiteY3" fmla="*/ 4216 h 10604"/>
              <a:gd name="connsiteX4" fmla="*/ 4001 w 10000"/>
              <a:gd name="connsiteY4" fmla="*/ 2098 h 10604"/>
              <a:gd name="connsiteX5" fmla="*/ 5002 w 10000"/>
              <a:gd name="connsiteY5" fmla="*/ 1065 h 10604"/>
              <a:gd name="connsiteX6" fmla="*/ 5999 w 10000"/>
              <a:gd name="connsiteY6" fmla="*/ 5784 h 10604"/>
              <a:gd name="connsiteX7" fmla="*/ 7000 w 10000"/>
              <a:gd name="connsiteY7" fmla="*/ 4751 h 10604"/>
              <a:gd name="connsiteX8" fmla="*/ 7998 w 10000"/>
              <a:gd name="connsiteY8" fmla="*/ 5255 h 10604"/>
              <a:gd name="connsiteX9" fmla="*/ 8999 w 10000"/>
              <a:gd name="connsiteY9" fmla="*/ 5784 h 10604"/>
              <a:gd name="connsiteX10" fmla="*/ 10000 w 10000"/>
              <a:gd name="connsiteY10" fmla="*/ 5255 h 10604"/>
              <a:gd name="connsiteX11" fmla="*/ 10000 w 10000"/>
              <a:gd name="connsiteY11" fmla="*/ 10000 h 10604"/>
              <a:gd name="connsiteX12" fmla="*/ 8999 w 10000"/>
              <a:gd name="connsiteY12" fmla="*/ 10000 h 10604"/>
              <a:gd name="connsiteX13" fmla="*/ 7998 w 10000"/>
              <a:gd name="connsiteY13" fmla="*/ 10000 h 10604"/>
              <a:gd name="connsiteX14" fmla="*/ 7000 w 10000"/>
              <a:gd name="connsiteY14" fmla="*/ 10000 h 10604"/>
              <a:gd name="connsiteX15" fmla="*/ 5999 w 10000"/>
              <a:gd name="connsiteY15" fmla="*/ 10000 h 10604"/>
              <a:gd name="connsiteX16" fmla="*/ 5002 w 10000"/>
              <a:gd name="connsiteY16" fmla="*/ 10000 h 10604"/>
              <a:gd name="connsiteX17" fmla="*/ 4001 w 10000"/>
              <a:gd name="connsiteY17" fmla="*/ 10000 h 10604"/>
              <a:gd name="connsiteX18" fmla="*/ 3000 w 10000"/>
              <a:gd name="connsiteY18" fmla="*/ 10000 h 10604"/>
              <a:gd name="connsiteX19" fmla="*/ 2002 w 10000"/>
              <a:gd name="connsiteY19" fmla="*/ 10000 h 10604"/>
              <a:gd name="connsiteX20" fmla="*/ 1001 w 10000"/>
              <a:gd name="connsiteY20" fmla="*/ 10000 h 10604"/>
              <a:gd name="connsiteX21" fmla="*/ 235 w 10000"/>
              <a:gd name="connsiteY21" fmla="*/ 10604 h 10604"/>
              <a:gd name="connsiteX0" fmla="*/ 0 w 10000"/>
              <a:gd name="connsiteY0" fmla="*/ 0 h 10000"/>
              <a:gd name="connsiteX1" fmla="*/ 1001 w 10000"/>
              <a:gd name="connsiteY1" fmla="*/ 3157 h 10000"/>
              <a:gd name="connsiteX2" fmla="*/ 2002 w 10000"/>
              <a:gd name="connsiteY2" fmla="*/ 4216 h 10000"/>
              <a:gd name="connsiteX3" fmla="*/ 3000 w 10000"/>
              <a:gd name="connsiteY3" fmla="*/ 4216 h 10000"/>
              <a:gd name="connsiteX4" fmla="*/ 4001 w 10000"/>
              <a:gd name="connsiteY4" fmla="*/ 2098 h 10000"/>
              <a:gd name="connsiteX5" fmla="*/ 5002 w 10000"/>
              <a:gd name="connsiteY5" fmla="*/ 1065 h 10000"/>
              <a:gd name="connsiteX6" fmla="*/ 5999 w 10000"/>
              <a:gd name="connsiteY6" fmla="*/ 5784 h 10000"/>
              <a:gd name="connsiteX7" fmla="*/ 7000 w 10000"/>
              <a:gd name="connsiteY7" fmla="*/ 4751 h 10000"/>
              <a:gd name="connsiteX8" fmla="*/ 7998 w 10000"/>
              <a:gd name="connsiteY8" fmla="*/ 5255 h 10000"/>
              <a:gd name="connsiteX9" fmla="*/ 8999 w 10000"/>
              <a:gd name="connsiteY9" fmla="*/ 5784 h 10000"/>
              <a:gd name="connsiteX10" fmla="*/ 10000 w 10000"/>
              <a:gd name="connsiteY10" fmla="*/ 5255 h 10000"/>
              <a:gd name="connsiteX11" fmla="*/ 10000 w 10000"/>
              <a:gd name="connsiteY11" fmla="*/ 10000 h 10000"/>
              <a:gd name="connsiteX12" fmla="*/ 8999 w 10000"/>
              <a:gd name="connsiteY12" fmla="*/ 10000 h 10000"/>
              <a:gd name="connsiteX13" fmla="*/ 7998 w 10000"/>
              <a:gd name="connsiteY13" fmla="*/ 10000 h 10000"/>
              <a:gd name="connsiteX14" fmla="*/ 7000 w 10000"/>
              <a:gd name="connsiteY14" fmla="*/ 10000 h 10000"/>
              <a:gd name="connsiteX15" fmla="*/ 5999 w 10000"/>
              <a:gd name="connsiteY15" fmla="*/ 10000 h 10000"/>
              <a:gd name="connsiteX16" fmla="*/ 5002 w 10000"/>
              <a:gd name="connsiteY16" fmla="*/ 10000 h 10000"/>
              <a:gd name="connsiteX17" fmla="*/ 4001 w 10000"/>
              <a:gd name="connsiteY17" fmla="*/ 10000 h 10000"/>
              <a:gd name="connsiteX18" fmla="*/ 3000 w 10000"/>
              <a:gd name="connsiteY18" fmla="*/ 10000 h 10000"/>
              <a:gd name="connsiteX19" fmla="*/ 2002 w 10000"/>
              <a:gd name="connsiteY19" fmla="*/ 10000 h 10000"/>
              <a:gd name="connsiteX20" fmla="*/ 1001 w 10000"/>
              <a:gd name="connsiteY20" fmla="*/ 10000 h 10000"/>
              <a:gd name="connsiteX0" fmla="*/ 0 w 10000"/>
              <a:gd name="connsiteY0" fmla="*/ 0 h 10000"/>
              <a:gd name="connsiteX1" fmla="*/ 1001 w 10000"/>
              <a:gd name="connsiteY1" fmla="*/ 3157 h 10000"/>
              <a:gd name="connsiteX2" fmla="*/ 2002 w 10000"/>
              <a:gd name="connsiteY2" fmla="*/ 4216 h 10000"/>
              <a:gd name="connsiteX3" fmla="*/ 3000 w 10000"/>
              <a:gd name="connsiteY3" fmla="*/ 4216 h 10000"/>
              <a:gd name="connsiteX4" fmla="*/ 4001 w 10000"/>
              <a:gd name="connsiteY4" fmla="*/ 2098 h 10000"/>
              <a:gd name="connsiteX5" fmla="*/ 5002 w 10000"/>
              <a:gd name="connsiteY5" fmla="*/ 1065 h 10000"/>
              <a:gd name="connsiteX6" fmla="*/ 5999 w 10000"/>
              <a:gd name="connsiteY6" fmla="*/ 5784 h 10000"/>
              <a:gd name="connsiteX7" fmla="*/ 7000 w 10000"/>
              <a:gd name="connsiteY7" fmla="*/ 4751 h 10000"/>
              <a:gd name="connsiteX8" fmla="*/ 7998 w 10000"/>
              <a:gd name="connsiteY8" fmla="*/ 5255 h 10000"/>
              <a:gd name="connsiteX9" fmla="*/ 8999 w 10000"/>
              <a:gd name="connsiteY9" fmla="*/ 5784 h 10000"/>
              <a:gd name="connsiteX10" fmla="*/ 10000 w 10000"/>
              <a:gd name="connsiteY10" fmla="*/ 5255 h 10000"/>
              <a:gd name="connsiteX11" fmla="*/ 8999 w 10000"/>
              <a:gd name="connsiteY11" fmla="*/ 10000 h 10000"/>
              <a:gd name="connsiteX12" fmla="*/ 7998 w 10000"/>
              <a:gd name="connsiteY12" fmla="*/ 10000 h 10000"/>
              <a:gd name="connsiteX13" fmla="*/ 7000 w 10000"/>
              <a:gd name="connsiteY13" fmla="*/ 10000 h 10000"/>
              <a:gd name="connsiteX14" fmla="*/ 5999 w 10000"/>
              <a:gd name="connsiteY14" fmla="*/ 10000 h 10000"/>
              <a:gd name="connsiteX15" fmla="*/ 5002 w 10000"/>
              <a:gd name="connsiteY15" fmla="*/ 10000 h 10000"/>
              <a:gd name="connsiteX16" fmla="*/ 4001 w 10000"/>
              <a:gd name="connsiteY16" fmla="*/ 10000 h 10000"/>
              <a:gd name="connsiteX17" fmla="*/ 3000 w 10000"/>
              <a:gd name="connsiteY17" fmla="*/ 10000 h 10000"/>
              <a:gd name="connsiteX18" fmla="*/ 2002 w 10000"/>
              <a:gd name="connsiteY18" fmla="*/ 10000 h 10000"/>
              <a:gd name="connsiteX19" fmla="*/ 1001 w 10000"/>
              <a:gd name="connsiteY19" fmla="*/ 10000 h 10000"/>
              <a:gd name="connsiteX0" fmla="*/ 0 w 10000"/>
              <a:gd name="connsiteY0" fmla="*/ 0 h 10000"/>
              <a:gd name="connsiteX1" fmla="*/ 1001 w 10000"/>
              <a:gd name="connsiteY1" fmla="*/ 3157 h 10000"/>
              <a:gd name="connsiteX2" fmla="*/ 2002 w 10000"/>
              <a:gd name="connsiteY2" fmla="*/ 4216 h 10000"/>
              <a:gd name="connsiteX3" fmla="*/ 3000 w 10000"/>
              <a:gd name="connsiteY3" fmla="*/ 4216 h 10000"/>
              <a:gd name="connsiteX4" fmla="*/ 4001 w 10000"/>
              <a:gd name="connsiteY4" fmla="*/ 2098 h 10000"/>
              <a:gd name="connsiteX5" fmla="*/ 5002 w 10000"/>
              <a:gd name="connsiteY5" fmla="*/ 1065 h 10000"/>
              <a:gd name="connsiteX6" fmla="*/ 5999 w 10000"/>
              <a:gd name="connsiteY6" fmla="*/ 5784 h 10000"/>
              <a:gd name="connsiteX7" fmla="*/ 7000 w 10000"/>
              <a:gd name="connsiteY7" fmla="*/ 4751 h 10000"/>
              <a:gd name="connsiteX8" fmla="*/ 7998 w 10000"/>
              <a:gd name="connsiteY8" fmla="*/ 5255 h 10000"/>
              <a:gd name="connsiteX9" fmla="*/ 8999 w 10000"/>
              <a:gd name="connsiteY9" fmla="*/ 5784 h 10000"/>
              <a:gd name="connsiteX10" fmla="*/ 10000 w 10000"/>
              <a:gd name="connsiteY10" fmla="*/ 5255 h 10000"/>
              <a:gd name="connsiteX11" fmla="*/ 8999 w 10000"/>
              <a:gd name="connsiteY11" fmla="*/ 10000 h 10000"/>
              <a:gd name="connsiteX12" fmla="*/ 7998 w 10000"/>
              <a:gd name="connsiteY12" fmla="*/ 10000 h 10000"/>
              <a:gd name="connsiteX13" fmla="*/ 7000 w 10000"/>
              <a:gd name="connsiteY13" fmla="*/ 10000 h 10000"/>
              <a:gd name="connsiteX14" fmla="*/ 5999 w 10000"/>
              <a:gd name="connsiteY14" fmla="*/ 10000 h 10000"/>
              <a:gd name="connsiteX15" fmla="*/ 5002 w 10000"/>
              <a:gd name="connsiteY15" fmla="*/ 10000 h 10000"/>
              <a:gd name="connsiteX16" fmla="*/ 4001 w 10000"/>
              <a:gd name="connsiteY16" fmla="*/ 10000 h 10000"/>
              <a:gd name="connsiteX17" fmla="*/ 3000 w 10000"/>
              <a:gd name="connsiteY17" fmla="*/ 10000 h 10000"/>
              <a:gd name="connsiteX18" fmla="*/ 2002 w 10000"/>
              <a:gd name="connsiteY18" fmla="*/ 10000 h 10000"/>
              <a:gd name="connsiteX0" fmla="*/ 0 w 10000"/>
              <a:gd name="connsiteY0" fmla="*/ 0 h 10000"/>
              <a:gd name="connsiteX1" fmla="*/ 1001 w 10000"/>
              <a:gd name="connsiteY1" fmla="*/ 3157 h 10000"/>
              <a:gd name="connsiteX2" fmla="*/ 2002 w 10000"/>
              <a:gd name="connsiteY2" fmla="*/ 4216 h 10000"/>
              <a:gd name="connsiteX3" fmla="*/ 3000 w 10000"/>
              <a:gd name="connsiteY3" fmla="*/ 4216 h 10000"/>
              <a:gd name="connsiteX4" fmla="*/ 4001 w 10000"/>
              <a:gd name="connsiteY4" fmla="*/ 2098 h 10000"/>
              <a:gd name="connsiteX5" fmla="*/ 5002 w 10000"/>
              <a:gd name="connsiteY5" fmla="*/ 1065 h 10000"/>
              <a:gd name="connsiteX6" fmla="*/ 5999 w 10000"/>
              <a:gd name="connsiteY6" fmla="*/ 5784 h 10000"/>
              <a:gd name="connsiteX7" fmla="*/ 7000 w 10000"/>
              <a:gd name="connsiteY7" fmla="*/ 4751 h 10000"/>
              <a:gd name="connsiteX8" fmla="*/ 7998 w 10000"/>
              <a:gd name="connsiteY8" fmla="*/ 5255 h 10000"/>
              <a:gd name="connsiteX9" fmla="*/ 8999 w 10000"/>
              <a:gd name="connsiteY9" fmla="*/ 5784 h 10000"/>
              <a:gd name="connsiteX10" fmla="*/ 10000 w 10000"/>
              <a:gd name="connsiteY10" fmla="*/ 5255 h 10000"/>
              <a:gd name="connsiteX11" fmla="*/ 8999 w 10000"/>
              <a:gd name="connsiteY11" fmla="*/ 10000 h 10000"/>
              <a:gd name="connsiteX12" fmla="*/ 7998 w 10000"/>
              <a:gd name="connsiteY12" fmla="*/ 10000 h 10000"/>
              <a:gd name="connsiteX13" fmla="*/ 7000 w 10000"/>
              <a:gd name="connsiteY13" fmla="*/ 10000 h 10000"/>
              <a:gd name="connsiteX14" fmla="*/ 5999 w 10000"/>
              <a:gd name="connsiteY14" fmla="*/ 10000 h 10000"/>
              <a:gd name="connsiteX15" fmla="*/ 5002 w 10000"/>
              <a:gd name="connsiteY15" fmla="*/ 10000 h 10000"/>
              <a:gd name="connsiteX16" fmla="*/ 4001 w 10000"/>
              <a:gd name="connsiteY16" fmla="*/ 10000 h 10000"/>
              <a:gd name="connsiteX17" fmla="*/ 3000 w 10000"/>
              <a:gd name="connsiteY17" fmla="*/ 10000 h 10000"/>
              <a:gd name="connsiteX0" fmla="*/ 0 w 10000"/>
              <a:gd name="connsiteY0" fmla="*/ 0 h 10000"/>
              <a:gd name="connsiteX1" fmla="*/ 1001 w 10000"/>
              <a:gd name="connsiteY1" fmla="*/ 3157 h 10000"/>
              <a:gd name="connsiteX2" fmla="*/ 2002 w 10000"/>
              <a:gd name="connsiteY2" fmla="*/ 4216 h 10000"/>
              <a:gd name="connsiteX3" fmla="*/ 3000 w 10000"/>
              <a:gd name="connsiteY3" fmla="*/ 4216 h 10000"/>
              <a:gd name="connsiteX4" fmla="*/ 4001 w 10000"/>
              <a:gd name="connsiteY4" fmla="*/ 2098 h 10000"/>
              <a:gd name="connsiteX5" fmla="*/ 5002 w 10000"/>
              <a:gd name="connsiteY5" fmla="*/ 1065 h 10000"/>
              <a:gd name="connsiteX6" fmla="*/ 5999 w 10000"/>
              <a:gd name="connsiteY6" fmla="*/ 5784 h 10000"/>
              <a:gd name="connsiteX7" fmla="*/ 7000 w 10000"/>
              <a:gd name="connsiteY7" fmla="*/ 4751 h 10000"/>
              <a:gd name="connsiteX8" fmla="*/ 7998 w 10000"/>
              <a:gd name="connsiteY8" fmla="*/ 5255 h 10000"/>
              <a:gd name="connsiteX9" fmla="*/ 8999 w 10000"/>
              <a:gd name="connsiteY9" fmla="*/ 5784 h 10000"/>
              <a:gd name="connsiteX10" fmla="*/ 10000 w 10000"/>
              <a:gd name="connsiteY10" fmla="*/ 5255 h 10000"/>
              <a:gd name="connsiteX11" fmla="*/ 8999 w 10000"/>
              <a:gd name="connsiteY11" fmla="*/ 10000 h 10000"/>
              <a:gd name="connsiteX12" fmla="*/ 7998 w 10000"/>
              <a:gd name="connsiteY12" fmla="*/ 10000 h 10000"/>
              <a:gd name="connsiteX13" fmla="*/ 7000 w 10000"/>
              <a:gd name="connsiteY13" fmla="*/ 10000 h 10000"/>
              <a:gd name="connsiteX14" fmla="*/ 5999 w 10000"/>
              <a:gd name="connsiteY14" fmla="*/ 10000 h 10000"/>
              <a:gd name="connsiteX15" fmla="*/ 5002 w 10000"/>
              <a:gd name="connsiteY15" fmla="*/ 10000 h 10000"/>
              <a:gd name="connsiteX16" fmla="*/ 4001 w 10000"/>
              <a:gd name="connsiteY16" fmla="*/ 10000 h 10000"/>
              <a:gd name="connsiteX0" fmla="*/ 0 w 10000"/>
              <a:gd name="connsiteY0" fmla="*/ 0 h 10000"/>
              <a:gd name="connsiteX1" fmla="*/ 1001 w 10000"/>
              <a:gd name="connsiteY1" fmla="*/ 3157 h 10000"/>
              <a:gd name="connsiteX2" fmla="*/ 2002 w 10000"/>
              <a:gd name="connsiteY2" fmla="*/ 4216 h 10000"/>
              <a:gd name="connsiteX3" fmla="*/ 3000 w 10000"/>
              <a:gd name="connsiteY3" fmla="*/ 4216 h 10000"/>
              <a:gd name="connsiteX4" fmla="*/ 4001 w 10000"/>
              <a:gd name="connsiteY4" fmla="*/ 2098 h 10000"/>
              <a:gd name="connsiteX5" fmla="*/ 5002 w 10000"/>
              <a:gd name="connsiteY5" fmla="*/ 1065 h 10000"/>
              <a:gd name="connsiteX6" fmla="*/ 5999 w 10000"/>
              <a:gd name="connsiteY6" fmla="*/ 5784 h 10000"/>
              <a:gd name="connsiteX7" fmla="*/ 7000 w 10000"/>
              <a:gd name="connsiteY7" fmla="*/ 4751 h 10000"/>
              <a:gd name="connsiteX8" fmla="*/ 7998 w 10000"/>
              <a:gd name="connsiteY8" fmla="*/ 5255 h 10000"/>
              <a:gd name="connsiteX9" fmla="*/ 8999 w 10000"/>
              <a:gd name="connsiteY9" fmla="*/ 5784 h 10000"/>
              <a:gd name="connsiteX10" fmla="*/ 10000 w 10000"/>
              <a:gd name="connsiteY10" fmla="*/ 5255 h 10000"/>
              <a:gd name="connsiteX11" fmla="*/ 8999 w 10000"/>
              <a:gd name="connsiteY11" fmla="*/ 10000 h 10000"/>
              <a:gd name="connsiteX12" fmla="*/ 7998 w 10000"/>
              <a:gd name="connsiteY12" fmla="*/ 10000 h 10000"/>
              <a:gd name="connsiteX13" fmla="*/ 7000 w 10000"/>
              <a:gd name="connsiteY13" fmla="*/ 10000 h 10000"/>
              <a:gd name="connsiteX14" fmla="*/ 5999 w 10000"/>
              <a:gd name="connsiteY14" fmla="*/ 10000 h 10000"/>
              <a:gd name="connsiteX15" fmla="*/ 5002 w 10000"/>
              <a:gd name="connsiteY15" fmla="*/ 10000 h 10000"/>
              <a:gd name="connsiteX0" fmla="*/ 0 w 10000"/>
              <a:gd name="connsiteY0" fmla="*/ 0 h 10000"/>
              <a:gd name="connsiteX1" fmla="*/ 1001 w 10000"/>
              <a:gd name="connsiteY1" fmla="*/ 3157 h 10000"/>
              <a:gd name="connsiteX2" fmla="*/ 2002 w 10000"/>
              <a:gd name="connsiteY2" fmla="*/ 4216 h 10000"/>
              <a:gd name="connsiteX3" fmla="*/ 3000 w 10000"/>
              <a:gd name="connsiteY3" fmla="*/ 4216 h 10000"/>
              <a:gd name="connsiteX4" fmla="*/ 4001 w 10000"/>
              <a:gd name="connsiteY4" fmla="*/ 2098 h 10000"/>
              <a:gd name="connsiteX5" fmla="*/ 5002 w 10000"/>
              <a:gd name="connsiteY5" fmla="*/ 1065 h 10000"/>
              <a:gd name="connsiteX6" fmla="*/ 5999 w 10000"/>
              <a:gd name="connsiteY6" fmla="*/ 5784 h 10000"/>
              <a:gd name="connsiteX7" fmla="*/ 7000 w 10000"/>
              <a:gd name="connsiteY7" fmla="*/ 4751 h 10000"/>
              <a:gd name="connsiteX8" fmla="*/ 7998 w 10000"/>
              <a:gd name="connsiteY8" fmla="*/ 5255 h 10000"/>
              <a:gd name="connsiteX9" fmla="*/ 8999 w 10000"/>
              <a:gd name="connsiteY9" fmla="*/ 5784 h 10000"/>
              <a:gd name="connsiteX10" fmla="*/ 10000 w 10000"/>
              <a:gd name="connsiteY10" fmla="*/ 5255 h 10000"/>
              <a:gd name="connsiteX11" fmla="*/ 8999 w 10000"/>
              <a:gd name="connsiteY11" fmla="*/ 10000 h 10000"/>
              <a:gd name="connsiteX12" fmla="*/ 7998 w 10000"/>
              <a:gd name="connsiteY12" fmla="*/ 10000 h 10000"/>
              <a:gd name="connsiteX13" fmla="*/ 7000 w 10000"/>
              <a:gd name="connsiteY13" fmla="*/ 10000 h 10000"/>
              <a:gd name="connsiteX14" fmla="*/ 5999 w 10000"/>
              <a:gd name="connsiteY14" fmla="*/ 10000 h 10000"/>
              <a:gd name="connsiteX0" fmla="*/ 0 w 10000"/>
              <a:gd name="connsiteY0" fmla="*/ 0 h 10000"/>
              <a:gd name="connsiteX1" fmla="*/ 1001 w 10000"/>
              <a:gd name="connsiteY1" fmla="*/ 3157 h 10000"/>
              <a:gd name="connsiteX2" fmla="*/ 2002 w 10000"/>
              <a:gd name="connsiteY2" fmla="*/ 4216 h 10000"/>
              <a:gd name="connsiteX3" fmla="*/ 3000 w 10000"/>
              <a:gd name="connsiteY3" fmla="*/ 4216 h 10000"/>
              <a:gd name="connsiteX4" fmla="*/ 4001 w 10000"/>
              <a:gd name="connsiteY4" fmla="*/ 2098 h 10000"/>
              <a:gd name="connsiteX5" fmla="*/ 5002 w 10000"/>
              <a:gd name="connsiteY5" fmla="*/ 1065 h 10000"/>
              <a:gd name="connsiteX6" fmla="*/ 5999 w 10000"/>
              <a:gd name="connsiteY6" fmla="*/ 5784 h 10000"/>
              <a:gd name="connsiteX7" fmla="*/ 7000 w 10000"/>
              <a:gd name="connsiteY7" fmla="*/ 4751 h 10000"/>
              <a:gd name="connsiteX8" fmla="*/ 7998 w 10000"/>
              <a:gd name="connsiteY8" fmla="*/ 5255 h 10000"/>
              <a:gd name="connsiteX9" fmla="*/ 8999 w 10000"/>
              <a:gd name="connsiteY9" fmla="*/ 5784 h 10000"/>
              <a:gd name="connsiteX10" fmla="*/ 10000 w 10000"/>
              <a:gd name="connsiteY10" fmla="*/ 5255 h 10000"/>
              <a:gd name="connsiteX11" fmla="*/ 8999 w 10000"/>
              <a:gd name="connsiteY11" fmla="*/ 10000 h 10000"/>
              <a:gd name="connsiteX12" fmla="*/ 7998 w 10000"/>
              <a:gd name="connsiteY12" fmla="*/ 10000 h 10000"/>
              <a:gd name="connsiteX13" fmla="*/ 7000 w 10000"/>
              <a:gd name="connsiteY13" fmla="*/ 10000 h 10000"/>
              <a:gd name="connsiteX0" fmla="*/ 0 w 10000"/>
              <a:gd name="connsiteY0" fmla="*/ 0 h 10000"/>
              <a:gd name="connsiteX1" fmla="*/ 1001 w 10000"/>
              <a:gd name="connsiteY1" fmla="*/ 3157 h 10000"/>
              <a:gd name="connsiteX2" fmla="*/ 2002 w 10000"/>
              <a:gd name="connsiteY2" fmla="*/ 4216 h 10000"/>
              <a:gd name="connsiteX3" fmla="*/ 3000 w 10000"/>
              <a:gd name="connsiteY3" fmla="*/ 4216 h 10000"/>
              <a:gd name="connsiteX4" fmla="*/ 4001 w 10000"/>
              <a:gd name="connsiteY4" fmla="*/ 2098 h 10000"/>
              <a:gd name="connsiteX5" fmla="*/ 5002 w 10000"/>
              <a:gd name="connsiteY5" fmla="*/ 1065 h 10000"/>
              <a:gd name="connsiteX6" fmla="*/ 5999 w 10000"/>
              <a:gd name="connsiteY6" fmla="*/ 5784 h 10000"/>
              <a:gd name="connsiteX7" fmla="*/ 7000 w 10000"/>
              <a:gd name="connsiteY7" fmla="*/ 4751 h 10000"/>
              <a:gd name="connsiteX8" fmla="*/ 7998 w 10000"/>
              <a:gd name="connsiteY8" fmla="*/ 5255 h 10000"/>
              <a:gd name="connsiteX9" fmla="*/ 8999 w 10000"/>
              <a:gd name="connsiteY9" fmla="*/ 5784 h 10000"/>
              <a:gd name="connsiteX10" fmla="*/ 10000 w 10000"/>
              <a:gd name="connsiteY10" fmla="*/ 5255 h 10000"/>
              <a:gd name="connsiteX11" fmla="*/ 8999 w 10000"/>
              <a:gd name="connsiteY11" fmla="*/ 10000 h 10000"/>
              <a:gd name="connsiteX12" fmla="*/ 7998 w 10000"/>
              <a:gd name="connsiteY12" fmla="*/ 10000 h 10000"/>
              <a:gd name="connsiteX0" fmla="*/ 0 w 10000"/>
              <a:gd name="connsiteY0" fmla="*/ 0 h 10000"/>
              <a:gd name="connsiteX1" fmla="*/ 1001 w 10000"/>
              <a:gd name="connsiteY1" fmla="*/ 3157 h 10000"/>
              <a:gd name="connsiteX2" fmla="*/ 2002 w 10000"/>
              <a:gd name="connsiteY2" fmla="*/ 4216 h 10000"/>
              <a:gd name="connsiteX3" fmla="*/ 3000 w 10000"/>
              <a:gd name="connsiteY3" fmla="*/ 4216 h 10000"/>
              <a:gd name="connsiteX4" fmla="*/ 4001 w 10000"/>
              <a:gd name="connsiteY4" fmla="*/ 2098 h 10000"/>
              <a:gd name="connsiteX5" fmla="*/ 5002 w 10000"/>
              <a:gd name="connsiteY5" fmla="*/ 1065 h 10000"/>
              <a:gd name="connsiteX6" fmla="*/ 5999 w 10000"/>
              <a:gd name="connsiteY6" fmla="*/ 5784 h 10000"/>
              <a:gd name="connsiteX7" fmla="*/ 7000 w 10000"/>
              <a:gd name="connsiteY7" fmla="*/ 4751 h 10000"/>
              <a:gd name="connsiteX8" fmla="*/ 7998 w 10000"/>
              <a:gd name="connsiteY8" fmla="*/ 5255 h 10000"/>
              <a:gd name="connsiteX9" fmla="*/ 8999 w 10000"/>
              <a:gd name="connsiteY9" fmla="*/ 5784 h 10000"/>
              <a:gd name="connsiteX10" fmla="*/ 10000 w 10000"/>
              <a:gd name="connsiteY10" fmla="*/ 5255 h 10000"/>
              <a:gd name="connsiteX11" fmla="*/ 8999 w 10000"/>
              <a:gd name="connsiteY11" fmla="*/ 10000 h 10000"/>
              <a:gd name="connsiteX0" fmla="*/ 0 w 10000"/>
              <a:gd name="connsiteY0" fmla="*/ 0 h 5784"/>
              <a:gd name="connsiteX1" fmla="*/ 1001 w 10000"/>
              <a:gd name="connsiteY1" fmla="*/ 3157 h 5784"/>
              <a:gd name="connsiteX2" fmla="*/ 2002 w 10000"/>
              <a:gd name="connsiteY2" fmla="*/ 4216 h 5784"/>
              <a:gd name="connsiteX3" fmla="*/ 3000 w 10000"/>
              <a:gd name="connsiteY3" fmla="*/ 4216 h 5784"/>
              <a:gd name="connsiteX4" fmla="*/ 4001 w 10000"/>
              <a:gd name="connsiteY4" fmla="*/ 2098 h 5784"/>
              <a:gd name="connsiteX5" fmla="*/ 5002 w 10000"/>
              <a:gd name="connsiteY5" fmla="*/ 1065 h 5784"/>
              <a:gd name="connsiteX6" fmla="*/ 5999 w 10000"/>
              <a:gd name="connsiteY6" fmla="*/ 5784 h 5784"/>
              <a:gd name="connsiteX7" fmla="*/ 7000 w 10000"/>
              <a:gd name="connsiteY7" fmla="*/ 4751 h 5784"/>
              <a:gd name="connsiteX8" fmla="*/ 7998 w 10000"/>
              <a:gd name="connsiteY8" fmla="*/ 5255 h 5784"/>
              <a:gd name="connsiteX9" fmla="*/ 8999 w 10000"/>
              <a:gd name="connsiteY9" fmla="*/ 5784 h 5784"/>
              <a:gd name="connsiteX10" fmla="*/ 10000 w 10000"/>
              <a:gd name="connsiteY10" fmla="*/ 5255 h 57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000" h="5784">
                <a:moveTo>
                  <a:pt x="0" y="0"/>
                </a:moveTo>
                <a:lnTo>
                  <a:pt x="1001" y="3157"/>
                </a:lnTo>
                <a:lnTo>
                  <a:pt x="2002" y="4216"/>
                </a:lnTo>
                <a:lnTo>
                  <a:pt x="3000" y="4216"/>
                </a:lnTo>
                <a:lnTo>
                  <a:pt x="4001" y="2098"/>
                </a:lnTo>
                <a:lnTo>
                  <a:pt x="5002" y="1065"/>
                </a:lnTo>
                <a:lnTo>
                  <a:pt x="5999" y="5784"/>
                </a:lnTo>
                <a:lnTo>
                  <a:pt x="7000" y="4751"/>
                </a:lnTo>
                <a:lnTo>
                  <a:pt x="7998" y="5255"/>
                </a:lnTo>
                <a:lnTo>
                  <a:pt x="8999" y="5784"/>
                </a:lnTo>
                <a:lnTo>
                  <a:pt x="10000" y="5255"/>
                </a:lnTo>
              </a:path>
            </a:pathLst>
          </a:custGeom>
          <a:noFill/>
          <a:ln w="25400" cap="sq">
            <a:solidFill>
              <a:srgbClr val="EB780A"/>
            </a:solidFill>
            <a:miter lim="800000"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59C3B302-1059-49CB-A58C-4336B315E72B}"/>
              </a:ext>
            </a:extLst>
          </p:cNvPr>
          <p:cNvSpPr/>
          <p:nvPr/>
        </p:nvSpPr>
        <p:spPr bwMode="auto">
          <a:xfrm>
            <a:off x="1051641" y="3483433"/>
            <a:ext cx="4614148" cy="2158627"/>
          </a:xfrm>
          <a:custGeom>
            <a:avLst/>
            <a:gdLst>
              <a:gd name="connsiteX0" fmla="*/ 0 w 3304989"/>
              <a:gd name="connsiteY0" fmla="*/ 2139577 h 2139577"/>
              <a:gd name="connsiteX1" fmla="*/ 508000 w 3304989"/>
              <a:gd name="connsiteY1" fmla="*/ 2049929 h 2139577"/>
              <a:gd name="connsiteX2" fmla="*/ 920377 w 3304989"/>
              <a:gd name="connsiteY2" fmla="*/ 1739153 h 2139577"/>
              <a:gd name="connsiteX3" fmla="*/ 1314824 w 3304989"/>
              <a:gd name="connsiteY3" fmla="*/ 1512047 h 2139577"/>
              <a:gd name="connsiteX4" fmla="*/ 1709271 w 3304989"/>
              <a:gd name="connsiteY4" fmla="*/ 968188 h 2139577"/>
              <a:gd name="connsiteX5" fmla="*/ 2115671 w 3304989"/>
              <a:gd name="connsiteY5" fmla="*/ 699247 h 2139577"/>
              <a:gd name="connsiteX6" fmla="*/ 2510118 w 3304989"/>
              <a:gd name="connsiteY6" fmla="*/ 508000 h 2139577"/>
              <a:gd name="connsiteX7" fmla="*/ 2916518 w 3304989"/>
              <a:gd name="connsiteY7" fmla="*/ 280894 h 2139577"/>
              <a:gd name="connsiteX8" fmla="*/ 3304989 w 3304989"/>
              <a:gd name="connsiteY8" fmla="*/ 0 h 2139577"/>
              <a:gd name="connsiteX0" fmla="*/ 0 w 3304989"/>
              <a:gd name="connsiteY0" fmla="*/ 2139577 h 2139577"/>
              <a:gd name="connsiteX1" fmla="*/ 508000 w 3304989"/>
              <a:gd name="connsiteY1" fmla="*/ 2049929 h 2139577"/>
              <a:gd name="connsiteX2" fmla="*/ 920377 w 3304989"/>
              <a:gd name="connsiteY2" fmla="*/ 1739153 h 2139577"/>
              <a:gd name="connsiteX3" fmla="*/ 1314824 w 3304989"/>
              <a:gd name="connsiteY3" fmla="*/ 1512047 h 2139577"/>
              <a:gd name="connsiteX4" fmla="*/ 1709271 w 3304989"/>
              <a:gd name="connsiteY4" fmla="*/ 968188 h 2139577"/>
              <a:gd name="connsiteX5" fmla="*/ 2115671 w 3304989"/>
              <a:gd name="connsiteY5" fmla="*/ 699247 h 2139577"/>
              <a:gd name="connsiteX6" fmla="*/ 2510118 w 3304989"/>
              <a:gd name="connsiteY6" fmla="*/ 508000 h 2139577"/>
              <a:gd name="connsiteX7" fmla="*/ 2916518 w 3304989"/>
              <a:gd name="connsiteY7" fmla="*/ 280894 h 2139577"/>
              <a:gd name="connsiteX8" fmla="*/ 3304989 w 3304989"/>
              <a:gd name="connsiteY8" fmla="*/ 0 h 2139577"/>
              <a:gd name="connsiteX0" fmla="*/ 0 w 3304989"/>
              <a:gd name="connsiteY0" fmla="*/ 2139577 h 2139577"/>
              <a:gd name="connsiteX1" fmla="*/ 508000 w 3304989"/>
              <a:gd name="connsiteY1" fmla="*/ 2049929 h 2139577"/>
              <a:gd name="connsiteX2" fmla="*/ 920377 w 3304989"/>
              <a:gd name="connsiteY2" fmla="*/ 1739153 h 2139577"/>
              <a:gd name="connsiteX3" fmla="*/ 1314824 w 3304989"/>
              <a:gd name="connsiteY3" fmla="*/ 1512047 h 2139577"/>
              <a:gd name="connsiteX4" fmla="*/ 1709271 w 3304989"/>
              <a:gd name="connsiteY4" fmla="*/ 968188 h 2139577"/>
              <a:gd name="connsiteX5" fmla="*/ 2115671 w 3304989"/>
              <a:gd name="connsiteY5" fmla="*/ 699247 h 2139577"/>
              <a:gd name="connsiteX6" fmla="*/ 2510118 w 3304989"/>
              <a:gd name="connsiteY6" fmla="*/ 508000 h 2139577"/>
              <a:gd name="connsiteX7" fmla="*/ 2916518 w 3304989"/>
              <a:gd name="connsiteY7" fmla="*/ 280894 h 2139577"/>
              <a:gd name="connsiteX8" fmla="*/ 3304989 w 3304989"/>
              <a:gd name="connsiteY8" fmla="*/ 0 h 2139577"/>
              <a:gd name="connsiteX0" fmla="*/ 0 w 3304989"/>
              <a:gd name="connsiteY0" fmla="*/ 2139577 h 2139577"/>
              <a:gd name="connsiteX1" fmla="*/ 508000 w 3304989"/>
              <a:gd name="connsiteY1" fmla="*/ 2049929 h 2139577"/>
              <a:gd name="connsiteX2" fmla="*/ 920377 w 3304989"/>
              <a:gd name="connsiteY2" fmla="*/ 1739153 h 2139577"/>
              <a:gd name="connsiteX3" fmla="*/ 1314824 w 3304989"/>
              <a:gd name="connsiteY3" fmla="*/ 1512047 h 2139577"/>
              <a:gd name="connsiteX4" fmla="*/ 1709271 w 3304989"/>
              <a:gd name="connsiteY4" fmla="*/ 968188 h 2139577"/>
              <a:gd name="connsiteX5" fmla="*/ 2115671 w 3304989"/>
              <a:gd name="connsiteY5" fmla="*/ 699247 h 2139577"/>
              <a:gd name="connsiteX6" fmla="*/ 2510118 w 3304989"/>
              <a:gd name="connsiteY6" fmla="*/ 508000 h 2139577"/>
              <a:gd name="connsiteX7" fmla="*/ 2916518 w 3304989"/>
              <a:gd name="connsiteY7" fmla="*/ 280894 h 2139577"/>
              <a:gd name="connsiteX8" fmla="*/ 3304989 w 3304989"/>
              <a:gd name="connsiteY8" fmla="*/ 0 h 2139577"/>
              <a:gd name="connsiteX0" fmla="*/ 0 w 3304989"/>
              <a:gd name="connsiteY0" fmla="*/ 2139577 h 2139577"/>
              <a:gd name="connsiteX1" fmla="*/ 508000 w 3304989"/>
              <a:gd name="connsiteY1" fmla="*/ 2049929 h 2139577"/>
              <a:gd name="connsiteX2" fmla="*/ 920377 w 3304989"/>
              <a:gd name="connsiteY2" fmla="*/ 1739153 h 2139577"/>
              <a:gd name="connsiteX3" fmla="*/ 1314824 w 3304989"/>
              <a:gd name="connsiteY3" fmla="*/ 1512047 h 2139577"/>
              <a:gd name="connsiteX4" fmla="*/ 1709271 w 3304989"/>
              <a:gd name="connsiteY4" fmla="*/ 968188 h 2139577"/>
              <a:gd name="connsiteX5" fmla="*/ 2115671 w 3304989"/>
              <a:gd name="connsiteY5" fmla="*/ 699247 h 2139577"/>
              <a:gd name="connsiteX6" fmla="*/ 2510118 w 3304989"/>
              <a:gd name="connsiteY6" fmla="*/ 508000 h 2139577"/>
              <a:gd name="connsiteX7" fmla="*/ 2916518 w 3304989"/>
              <a:gd name="connsiteY7" fmla="*/ 280894 h 2139577"/>
              <a:gd name="connsiteX8" fmla="*/ 3304989 w 3304989"/>
              <a:gd name="connsiteY8" fmla="*/ 0 h 2139577"/>
              <a:gd name="connsiteX0" fmla="*/ 0 w 3304989"/>
              <a:gd name="connsiteY0" fmla="*/ 2139577 h 2139577"/>
              <a:gd name="connsiteX1" fmla="*/ 508000 w 3304989"/>
              <a:gd name="connsiteY1" fmla="*/ 2049929 h 2139577"/>
              <a:gd name="connsiteX2" fmla="*/ 920377 w 3304989"/>
              <a:gd name="connsiteY2" fmla="*/ 1739153 h 2139577"/>
              <a:gd name="connsiteX3" fmla="*/ 1314824 w 3304989"/>
              <a:gd name="connsiteY3" fmla="*/ 1512047 h 2139577"/>
              <a:gd name="connsiteX4" fmla="*/ 1709271 w 3304989"/>
              <a:gd name="connsiteY4" fmla="*/ 968188 h 2139577"/>
              <a:gd name="connsiteX5" fmla="*/ 2115671 w 3304989"/>
              <a:gd name="connsiteY5" fmla="*/ 699247 h 2139577"/>
              <a:gd name="connsiteX6" fmla="*/ 2510118 w 3304989"/>
              <a:gd name="connsiteY6" fmla="*/ 508000 h 2139577"/>
              <a:gd name="connsiteX7" fmla="*/ 2916518 w 3304989"/>
              <a:gd name="connsiteY7" fmla="*/ 280894 h 2139577"/>
              <a:gd name="connsiteX8" fmla="*/ 3304989 w 3304989"/>
              <a:gd name="connsiteY8" fmla="*/ 0 h 2139577"/>
              <a:gd name="connsiteX0" fmla="*/ 0 w 3304989"/>
              <a:gd name="connsiteY0" fmla="*/ 2139577 h 2139577"/>
              <a:gd name="connsiteX1" fmla="*/ 508000 w 3304989"/>
              <a:gd name="connsiteY1" fmla="*/ 2049929 h 2139577"/>
              <a:gd name="connsiteX2" fmla="*/ 920377 w 3304989"/>
              <a:gd name="connsiteY2" fmla="*/ 1739153 h 2139577"/>
              <a:gd name="connsiteX3" fmla="*/ 1314824 w 3304989"/>
              <a:gd name="connsiteY3" fmla="*/ 1512047 h 2139577"/>
              <a:gd name="connsiteX4" fmla="*/ 1709271 w 3304989"/>
              <a:gd name="connsiteY4" fmla="*/ 968188 h 2139577"/>
              <a:gd name="connsiteX5" fmla="*/ 2115671 w 3304989"/>
              <a:gd name="connsiteY5" fmla="*/ 699247 h 2139577"/>
              <a:gd name="connsiteX6" fmla="*/ 2510118 w 3304989"/>
              <a:gd name="connsiteY6" fmla="*/ 508000 h 2139577"/>
              <a:gd name="connsiteX7" fmla="*/ 2916518 w 3304989"/>
              <a:gd name="connsiteY7" fmla="*/ 280894 h 2139577"/>
              <a:gd name="connsiteX8" fmla="*/ 3304989 w 3304989"/>
              <a:gd name="connsiteY8" fmla="*/ 0 h 2139577"/>
              <a:gd name="connsiteX0" fmla="*/ 0 w 3304989"/>
              <a:gd name="connsiteY0" fmla="*/ 2139577 h 2139577"/>
              <a:gd name="connsiteX1" fmla="*/ 508000 w 3304989"/>
              <a:gd name="connsiteY1" fmla="*/ 2049929 h 2139577"/>
              <a:gd name="connsiteX2" fmla="*/ 920377 w 3304989"/>
              <a:gd name="connsiteY2" fmla="*/ 1739153 h 2139577"/>
              <a:gd name="connsiteX3" fmla="*/ 1314824 w 3304989"/>
              <a:gd name="connsiteY3" fmla="*/ 1512047 h 2139577"/>
              <a:gd name="connsiteX4" fmla="*/ 1709271 w 3304989"/>
              <a:gd name="connsiteY4" fmla="*/ 968188 h 2139577"/>
              <a:gd name="connsiteX5" fmla="*/ 2115671 w 3304989"/>
              <a:gd name="connsiteY5" fmla="*/ 699247 h 2139577"/>
              <a:gd name="connsiteX6" fmla="*/ 2510118 w 3304989"/>
              <a:gd name="connsiteY6" fmla="*/ 508000 h 2139577"/>
              <a:gd name="connsiteX7" fmla="*/ 2916518 w 3304989"/>
              <a:gd name="connsiteY7" fmla="*/ 280894 h 2139577"/>
              <a:gd name="connsiteX8" fmla="*/ 3304989 w 3304989"/>
              <a:gd name="connsiteY8" fmla="*/ 0 h 2139577"/>
              <a:gd name="connsiteX0" fmla="*/ 0 w 3304989"/>
              <a:gd name="connsiteY0" fmla="*/ 2139577 h 2139577"/>
              <a:gd name="connsiteX1" fmla="*/ 508000 w 3304989"/>
              <a:gd name="connsiteY1" fmla="*/ 2049929 h 2139577"/>
              <a:gd name="connsiteX2" fmla="*/ 920377 w 3304989"/>
              <a:gd name="connsiteY2" fmla="*/ 1739153 h 2139577"/>
              <a:gd name="connsiteX3" fmla="*/ 1314824 w 3304989"/>
              <a:gd name="connsiteY3" fmla="*/ 1512047 h 2139577"/>
              <a:gd name="connsiteX4" fmla="*/ 1709271 w 3304989"/>
              <a:gd name="connsiteY4" fmla="*/ 968188 h 2139577"/>
              <a:gd name="connsiteX5" fmla="*/ 2115671 w 3304989"/>
              <a:gd name="connsiteY5" fmla="*/ 699247 h 2139577"/>
              <a:gd name="connsiteX6" fmla="*/ 2510118 w 3304989"/>
              <a:gd name="connsiteY6" fmla="*/ 508000 h 2139577"/>
              <a:gd name="connsiteX7" fmla="*/ 2916518 w 3304989"/>
              <a:gd name="connsiteY7" fmla="*/ 280894 h 2139577"/>
              <a:gd name="connsiteX8" fmla="*/ 3304989 w 3304989"/>
              <a:gd name="connsiteY8" fmla="*/ 0 h 2139577"/>
              <a:gd name="connsiteX0" fmla="*/ 0 w 3304989"/>
              <a:gd name="connsiteY0" fmla="*/ 2139577 h 2139577"/>
              <a:gd name="connsiteX1" fmla="*/ 508000 w 3304989"/>
              <a:gd name="connsiteY1" fmla="*/ 2049929 h 2139577"/>
              <a:gd name="connsiteX2" fmla="*/ 920377 w 3304989"/>
              <a:gd name="connsiteY2" fmla="*/ 1739153 h 2139577"/>
              <a:gd name="connsiteX3" fmla="*/ 1314824 w 3304989"/>
              <a:gd name="connsiteY3" fmla="*/ 1512047 h 2139577"/>
              <a:gd name="connsiteX4" fmla="*/ 1709271 w 3304989"/>
              <a:gd name="connsiteY4" fmla="*/ 968188 h 2139577"/>
              <a:gd name="connsiteX5" fmla="*/ 2115671 w 3304989"/>
              <a:gd name="connsiteY5" fmla="*/ 699247 h 2139577"/>
              <a:gd name="connsiteX6" fmla="*/ 2510118 w 3304989"/>
              <a:gd name="connsiteY6" fmla="*/ 508000 h 2139577"/>
              <a:gd name="connsiteX7" fmla="*/ 2916518 w 3304989"/>
              <a:gd name="connsiteY7" fmla="*/ 280894 h 2139577"/>
              <a:gd name="connsiteX8" fmla="*/ 3304989 w 3304989"/>
              <a:gd name="connsiteY8" fmla="*/ 0 h 2139577"/>
              <a:gd name="connsiteX0" fmla="*/ 0 w 3304989"/>
              <a:gd name="connsiteY0" fmla="*/ 2139577 h 2139577"/>
              <a:gd name="connsiteX1" fmla="*/ 508000 w 3304989"/>
              <a:gd name="connsiteY1" fmla="*/ 2049929 h 2139577"/>
              <a:gd name="connsiteX2" fmla="*/ 920377 w 3304989"/>
              <a:gd name="connsiteY2" fmla="*/ 1739153 h 2139577"/>
              <a:gd name="connsiteX3" fmla="*/ 1314824 w 3304989"/>
              <a:gd name="connsiteY3" fmla="*/ 1512047 h 2139577"/>
              <a:gd name="connsiteX4" fmla="*/ 1709271 w 3304989"/>
              <a:gd name="connsiteY4" fmla="*/ 968188 h 2139577"/>
              <a:gd name="connsiteX5" fmla="*/ 2115671 w 3304989"/>
              <a:gd name="connsiteY5" fmla="*/ 699247 h 2139577"/>
              <a:gd name="connsiteX6" fmla="*/ 2510118 w 3304989"/>
              <a:gd name="connsiteY6" fmla="*/ 508000 h 2139577"/>
              <a:gd name="connsiteX7" fmla="*/ 2916518 w 3304989"/>
              <a:gd name="connsiteY7" fmla="*/ 280894 h 2139577"/>
              <a:gd name="connsiteX8" fmla="*/ 3304989 w 3304989"/>
              <a:gd name="connsiteY8" fmla="*/ 0 h 2139577"/>
              <a:gd name="connsiteX0" fmla="*/ 0 w 3304989"/>
              <a:gd name="connsiteY0" fmla="*/ 2139577 h 2139577"/>
              <a:gd name="connsiteX1" fmla="*/ 508000 w 3304989"/>
              <a:gd name="connsiteY1" fmla="*/ 2049929 h 2139577"/>
              <a:gd name="connsiteX2" fmla="*/ 920377 w 3304989"/>
              <a:gd name="connsiteY2" fmla="*/ 1739153 h 2139577"/>
              <a:gd name="connsiteX3" fmla="*/ 1314824 w 3304989"/>
              <a:gd name="connsiteY3" fmla="*/ 1512047 h 2139577"/>
              <a:gd name="connsiteX4" fmla="*/ 1709271 w 3304989"/>
              <a:gd name="connsiteY4" fmla="*/ 968188 h 2139577"/>
              <a:gd name="connsiteX5" fmla="*/ 2115671 w 3304989"/>
              <a:gd name="connsiteY5" fmla="*/ 699247 h 2139577"/>
              <a:gd name="connsiteX6" fmla="*/ 2510118 w 3304989"/>
              <a:gd name="connsiteY6" fmla="*/ 508000 h 2139577"/>
              <a:gd name="connsiteX7" fmla="*/ 2916518 w 3304989"/>
              <a:gd name="connsiteY7" fmla="*/ 280894 h 2139577"/>
              <a:gd name="connsiteX8" fmla="*/ 3304989 w 3304989"/>
              <a:gd name="connsiteY8" fmla="*/ 0 h 2139577"/>
              <a:gd name="connsiteX0" fmla="*/ 0 w 3304989"/>
              <a:gd name="connsiteY0" fmla="*/ 2139577 h 2139577"/>
              <a:gd name="connsiteX1" fmla="*/ 508000 w 3304989"/>
              <a:gd name="connsiteY1" fmla="*/ 2049929 h 2139577"/>
              <a:gd name="connsiteX2" fmla="*/ 920377 w 3304989"/>
              <a:gd name="connsiteY2" fmla="*/ 1739153 h 2139577"/>
              <a:gd name="connsiteX3" fmla="*/ 1314824 w 3304989"/>
              <a:gd name="connsiteY3" fmla="*/ 1512047 h 2139577"/>
              <a:gd name="connsiteX4" fmla="*/ 1709271 w 3304989"/>
              <a:gd name="connsiteY4" fmla="*/ 968188 h 2139577"/>
              <a:gd name="connsiteX5" fmla="*/ 2115671 w 3304989"/>
              <a:gd name="connsiteY5" fmla="*/ 699247 h 2139577"/>
              <a:gd name="connsiteX6" fmla="*/ 2510118 w 3304989"/>
              <a:gd name="connsiteY6" fmla="*/ 508000 h 2139577"/>
              <a:gd name="connsiteX7" fmla="*/ 2916518 w 3304989"/>
              <a:gd name="connsiteY7" fmla="*/ 280894 h 2139577"/>
              <a:gd name="connsiteX8" fmla="*/ 3304989 w 3304989"/>
              <a:gd name="connsiteY8" fmla="*/ 0 h 2139577"/>
              <a:gd name="connsiteX0" fmla="*/ 0 w 3304989"/>
              <a:gd name="connsiteY0" fmla="*/ 2139577 h 2139577"/>
              <a:gd name="connsiteX1" fmla="*/ 508000 w 3304989"/>
              <a:gd name="connsiteY1" fmla="*/ 2049929 h 2139577"/>
              <a:gd name="connsiteX2" fmla="*/ 920377 w 3304989"/>
              <a:gd name="connsiteY2" fmla="*/ 1739153 h 2139577"/>
              <a:gd name="connsiteX3" fmla="*/ 1314824 w 3304989"/>
              <a:gd name="connsiteY3" fmla="*/ 1512047 h 2139577"/>
              <a:gd name="connsiteX4" fmla="*/ 1709271 w 3304989"/>
              <a:gd name="connsiteY4" fmla="*/ 968188 h 2139577"/>
              <a:gd name="connsiteX5" fmla="*/ 2115671 w 3304989"/>
              <a:gd name="connsiteY5" fmla="*/ 699247 h 2139577"/>
              <a:gd name="connsiteX6" fmla="*/ 2510118 w 3304989"/>
              <a:gd name="connsiteY6" fmla="*/ 508000 h 2139577"/>
              <a:gd name="connsiteX7" fmla="*/ 2916518 w 3304989"/>
              <a:gd name="connsiteY7" fmla="*/ 280894 h 2139577"/>
              <a:gd name="connsiteX8" fmla="*/ 3304989 w 3304989"/>
              <a:gd name="connsiteY8" fmla="*/ 0 h 2139577"/>
              <a:gd name="connsiteX0" fmla="*/ 0 w 3304989"/>
              <a:gd name="connsiteY0" fmla="*/ 2139577 h 2139577"/>
              <a:gd name="connsiteX1" fmla="*/ 508000 w 3304989"/>
              <a:gd name="connsiteY1" fmla="*/ 2049929 h 2139577"/>
              <a:gd name="connsiteX2" fmla="*/ 920377 w 3304989"/>
              <a:gd name="connsiteY2" fmla="*/ 1739153 h 2139577"/>
              <a:gd name="connsiteX3" fmla="*/ 1314824 w 3304989"/>
              <a:gd name="connsiteY3" fmla="*/ 1512047 h 2139577"/>
              <a:gd name="connsiteX4" fmla="*/ 1709271 w 3304989"/>
              <a:gd name="connsiteY4" fmla="*/ 968188 h 2139577"/>
              <a:gd name="connsiteX5" fmla="*/ 2115671 w 3304989"/>
              <a:gd name="connsiteY5" fmla="*/ 699247 h 2139577"/>
              <a:gd name="connsiteX6" fmla="*/ 2510118 w 3304989"/>
              <a:gd name="connsiteY6" fmla="*/ 508000 h 2139577"/>
              <a:gd name="connsiteX7" fmla="*/ 2916518 w 3304989"/>
              <a:gd name="connsiteY7" fmla="*/ 280894 h 2139577"/>
              <a:gd name="connsiteX8" fmla="*/ 3304989 w 3304989"/>
              <a:gd name="connsiteY8" fmla="*/ 0 h 2139577"/>
              <a:gd name="connsiteX0" fmla="*/ 0 w 3304989"/>
              <a:gd name="connsiteY0" fmla="*/ 2139577 h 2139577"/>
              <a:gd name="connsiteX1" fmla="*/ 508000 w 3304989"/>
              <a:gd name="connsiteY1" fmla="*/ 2049929 h 2139577"/>
              <a:gd name="connsiteX2" fmla="*/ 920377 w 3304989"/>
              <a:gd name="connsiteY2" fmla="*/ 1739153 h 2139577"/>
              <a:gd name="connsiteX3" fmla="*/ 1314824 w 3304989"/>
              <a:gd name="connsiteY3" fmla="*/ 1512047 h 2139577"/>
              <a:gd name="connsiteX4" fmla="*/ 1709271 w 3304989"/>
              <a:gd name="connsiteY4" fmla="*/ 968188 h 2139577"/>
              <a:gd name="connsiteX5" fmla="*/ 2115671 w 3304989"/>
              <a:gd name="connsiteY5" fmla="*/ 699247 h 2139577"/>
              <a:gd name="connsiteX6" fmla="*/ 2510118 w 3304989"/>
              <a:gd name="connsiteY6" fmla="*/ 508000 h 2139577"/>
              <a:gd name="connsiteX7" fmla="*/ 2916518 w 3304989"/>
              <a:gd name="connsiteY7" fmla="*/ 280894 h 2139577"/>
              <a:gd name="connsiteX8" fmla="*/ 3304989 w 3304989"/>
              <a:gd name="connsiteY8" fmla="*/ 0 h 2139577"/>
              <a:gd name="connsiteX0" fmla="*/ 0 w 3304989"/>
              <a:gd name="connsiteY0" fmla="*/ 2139577 h 2139577"/>
              <a:gd name="connsiteX1" fmla="*/ 508000 w 3304989"/>
              <a:gd name="connsiteY1" fmla="*/ 2049929 h 2139577"/>
              <a:gd name="connsiteX2" fmla="*/ 920377 w 3304989"/>
              <a:gd name="connsiteY2" fmla="*/ 1739153 h 2139577"/>
              <a:gd name="connsiteX3" fmla="*/ 1314824 w 3304989"/>
              <a:gd name="connsiteY3" fmla="*/ 1512047 h 2139577"/>
              <a:gd name="connsiteX4" fmla="*/ 1709271 w 3304989"/>
              <a:gd name="connsiteY4" fmla="*/ 968188 h 2139577"/>
              <a:gd name="connsiteX5" fmla="*/ 2115671 w 3304989"/>
              <a:gd name="connsiteY5" fmla="*/ 699247 h 2139577"/>
              <a:gd name="connsiteX6" fmla="*/ 2510118 w 3304989"/>
              <a:gd name="connsiteY6" fmla="*/ 508000 h 2139577"/>
              <a:gd name="connsiteX7" fmla="*/ 2916518 w 3304989"/>
              <a:gd name="connsiteY7" fmla="*/ 280894 h 2139577"/>
              <a:gd name="connsiteX8" fmla="*/ 3304989 w 3304989"/>
              <a:gd name="connsiteY8" fmla="*/ 0 h 2139577"/>
              <a:gd name="connsiteX0" fmla="*/ 0 w 3304989"/>
              <a:gd name="connsiteY0" fmla="*/ 2139577 h 2139577"/>
              <a:gd name="connsiteX1" fmla="*/ 508000 w 3304989"/>
              <a:gd name="connsiteY1" fmla="*/ 2049929 h 2139577"/>
              <a:gd name="connsiteX2" fmla="*/ 920377 w 3304989"/>
              <a:gd name="connsiteY2" fmla="*/ 1739153 h 2139577"/>
              <a:gd name="connsiteX3" fmla="*/ 1314824 w 3304989"/>
              <a:gd name="connsiteY3" fmla="*/ 1512047 h 2139577"/>
              <a:gd name="connsiteX4" fmla="*/ 1709271 w 3304989"/>
              <a:gd name="connsiteY4" fmla="*/ 968188 h 2139577"/>
              <a:gd name="connsiteX5" fmla="*/ 2115671 w 3304989"/>
              <a:gd name="connsiteY5" fmla="*/ 699247 h 2139577"/>
              <a:gd name="connsiteX6" fmla="*/ 2510118 w 3304989"/>
              <a:gd name="connsiteY6" fmla="*/ 508000 h 2139577"/>
              <a:gd name="connsiteX7" fmla="*/ 2916518 w 3304989"/>
              <a:gd name="connsiteY7" fmla="*/ 280894 h 2139577"/>
              <a:gd name="connsiteX8" fmla="*/ 3304989 w 3304989"/>
              <a:gd name="connsiteY8" fmla="*/ 0 h 2139577"/>
              <a:gd name="connsiteX0" fmla="*/ 0 w 3304989"/>
              <a:gd name="connsiteY0" fmla="*/ 2139577 h 2139577"/>
              <a:gd name="connsiteX1" fmla="*/ 508000 w 3304989"/>
              <a:gd name="connsiteY1" fmla="*/ 2049929 h 2139577"/>
              <a:gd name="connsiteX2" fmla="*/ 920377 w 3304989"/>
              <a:gd name="connsiteY2" fmla="*/ 1739153 h 2139577"/>
              <a:gd name="connsiteX3" fmla="*/ 1314824 w 3304989"/>
              <a:gd name="connsiteY3" fmla="*/ 1512047 h 2139577"/>
              <a:gd name="connsiteX4" fmla="*/ 1709271 w 3304989"/>
              <a:gd name="connsiteY4" fmla="*/ 968188 h 2139577"/>
              <a:gd name="connsiteX5" fmla="*/ 2115671 w 3304989"/>
              <a:gd name="connsiteY5" fmla="*/ 699247 h 2139577"/>
              <a:gd name="connsiteX6" fmla="*/ 2510118 w 3304989"/>
              <a:gd name="connsiteY6" fmla="*/ 508000 h 2139577"/>
              <a:gd name="connsiteX7" fmla="*/ 2916518 w 3304989"/>
              <a:gd name="connsiteY7" fmla="*/ 280894 h 2139577"/>
              <a:gd name="connsiteX8" fmla="*/ 3304989 w 3304989"/>
              <a:gd name="connsiteY8" fmla="*/ 0 h 2139577"/>
              <a:gd name="connsiteX0" fmla="*/ 0 w 3304989"/>
              <a:gd name="connsiteY0" fmla="*/ 2139577 h 2139577"/>
              <a:gd name="connsiteX1" fmla="*/ 508000 w 3304989"/>
              <a:gd name="connsiteY1" fmla="*/ 2049929 h 2139577"/>
              <a:gd name="connsiteX2" fmla="*/ 920377 w 3304989"/>
              <a:gd name="connsiteY2" fmla="*/ 1739153 h 2139577"/>
              <a:gd name="connsiteX3" fmla="*/ 1314824 w 3304989"/>
              <a:gd name="connsiteY3" fmla="*/ 1512047 h 2139577"/>
              <a:gd name="connsiteX4" fmla="*/ 1709271 w 3304989"/>
              <a:gd name="connsiteY4" fmla="*/ 968188 h 2139577"/>
              <a:gd name="connsiteX5" fmla="*/ 2115671 w 3304989"/>
              <a:gd name="connsiteY5" fmla="*/ 699247 h 2139577"/>
              <a:gd name="connsiteX6" fmla="*/ 2510118 w 3304989"/>
              <a:gd name="connsiteY6" fmla="*/ 508000 h 2139577"/>
              <a:gd name="connsiteX7" fmla="*/ 2916518 w 3304989"/>
              <a:gd name="connsiteY7" fmla="*/ 280894 h 2139577"/>
              <a:gd name="connsiteX8" fmla="*/ 3304989 w 3304989"/>
              <a:gd name="connsiteY8" fmla="*/ 0 h 2139577"/>
              <a:gd name="connsiteX0" fmla="*/ 0 w 3304989"/>
              <a:gd name="connsiteY0" fmla="*/ 2139577 h 2139577"/>
              <a:gd name="connsiteX1" fmla="*/ 508000 w 3304989"/>
              <a:gd name="connsiteY1" fmla="*/ 2049929 h 2139577"/>
              <a:gd name="connsiteX2" fmla="*/ 920377 w 3304989"/>
              <a:gd name="connsiteY2" fmla="*/ 1739153 h 2139577"/>
              <a:gd name="connsiteX3" fmla="*/ 1314824 w 3304989"/>
              <a:gd name="connsiteY3" fmla="*/ 1512047 h 2139577"/>
              <a:gd name="connsiteX4" fmla="*/ 1709271 w 3304989"/>
              <a:gd name="connsiteY4" fmla="*/ 968188 h 2139577"/>
              <a:gd name="connsiteX5" fmla="*/ 2115671 w 3304989"/>
              <a:gd name="connsiteY5" fmla="*/ 699247 h 2139577"/>
              <a:gd name="connsiteX6" fmla="*/ 2510118 w 3304989"/>
              <a:gd name="connsiteY6" fmla="*/ 508000 h 2139577"/>
              <a:gd name="connsiteX7" fmla="*/ 2916518 w 3304989"/>
              <a:gd name="connsiteY7" fmla="*/ 280894 h 2139577"/>
              <a:gd name="connsiteX8" fmla="*/ 3304989 w 3304989"/>
              <a:gd name="connsiteY8" fmla="*/ 0 h 2139577"/>
              <a:gd name="connsiteX0" fmla="*/ 0 w 3331183"/>
              <a:gd name="connsiteY0" fmla="*/ 2146721 h 2146721"/>
              <a:gd name="connsiteX1" fmla="*/ 508000 w 3331183"/>
              <a:gd name="connsiteY1" fmla="*/ 2057073 h 2146721"/>
              <a:gd name="connsiteX2" fmla="*/ 920377 w 3331183"/>
              <a:gd name="connsiteY2" fmla="*/ 1746297 h 2146721"/>
              <a:gd name="connsiteX3" fmla="*/ 1314824 w 3331183"/>
              <a:gd name="connsiteY3" fmla="*/ 1519191 h 2146721"/>
              <a:gd name="connsiteX4" fmla="*/ 1709271 w 3331183"/>
              <a:gd name="connsiteY4" fmla="*/ 975332 h 2146721"/>
              <a:gd name="connsiteX5" fmla="*/ 2115671 w 3331183"/>
              <a:gd name="connsiteY5" fmla="*/ 706391 h 2146721"/>
              <a:gd name="connsiteX6" fmla="*/ 2510118 w 3331183"/>
              <a:gd name="connsiteY6" fmla="*/ 515144 h 2146721"/>
              <a:gd name="connsiteX7" fmla="*/ 2916518 w 3331183"/>
              <a:gd name="connsiteY7" fmla="*/ 288038 h 2146721"/>
              <a:gd name="connsiteX8" fmla="*/ 3331183 w 3331183"/>
              <a:gd name="connsiteY8" fmla="*/ 0 h 2146721"/>
              <a:gd name="connsiteX0" fmla="*/ 0 w 3331183"/>
              <a:gd name="connsiteY0" fmla="*/ 2146721 h 2146721"/>
              <a:gd name="connsiteX1" fmla="*/ 508000 w 3331183"/>
              <a:gd name="connsiteY1" fmla="*/ 2057073 h 2146721"/>
              <a:gd name="connsiteX2" fmla="*/ 920377 w 3331183"/>
              <a:gd name="connsiteY2" fmla="*/ 1746297 h 2146721"/>
              <a:gd name="connsiteX3" fmla="*/ 1314824 w 3331183"/>
              <a:gd name="connsiteY3" fmla="*/ 1519191 h 2146721"/>
              <a:gd name="connsiteX4" fmla="*/ 1709271 w 3331183"/>
              <a:gd name="connsiteY4" fmla="*/ 975332 h 2146721"/>
              <a:gd name="connsiteX5" fmla="*/ 2115671 w 3331183"/>
              <a:gd name="connsiteY5" fmla="*/ 706391 h 2146721"/>
              <a:gd name="connsiteX6" fmla="*/ 2510118 w 3331183"/>
              <a:gd name="connsiteY6" fmla="*/ 515144 h 2146721"/>
              <a:gd name="connsiteX7" fmla="*/ 2916518 w 3331183"/>
              <a:gd name="connsiteY7" fmla="*/ 288038 h 2146721"/>
              <a:gd name="connsiteX8" fmla="*/ 3331183 w 3331183"/>
              <a:gd name="connsiteY8" fmla="*/ 0 h 2146721"/>
              <a:gd name="connsiteX0" fmla="*/ 0 w 3331183"/>
              <a:gd name="connsiteY0" fmla="*/ 2146721 h 2146721"/>
              <a:gd name="connsiteX1" fmla="*/ 508000 w 3331183"/>
              <a:gd name="connsiteY1" fmla="*/ 2057073 h 2146721"/>
              <a:gd name="connsiteX2" fmla="*/ 920377 w 3331183"/>
              <a:gd name="connsiteY2" fmla="*/ 1746297 h 2146721"/>
              <a:gd name="connsiteX3" fmla="*/ 1314824 w 3331183"/>
              <a:gd name="connsiteY3" fmla="*/ 1519191 h 2146721"/>
              <a:gd name="connsiteX4" fmla="*/ 1709271 w 3331183"/>
              <a:gd name="connsiteY4" fmla="*/ 975332 h 2146721"/>
              <a:gd name="connsiteX5" fmla="*/ 2115671 w 3331183"/>
              <a:gd name="connsiteY5" fmla="*/ 706391 h 2146721"/>
              <a:gd name="connsiteX6" fmla="*/ 2510118 w 3331183"/>
              <a:gd name="connsiteY6" fmla="*/ 515144 h 2146721"/>
              <a:gd name="connsiteX7" fmla="*/ 2916518 w 3331183"/>
              <a:gd name="connsiteY7" fmla="*/ 288038 h 2146721"/>
              <a:gd name="connsiteX8" fmla="*/ 3331183 w 3331183"/>
              <a:gd name="connsiteY8" fmla="*/ 0 h 2146721"/>
              <a:gd name="connsiteX0" fmla="*/ 0 w 3331183"/>
              <a:gd name="connsiteY0" fmla="*/ 2146721 h 2146721"/>
              <a:gd name="connsiteX1" fmla="*/ 508000 w 3331183"/>
              <a:gd name="connsiteY1" fmla="*/ 2057073 h 2146721"/>
              <a:gd name="connsiteX2" fmla="*/ 920377 w 3331183"/>
              <a:gd name="connsiteY2" fmla="*/ 1746297 h 2146721"/>
              <a:gd name="connsiteX3" fmla="*/ 1314824 w 3331183"/>
              <a:gd name="connsiteY3" fmla="*/ 1519191 h 2146721"/>
              <a:gd name="connsiteX4" fmla="*/ 1709271 w 3331183"/>
              <a:gd name="connsiteY4" fmla="*/ 975332 h 2146721"/>
              <a:gd name="connsiteX5" fmla="*/ 2115671 w 3331183"/>
              <a:gd name="connsiteY5" fmla="*/ 706391 h 2146721"/>
              <a:gd name="connsiteX6" fmla="*/ 2510118 w 3331183"/>
              <a:gd name="connsiteY6" fmla="*/ 515144 h 2146721"/>
              <a:gd name="connsiteX7" fmla="*/ 2916518 w 3331183"/>
              <a:gd name="connsiteY7" fmla="*/ 288038 h 2146721"/>
              <a:gd name="connsiteX8" fmla="*/ 3331183 w 3331183"/>
              <a:gd name="connsiteY8" fmla="*/ 0 h 2146721"/>
              <a:gd name="connsiteX0" fmla="*/ 0 w 3331183"/>
              <a:gd name="connsiteY0" fmla="*/ 2146721 h 2146721"/>
              <a:gd name="connsiteX1" fmla="*/ 508000 w 3331183"/>
              <a:gd name="connsiteY1" fmla="*/ 2057073 h 2146721"/>
              <a:gd name="connsiteX2" fmla="*/ 920377 w 3331183"/>
              <a:gd name="connsiteY2" fmla="*/ 1746297 h 2146721"/>
              <a:gd name="connsiteX3" fmla="*/ 1314824 w 3331183"/>
              <a:gd name="connsiteY3" fmla="*/ 1519191 h 2146721"/>
              <a:gd name="connsiteX4" fmla="*/ 1709271 w 3331183"/>
              <a:gd name="connsiteY4" fmla="*/ 975332 h 2146721"/>
              <a:gd name="connsiteX5" fmla="*/ 2115671 w 3331183"/>
              <a:gd name="connsiteY5" fmla="*/ 706391 h 2146721"/>
              <a:gd name="connsiteX6" fmla="*/ 2510118 w 3331183"/>
              <a:gd name="connsiteY6" fmla="*/ 515144 h 2146721"/>
              <a:gd name="connsiteX7" fmla="*/ 2916518 w 3331183"/>
              <a:gd name="connsiteY7" fmla="*/ 288038 h 2146721"/>
              <a:gd name="connsiteX8" fmla="*/ 3331183 w 3331183"/>
              <a:gd name="connsiteY8" fmla="*/ 0 h 2146721"/>
              <a:gd name="connsiteX0" fmla="*/ 0 w 3326421"/>
              <a:gd name="connsiteY0" fmla="*/ 2137196 h 2137196"/>
              <a:gd name="connsiteX1" fmla="*/ 503238 w 3326421"/>
              <a:gd name="connsiteY1" fmla="*/ 2057073 h 2137196"/>
              <a:gd name="connsiteX2" fmla="*/ 915615 w 3326421"/>
              <a:gd name="connsiteY2" fmla="*/ 1746297 h 2137196"/>
              <a:gd name="connsiteX3" fmla="*/ 1310062 w 3326421"/>
              <a:gd name="connsiteY3" fmla="*/ 1519191 h 2137196"/>
              <a:gd name="connsiteX4" fmla="*/ 1704509 w 3326421"/>
              <a:gd name="connsiteY4" fmla="*/ 975332 h 2137196"/>
              <a:gd name="connsiteX5" fmla="*/ 2110909 w 3326421"/>
              <a:gd name="connsiteY5" fmla="*/ 706391 h 2137196"/>
              <a:gd name="connsiteX6" fmla="*/ 2505356 w 3326421"/>
              <a:gd name="connsiteY6" fmla="*/ 515144 h 2137196"/>
              <a:gd name="connsiteX7" fmla="*/ 2911756 w 3326421"/>
              <a:gd name="connsiteY7" fmla="*/ 288038 h 2137196"/>
              <a:gd name="connsiteX8" fmla="*/ 3326421 w 3326421"/>
              <a:gd name="connsiteY8" fmla="*/ 0 h 2137196"/>
              <a:gd name="connsiteX0" fmla="*/ 0 w 3402621"/>
              <a:gd name="connsiteY0" fmla="*/ 2158627 h 2158627"/>
              <a:gd name="connsiteX1" fmla="*/ 503238 w 3402621"/>
              <a:gd name="connsiteY1" fmla="*/ 2078504 h 2158627"/>
              <a:gd name="connsiteX2" fmla="*/ 915615 w 3402621"/>
              <a:gd name="connsiteY2" fmla="*/ 1767728 h 2158627"/>
              <a:gd name="connsiteX3" fmla="*/ 1310062 w 3402621"/>
              <a:gd name="connsiteY3" fmla="*/ 1540622 h 2158627"/>
              <a:gd name="connsiteX4" fmla="*/ 1704509 w 3402621"/>
              <a:gd name="connsiteY4" fmla="*/ 996763 h 2158627"/>
              <a:gd name="connsiteX5" fmla="*/ 2110909 w 3402621"/>
              <a:gd name="connsiteY5" fmla="*/ 727822 h 2158627"/>
              <a:gd name="connsiteX6" fmla="*/ 2505356 w 3402621"/>
              <a:gd name="connsiteY6" fmla="*/ 536575 h 2158627"/>
              <a:gd name="connsiteX7" fmla="*/ 2911756 w 3402621"/>
              <a:gd name="connsiteY7" fmla="*/ 309469 h 2158627"/>
              <a:gd name="connsiteX8" fmla="*/ 3402621 w 3402621"/>
              <a:gd name="connsiteY8" fmla="*/ 0 h 2158627"/>
              <a:gd name="connsiteX0" fmla="*/ 0 w 3402621"/>
              <a:gd name="connsiteY0" fmla="*/ 2158627 h 2158627"/>
              <a:gd name="connsiteX1" fmla="*/ 503238 w 3402621"/>
              <a:gd name="connsiteY1" fmla="*/ 2078504 h 2158627"/>
              <a:gd name="connsiteX2" fmla="*/ 915615 w 3402621"/>
              <a:gd name="connsiteY2" fmla="*/ 1767728 h 2158627"/>
              <a:gd name="connsiteX3" fmla="*/ 1310062 w 3402621"/>
              <a:gd name="connsiteY3" fmla="*/ 1540622 h 2158627"/>
              <a:gd name="connsiteX4" fmla="*/ 1704509 w 3402621"/>
              <a:gd name="connsiteY4" fmla="*/ 996763 h 2158627"/>
              <a:gd name="connsiteX5" fmla="*/ 2110909 w 3402621"/>
              <a:gd name="connsiteY5" fmla="*/ 727822 h 2158627"/>
              <a:gd name="connsiteX6" fmla="*/ 2505356 w 3402621"/>
              <a:gd name="connsiteY6" fmla="*/ 536575 h 2158627"/>
              <a:gd name="connsiteX7" fmla="*/ 2911756 w 3402621"/>
              <a:gd name="connsiteY7" fmla="*/ 309469 h 2158627"/>
              <a:gd name="connsiteX8" fmla="*/ 3402621 w 3402621"/>
              <a:gd name="connsiteY8" fmla="*/ 0 h 2158627"/>
              <a:gd name="connsiteX0" fmla="*/ 0 w 3402621"/>
              <a:gd name="connsiteY0" fmla="*/ 2158627 h 2158627"/>
              <a:gd name="connsiteX1" fmla="*/ 503238 w 3402621"/>
              <a:gd name="connsiteY1" fmla="*/ 2078504 h 2158627"/>
              <a:gd name="connsiteX2" fmla="*/ 915615 w 3402621"/>
              <a:gd name="connsiteY2" fmla="*/ 1767728 h 2158627"/>
              <a:gd name="connsiteX3" fmla="*/ 1310062 w 3402621"/>
              <a:gd name="connsiteY3" fmla="*/ 1540622 h 2158627"/>
              <a:gd name="connsiteX4" fmla="*/ 1704509 w 3402621"/>
              <a:gd name="connsiteY4" fmla="*/ 996763 h 2158627"/>
              <a:gd name="connsiteX5" fmla="*/ 2110909 w 3402621"/>
              <a:gd name="connsiteY5" fmla="*/ 727822 h 2158627"/>
              <a:gd name="connsiteX6" fmla="*/ 2505356 w 3402621"/>
              <a:gd name="connsiteY6" fmla="*/ 536575 h 2158627"/>
              <a:gd name="connsiteX7" fmla="*/ 2911756 w 3402621"/>
              <a:gd name="connsiteY7" fmla="*/ 309469 h 2158627"/>
              <a:gd name="connsiteX8" fmla="*/ 3402621 w 3402621"/>
              <a:gd name="connsiteY8" fmla="*/ 0 h 2158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02621" h="2158627">
                <a:moveTo>
                  <a:pt x="0" y="2158627"/>
                </a:moveTo>
                <a:cubicBezTo>
                  <a:pt x="178858" y="2147794"/>
                  <a:pt x="350636" y="2143654"/>
                  <a:pt x="503238" y="2078504"/>
                </a:cubicBezTo>
                <a:cubicBezTo>
                  <a:pt x="655840" y="2013354"/>
                  <a:pt x="754019" y="1765262"/>
                  <a:pt x="915615" y="1767728"/>
                </a:cubicBezTo>
                <a:cubicBezTo>
                  <a:pt x="1104247" y="1770607"/>
                  <a:pt x="1160251" y="1564602"/>
                  <a:pt x="1310062" y="1540622"/>
                </a:cubicBezTo>
                <a:cubicBezTo>
                  <a:pt x="1517745" y="1507378"/>
                  <a:pt x="1353034" y="1075520"/>
                  <a:pt x="1704509" y="996763"/>
                </a:cubicBezTo>
                <a:cubicBezTo>
                  <a:pt x="1863021" y="961244"/>
                  <a:pt x="1949980" y="749953"/>
                  <a:pt x="2110909" y="727822"/>
                </a:cubicBezTo>
                <a:cubicBezTo>
                  <a:pt x="2339633" y="696368"/>
                  <a:pt x="2259775" y="559667"/>
                  <a:pt x="2505356" y="536575"/>
                </a:cubicBezTo>
                <a:cubicBezTo>
                  <a:pt x="2740203" y="514492"/>
                  <a:pt x="2669343" y="325080"/>
                  <a:pt x="2911756" y="309469"/>
                </a:cubicBezTo>
                <a:cubicBezTo>
                  <a:pt x="3085640" y="298271"/>
                  <a:pt x="3187406" y="5524"/>
                  <a:pt x="3402621" y="0"/>
                </a:cubicBezTo>
              </a:path>
            </a:pathLst>
          </a:custGeom>
          <a:noFill/>
          <a:ln w="25400" cap="sq">
            <a:solidFill>
              <a:srgbClr val="50BED7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de-DE" sz="24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66" name="Freeform 96">
            <a:extLst>
              <a:ext uri="{FF2B5EF4-FFF2-40B4-BE49-F238E27FC236}">
                <a16:creationId xmlns:a16="http://schemas.microsoft.com/office/drawing/2014/main" id="{E1E452D8-8028-4E99-B7FF-2BA6A9410AF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933672" y="3465842"/>
            <a:ext cx="253329" cy="253661"/>
          </a:xfrm>
          <a:custGeom>
            <a:avLst/>
            <a:gdLst>
              <a:gd name="T0" fmla="*/ 321 w 642"/>
              <a:gd name="T1" fmla="*/ 0 h 643"/>
              <a:gd name="T2" fmla="*/ 0 w 642"/>
              <a:gd name="T3" fmla="*/ 322 h 643"/>
              <a:gd name="T4" fmla="*/ 321 w 642"/>
              <a:gd name="T5" fmla="*/ 643 h 643"/>
              <a:gd name="T6" fmla="*/ 642 w 642"/>
              <a:gd name="T7" fmla="*/ 322 h 643"/>
              <a:gd name="T8" fmla="*/ 321 w 642"/>
              <a:gd name="T9" fmla="*/ 0 h 643"/>
              <a:gd name="T10" fmla="*/ 396 w 642"/>
              <a:gd name="T11" fmla="*/ 270 h 643"/>
              <a:gd name="T12" fmla="*/ 388 w 642"/>
              <a:gd name="T13" fmla="*/ 305 h 643"/>
              <a:gd name="T14" fmla="*/ 264 w 642"/>
              <a:gd name="T15" fmla="*/ 305 h 643"/>
              <a:gd name="T16" fmla="*/ 262 w 642"/>
              <a:gd name="T17" fmla="*/ 320 h 643"/>
              <a:gd name="T18" fmla="*/ 264 w 642"/>
              <a:gd name="T19" fmla="*/ 336 h 643"/>
              <a:gd name="T20" fmla="*/ 382 w 642"/>
              <a:gd name="T21" fmla="*/ 336 h 643"/>
              <a:gd name="T22" fmla="*/ 375 w 642"/>
              <a:gd name="T23" fmla="*/ 373 h 643"/>
              <a:gd name="T24" fmla="*/ 268 w 642"/>
              <a:gd name="T25" fmla="*/ 373 h 643"/>
              <a:gd name="T26" fmla="*/ 286 w 642"/>
              <a:gd name="T27" fmla="*/ 412 h 643"/>
              <a:gd name="T28" fmla="*/ 347 w 642"/>
              <a:gd name="T29" fmla="*/ 440 h 643"/>
              <a:gd name="T30" fmla="*/ 418 w 642"/>
              <a:gd name="T31" fmla="*/ 412 h 643"/>
              <a:gd name="T32" fmla="*/ 418 w 642"/>
              <a:gd name="T33" fmla="*/ 484 h 643"/>
              <a:gd name="T34" fmla="*/ 348 w 642"/>
              <a:gd name="T35" fmla="*/ 499 h 643"/>
              <a:gd name="T36" fmla="*/ 235 w 642"/>
              <a:gd name="T37" fmla="*/ 453 h 643"/>
              <a:gd name="T38" fmla="*/ 196 w 642"/>
              <a:gd name="T39" fmla="*/ 373 h 643"/>
              <a:gd name="T40" fmla="*/ 162 w 642"/>
              <a:gd name="T41" fmla="*/ 373 h 643"/>
              <a:gd name="T42" fmla="*/ 169 w 642"/>
              <a:gd name="T43" fmla="*/ 336 h 643"/>
              <a:gd name="T44" fmla="*/ 193 w 642"/>
              <a:gd name="T45" fmla="*/ 336 h 643"/>
              <a:gd name="T46" fmla="*/ 191 w 642"/>
              <a:gd name="T47" fmla="*/ 325 h 643"/>
              <a:gd name="T48" fmla="*/ 193 w 642"/>
              <a:gd name="T49" fmla="*/ 305 h 643"/>
              <a:gd name="T50" fmla="*/ 162 w 642"/>
              <a:gd name="T51" fmla="*/ 305 h 643"/>
              <a:gd name="T52" fmla="*/ 169 w 642"/>
              <a:gd name="T53" fmla="*/ 270 h 643"/>
              <a:gd name="T54" fmla="*/ 197 w 642"/>
              <a:gd name="T55" fmla="*/ 270 h 643"/>
              <a:gd name="T56" fmla="*/ 236 w 642"/>
              <a:gd name="T57" fmla="*/ 193 h 643"/>
              <a:gd name="T58" fmla="*/ 351 w 642"/>
              <a:gd name="T59" fmla="*/ 145 h 643"/>
              <a:gd name="T60" fmla="*/ 420 w 642"/>
              <a:gd name="T61" fmla="*/ 159 h 643"/>
              <a:gd name="T62" fmla="*/ 406 w 642"/>
              <a:gd name="T63" fmla="*/ 223 h 643"/>
              <a:gd name="T64" fmla="*/ 348 w 642"/>
              <a:gd name="T65" fmla="*/ 204 h 643"/>
              <a:gd name="T66" fmla="*/ 286 w 642"/>
              <a:gd name="T67" fmla="*/ 232 h 643"/>
              <a:gd name="T68" fmla="*/ 268 w 642"/>
              <a:gd name="T69" fmla="*/ 270 h 643"/>
              <a:gd name="T70" fmla="*/ 396 w 642"/>
              <a:gd name="T71" fmla="*/ 270 h 6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42" h="643">
                <a:moveTo>
                  <a:pt x="321" y="0"/>
                </a:moveTo>
                <a:cubicBezTo>
                  <a:pt x="144" y="0"/>
                  <a:pt x="0" y="144"/>
                  <a:pt x="0" y="322"/>
                </a:cubicBezTo>
                <a:cubicBezTo>
                  <a:pt x="0" y="499"/>
                  <a:pt x="144" y="643"/>
                  <a:pt x="321" y="643"/>
                </a:cubicBezTo>
                <a:cubicBezTo>
                  <a:pt x="498" y="643"/>
                  <a:pt x="642" y="499"/>
                  <a:pt x="642" y="322"/>
                </a:cubicBezTo>
                <a:cubicBezTo>
                  <a:pt x="642" y="144"/>
                  <a:pt x="498" y="0"/>
                  <a:pt x="321" y="0"/>
                </a:cubicBezTo>
                <a:close/>
                <a:moveTo>
                  <a:pt x="396" y="270"/>
                </a:moveTo>
                <a:cubicBezTo>
                  <a:pt x="388" y="305"/>
                  <a:pt x="388" y="305"/>
                  <a:pt x="388" y="305"/>
                </a:cubicBezTo>
                <a:cubicBezTo>
                  <a:pt x="264" y="305"/>
                  <a:pt x="264" y="305"/>
                  <a:pt x="264" y="305"/>
                </a:cubicBezTo>
                <a:cubicBezTo>
                  <a:pt x="262" y="310"/>
                  <a:pt x="262" y="314"/>
                  <a:pt x="262" y="320"/>
                </a:cubicBezTo>
                <a:cubicBezTo>
                  <a:pt x="262" y="326"/>
                  <a:pt x="264" y="330"/>
                  <a:pt x="264" y="336"/>
                </a:cubicBezTo>
                <a:cubicBezTo>
                  <a:pt x="382" y="336"/>
                  <a:pt x="382" y="336"/>
                  <a:pt x="382" y="336"/>
                </a:cubicBezTo>
                <a:cubicBezTo>
                  <a:pt x="375" y="373"/>
                  <a:pt x="375" y="373"/>
                  <a:pt x="375" y="373"/>
                </a:cubicBezTo>
                <a:cubicBezTo>
                  <a:pt x="268" y="373"/>
                  <a:pt x="268" y="373"/>
                  <a:pt x="268" y="373"/>
                </a:cubicBezTo>
                <a:cubicBezTo>
                  <a:pt x="272" y="390"/>
                  <a:pt x="278" y="403"/>
                  <a:pt x="286" y="412"/>
                </a:cubicBezTo>
                <a:cubicBezTo>
                  <a:pt x="302" y="430"/>
                  <a:pt x="322" y="440"/>
                  <a:pt x="347" y="440"/>
                </a:cubicBezTo>
                <a:cubicBezTo>
                  <a:pt x="376" y="440"/>
                  <a:pt x="400" y="430"/>
                  <a:pt x="418" y="412"/>
                </a:cubicBezTo>
                <a:cubicBezTo>
                  <a:pt x="418" y="484"/>
                  <a:pt x="418" y="484"/>
                  <a:pt x="418" y="484"/>
                </a:cubicBezTo>
                <a:cubicBezTo>
                  <a:pt x="397" y="494"/>
                  <a:pt x="374" y="499"/>
                  <a:pt x="348" y="499"/>
                </a:cubicBezTo>
                <a:cubicBezTo>
                  <a:pt x="302" y="499"/>
                  <a:pt x="265" y="484"/>
                  <a:pt x="235" y="453"/>
                </a:cubicBezTo>
                <a:cubicBezTo>
                  <a:pt x="216" y="431"/>
                  <a:pt x="203" y="405"/>
                  <a:pt x="196" y="373"/>
                </a:cubicBezTo>
                <a:cubicBezTo>
                  <a:pt x="162" y="373"/>
                  <a:pt x="162" y="373"/>
                  <a:pt x="162" y="373"/>
                </a:cubicBezTo>
                <a:cubicBezTo>
                  <a:pt x="169" y="336"/>
                  <a:pt x="169" y="336"/>
                  <a:pt x="169" y="336"/>
                </a:cubicBezTo>
                <a:cubicBezTo>
                  <a:pt x="193" y="336"/>
                  <a:pt x="193" y="336"/>
                  <a:pt x="193" y="336"/>
                </a:cubicBezTo>
                <a:cubicBezTo>
                  <a:pt x="191" y="333"/>
                  <a:pt x="191" y="329"/>
                  <a:pt x="191" y="325"/>
                </a:cubicBezTo>
                <a:cubicBezTo>
                  <a:pt x="191" y="317"/>
                  <a:pt x="193" y="311"/>
                  <a:pt x="193" y="305"/>
                </a:cubicBezTo>
                <a:cubicBezTo>
                  <a:pt x="162" y="305"/>
                  <a:pt x="162" y="305"/>
                  <a:pt x="162" y="305"/>
                </a:cubicBezTo>
                <a:cubicBezTo>
                  <a:pt x="169" y="270"/>
                  <a:pt x="169" y="270"/>
                  <a:pt x="169" y="270"/>
                </a:cubicBezTo>
                <a:cubicBezTo>
                  <a:pt x="197" y="270"/>
                  <a:pt x="197" y="270"/>
                  <a:pt x="197" y="270"/>
                </a:cubicBezTo>
                <a:cubicBezTo>
                  <a:pt x="203" y="239"/>
                  <a:pt x="216" y="213"/>
                  <a:pt x="236" y="193"/>
                </a:cubicBezTo>
                <a:cubicBezTo>
                  <a:pt x="265" y="160"/>
                  <a:pt x="304" y="145"/>
                  <a:pt x="351" y="145"/>
                </a:cubicBezTo>
                <a:cubicBezTo>
                  <a:pt x="377" y="145"/>
                  <a:pt x="400" y="150"/>
                  <a:pt x="420" y="159"/>
                </a:cubicBezTo>
                <a:cubicBezTo>
                  <a:pt x="406" y="223"/>
                  <a:pt x="406" y="223"/>
                  <a:pt x="406" y="223"/>
                </a:cubicBezTo>
                <a:cubicBezTo>
                  <a:pt x="393" y="210"/>
                  <a:pt x="374" y="204"/>
                  <a:pt x="348" y="204"/>
                </a:cubicBezTo>
                <a:cubicBezTo>
                  <a:pt x="323" y="204"/>
                  <a:pt x="303" y="213"/>
                  <a:pt x="286" y="232"/>
                </a:cubicBezTo>
                <a:cubicBezTo>
                  <a:pt x="278" y="241"/>
                  <a:pt x="272" y="254"/>
                  <a:pt x="268" y="270"/>
                </a:cubicBezTo>
                <a:cubicBezTo>
                  <a:pt x="396" y="270"/>
                  <a:pt x="396" y="270"/>
                  <a:pt x="396" y="270"/>
                </a:cubicBezTo>
                <a:close/>
              </a:path>
            </a:pathLst>
          </a:custGeom>
          <a:solidFill>
            <a:srgbClr val="AAB41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3" name="Text Box 61">
            <a:extLst>
              <a:ext uri="{FF2B5EF4-FFF2-40B4-BE49-F238E27FC236}">
                <a16:creationId xmlns:a16="http://schemas.microsoft.com/office/drawing/2014/main" id="{589A67CF-8733-4B80-9116-AAD71F47364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804516" y="4022877"/>
            <a:ext cx="68849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de-DE" altLang="en-US" sz="1400" dirty="0">
                <a:solidFill>
                  <a:srgbClr val="50BED7"/>
                </a:solidFill>
              </a:rPr>
              <a:t>Nutzen</a:t>
            </a:r>
          </a:p>
        </p:txBody>
      </p:sp>
      <p:sp>
        <p:nvSpPr>
          <p:cNvPr id="5" name="Rectangle 11"/>
          <p:cNvSpPr>
            <a:spLocks noChangeArrowheads="1"/>
          </p:cNvSpPr>
          <p:nvPr/>
        </p:nvSpPr>
        <p:spPr bwMode="gray">
          <a:xfrm>
            <a:off x="9036302" y="4786764"/>
            <a:ext cx="2229206" cy="536575"/>
          </a:xfrm>
          <a:prstGeom prst="rect">
            <a:avLst/>
          </a:prstGeom>
          <a:solidFill>
            <a:srgbClr val="DFE6ED"/>
          </a:solidFill>
          <a:ln w="635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6" name="Rectangle 11"/>
          <p:cNvSpPr>
            <a:spLocks noChangeArrowheads="1"/>
          </p:cNvSpPr>
          <p:nvPr/>
        </p:nvSpPr>
        <p:spPr bwMode="gray">
          <a:xfrm>
            <a:off x="10022772" y="4341021"/>
            <a:ext cx="1242735" cy="673803"/>
          </a:xfrm>
          <a:prstGeom prst="rect">
            <a:avLst/>
          </a:prstGeom>
          <a:solidFill>
            <a:srgbClr val="DFE6ED"/>
          </a:solidFill>
          <a:ln w="635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1" name="Rectangle 11"/>
          <p:cNvSpPr>
            <a:spLocks noChangeArrowheads="1"/>
          </p:cNvSpPr>
          <p:nvPr/>
        </p:nvSpPr>
        <p:spPr bwMode="gray">
          <a:xfrm>
            <a:off x="8062230" y="5256411"/>
            <a:ext cx="3192513" cy="657225"/>
          </a:xfrm>
          <a:prstGeom prst="rect">
            <a:avLst/>
          </a:prstGeom>
          <a:solidFill>
            <a:srgbClr val="DFE6ED"/>
          </a:solidFill>
          <a:ln w="635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Rectangle 17"/>
          <p:cNvSpPr>
            <a:spLocks noChangeArrowheads="1"/>
          </p:cNvSpPr>
          <p:nvPr/>
        </p:nvSpPr>
        <p:spPr bwMode="auto">
          <a:xfrm>
            <a:off x="6652053" y="5729486"/>
            <a:ext cx="327485" cy="184150"/>
          </a:xfrm>
          <a:prstGeom prst="rect">
            <a:avLst/>
          </a:prstGeom>
          <a:solidFill>
            <a:schemeClr val="accent1"/>
          </a:solidFill>
          <a:ln w="7938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Rectangle 18"/>
          <p:cNvSpPr>
            <a:spLocks noChangeArrowheads="1"/>
          </p:cNvSpPr>
          <p:nvPr/>
        </p:nvSpPr>
        <p:spPr bwMode="auto">
          <a:xfrm>
            <a:off x="7176501" y="5658048"/>
            <a:ext cx="344194" cy="255588"/>
          </a:xfrm>
          <a:prstGeom prst="rect">
            <a:avLst/>
          </a:prstGeom>
          <a:solidFill>
            <a:schemeClr val="accent1"/>
          </a:solidFill>
          <a:ln w="7938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9" name="Rectangle 19"/>
          <p:cNvSpPr>
            <a:spLocks noChangeArrowheads="1"/>
          </p:cNvSpPr>
          <p:nvPr/>
        </p:nvSpPr>
        <p:spPr bwMode="auto">
          <a:xfrm>
            <a:off x="7725558" y="5396111"/>
            <a:ext cx="330826" cy="517525"/>
          </a:xfrm>
          <a:prstGeom prst="rect">
            <a:avLst/>
          </a:prstGeom>
          <a:solidFill>
            <a:schemeClr val="accent1"/>
          </a:solidFill>
          <a:ln w="7938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0" name="Rectangle 20"/>
          <p:cNvSpPr>
            <a:spLocks noChangeArrowheads="1"/>
          </p:cNvSpPr>
          <p:nvPr/>
        </p:nvSpPr>
        <p:spPr bwMode="auto">
          <a:xfrm>
            <a:off x="8244260" y="5162748"/>
            <a:ext cx="344194" cy="750888"/>
          </a:xfrm>
          <a:prstGeom prst="rect">
            <a:avLst/>
          </a:prstGeom>
          <a:solidFill>
            <a:schemeClr val="accent1"/>
          </a:solidFill>
          <a:ln w="7938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1" name="Rectangle 21"/>
          <p:cNvSpPr>
            <a:spLocks noChangeArrowheads="1"/>
          </p:cNvSpPr>
          <p:nvPr/>
        </p:nvSpPr>
        <p:spPr bwMode="auto">
          <a:xfrm>
            <a:off x="8785418" y="4510286"/>
            <a:ext cx="327485" cy="1403350"/>
          </a:xfrm>
          <a:prstGeom prst="rect">
            <a:avLst/>
          </a:prstGeom>
          <a:solidFill>
            <a:schemeClr val="accent1"/>
          </a:solidFill>
          <a:ln w="7938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2" name="Rectangle 22"/>
          <p:cNvSpPr>
            <a:spLocks noChangeArrowheads="1"/>
          </p:cNvSpPr>
          <p:nvPr/>
        </p:nvSpPr>
        <p:spPr bwMode="auto">
          <a:xfrm>
            <a:off x="9309866" y="4268986"/>
            <a:ext cx="344192" cy="1644650"/>
          </a:xfrm>
          <a:prstGeom prst="rect">
            <a:avLst/>
          </a:prstGeom>
          <a:solidFill>
            <a:schemeClr val="accent1"/>
          </a:solidFill>
          <a:ln w="7938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3" name="Rectangle 23"/>
          <p:cNvSpPr>
            <a:spLocks noChangeArrowheads="1"/>
          </p:cNvSpPr>
          <p:nvPr/>
        </p:nvSpPr>
        <p:spPr bwMode="auto">
          <a:xfrm>
            <a:off x="9850430" y="4035623"/>
            <a:ext cx="330824" cy="1878013"/>
          </a:xfrm>
          <a:prstGeom prst="rect">
            <a:avLst/>
          </a:prstGeom>
          <a:solidFill>
            <a:schemeClr val="accent1"/>
          </a:solidFill>
          <a:ln w="7938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4" name="Rectangle 24"/>
          <p:cNvSpPr>
            <a:spLocks noChangeArrowheads="1"/>
          </p:cNvSpPr>
          <p:nvPr/>
        </p:nvSpPr>
        <p:spPr bwMode="auto">
          <a:xfrm>
            <a:off x="10377625" y="3802261"/>
            <a:ext cx="344192" cy="2111375"/>
          </a:xfrm>
          <a:prstGeom prst="rect">
            <a:avLst/>
          </a:prstGeom>
          <a:solidFill>
            <a:schemeClr val="accent1"/>
          </a:solidFill>
          <a:ln w="7938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65" name="Rectangle 25"/>
          <p:cNvSpPr>
            <a:spLocks noChangeArrowheads="1"/>
          </p:cNvSpPr>
          <p:nvPr/>
        </p:nvSpPr>
        <p:spPr bwMode="auto">
          <a:xfrm>
            <a:off x="10932640" y="3568898"/>
            <a:ext cx="327485" cy="2344738"/>
          </a:xfrm>
          <a:prstGeom prst="rect">
            <a:avLst/>
          </a:prstGeom>
          <a:solidFill>
            <a:schemeClr val="accent1"/>
          </a:solidFill>
          <a:ln w="7938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3" name="Freihandform: Form 32">
            <a:extLst>
              <a:ext uri="{FF2B5EF4-FFF2-40B4-BE49-F238E27FC236}">
                <a16:creationId xmlns:a16="http://schemas.microsoft.com/office/drawing/2014/main" id="{3006BE45-76C4-4751-A062-7567CA02F60D}"/>
              </a:ext>
            </a:extLst>
          </p:cNvPr>
          <p:cNvSpPr/>
          <p:nvPr/>
        </p:nvSpPr>
        <p:spPr bwMode="auto">
          <a:xfrm>
            <a:off x="6652053" y="3530004"/>
            <a:ext cx="4602690" cy="2157413"/>
          </a:xfrm>
          <a:custGeom>
            <a:avLst/>
            <a:gdLst>
              <a:gd name="connsiteX0" fmla="*/ 0 w 3402807"/>
              <a:gd name="connsiteY0" fmla="*/ 2159794 h 2159794"/>
              <a:gd name="connsiteX1" fmla="*/ 383382 w 3402807"/>
              <a:gd name="connsiteY1" fmla="*/ 2159794 h 2159794"/>
              <a:gd name="connsiteX2" fmla="*/ 383382 w 3402807"/>
              <a:gd name="connsiteY2" fmla="*/ 2088356 h 2159794"/>
              <a:gd name="connsiteX3" fmla="*/ 792957 w 3402807"/>
              <a:gd name="connsiteY3" fmla="*/ 2088356 h 2159794"/>
              <a:gd name="connsiteX4" fmla="*/ 792957 w 3402807"/>
              <a:gd name="connsiteY4" fmla="*/ 1826419 h 2159794"/>
              <a:gd name="connsiteX5" fmla="*/ 1173957 w 3402807"/>
              <a:gd name="connsiteY5" fmla="*/ 1826419 h 2159794"/>
              <a:gd name="connsiteX6" fmla="*/ 1173957 w 3402807"/>
              <a:gd name="connsiteY6" fmla="*/ 1593056 h 2159794"/>
              <a:gd name="connsiteX7" fmla="*/ 1571625 w 3402807"/>
              <a:gd name="connsiteY7" fmla="*/ 1593056 h 2159794"/>
              <a:gd name="connsiteX8" fmla="*/ 1571625 w 3402807"/>
              <a:gd name="connsiteY8" fmla="*/ 942975 h 2159794"/>
              <a:gd name="connsiteX9" fmla="*/ 1957388 w 3402807"/>
              <a:gd name="connsiteY9" fmla="*/ 942975 h 2159794"/>
              <a:gd name="connsiteX10" fmla="*/ 1957388 w 3402807"/>
              <a:gd name="connsiteY10" fmla="*/ 702469 h 2159794"/>
              <a:gd name="connsiteX11" fmla="*/ 2359819 w 3402807"/>
              <a:gd name="connsiteY11" fmla="*/ 702469 h 2159794"/>
              <a:gd name="connsiteX12" fmla="*/ 2359819 w 3402807"/>
              <a:gd name="connsiteY12" fmla="*/ 469106 h 2159794"/>
              <a:gd name="connsiteX13" fmla="*/ 2747963 w 3402807"/>
              <a:gd name="connsiteY13" fmla="*/ 469106 h 2159794"/>
              <a:gd name="connsiteX14" fmla="*/ 2747963 w 3402807"/>
              <a:gd name="connsiteY14" fmla="*/ 233363 h 2159794"/>
              <a:gd name="connsiteX15" fmla="*/ 3159919 w 3402807"/>
              <a:gd name="connsiteY15" fmla="*/ 233363 h 2159794"/>
              <a:gd name="connsiteX16" fmla="*/ 3159919 w 3402807"/>
              <a:gd name="connsiteY16" fmla="*/ 0 h 2159794"/>
              <a:gd name="connsiteX17" fmla="*/ 3402807 w 3402807"/>
              <a:gd name="connsiteY17" fmla="*/ 0 h 2159794"/>
              <a:gd name="connsiteX0" fmla="*/ 0 w 3448050"/>
              <a:gd name="connsiteY0" fmla="*/ 2162178 h 2162178"/>
              <a:gd name="connsiteX1" fmla="*/ 383382 w 3448050"/>
              <a:gd name="connsiteY1" fmla="*/ 2162178 h 2162178"/>
              <a:gd name="connsiteX2" fmla="*/ 383382 w 3448050"/>
              <a:gd name="connsiteY2" fmla="*/ 2090740 h 2162178"/>
              <a:gd name="connsiteX3" fmla="*/ 792957 w 3448050"/>
              <a:gd name="connsiteY3" fmla="*/ 2090740 h 2162178"/>
              <a:gd name="connsiteX4" fmla="*/ 792957 w 3448050"/>
              <a:gd name="connsiteY4" fmla="*/ 1828803 h 2162178"/>
              <a:gd name="connsiteX5" fmla="*/ 1173957 w 3448050"/>
              <a:gd name="connsiteY5" fmla="*/ 1828803 h 2162178"/>
              <a:gd name="connsiteX6" fmla="*/ 1173957 w 3448050"/>
              <a:gd name="connsiteY6" fmla="*/ 1595440 h 2162178"/>
              <a:gd name="connsiteX7" fmla="*/ 1571625 w 3448050"/>
              <a:gd name="connsiteY7" fmla="*/ 1595440 h 2162178"/>
              <a:gd name="connsiteX8" fmla="*/ 1571625 w 3448050"/>
              <a:gd name="connsiteY8" fmla="*/ 945359 h 2162178"/>
              <a:gd name="connsiteX9" fmla="*/ 1957388 w 3448050"/>
              <a:gd name="connsiteY9" fmla="*/ 945359 h 2162178"/>
              <a:gd name="connsiteX10" fmla="*/ 1957388 w 3448050"/>
              <a:gd name="connsiteY10" fmla="*/ 704853 h 2162178"/>
              <a:gd name="connsiteX11" fmla="*/ 2359819 w 3448050"/>
              <a:gd name="connsiteY11" fmla="*/ 704853 h 2162178"/>
              <a:gd name="connsiteX12" fmla="*/ 2359819 w 3448050"/>
              <a:gd name="connsiteY12" fmla="*/ 471490 h 2162178"/>
              <a:gd name="connsiteX13" fmla="*/ 2747963 w 3448050"/>
              <a:gd name="connsiteY13" fmla="*/ 471490 h 2162178"/>
              <a:gd name="connsiteX14" fmla="*/ 2747963 w 3448050"/>
              <a:gd name="connsiteY14" fmla="*/ 235747 h 2162178"/>
              <a:gd name="connsiteX15" fmla="*/ 3159919 w 3448050"/>
              <a:gd name="connsiteY15" fmla="*/ 235747 h 2162178"/>
              <a:gd name="connsiteX16" fmla="*/ 3159919 w 3448050"/>
              <a:gd name="connsiteY16" fmla="*/ 2384 h 2162178"/>
              <a:gd name="connsiteX17" fmla="*/ 3448050 w 3448050"/>
              <a:gd name="connsiteY17" fmla="*/ 0 h 2162178"/>
              <a:gd name="connsiteX0" fmla="*/ 0 w 3448050"/>
              <a:gd name="connsiteY0" fmla="*/ 2159794 h 2159794"/>
              <a:gd name="connsiteX1" fmla="*/ 383382 w 3448050"/>
              <a:gd name="connsiteY1" fmla="*/ 2159794 h 2159794"/>
              <a:gd name="connsiteX2" fmla="*/ 383382 w 3448050"/>
              <a:gd name="connsiteY2" fmla="*/ 2088356 h 2159794"/>
              <a:gd name="connsiteX3" fmla="*/ 792957 w 3448050"/>
              <a:gd name="connsiteY3" fmla="*/ 2088356 h 2159794"/>
              <a:gd name="connsiteX4" fmla="*/ 792957 w 3448050"/>
              <a:gd name="connsiteY4" fmla="*/ 1826419 h 2159794"/>
              <a:gd name="connsiteX5" fmla="*/ 1173957 w 3448050"/>
              <a:gd name="connsiteY5" fmla="*/ 1826419 h 2159794"/>
              <a:gd name="connsiteX6" fmla="*/ 1173957 w 3448050"/>
              <a:gd name="connsiteY6" fmla="*/ 1593056 h 2159794"/>
              <a:gd name="connsiteX7" fmla="*/ 1571625 w 3448050"/>
              <a:gd name="connsiteY7" fmla="*/ 1593056 h 2159794"/>
              <a:gd name="connsiteX8" fmla="*/ 1571625 w 3448050"/>
              <a:gd name="connsiteY8" fmla="*/ 942975 h 2159794"/>
              <a:gd name="connsiteX9" fmla="*/ 1957388 w 3448050"/>
              <a:gd name="connsiteY9" fmla="*/ 942975 h 2159794"/>
              <a:gd name="connsiteX10" fmla="*/ 1957388 w 3448050"/>
              <a:gd name="connsiteY10" fmla="*/ 702469 h 2159794"/>
              <a:gd name="connsiteX11" fmla="*/ 2359819 w 3448050"/>
              <a:gd name="connsiteY11" fmla="*/ 702469 h 2159794"/>
              <a:gd name="connsiteX12" fmla="*/ 2359819 w 3448050"/>
              <a:gd name="connsiteY12" fmla="*/ 469106 h 2159794"/>
              <a:gd name="connsiteX13" fmla="*/ 2747963 w 3448050"/>
              <a:gd name="connsiteY13" fmla="*/ 469106 h 2159794"/>
              <a:gd name="connsiteX14" fmla="*/ 2747963 w 3448050"/>
              <a:gd name="connsiteY14" fmla="*/ 233363 h 2159794"/>
              <a:gd name="connsiteX15" fmla="*/ 3159919 w 3448050"/>
              <a:gd name="connsiteY15" fmla="*/ 233363 h 2159794"/>
              <a:gd name="connsiteX16" fmla="*/ 3159919 w 3448050"/>
              <a:gd name="connsiteY16" fmla="*/ 0 h 2159794"/>
              <a:gd name="connsiteX17" fmla="*/ 3448050 w 3448050"/>
              <a:gd name="connsiteY17" fmla="*/ 1 h 2159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448050" h="2159794">
                <a:moveTo>
                  <a:pt x="0" y="2159794"/>
                </a:moveTo>
                <a:lnTo>
                  <a:pt x="383382" y="2159794"/>
                </a:lnTo>
                <a:lnTo>
                  <a:pt x="383382" y="2088356"/>
                </a:lnTo>
                <a:lnTo>
                  <a:pt x="792957" y="2088356"/>
                </a:lnTo>
                <a:lnTo>
                  <a:pt x="792957" y="1826419"/>
                </a:lnTo>
                <a:lnTo>
                  <a:pt x="1173957" y="1826419"/>
                </a:lnTo>
                <a:lnTo>
                  <a:pt x="1173957" y="1593056"/>
                </a:lnTo>
                <a:lnTo>
                  <a:pt x="1571625" y="1593056"/>
                </a:lnTo>
                <a:lnTo>
                  <a:pt x="1571625" y="942975"/>
                </a:lnTo>
                <a:lnTo>
                  <a:pt x="1957388" y="942975"/>
                </a:lnTo>
                <a:lnTo>
                  <a:pt x="1957388" y="702469"/>
                </a:lnTo>
                <a:lnTo>
                  <a:pt x="2359819" y="702469"/>
                </a:lnTo>
                <a:lnTo>
                  <a:pt x="2359819" y="469106"/>
                </a:lnTo>
                <a:lnTo>
                  <a:pt x="2747963" y="469106"/>
                </a:lnTo>
                <a:lnTo>
                  <a:pt x="2747963" y="233363"/>
                </a:lnTo>
                <a:lnTo>
                  <a:pt x="3159919" y="233363"/>
                </a:lnTo>
                <a:lnTo>
                  <a:pt x="3159919" y="0"/>
                </a:lnTo>
                <a:lnTo>
                  <a:pt x="3448050" y="1"/>
                </a:lnTo>
              </a:path>
            </a:pathLst>
          </a:custGeom>
          <a:noFill/>
          <a:ln w="25400" cap="sq">
            <a:solidFill>
              <a:srgbClr val="50BED7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de-DE" sz="24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2" name="Freihandform: Form 81">
            <a:extLst>
              <a:ext uri="{FF2B5EF4-FFF2-40B4-BE49-F238E27FC236}">
                <a16:creationId xmlns:a16="http://schemas.microsoft.com/office/drawing/2014/main" id="{0695C0FA-CEEA-4B14-9BD7-B20021486E69}"/>
              </a:ext>
            </a:extLst>
          </p:cNvPr>
          <p:cNvSpPr>
            <a:spLocks noChangeArrowheads="1"/>
          </p:cNvSpPr>
          <p:nvPr/>
        </p:nvSpPr>
        <p:spPr bwMode="gray">
          <a:xfrm>
            <a:off x="8062230" y="4341021"/>
            <a:ext cx="3192509" cy="915390"/>
          </a:xfrm>
          <a:custGeom>
            <a:avLst/>
            <a:gdLst>
              <a:gd name="connsiteX0" fmla="*/ 1445767 w 2362200"/>
              <a:gd name="connsiteY0" fmla="*/ 0 h 1572615"/>
              <a:gd name="connsiteX1" fmla="*/ 2362200 w 2362200"/>
              <a:gd name="connsiteY1" fmla="*/ 0 h 1572615"/>
              <a:gd name="connsiteX2" fmla="*/ 2362200 w 2362200"/>
              <a:gd name="connsiteY2" fmla="*/ 445743 h 1572615"/>
              <a:gd name="connsiteX3" fmla="*/ 2362200 w 2362200"/>
              <a:gd name="connsiteY3" fmla="*/ 673803 h 1572615"/>
              <a:gd name="connsiteX4" fmla="*/ 2362200 w 2362200"/>
              <a:gd name="connsiteY4" fmla="*/ 982318 h 1572615"/>
              <a:gd name="connsiteX5" fmla="*/ 2354262 w 2362200"/>
              <a:gd name="connsiteY5" fmla="*/ 982318 h 1572615"/>
              <a:gd name="connsiteX6" fmla="*/ 2354262 w 2362200"/>
              <a:gd name="connsiteY6" fmla="*/ 1572615 h 1572615"/>
              <a:gd name="connsiteX7" fmla="*/ 0 w 2362200"/>
              <a:gd name="connsiteY7" fmla="*/ 1572615 h 1572615"/>
              <a:gd name="connsiteX8" fmla="*/ 0 w 2362200"/>
              <a:gd name="connsiteY8" fmla="*/ 915390 h 1572615"/>
              <a:gd name="connsiteX9" fmla="*/ 718312 w 2362200"/>
              <a:gd name="connsiteY9" fmla="*/ 915390 h 1572615"/>
              <a:gd name="connsiteX10" fmla="*/ 718312 w 2362200"/>
              <a:gd name="connsiteY10" fmla="*/ 445743 h 1572615"/>
              <a:gd name="connsiteX11" fmla="*/ 1445767 w 2362200"/>
              <a:gd name="connsiteY11" fmla="*/ 445743 h 1572615"/>
              <a:gd name="connsiteX0" fmla="*/ 0 w 2362200"/>
              <a:gd name="connsiteY0" fmla="*/ 1572615 h 1664055"/>
              <a:gd name="connsiteX1" fmla="*/ 0 w 2362200"/>
              <a:gd name="connsiteY1" fmla="*/ 915390 h 1664055"/>
              <a:gd name="connsiteX2" fmla="*/ 718312 w 2362200"/>
              <a:gd name="connsiteY2" fmla="*/ 915390 h 1664055"/>
              <a:gd name="connsiteX3" fmla="*/ 718312 w 2362200"/>
              <a:gd name="connsiteY3" fmla="*/ 445743 h 1664055"/>
              <a:gd name="connsiteX4" fmla="*/ 1445767 w 2362200"/>
              <a:gd name="connsiteY4" fmla="*/ 445743 h 1664055"/>
              <a:gd name="connsiteX5" fmla="*/ 1445767 w 2362200"/>
              <a:gd name="connsiteY5" fmla="*/ 0 h 1664055"/>
              <a:gd name="connsiteX6" fmla="*/ 2362200 w 2362200"/>
              <a:gd name="connsiteY6" fmla="*/ 0 h 1664055"/>
              <a:gd name="connsiteX7" fmla="*/ 2362200 w 2362200"/>
              <a:gd name="connsiteY7" fmla="*/ 445743 h 1664055"/>
              <a:gd name="connsiteX8" fmla="*/ 2362200 w 2362200"/>
              <a:gd name="connsiteY8" fmla="*/ 673803 h 1664055"/>
              <a:gd name="connsiteX9" fmla="*/ 2362200 w 2362200"/>
              <a:gd name="connsiteY9" fmla="*/ 982318 h 1664055"/>
              <a:gd name="connsiteX10" fmla="*/ 2354262 w 2362200"/>
              <a:gd name="connsiteY10" fmla="*/ 982318 h 1664055"/>
              <a:gd name="connsiteX11" fmla="*/ 2354262 w 2362200"/>
              <a:gd name="connsiteY11" fmla="*/ 1572615 h 1664055"/>
              <a:gd name="connsiteX12" fmla="*/ 91440 w 2362200"/>
              <a:gd name="connsiteY12" fmla="*/ 1664055 h 1664055"/>
              <a:gd name="connsiteX0" fmla="*/ 0 w 2362200"/>
              <a:gd name="connsiteY0" fmla="*/ 1572615 h 1572615"/>
              <a:gd name="connsiteX1" fmla="*/ 0 w 2362200"/>
              <a:gd name="connsiteY1" fmla="*/ 915390 h 1572615"/>
              <a:gd name="connsiteX2" fmla="*/ 718312 w 2362200"/>
              <a:gd name="connsiteY2" fmla="*/ 915390 h 1572615"/>
              <a:gd name="connsiteX3" fmla="*/ 718312 w 2362200"/>
              <a:gd name="connsiteY3" fmla="*/ 445743 h 1572615"/>
              <a:gd name="connsiteX4" fmla="*/ 1445767 w 2362200"/>
              <a:gd name="connsiteY4" fmla="*/ 445743 h 1572615"/>
              <a:gd name="connsiteX5" fmla="*/ 1445767 w 2362200"/>
              <a:gd name="connsiteY5" fmla="*/ 0 h 1572615"/>
              <a:gd name="connsiteX6" fmla="*/ 2362200 w 2362200"/>
              <a:gd name="connsiteY6" fmla="*/ 0 h 1572615"/>
              <a:gd name="connsiteX7" fmla="*/ 2362200 w 2362200"/>
              <a:gd name="connsiteY7" fmla="*/ 445743 h 1572615"/>
              <a:gd name="connsiteX8" fmla="*/ 2362200 w 2362200"/>
              <a:gd name="connsiteY8" fmla="*/ 673803 h 1572615"/>
              <a:gd name="connsiteX9" fmla="*/ 2362200 w 2362200"/>
              <a:gd name="connsiteY9" fmla="*/ 982318 h 1572615"/>
              <a:gd name="connsiteX10" fmla="*/ 2354262 w 2362200"/>
              <a:gd name="connsiteY10" fmla="*/ 982318 h 1572615"/>
              <a:gd name="connsiteX11" fmla="*/ 2354262 w 2362200"/>
              <a:gd name="connsiteY11" fmla="*/ 1572615 h 1572615"/>
              <a:gd name="connsiteX0" fmla="*/ 0 w 2362200"/>
              <a:gd name="connsiteY0" fmla="*/ 1572615 h 1572615"/>
              <a:gd name="connsiteX1" fmla="*/ 0 w 2362200"/>
              <a:gd name="connsiteY1" fmla="*/ 915390 h 1572615"/>
              <a:gd name="connsiteX2" fmla="*/ 718312 w 2362200"/>
              <a:gd name="connsiteY2" fmla="*/ 915390 h 1572615"/>
              <a:gd name="connsiteX3" fmla="*/ 718312 w 2362200"/>
              <a:gd name="connsiteY3" fmla="*/ 445743 h 1572615"/>
              <a:gd name="connsiteX4" fmla="*/ 1445767 w 2362200"/>
              <a:gd name="connsiteY4" fmla="*/ 445743 h 1572615"/>
              <a:gd name="connsiteX5" fmla="*/ 1445767 w 2362200"/>
              <a:gd name="connsiteY5" fmla="*/ 0 h 1572615"/>
              <a:gd name="connsiteX6" fmla="*/ 2362200 w 2362200"/>
              <a:gd name="connsiteY6" fmla="*/ 0 h 1572615"/>
              <a:gd name="connsiteX7" fmla="*/ 2362200 w 2362200"/>
              <a:gd name="connsiteY7" fmla="*/ 445743 h 1572615"/>
              <a:gd name="connsiteX8" fmla="*/ 2362200 w 2362200"/>
              <a:gd name="connsiteY8" fmla="*/ 673803 h 1572615"/>
              <a:gd name="connsiteX9" fmla="*/ 2362200 w 2362200"/>
              <a:gd name="connsiteY9" fmla="*/ 982318 h 1572615"/>
              <a:gd name="connsiteX10" fmla="*/ 2354262 w 2362200"/>
              <a:gd name="connsiteY10" fmla="*/ 982318 h 1572615"/>
              <a:gd name="connsiteX0" fmla="*/ 0 w 2362200"/>
              <a:gd name="connsiteY0" fmla="*/ 1572615 h 1572615"/>
              <a:gd name="connsiteX1" fmla="*/ 0 w 2362200"/>
              <a:gd name="connsiteY1" fmla="*/ 915390 h 1572615"/>
              <a:gd name="connsiteX2" fmla="*/ 718312 w 2362200"/>
              <a:gd name="connsiteY2" fmla="*/ 915390 h 1572615"/>
              <a:gd name="connsiteX3" fmla="*/ 718312 w 2362200"/>
              <a:gd name="connsiteY3" fmla="*/ 445743 h 1572615"/>
              <a:gd name="connsiteX4" fmla="*/ 1445767 w 2362200"/>
              <a:gd name="connsiteY4" fmla="*/ 445743 h 1572615"/>
              <a:gd name="connsiteX5" fmla="*/ 1445767 w 2362200"/>
              <a:gd name="connsiteY5" fmla="*/ 0 h 1572615"/>
              <a:gd name="connsiteX6" fmla="*/ 2362200 w 2362200"/>
              <a:gd name="connsiteY6" fmla="*/ 0 h 1572615"/>
              <a:gd name="connsiteX7" fmla="*/ 2362200 w 2362200"/>
              <a:gd name="connsiteY7" fmla="*/ 445743 h 1572615"/>
              <a:gd name="connsiteX8" fmla="*/ 2362200 w 2362200"/>
              <a:gd name="connsiteY8" fmla="*/ 673803 h 1572615"/>
              <a:gd name="connsiteX9" fmla="*/ 2362200 w 2362200"/>
              <a:gd name="connsiteY9" fmla="*/ 982318 h 1572615"/>
              <a:gd name="connsiteX0" fmla="*/ 0 w 2362200"/>
              <a:gd name="connsiteY0" fmla="*/ 1572615 h 1572615"/>
              <a:gd name="connsiteX1" fmla="*/ 0 w 2362200"/>
              <a:gd name="connsiteY1" fmla="*/ 915390 h 1572615"/>
              <a:gd name="connsiteX2" fmla="*/ 718312 w 2362200"/>
              <a:gd name="connsiteY2" fmla="*/ 915390 h 1572615"/>
              <a:gd name="connsiteX3" fmla="*/ 718312 w 2362200"/>
              <a:gd name="connsiteY3" fmla="*/ 445743 h 1572615"/>
              <a:gd name="connsiteX4" fmla="*/ 1445767 w 2362200"/>
              <a:gd name="connsiteY4" fmla="*/ 445743 h 1572615"/>
              <a:gd name="connsiteX5" fmla="*/ 1445767 w 2362200"/>
              <a:gd name="connsiteY5" fmla="*/ 0 h 1572615"/>
              <a:gd name="connsiteX6" fmla="*/ 2362200 w 2362200"/>
              <a:gd name="connsiteY6" fmla="*/ 0 h 1572615"/>
              <a:gd name="connsiteX7" fmla="*/ 2362200 w 2362200"/>
              <a:gd name="connsiteY7" fmla="*/ 445743 h 1572615"/>
              <a:gd name="connsiteX8" fmla="*/ 2362200 w 2362200"/>
              <a:gd name="connsiteY8" fmla="*/ 982318 h 1572615"/>
              <a:gd name="connsiteX0" fmla="*/ 0 w 2362200"/>
              <a:gd name="connsiteY0" fmla="*/ 1572615 h 1572615"/>
              <a:gd name="connsiteX1" fmla="*/ 0 w 2362200"/>
              <a:gd name="connsiteY1" fmla="*/ 915390 h 1572615"/>
              <a:gd name="connsiteX2" fmla="*/ 718312 w 2362200"/>
              <a:gd name="connsiteY2" fmla="*/ 915390 h 1572615"/>
              <a:gd name="connsiteX3" fmla="*/ 718312 w 2362200"/>
              <a:gd name="connsiteY3" fmla="*/ 445743 h 1572615"/>
              <a:gd name="connsiteX4" fmla="*/ 1445767 w 2362200"/>
              <a:gd name="connsiteY4" fmla="*/ 445743 h 1572615"/>
              <a:gd name="connsiteX5" fmla="*/ 1445767 w 2362200"/>
              <a:gd name="connsiteY5" fmla="*/ 0 h 1572615"/>
              <a:gd name="connsiteX6" fmla="*/ 2362200 w 2362200"/>
              <a:gd name="connsiteY6" fmla="*/ 0 h 1572615"/>
              <a:gd name="connsiteX7" fmla="*/ 2362200 w 2362200"/>
              <a:gd name="connsiteY7" fmla="*/ 982318 h 1572615"/>
              <a:gd name="connsiteX0" fmla="*/ 0 w 2362200"/>
              <a:gd name="connsiteY0" fmla="*/ 1572615 h 1572615"/>
              <a:gd name="connsiteX1" fmla="*/ 0 w 2362200"/>
              <a:gd name="connsiteY1" fmla="*/ 915390 h 1572615"/>
              <a:gd name="connsiteX2" fmla="*/ 718312 w 2362200"/>
              <a:gd name="connsiteY2" fmla="*/ 915390 h 1572615"/>
              <a:gd name="connsiteX3" fmla="*/ 718312 w 2362200"/>
              <a:gd name="connsiteY3" fmla="*/ 445743 h 1572615"/>
              <a:gd name="connsiteX4" fmla="*/ 1445767 w 2362200"/>
              <a:gd name="connsiteY4" fmla="*/ 445743 h 1572615"/>
              <a:gd name="connsiteX5" fmla="*/ 1445767 w 2362200"/>
              <a:gd name="connsiteY5" fmla="*/ 0 h 1572615"/>
              <a:gd name="connsiteX6" fmla="*/ 2362200 w 2362200"/>
              <a:gd name="connsiteY6" fmla="*/ 0 h 1572615"/>
              <a:gd name="connsiteX0" fmla="*/ 0 w 2362200"/>
              <a:gd name="connsiteY0" fmla="*/ 915390 h 915390"/>
              <a:gd name="connsiteX1" fmla="*/ 718312 w 2362200"/>
              <a:gd name="connsiteY1" fmla="*/ 915390 h 915390"/>
              <a:gd name="connsiteX2" fmla="*/ 718312 w 2362200"/>
              <a:gd name="connsiteY2" fmla="*/ 445743 h 915390"/>
              <a:gd name="connsiteX3" fmla="*/ 1445767 w 2362200"/>
              <a:gd name="connsiteY3" fmla="*/ 445743 h 915390"/>
              <a:gd name="connsiteX4" fmla="*/ 1445767 w 2362200"/>
              <a:gd name="connsiteY4" fmla="*/ 0 h 915390"/>
              <a:gd name="connsiteX5" fmla="*/ 2362200 w 2362200"/>
              <a:gd name="connsiteY5" fmla="*/ 0 h 9153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62200" h="915390">
                <a:moveTo>
                  <a:pt x="0" y="915390"/>
                </a:moveTo>
                <a:lnTo>
                  <a:pt x="718312" y="915390"/>
                </a:lnTo>
                <a:lnTo>
                  <a:pt x="718312" y="445743"/>
                </a:lnTo>
                <a:lnTo>
                  <a:pt x="1445767" y="445743"/>
                </a:lnTo>
                <a:lnTo>
                  <a:pt x="1445767" y="0"/>
                </a:lnTo>
                <a:lnTo>
                  <a:pt x="2362200" y="0"/>
                </a:lnTo>
              </a:path>
            </a:pathLst>
          </a:custGeom>
          <a:noFill/>
          <a:ln w="25400" cap="sq">
            <a:solidFill>
              <a:srgbClr val="AAB414"/>
            </a:solidFill>
            <a:miter lim="800000"/>
          </a:ln>
        </p:spPr>
        <p:txBody>
          <a:bodyPr/>
          <a:lstStyle/>
          <a:p>
            <a:endParaRPr lang="en-US" dirty="0"/>
          </a:p>
        </p:txBody>
      </p:sp>
      <p:cxnSp>
        <p:nvCxnSpPr>
          <p:cNvPr id="84" name="Gerader Verbinder 83">
            <a:extLst>
              <a:ext uri="{FF2B5EF4-FFF2-40B4-BE49-F238E27FC236}">
                <a16:creationId xmlns:a16="http://schemas.microsoft.com/office/drawing/2014/main" id="{569A9F9C-30B1-4220-9287-E9DAC278DCD7}"/>
              </a:ext>
            </a:extLst>
          </p:cNvPr>
          <p:cNvCxnSpPr>
            <a:cxnSpLocks/>
          </p:cNvCxnSpPr>
          <p:nvPr/>
        </p:nvCxnSpPr>
        <p:spPr bwMode="auto">
          <a:xfrm>
            <a:off x="7088207" y="4411328"/>
            <a:ext cx="0" cy="1238296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50BED7"/>
            </a:solidFill>
            <a:prstDash val="solid"/>
            <a:round/>
            <a:headEnd type="none" w="med" len="med"/>
            <a:tailEnd type="oval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85" name="Gruppieren 84">
            <a:extLst>
              <a:ext uri="{FF2B5EF4-FFF2-40B4-BE49-F238E27FC236}">
                <a16:creationId xmlns:a16="http://schemas.microsoft.com/office/drawing/2014/main" id="{BC28BFE4-F0C9-4E78-A1A1-D61A5F700CCC}"/>
              </a:ext>
            </a:extLst>
          </p:cNvPr>
          <p:cNvGrpSpPr>
            <a:grpSpLocks noChangeAspect="1"/>
          </p:cNvGrpSpPr>
          <p:nvPr/>
        </p:nvGrpSpPr>
        <p:grpSpPr bwMode="blackWhite">
          <a:xfrm flipH="1">
            <a:off x="6923172" y="4308857"/>
            <a:ext cx="468052" cy="191421"/>
            <a:chOff x="1209675" y="2663826"/>
            <a:chExt cx="1238251" cy="506413"/>
          </a:xfrm>
          <a:solidFill>
            <a:srgbClr val="50BED7"/>
          </a:solidFill>
        </p:grpSpPr>
        <p:sp>
          <p:nvSpPr>
            <p:cNvPr id="86" name="Freeform 7">
              <a:extLst>
                <a:ext uri="{FF2B5EF4-FFF2-40B4-BE49-F238E27FC236}">
                  <a16:creationId xmlns:a16="http://schemas.microsoft.com/office/drawing/2014/main" id="{594DD106-0B8B-4C40-9D44-A1DFD13FA664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2170113" y="2774951"/>
              <a:ext cx="277813" cy="395288"/>
            </a:xfrm>
            <a:custGeom>
              <a:avLst/>
              <a:gdLst>
                <a:gd name="T0" fmla="*/ 467 w 1053"/>
                <a:gd name="T1" fmla="*/ 0 h 1490"/>
                <a:gd name="T2" fmla="*/ 0 w 1053"/>
                <a:gd name="T3" fmla="*/ 1276 h 1490"/>
                <a:gd name="T4" fmla="*/ 586 w 1053"/>
                <a:gd name="T5" fmla="*/ 1490 h 1490"/>
                <a:gd name="T6" fmla="*/ 1053 w 1053"/>
                <a:gd name="T7" fmla="*/ 215 h 1490"/>
                <a:gd name="T8" fmla="*/ 467 w 1053"/>
                <a:gd name="T9" fmla="*/ 0 h 1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3" h="1490">
                  <a:moveTo>
                    <a:pt x="467" y="0"/>
                  </a:moveTo>
                  <a:lnTo>
                    <a:pt x="0" y="1276"/>
                  </a:lnTo>
                  <a:lnTo>
                    <a:pt x="586" y="1490"/>
                  </a:lnTo>
                  <a:lnTo>
                    <a:pt x="1053" y="215"/>
                  </a:lnTo>
                  <a:lnTo>
                    <a:pt x="46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8">
              <a:extLst>
                <a:ext uri="{FF2B5EF4-FFF2-40B4-BE49-F238E27FC236}">
                  <a16:creationId xmlns:a16="http://schemas.microsoft.com/office/drawing/2014/main" id="{AF1DC2A5-A551-4D13-929E-D9FC05F9FF81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1209675" y="2663826"/>
              <a:ext cx="1016000" cy="400050"/>
            </a:xfrm>
            <a:custGeom>
              <a:avLst/>
              <a:gdLst>
                <a:gd name="T0" fmla="*/ 2993 w 3841"/>
                <a:gd name="T1" fmla="*/ 0 h 1514"/>
                <a:gd name="T2" fmla="*/ 1278 w 3841"/>
                <a:gd name="T3" fmla="*/ 119 h 1514"/>
                <a:gd name="T4" fmla="*/ 1528 w 3841"/>
                <a:gd name="T5" fmla="*/ 452 h 1514"/>
                <a:gd name="T6" fmla="*/ 2547 w 3841"/>
                <a:gd name="T7" fmla="*/ 523 h 1514"/>
                <a:gd name="T8" fmla="*/ 2377 w 3841"/>
                <a:gd name="T9" fmla="*/ 849 h 1514"/>
                <a:gd name="T10" fmla="*/ 1359 w 3841"/>
                <a:gd name="T11" fmla="*/ 849 h 1514"/>
                <a:gd name="T12" fmla="*/ 227 w 3841"/>
                <a:gd name="T13" fmla="*/ 509 h 1514"/>
                <a:gd name="T14" fmla="*/ 0 w 3841"/>
                <a:gd name="T15" fmla="*/ 679 h 1514"/>
                <a:gd name="T16" fmla="*/ 1132 w 3841"/>
                <a:gd name="T17" fmla="*/ 1226 h 1514"/>
                <a:gd name="T18" fmla="*/ 3026 w 3841"/>
                <a:gd name="T19" fmla="*/ 1358 h 1514"/>
                <a:gd name="T20" fmla="*/ 3451 w 3841"/>
                <a:gd name="T21" fmla="*/ 1514 h 1514"/>
                <a:gd name="T22" fmla="*/ 3841 w 3841"/>
                <a:gd name="T23" fmla="*/ 451 h 1514"/>
                <a:gd name="T24" fmla="*/ 2993 w 3841"/>
                <a:gd name="T25" fmla="*/ 0 h 1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41" h="1514">
                  <a:moveTo>
                    <a:pt x="2993" y="0"/>
                  </a:moveTo>
                  <a:lnTo>
                    <a:pt x="1278" y="119"/>
                  </a:lnTo>
                  <a:lnTo>
                    <a:pt x="1528" y="452"/>
                  </a:lnTo>
                  <a:lnTo>
                    <a:pt x="2547" y="523"/>
                  </a:lnTo>
                  <a:lnTo>
                    <a:pt x="2377" y="849"/>
                  </a:lnTo>
                  <a:lnTo>
                    <a:pt x="1359" y="849"/>
                  </a:lnTo>
                  <a:lnTo>
                    <a:pt x="227" y="509"/>
                  </a:lnTo>
                  <a:lnTo>
                    <a:pt x="0" y="679"/>
                  </a:lnTo>
                  <a:lnTo>
                    <a:pt x="1132" y="1226"/>
                  </a:lnTo>
                  <a:lnTo>
                    <a:pt x="3026" y="1358"/>
                  </a:lnTo>
                  <a:lnTo>
                    <a:pt x="3451" y="1514"/>
                  </a:lnTo>
                  <a:lnTo>
                    <a:pt x="3841" y="451"/>
                  </a:lnTo>
                  <a:lnTo>
                    <a:pt x="2993" y="0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16EB4E48-2764-4F2B-B3AE-EB8C5CE924E2}"/>
              </a:ext>
            </a:extLst>
          </p:cNvPr>
          <p:cNvCxnSpPr>
            <a:cxnSpLocks/>
            <a:stCxn id="66" idx="2"/>
            <a:endCxn id="82" idx="0"/>
          </p:cNvCxnSpPr>
          <p:nvPr/>
        </p:nvCxnSpPr>
        <p:spPr bwMode="auto">
          <a:xfrm>
            <a:off x="8060337" y="3719503"/>
            <a:ext cx="1893" cy="1536908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AAB414"/>
            </a:solidFill>
            <a:prstDash val="solid"/>
            <a:round/>
            <a:headEnd type="none" w="med" len="med"/>
            <a:tailEnd type="oval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89" name="Gruppieren 42">
            <a:extLst>
              <a:ext uri="{FF2B5EF4-FFF2-40B4-BE49-F238E27FC236}">
                <a16:creationId xmlns:a16="http://schemas.microsoft.com/office/drawing/2014/main" id="{926DEE47-23F6-4026-8C9E-A33AF79B4C22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302076" y="3367413"/>
            <a:ext cx="474598" cy="450518"/>
            <a:chOff x="-1223963" y="2309813"/>
            <a:chExt cx="750888" cy="712787"/>
          </a:xfrm>
          <a:solidFill>
            <a:srgbClr val="AAB414"/>
          </a:solidFill>
        </p:grpSpPr>
        <p:sp>
          <p:nvSpPr>
            <p:cNvPr id="90" name="Freeform 6">
              <a:extLst>
                <a:ext uri="{FF2B5EF4-FFF2-40B4-BE49-F238E27FC236}">
                  <a16:creationId xmlns:a16="http://schemas.microsoft.com/office/drawing/2014/main" id="{C1692067-0506-4C8B-AD23-7A19E59E11F2}"/>
                </a:ext>
              </a:extLst>
            </p:cNvPr>
            <p:cNvSpPr>
              <a:spLocks/>
            </p:cNvSpPr>
            <p:nvPr/>
          </p:nvSpPr>
          <p:spPr bwMode="gray">
            <a:xfrm>
              <a:off x="-904875" y="2309813"/>
              <a:ext cx="100013" cy="123825"/>
            </a:xfrm>
            <a:custGeom>
              <a:avLst/>
              <a:gdLst>
                <a:gd name="T0" fmla="*/ 34 w 137"/>
                <a:gd name="T1" fmla="*/ 130 h 171"/>
                <a:gd name="T2" fmla="*/ 80 w 137"/>
                <a:gd name="T3" fmla="*/ 0 h 171"/>
                <a:gd name="T4" fmla="*/ 135 w 137"/>
                <a:gd name="T5" fmla="*/ 105 h 171"/>
                <a:gd name="T6" fmla="*/ 34 w 137"/>
                <a:gd name="T7" fmla="*/ 13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7" h="171">
                  <a:moveTo>
                    <a:pt x="34" y="130"/>
                  </a:moveTo>
                  <a:cubicBezTo>
                    <a:pt x="0" y="83"/>
                    <a:pt x="52" y="35"/>
                    <a:pt x="80" y="0"/>
                  </a:cubicBezTo>
                  <a:cubicBezTo>
                    <a:pt x="102" y="33"/>
                    <a:pt x="137" y="63"/>
                    <a:pt x="135" y="105"/>
                  </a:cubicBezTo>
                  <a:cubicBezTo>
                    <a:pt x="129" y="153"/>
                    <a:pt x="61" y="171"/>
                    <a:pt x="34" y="13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1" name="Freeform 7">
              <a:extLst>
                <a:ext uri="{FF2B5EF4-FFF2-40B4-BE49-F238E27FC236}">
                  <a16:creationId xmlns:a16="http://schemas.microsoft.com/office/drawing/2014/main" id="{0FFAD5BC-1C45-4955-BFF1-D6CBBC290FA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223963" y="2425700"/>
              <a:ext cx="750888" cy="596900"/>
            </a:xfrm>
            <a:custGeom>
              <a:avLst/>
              <a:gdLst>
                <a:gd name="T0" fmla="*/ 80 w 1036"/>
                <a:gd name="T1" fmla="*/ 13 h 823"/>
                <a:gd name="T2" fmla="*/ 272 w 1036"/>
                <a:gd name="T3" fmla="*/ 14 h 823"/>
                <a:gd name="T4" fmla="*/ 422 w 1036"/>
                <a:gd name="T5" fmla="*/ 33 h 823"/>
                <a:gd name="T6" fmla="*/ 625 w 1036"/>
                <a:gd name="T7" fmla="*/ 37 h 823"/>
                <a:gd name="T8" fmla="*/ 767 w 1036"/>
                <a:gd name="T9" fmla="*/ 15 h 823"/>
                <a:gd name="T10" fmla="*/ 958 w 1036"/>
                <a:gd name="T11" fmla="*/ 13 h 823"/>
                <a:gd name="T12" fmla="*/ 931 w 1036"/>
                <a:gd name="T13" fmla="*/ 51 h 823"/>
                <a:gd name="T14" fmla="*/ 872 w 1036"/>
                <a:gd name="T15" fmla="*/ 35 h 823"/>
                <a:gd name="T16" fmla="*/ 989 w 1036"/>
                <a:gd name="T17" fmla="*/ 378 h 823"/>
                <a:gd name="T18" fmla="*/ 1036 w 1036"/>
                <a:gd name="T19" fmla="*/ 445 h 823"/>
                <a:gd name="T20" fmla="*/ 881 w 1036"/>
                <a:gd name="T21" fmla="*/ 542 h 823"/>
                <a:gd name="T22" fmla="*/ 696 w 1036"/>
                <a:gd name="T23" fmla="*/ 443 h 823"/>
                <a:gd name="T24" fmla="*/ 722 w 1036"/>
                <a:gd name="T25" fmla="*/ 432 h 823"/>
                <a:gd name="T26" fmla="*/ 860 w 1036"/>
                <a:gd name="T27" fmla="*/ 39 h 823"/>
                <a:gd name="T28" fmla="*/ 777 w 1036"/>
                <a:gd name="T29" fmla="*/ 36 h 823"/>
                <a:gd name="T30" fmla="*/ 803 w 1036"/>
                <a:gd name="T31" fmla="*/ 51 h 823"/>
                <a:gd name="T32" fmla="*/ 689 w 1036"/>
                <a:gd name="T33" fmla="*/ 120 h 823"/>
                <a:gd name="T34" fmla="*/ 546 w 1036"/>
                <a:gd name="T35" fmla="*/ 102 h 823"/>
                <a:gd name="T36" fmla="*/ 559 w 1036"/>
                <a:gd name="T37" fmla="*/ 332 h 823"/>
                <a:gd name="T38" fmla="*/ 596 w 1036"/>
                <a:gd name="T39" fmla="*/ 642 h 823"/>
                <a:gd name="T40" fmla="*/ 862 w 1036"/>
                <a:gd name="T41" fmla="*/ 746 h 823"/>
                <a:gd name="T42" fmla="*/ 912 w 1036"/>
                <a:gd name="T43" fmla="*/ 808 h 823"/>
                <a:gd name="T44" fmla="*/ 192 w 1036"/>
                <a:gd name="T45" fmla="*/ 812 h 823"/>
                <a:gd name="T46" fmla="*/ 117 w 1036"/>
                <a:gd name="T47" fmla="*/ 778 h 823"/>
                <a:gd name="T48" fmla="*/ 259 w 1036"/>
                <a:gd name="T49" fmla="*/ 714 h 823"/>
                <a:gd name="T50" fmla="*/ 444 w 1036"/>
                <a:gd name="T51" fmla="*/ 641 h 823"/>
                <a:gd name="T52" fmla="*/ 465 w 1036"/>
                <a:gd name="T53" fmla="*/ 444 h 823"/>
                <a:gd name="T54" fmla="*/ 492 w 1036"/>
                <a:gd name="T55" fmla="*/ 103 h 823"/>
                <a:gd name="T56" fmla="*/ 317 w 1036"/>
                <a:gd name="T57" fmla="*/ 109 h 823"/>
                <a:gd name="T58" fmla="*/ 178 w 1036"/>
                <a:gd name="T59" fmla="*/ 32 h 823"/>
                <a:gd name="T60" fmla="*/ 305 w 1036"/>
                <a:gd name="T61" fmla="*/ 393 h 823"/>
                <a:gd name="T62" fmla="*/ 292 w 1036"/>
                <a:gd name="T63" fmla="*/ 420 h 823"/>
                <a:gd name="T64" fmla="*/ 171 w 1036"/>
                <a:gd name="T65" fmla="*/ 126 h 823"/>
                <a:gd name="T66" fmla="*/ 37 w 1036"/>
                <a:gd name="T67" fmla="*/ 438 h 823"/>
                <a:gd name="T68" fmla="*/ 330 w 1036"/>
                <a:gd name="T69" fmla="*/ 427 h 823"/>
                <a:gd name="T70" fmla="*/ 255 w 1036"/>
                <a:gd name="T71" fmla="*/ 522 h 823"/>
                <a:gd name="T72" fmla="*/ 0 w 1036"/>
                <a:gd name="T73" fmla="*/ 441 h 823"/>
                <a:gd name="T74" fmla="*/ 0 w 1036"/>
                <a:gd name="T75" fmla="*/ 428 h 823"/>
                <a:gd name="T76" fmla="*/ 16 w 1036"/>
                <a:gd name="T77" fmla="*/ 451 h 823"/>
                <a:gd name="T78" fmla="*/ 166 w 1036"/>
                <a:gd name="T79" fmla="*/ 35 h 823"/>
                <a:gd name="T80" fmla="*/ 106 w 1036"/>
                <a:gd name="T81" fmla="*/ 51 h 823"/>
                <a:gd name="T82" fmla="*/ 80 w 1036"/>
                <a:gd name="T83" fmla="*/ 13 h 823"/>
                <a:gd name="T84" fmla="*/ 733 w 1036"/>
                <a:gd name="T85" fmla="*/ 438 h 823"/>
                <a:gd name="T86" fmla="*/ 1000 w 1036"/>
                <a:gd name="T87" fmla="*/ 436 h 823"/>
                <a:gd name="T88" fmla="*/ 869 w 1036"/>
                <a:gd name="T89" fmla="*/ 120 h 823"/>
                <a:gd name="T90" fmla="*/ 733 w 1036"/>
                <a:gd name="T91" fmla="*/ 438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36" h="823">
                  <a:moveTo>
                    <a:pt x="80" y="13"/>
                  </a:moveTo>
                  <a:cubicBezTo>
                    <a:pt x="144" y="14"/>
                    <a:pt x="208" y="10"/>
                    <a:pt x="272" y="14"/>
                  </a:cubicBezTo>
                  <a:cubicBezTo>
                    <a:pt x="322" y="21"/>
                    <a:pt x="372" y="62"/>
                    <a:pt x="422" y="33"/>
                  </a:cubicBezTo>
                  <a:cubicBezTo>
                    <a:pt x="485" y="0"/>
                    <a:pt x="563" y="5"/>
                    <a:pt x="625" y="37"/>
                  </a:cubicBezTo>
                  <a:cubicBezTo>
                    <a:pt x="674" y="59"/>
                    <a:pt x="720" y="18"/>
                    <a:pt x="767" y="15"/>
                  </a:cubicBezTo>
                  <a:cubicBezTo>
                    <a:pt x="831" y="10"/>
                    <a:pt x="895" y="14"/>
                    <a:pt x="958" y="13"/>
                  </a:cubicBezTo>
                  <a:cubicBezTo>
                    <a:pt x="949" y="26"/>
                    <a:pt x="940" y="38"/>
                    <a:pt x="931" y="51"/>
                  </a:cubicBezTo>
                  <a:cubicBezTo>
                    <a:pt x="917" y="47"/>
                    <a:pt x="887" y="39"/>
                    <a:pt x="872" y="35"/>
                  </a:cubicBezTo>
                  <a:cubicBezTo>
                    <a:pt x="908" y="151"/>
                    <a:pt x="952" y="263"/>
                    <a:pt x="989" y="378"/>
                  </a:cubicBezTo>
                  <a:cubicBezTo>
                    <a:pt x="998" y="404"/>
                    <a:pt x="1005" y="436"/>
                    <a:pt x="1036" y="445"/>
                  </a:cubicBezTo>
                  <a:cubicBezTo>
                    <a:pt x="999" y="495"/>
                    <a:pt x="945" y="538"/>
                    <a:pt x="881" y="542"/>
                  </a:cubicBezTo>
                  <a:cubicBezTo>
                    <a:pt x="806" y="549"/>
                    <a:pt x="736" y="504"/>
                    <a:pt x="696" y="443"/>
                  </a:cubicBezTo>
                  <a:cubicBezTo>
                    <a:pt x="703" y="441"/>
                    <a:pt x="715" y="435"/>
                    <a:pt x="722" y="432"/>
                  </a:cubicBezTo>
                  <a:cubicBezTo>
                    <a:pt x="772" y="303"/>
                    <a:pt x="812" y="169"/>
                    <a:pt x="860" y="39"/>
                  </a:cubicBezTo>
                  <a:cubicBezTo>
                    <a:pt x="833" y="39"/>
                    <a:pt x="805" y="37"/>
                    <a:pt x="777" y="36"/>
                  </a:cubicBezTo>
                  <a:lnTo>
                    <a:pt x="803" y="51"/>
                  </a:lnTo>
                  <a:cubicBezTo>
                    <a:pt x="767" y="76"/>
                    <a:pt x="733" y="109"/>
                    <a:pt x="689" y="120"/>
                  </a:cubicBezTo>
                  <a:cubicBezTo>
                    <a:pt x="641" y="131"/>
                    <a:pt x="592" y="116"/>
                    <a:pt x="546" y="102"/>
                  </a:cubicBezTo>
                  <a:cubicBezTo>
                    <a:pt x="551" y="179"/>
                    <a:pt x="554" y="255"/>
                    <a:pt x="559" y="332"/>
                  </a:cubicBezTo>
                  <a:cubicBezTo>
                    <a:pt x="565" y="436"/>
                    <a:pt x="591" y="538"/>
                    <a:pt x="596" y="642"/>
                  </a:cubicBezTo>
                  <a:cubicBezTo>
                    <a:pt x="694" y="648"/>
                    <a:pt x="768" y="722"/>
                    <a:pt x="862" y="746"/>
                  </a:cubicBezTo>
                  <a:cubicBezTo>
                    <a:pt x="891" y="754"/>
                    <a:pt x="939" y="769"/>
                    <a:pt x="912" y="808"/>
                  </a:cubicBezTo>
                  <a:cubicBezTo>
                    <a:pt x="672" y="816"/>
                    <a:pt x="432" y="809"/>
                    <a:pt x="192" y="812"/>
                  </a:cubicBezTo>
                  <a:cubicBezTo>
                    <a:pt x="162" y="809"/>
                    <a:pt x="114" y="823"/>
                    <a:pt x="117" y="778"/>
                  </a:cubicBezTo>
                  <a:cubicBezTo>
                    <a:pt x="155" y="742"/>
                    <a:pt x="214" y="741"/>
                    <a:pt x="259" y="714"/>
                  </a:cubicBezTo>
                  <a:cubicBezTo>
                    <a:pt x="316" y="680"/>
                    <a:pt x="376" y="648"/>
                    <a:pt x="444" y="641"/>
                  </a:cubicBezTo>
                  <a:cubicBezTo>
                    <a:pt x="444" y="575"/>
                    <a:pt x="456" y="510"/>
                    <a:pt x="465" y="444"/>
                  </a:cubicBezTo>
                  <a:cubicBezTo>
                    <a:pt x="482" y="331"/>
                    <a:pt x="483" y="216"/>
                    <a:pt x="492" y="103"/>
                  </a:cubicBezTo>
                  <a:cubicBezTo>
                    <a:pt x="436" y="119"/>
                    <a:pt x="372" y="138"/>
                    <a:pt x="317" y="109"/>
                  </a:cubicBezTo>
                  <a:cubicBezTo>
                    <a:pt x="272" y="82"/>
                    <a:pt x="233" y="39"/>
                    <a:pt x="178" y="32"/>
                  </a:cubicBezTo>
                  <a:cubicBezTo>
                    <a:pt x="219" y="153"/>
                    <a:pt x="255" y="275"/>
                    <a:pt x="305" y="393"/>
                  </a:cubicBezTo>
                  <a:cubicBezTo>
                    <a:pt x="301" y="402"/>
                    <a:pt x="296" y="411"/>
                    <a:pt x="292" y="420"/>
                  </a:cubicBezTo>
                  <a:cubicBezTo>
                    <a:pt x="262" y="318"/>
                    <a:pt x="212" y="224"/>
                    <a:pt x="171" y="126"/>
                  </a:cubicBezTo>
                  <a:cubicBezTo>
                    <a:pt x="127" y="231"/>
                    <a:pt x="82" y="333"/>
                    <a:pt x="37" y="438"/>
                  </a:cubicBezTo>
                  <a:cubicBezTo>
                    <a:pt x="135" y="433"/>
                    <a:pt x="234" y="448"/>
                    <a:pt x="330" y="427"/>
                  </a:cubicBezTo>
                  <a:cubicBezTo>
                    <a:pt x="342" y="475"/>
                    <a:pt x="288" y="502"/>
                    <a:pt x="255" y="522"/>
                  </a:cubicBezTo>
                  <a:cubicBezTo>
                    <a:pt x="166" y="572"/>
                    <a:pt x="50" y="526"/>
                    <a:pt x="0" y="441"/>
                  </a:cubicBezTo>
                  <a:lnTo>
                    <a:pt x="0" y="428"/>
                  </a:lnTo>
                  <a:lnTo>
                    <a:pt x="16" y="451"/>
                  </a:lnTo>
                  <a:cubicBezTo>
                    <a:pt x="77" y="317"/>
                    <a:pt x="116" y="174"/>
                    <a:pt x="166" y="35"/>
                  </a:cubicBezTo>
                  <a:cubicBezTo>
                    <a:pt x="151" y="39"/>
                    <a:pt x="121" y="47"/>
                    <a:pt x="106" y="51"/>
                  </a:cubicBezTo>
                  <a:cubicBezTo>
                    <a:pt x="97" y="38"/>
                    <a:pt x="88" y="26"/>
                    <a:pt x="80" y="13"/>
                  </a:cubicBezTo>
                  <a:moveTo>
                    <a:pt x="733" y="438"/>
                  </a:moveTo>
                  <a:cubicBezTo>
                    <a:pt x="822" y="437"/>
                    <a:pt x="911" y="439"/>
                    <a:pt x="1000" y="436"/>
                  </a:cubicBezTo>
                  <a:cubicBezTo>
                    <a:pt x="957" y="331"/>
                    <a:pt x="905" y="229"/>
                    <a:pt x="869" y="120"/>
                  </a:cubicBezTo>
                  <a:cubicBezTo>
                    <a:pt x="822" y="226"/>
                    <a:pt x="776" y="331"/>
                    <a:pt x="733" y="438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56" name="Text Box 60"/>
          <p:cNvSpPr txBox="1">
            <a:spLocks noChangeArrowheads="1"/>
          </p:cNvSpPr>
          <p:nvPr/>
        </p:nvSpPr>
        <p:spPr bwMode="gray">
          <a:xfrm>
            <a:off x="1114561" y="3224633"/>
            <a:ext cx="365451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r>
              <a:rPr lang="de-DE" altLang="en-US" sz="1400" dirty="0">
                <a:solidFill>
                  <a:srgbClr val="EB780A"/>
                </a:solidFill>
              </a:rPr>
              <a:t>Geldzahlungen nach</a:t>
            </a:r>
            <a:br>
              <a:rPr lang="de-DE" altLang="en-US" sz="1400" dirty="0">
                <a:solidFill>
                  <a:srgbClr val="EB780A"/>
                </a:solidFill>
              </a:rPr>
            </a:br>
            <a:r>
              <a:rPr lang="de-DE" altLang="en-US" sz="1400" dirty="0">
                <a:solidFill>
                  <a:srgbClr val="EB780A"/>
                </a:solidFill>
              </a:rPr>
              <a:t>Fälligkeit Rechnung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D5A507D9-7BDD-42B7-8A13-06F0572C70CB}"/>
              </a:ext>
            </a:extLst>
          </p:cNvPr>
          <p:cNvCxnSpPr>
            <a:cxnSpLocks/>
          </p:cNvCxnSpPr>
          <p:nvPr/>
        </p:nvCxnSpPr>
        <p:spPr bwMode="auto">
          <a:xfrm>
            <a:off x="819687" y="3593766"/>
            <a:ext cx="0" cy="968907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EB780A"/>
            </a:solidFill>
            <a:prstDash val="solid"/>
            <a:round/>
            <a:headEnd type="none" w="med" len="med"/>
            <a:tailEnd type="oval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9" name="Freeform 31">
            <a:extLst>
              <a:ext uri="{FF2B5EF4-FFF2-40B4-BE49-F238E27FC236}">
                <a16:creationId xmlns:a16="http://schemas.microsoft.com/office/drawing/2014/main" id="{DF2DF9E0-2B6D-4B47-9FB7-FF64E3F6A34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39287" y="3240055"/>
            <a:ext cx="360801" cy="361475"/>
          </a:xfrm>
          <a:custGeom>
            <a:avLst/>
            <a:gdLst>
              <a:gd name="T0" fmla="*/ 452 w 453"/>
              <a:gd name="T1" fmla="*/ 75 h 454"/>
              <a:gd name="T2" fmla="*/ 366 w 453"/>
              <a:gd name="T3" fmla="*/ 35 h 454"/>
              <a:gd name="T4" fmla="*/ 323 w 453"/>
              <a:gd name="T5" fmla="*/ 103 h 454"/>
              <a:gd name="T6" fmla="*/ 297 w 453"/>
              <a:gd name="T7" fmla="*/ 35 h 454"/>
              <a:gd name="T8" fmla="*/ 157 w 453"/>
              <a:gd name="T9" fmla="*/ 56 h 454"/>
              <a:gd name="T10" fmla="*/ 114 w 453"/>
              <a:gd name="T11" fmla="*/ 103 h 454"/>
              <a:gd name="T12" fmla="*/ 88 w 453"/>
              <a:gd name="T13" fmla="*/ 34 h 454"/>
              <a:gd name="T14" fmla="*/ 0 w 453"/>
              <a:gd name="T15" fmla="*/ 90 h 454"/>
              <a:gd name="T16" fmla="*/ 0 w 453"/>
              <a:gd name="T17" fmla="*/ 397 h 454"/>
              <a:gd name="T18" fmla="*/ 58 w 453"/>
              <a:gd name="T19" fmla="*/ 454 h 454"/>
              <a:gd name="T20" fmla="*/ 401 w 453"/>
              <a:gd name="T21" fmla="*/ 454 h 454"/>
              <a:gd name="T22" fmla="*/ 453 w 453"/>
              <a:gd name="T23" fmla="*/ 86 h 454"/>
              <a:gd name="T24" fmla="*/ 58 w 453"/>
              <a:gd name="T25" fmla="*/ 419 h 454"/>
              <a:gd name="T26" fmla="*/ 34 w 453"/>
              <a:gd name="T27" fmla="*/ 166 h 454"/>
              <a:gd name="T28" fmla="*/ 417 w 453"/>
              <a:gd name="T29" fmla="*/ 159 h 454"/>
              <a:gd name="T30" fmla="*/ 418 w 453"/>
              <a:gd name="T31" fmla="*/ 397 h 454"/>
              <a:gd name="T32" fmla="*/ 104 w 453"/>
              <a:gd name="T33" fmla="*/ 68 h 454"/>
              <a:gd name="T34" fmla="*/ 123 w 453"/>
              <a:gd name="T35" fmla="*/ 0 h 454"/>
              <a:gd name="T36" fmla="*/ 140 w 453"/>
              <a:gd name="T37" fmla="*/ 43 h 454"/>
              <a:gd name="T38" fmla="*/ 140 w 453"/>
              <a:gd name="T39" fmla="*/ 68 h 454"/>
              <a:gd name="T40" fmla="*/ 104 w 453"/>
              <a:gd name="T41" fmla="*/ 68 h 454"/>
              <a:gd name="T42" fmla="*/ 314 w 453"/>
              <a:gd name="T43" fmla="*/ 18 h 454"/>
              <a:gd name="T44" fmla="*/ 349 w 453"/>
              <a:gd name="T45" fmla="*/ 18 h 454"/>
              <a:gd name="T46" fmla="*/ 349 w 453"/>
              <a:gd name="T47" fmla="*/ 70 h 454"/>
              <a:gd name="T48" fmla="*/ 314 w 453"/>
              <a:gd name="T49" fmla="*/ 70 h 454"/>
              <a:gd name="T50" fmla="*/ 286 w 453"/>
              <a:gd name="T51" fmla="*/ 384 h 454"/>
              <a:gd name="T52" fmla="*/ 158 w 453"/>
              <a:gd name="T53" fmla="*/ 360 h 454"/>
              <a:gd name="T54" fmla="*/ 118 w 453"/>
              <a:gd name="T55" fmla="*/ 319 h 454"/>
              <a:gd name="T56" fmla="*/ 138 w 453"/>
              <a:gd name="T57" fmla="*/ 295 h 454"/>
              <a:gd name="T58" fmla="*/ 118 w 453"/>
              <a:gd name="T59" fmla="*/ 279 h 454"/>
              <a:gd name="T60" fmla="*/ 140 w 453"/>
              <a:gd name="T61" fmla="*/ 259 h 454"/>
              <a:gd name="T62" fmla="*/ 237 w 453"/>
              <a:gd name="T63" fmla="*/ 182 h 454"/>
              <a:gd name="T64" fmla="*/ 276 w 453"/>
              <a:gd name="T65" fmla="*/ 228 h 454"/>
              <a:gd name="T66" fmla="*/ 201 w 453"/>
              <a:gd name="T67" fmla="*/ 238 h 454"/>
              <a:gd name="T68" fmla="*/ 270 w 453"/>
              <a:gd name="T69" fmla="*/ 259 h 454"/>
              <a:gd name="T70" fmla="*/ 186 w 453"/>
              <a:gd name="T71" fmla="*/ 279 h 454"/>
              <a:gd name="T72" fmla="*/ 270 w 453"/>
              <a:gd name="T73" fmla="*/ 295 h 454"/>
              <a:gd name="T74" fmla="*/ 190 w 453"/>
              <a:gd name="T75" fmla="*/ 319 h 454"/>
              <a:gd name="T76" fmla="*/ 242 w 453"/>
              <a:gd name="T77" fmla="*/ 357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53" h="454">
                <a:moveTo>
                  <a:pt x="453" y="86"/>
                </a:moveTo>
                <a:cubicBezTo>
                  <a:pt x="453" y="82"/>
                  <a:pt x="453" y="78"/>
                  <a:pt x="452" y="75"/>
                </a:cubicBezTo>
                <a:cubicBezTo>
                  <a:pt x="447" y="54"/>
                  <a:pt x="428" y="36"/>
                  <a:pt x="405" y="36"/>
                </a:cubicBezTo>
                <a:cubicBezTo>
                  <a:pt x="392" y="35"/>
                  <a:pt x="379" y="35"/>
                  <a:pt x="366" y="35"/>
                </a:cubicBezTo>
                <a:cubicBezTo>
                  <a:pt x="366" y="48"/>
                  <a:pt x="366" y="60"/>
                  <a:pt x="365" y="72"/>
                </a:cubicBezTo>
                <a:cubicBezTo>
                  <a:pt x="365" y="94"/>
                  <a:pt x="344" y="109"/>
                  <a:pt x="323" y="103"/>
                </a:cubicBezTo>
                <a:cubicBezTo>
                  <a:pt x="308" y="99"/>
                  <a:pt x="297" y="86"/>
                  <a:pt x="297" y="70"/>
                </a:cubicBezTo>
                <a:cubicBezTo>
                  <a:pt x="297" y="59"/>
                  <a:pt x="297" y="47"/>
                  <a:pt x="297" y="35"/>
                </a:cubicBezTo>
                <a:cubicBezTo>
                  <a:pt x="250" y="35"/>
                  <a:pt x="204" y="35"/>
                  <a:pt x="157" y="35"/>
                </a:cubicBezTo>
                <a:cubicBezTo>
                  <a:pt x="157" y="43"/>
                  <a:pt x="157" y="49"/>
                  <a:pt x="157" y="56"/>
                </a:cubicBezTo>
                <a:cubicBezTo>
                  <a:pt x="157" y="63"/>
                  <a:pt x="157" y="70"/>
                  <a:pt x="156" y="76"/>
                </a:cubicBezTo>
                <a:cubicBezTo>
                  <a:pt x="153" y="96"/>
                  <a:pt x="133" y="108"/>
                  <a:pt x="114" y="103"/>
                </a:cubicBezTo>
                <a:cubicBezTo>
                  <a:pt x="98" y="99"/>
                  <a:pt x="88" y="86"/>
                  <a:pt x="88" y="67"/>
                </a:cubicBezTo>
                <a:cubicBezTo>
                  <a:pt x="87" y="57"/>
                  <a:pt x="88" y="46"/>
                  <a:pt x="88" y="34"/>
                </a:cubicBezTo>
                <a:cubicBezTo>
                  <a:pt x="71" y="35"/>
                  <a:pt x="56" y="34"/>
                  <a:pt x="41" y="37"/>
                </a:cubicBezTo>
                <a:cubicBezTo>
                  <a:pt x="16" y="41"/>
                  <a:pt x="0" y="63"/>
                  <a:pt x="0" y="90"/>
                </a:cubicBezTo>
                <a:cubicBezTo>
                  <a:pt x="0" y="122"/>
                  <a:pt x="0" y="154"/>
                  <a:pt x="0" y="186"/>
                </a:cubicBezTo>
                <a:cubicBezTo>
                  <a:pt x="0" y="256"/>
                  <a:pt x="0" y="326"/>
                  <a:pt x="0" y="397"/>
                </a:cubicBezTo>
                <a:cubicBezTo>
                  <a:pt x="0" y="410"/>
                  <a:pt x="3" y="423"/>
                  <a:pt x="12" y="434"/>
                </a:cubicBezTo>
                <a:cubicBezTo>
                  <a:pt x="23" y="449"/>
                  <a:pt x="39" y="454"/>
                  <a:pt x="58" y="454"/>
                </a:cubicBezTo>
                <a:cubicBezTo>
                  <a:pt x="170" y="454"/>
                  <a:pt x="283" y="454"/>
                  <a:pt x="396" y="454"/>
                </a:cubicBezTo>
                <a:cubicBezTo>
                  <a:pt x="398" y="454"/>
                  <a:pt x="400" y="454"/>
                  <a:pt x="401" y="454"/>
                </a:cubicBezTo>
                <a:cubicBezTo>
                  <a:pt x="431" y="452"/>
                  <a:pt x="453" y="431"/>
                  <a:pt x="453" y="403"/>
                </a:cubicBezTo>
                <a:cubicBezTo>
                  <a:pt x="453" y="297"/>
                  <a:pt x="453" y="191"/>
                  <a:pt x="453" y="86"/>
                </a:cubicBezTo>
                <a:close/>
                <a:moveTo>
                  <a:pt x="396" y="418"/>
                </a:moveTo>
                <a:cubicBezTo>
                  <a:pt x="283" y="418"/>
                  <a:pt x="171" y="418"/>
                  <a:pt x="58" y="419"/>
                </a:cubicBezTo>
                <a:cubicBezTo>
                  <a:pt x="43" y="419"/>
                  <a:pt x="34" y="409"/>
                  <a:pt x="34" y="396"/>
                </a:cubicBezTo>
                <a:cubicBezTo>
                  <a:pt x="35" y="320"/>
                  <a:pt x="34" y="243"/>
                  <a:pt x="34" y="166"/>
                </a:cubicBezTo>
                <a:cubicBezTo>
                  <a:pt x="34" y="164"/>
                  <a:pt x="34" y="163"/>
                  <a:pt x="34" y="159"/>
                </a:cubicBezTo>
                <a:cubicBezTo>
                  <a:pt x="162" y="159"/>
                  <a:pt x="290" y="159"/>
                  <a:pt x="417" y="159"/>
                </a:cubicBezTo>
                <a:cubicBezTo>
                  <a:pt x="418" y="163"/>
                  <a:pt x="418" y="165"/>
                  <a:pt x="418" y="168"/>
                </a:cubicBezTo>
                <a:cubicBezTo>
                  <a:pt x="418" y="244"/>
                  <a:pt x="418" y="320"/>
                  <a:pt x="418" y="397"/>
                </a:cubicBezTo>
                <a:cubicBezTo>
                  <a:pt x="418" y="413"/>
                  <a:pt x="412" y="418"/>
                  <a:pt x="396" y="418"/>
                </a:cubicBezTo>
                <a:close/>
                <a:moveTo>
                  <a:pt x="104" y="68"/>
                </a:moveTo>
                <a:cubicBezTo>
                  <a:pt x="104" y="52"/>
                  <a:pt x="104" y="35"/>
                  <a:pt x="104" y="19"/>
                </a:cubicBezTo>
                <a:cubicBezTo>
                  <a:pt x="105" y="7"/>
                  <a:pt x="112" y="0"/>
                  <a:pt x="123" y="0"/>
                </a:cubicBezTo>
                <a:cubicBezTo>
                  <a:pt x="133" y="0"/>
                  <a:pt x="140" y="7"/>
                  <a:pt x="140" y="18"/>
                </a:cubicBezTo>
                <a:cubicBezTo>
                  <a:pt x="140" y="27"/>
                  <a:pt x="140" y="35"/>
                  <a:pt x="140" y="43"/>
                </a:cubicBezTo>
                <a:cubicBezTo>
                  <a:pt x="140" y="43"/>
                  <a:pt x="140" y="43"/>
                  <a:pt x="140" y="43"/>
                </a:cubicBezTo>
                <a:cubicBezTo>
                  <a:pt x="140" y="51"/>
                  <a:pt x="140" y="60"/>
                  <a:pt x="140" y="68"/>
                </a:cubicBezTo>
                <a:cubicBezTo>
                  <a:pt x="140" y="79"/>
                  <a:pt x="132" y="88"/>
                  <a:pt x="122" y="88"/>
                </a:cubicBezTo>
                <a:cubicBezTo>
                  <a:pt x="112" y="88"/>
                  <a:pt x="105" y="80"/>
                  <a:pt x="104" y="68"/>
                </a:cubicBezTo>
                <a:close/>
                <a:moveTo>
                  <a:pt x="314" y="70"/>
                </a:moveTo>
                <a:cubicBezTo>
                  <a:pt x="313" y="53"/>
                  <a:pt x="313" y="35"/>
                  <a:pt x="314" y="18"/>
                </a:cubicBezTo>
                <a:cubicBezTo>
                  <a:pt x="314" y="7"/>
                  <a:pt x="322" y="0"/>
                  <a:pt x="332" y="1"/>
                </a:cubicBezTo>
                <a:cubicBezTo>
                  <a:pt x="342" y="1"/>
                  <a:pt x="349" y="8"/>
                  <a:pt x="349" y="18"/>
                </a:cubicBezTo>
                <a:cubicBezTo>
                  <a:pt x="349" y="27"/>
                  <a:pt x="349" y="36"/>
                  <a:pt x="349" y="45"/>
                </a:cubicBezTo>
                <a:cubicBezTo>
                  <a:pt x="349" y="53"/>
                  <a:pt x="349" y="61"/>
                  <a:pt x="349" y="70"/>
                </a:cubicBezTo>
                <a:cubicBezTo>
                  <a:pt x="349" y="80"/>
                  <a:pt x="341" y="88"/>
                  <a:pt x="331" y="88"/>
                </a:cubicBezTo>
                <a:cubicBezTo>
                  <a:pt x="322" y="88"/>
                  <a:pt x="314" y="80"/>
                  <a:pt x="314" y="70"/>
                </a:cubicBezTo>
                <a:close/>
                <a:moveTo>
                  <a:pt x="278" y="349"/>
                </a:moveTo>
                <a:cubicBezTo>
                  <a:pt x="286" y="384"/>
                  <a:pt x="286" y="384"/>
                  <a:pt x="286" y="384"/>
                </a:cubicBezTo>
                <a:cubicBezTo>
                  <a:pt x="275" y="391"/>
                  <a:pt x="256" y="397"/>
                  <a:pt x="236" y="397"/>
                </a:cubicBezTo>
                <a:cubicBezTo>
                  <a:pt x="204" y="397"/>
                  <a:pt x="176" y="384"/>
                  <a:pt x="158" y="360"/>
                </a:cubicBezTo>
                <a:cubicBezTo>
                  <a:pt x="149" y="349"/>
                  <a:pt x="143" y="335"/>
                  <a:pt x="140" y="319"/>
                </a:cubicBezTo>
                <a:cubicBezTo>
                  <a:pt x="118" y="319"/>
                  <a:pt x="118" y="319"/>
                  <a:pt x="118" y="319"/>
                </a:cubicBezTo>
                <a:cubicBezTo>
                  <a:pt x="118" y="295"/>
                  <a:pt x="118" y="295"/>
                  <a:pt x="118" y="295"/>
                </a:cubicBezTo>
                <a:cubicBezTo>
                  <a:pt x="138" y="295"/>
                  <a:pt x="138" y="295"/>
                  <a:pt x="138" y="295"/>
                </a:cubicBezTo>
                <a:cubicBezTo>
                  <a:pt x="138" y="295"/>
                  <a:pt x="137" y="283"/>
                  <a:pt x="137" y="279"/>
                </a:cubicBezTo>
                <a:cubicBezTo>
                  <a:pt x="118" y="279"/>
                  <a:pt x="118" y="279"/>
                  <a:pt x="118" y="279"/>
                </a:cubicBezTo>
                <a:cubicBezTo>
                  <a:pt x="118" y="259"/>
                  <a:pt x="118" y="259"/>
                  <a:pt x="118" y="259"/>
                </a:cubicBezTo>
                <a:cubicBezTo>
                  <a:pt x="140" y="259"/>
                  <a:pt x="140" y="259"/>
                  <a:pt x="140" y="259"/>
                </a:cubicBezTo>
                <a:cubicBezTo>
                  <a:pt x="144" y="239"/>
                  <a:pt x="152" y="226"/>
                  <a:pt x="163" y="215"/>
                </a:cubicBezTo>
                <a:cubicBezTo>
                  <a:pt x="181" y="194"/>
                  <a:pt x="206" y="182"/>
                  <a:pt x="237" y="182"/>
                </a:cubicBezTo>
                <a:cubicBezTo>
                  <a:pt x="256" y="182"/>
                  <a:pt x="273" y="186"/>
                  <a:pt x="285" y="191"/>
                </a:cubicBezTo>
                <a:cubicBezTo>
                  <a:pt x="276" y="228"/>
                  <a:pt x="276" y="228"/>
                  <a:pt x="276" y="228"/>
                </a:cubicBezTo>
                <a:cubicBezTo>
                  <a:pt x="267" y="224"/>
                  <a:pt x="254" y="220"/>
                  <a:pt x="240" y="220"/>
                </a:cubicBezTo>
                <a:cubicBezTo>
                  <a:pt x="225" y="220"/>
                  <a:pt x="211" y="226"/>
                  <a:pt x="201" y="238"/>
                </a:cubicBezTo>
                <a:cubicBezTo>
                  <a:pt x="196" y="243"/>
                  <a:pt x="193" y="251"/>
                  <a:pt x="190" y="259"/>
                </a:cubicBezTo>
                <a:cubicBezTo>
                  <a:pt x="270" y="259"/>
                  <a:pt x="270" y="259"/>
                  <a:pt x="270" y="259"/>
                </a:cubicBezTo>
                <a:cubicBezTo>
                  <a:pt x="270" y="279"/>
                  <a:pt x="270" y="279"/>
                  <a:pt x="270" y="279"/>
                </a:cubicBezTo>
                <a:cubicBezTo>
                  <a:pt x="186" y="279"/>
                  <a:pt x="186" y="279"/>
                  <a:pt x="186" y="279"/>
                </a:cubicBezTo>
                <a:cubicBezTo>
                  <a:pt x="185" y="283"/>
                  <a:pt x="186" y="295"/>
                  <a:pt x="186" y="295"/>
                </a:cubicBezTo>
                <a:cubicBezTo>
                  <a:pt x="270" y="295"/>
                  <a:pt x="270" y="295"/>
                  <a:pt x="270" y="295"/>
                </a:cubicBezTo>
                <a:cubicBezTo>
                  <a:pt x="270" y="319"/>
                  <a:pt x="270" y="319"/>
                  <a:pt x="270" y="319"/>
                </a:cubicBezTo>
                <a:cubicBezTo>
                  <a:pt x="190" y="319"/>
                  <a:pt x="190" y="319"/>
                  <a:pt x="190" y="319"/>
                </a:cubicBezTo>
                <a:cubicBezTo>
                  <a:pt x="192" y="327"/>
                  <a:pt x="196" y="336"/>
                  <a:pt x="200" y="341"/>
                </a:cubicBezTo>
                <a:cubicBezTo>
                  <a:pt x="211" y="353"/>
                  <a:pt x="226" y="357"/>
                  <a:pt x="242" y="357"/>
                </a:cubicBezTo>
                <a:cubicBezTo>
                  <a:pt x="256" y="357"/>
                  <a:pt x="271" y="352"/>
                  <a:pt x="278" y="349"/>
                </a:cubicBezTo>
                <a:close/>
              </a:path>
            </a:pathLst>
          </a:custGeom>
          <a:solidFill>
            <a:srgbClr val="EB780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>
              <a:solidFill>
                <a:srgbClr val="879BAA"/>
              </a:solidFill>
            </a:endParaRPr>
          </a:p>
        </p:txBody>
      </p:sp>
      <p:sp>
        <p:nvSpPr>
          <p:cNvPr id="57" name="Text Box 61"/>
          <p:cNvSpPr txBox="1">
            <a:spLocks noChangeArrowheads="1"/>
          </p:cNvSpPr>
          <p:nvPr/>
        </p:nvSpPr>
        <p:spPr bwMode="gray">
          <a:xfrm>
            <a:off x="1280860" y="4022877"/>
            <a:ext cx="99084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de-DE" altLang="en-US" sz="1400" dirty="0">
                <a:solidFill>
                  <a:srgbClr val="50BED7"/>
                </a:solidFill>
              </a:rPr>
              <a:t>Nutzen</a:t>
            </a:r>
          </a:p>
        </p:txBody>
      </p: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29A34AF5-EDE9-40A5-821D-94192191C8B3}"/>
              </a:ext>
            </a:extLst>
          </p:cNvPr>
          <p:cNvCxnSpPr>
            <a:cxnSpLocks/>
          </p:cNvCxnSpPr>
          <p:nvPr/>
        </p:nvCxnSpPr>
        <p:spPr bwMode="auto">
          <a:xfrm>
            <a:off x="1734478" y="4444492"/>
            <a:ext cx="0" cy="1109883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50BED7"/>
            </a:solidFill>
            <a:prstDash val="solid"/>
            <a:round/>
            <a:headEnd type="none" w="med" len="med"/>
            <a:tailEnd type="oval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72" name="Gruppieren 71">
            <a:extLst>
              <a:ext uri="{FF2B5EF4-FFF2-40B4-BE49-F238E27FC236}">
                <a16:creationId xmlns:a16="http://schemas.microsoft.com/office/drawing/2014/main" id="{232087DD-E696-460A-A21A-2EA91C3E33A3}"/>
              </a:ext>
            </a:extLst>
          </p:cNvPr>
          <p:cNvGrpSpPr>
            <a:grpSpLocks noChangeAspect="1"/>
          </p:cNvGrpSpPr>
          <p:nvPr/>
        </p:nvGrpSpPr>
        <p:grpSpPr bwMode="blackWhite">
          <a:xfrm flipH="1">
            <a:off x="1550692" y="4308857"/>
            <a:ext cx="468052" cy="191421"/>
            <a:chOff x="1209675" y="2663826"/>
            <a:chExt cx="1238251" cy="506413"/>
          </a:xfrm>
          <a:solidFill>
            <a:srgbClr val="50BED7"/>
          </a:solidFill>
        </p:grpSpPr>
        <p:sp>
          <p:nvSpPr>
            <p:cNvPr id="74" name="Freeform 7">
              <a:extLst>
                <a:ext uri="{FF2B5EF4-FFF2-40B4-BE49-F238E27FC236}">
                  <a16:creationId xmlns:a16="http://schemas.microsoft.com/office/drawing/2014/main" id="{992BACF6-7E46-48F9-A139-F64A008E2683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2170113" y="2774951"/>
              <a:ext cx="277813" cy="395288"/>
            </a:xfrm>
            <a:custGeom>
              <a:avLst/>
              <a:gdLst>
                <a:gd name="T0" fmla="*/ 467 w 1053"/>
                <a:gd name="T1" fmla="*/ 0 h 1490"/>
                <a:gd name="T2" fmla="*/ 0 w 1053"/>
                <a:gd name="T3" fmla="*/ 1276 h 1490"/>
                <a:gd name="T4" fmla="*/ 586 w 1053"/>
                <a:gd name="T5" fmla="*/ 1490 h 1490"/>
                <a:gd name="T6" fmla="*/ 1053 w 1053"/>
                <a:gd name="T7" fmla="*/ 215 h 1490"/>
                <a:gd name="T8" fmla="*/ 467 w 1053"/>
                <a:gd name="T9" fmla="*/ 0 h 1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3" h="1490">
                  <a:moveTo>
                    <a:pt x="467" y="0"/>
                  </a:moveTo>
                  <a:lnTo>
                    <a:pt x="0" y="1276"/>
                  </a:lnTo>
                  <a:lnTo>
                    <a:pt x="586" y="1490"/>
                  </a:lnTo>
                  <a:lnTo>
                    <a:pt x="1053" y="215"/>
                  </a:lnTo>
                  <a:lnTo>
                    <a:pt x="46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8">
              <a:extLst>
                <a:ext uri="{FF2B5EF4-FFF2-40B4-BE49-F238E27FC236}">
                  <a16:creationId xmlns:a16="http://schemas.microsoft.com/office/drawing/2014/main" id="{7FD54636-7237-4E95-8A95-6A076FDBC081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1209675" y="2663826"/>
              <a:ext cx="1016000" cy="400050"/>
            </a:xfrm>
            <a:custGeom>
              <a:avLst/>
              <a:gdLst>
                <a:gd name="T0" fmla="*/ 2993 w 3841"/>
                <a:gd name="T1" fmla="*/ 0 h 1514"/>
                <a:gd name="T2" fmla="*/ 1278 w 3841"/>
                <a:gd name="T3" fmla="*/ 119 h 1514"/>
                <a:gd name="T4" fmla="*/ 1528 w 3841"/>
                <a:gd name="T5" fmla="*/ 452 h 1514"/>
                <a:gd name="T6" fmla="*/ 2547 w 3841"/>
                <a:gd name="T7" fmla="*/ 523 h 1514"/>
                <a:gd name="T8" fmla="*/ 2377 w 3841"/>
                <a:gd name="T9" fmla="*/ 849 h 1514"/>
                <a:gd name="T10" fmla="*/ 1359 w 3841"/>
                <a:gd name="T11" fmla="*/ 849 h 1514"/>
                <a:gd name="T12" fmla="*/ 227 w 3841"/>
                <a:gd name="T13" fmla="*/ 509 h 1514"/>
                <a:gd name="T14" fmla="*/ 0 w 3841"/>
                <a:gd name="T15" fmla="*/ 679 h 1514"/>
                <a:gd name="T16" fmla="*/ 1132 w 3841"/>
                <a:gd name="T17" fmla="*/ 1226 h 1514"/>
                <a:gd name="T18" fmla="*/ 3026 w 3841"/>
                <a:gd name="T19" fmla="*/ 1358 h 1514"/>
                <a:gd name="T20" fmla="*/ 3451 w 3841"/>
                <a:gd name="T21" fmla="*/ 1514 h 1514"/>
                <a:gd name="T22" fmla="*/ 3841 w 3841"/>
                <a:gd name="T23" fmla="*/ 451 h 1514"/>
                <a:gd name="T24" fmla="*/ 2993 w 3841"/>
                <a:gd name="T25" fmla="*/ 0 h 1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41" h="1514">
                  <a:moveTo>
                    <a:pt x="2993" y="0"/>
                  </a:moveTo>
                  <a:lnTo>
                    <a:pt x="1278" y="119"/>
                  </a:lnTo>
                  <a:lnTo>
                    <a:pt x="1528" y="452"/>
                  </a:lnTo>
                  <a:lnTo>
                    <a:pt x="2547" y="523"/>
                  </a:lnTo>
                  <a:lnTo>
                    <a:pt x="2377" y="849"/>
                  </a:lnTo>
                  <a:lnTo>
                    <a:pt x="1359" y="849"/>
                  </a:lnTo>
                  <a:lnTo>
                    <a:pt x="227" y="509"/>
                  </a:lnTo>
                  <a:lnTo>
                    <a:pt x="0" y="679"/>
                  </a:lnTo>
                  <a:lnTo>
                    <a:pt x="1132" y="1226"/>
                  </a:lnTo>
                  <a:lnTo>
                    <a:pt x="3026" y="1358"/>
                  </a:lnTo>
                  <a:lnTo>
                    <a:pt x="3451" y="1514"/>
                  </a:lnTo>
                  <a:lnTo>
                    <a:pt x="3841" y="451"/>
                  </a:lnTo>
                  <a:lnTo>
                    <a:pt x="2993" y="0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1DAD626C-F7E2-441C-ABD7-D1EA2C32DA03}"/>
              </a:ext>
            </a:extLst>
          </p:cNvPr>
          <p:cNvGrpSpPr/>
          <p:nvPr/>
        </p:nvGrpSpPr>
        <p:grpSpPr>
          <a:xfrm>
            <a:off x="6174067" y="1439999"/>
            <a:ext cx="267163" cy="4473637"/>
            <a:chOff x="6174067" y="1439999"/>
            <a:chExt cx="267163" cy="4473637"/>
          </a:xfrm>
        </p:grpSpPr>
        <p:cxnSp>
          <p:nvCxnSpPr>
            <p:cNvPr id="59" name="Gerader Verbinder 58">
              <a:extLst>
                <a:ext uri="{FF2B5EF4-FFF2-40B4-BE49-F238E27FC236}">
                  <a16:creationId xmlns:a16="http://schemas.microsoft.com/office/drawing/2014/main" id="{2F61F28F-552E-4DD9-8824-5473093F307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174067" y="1439999"/>
              <a:ext cx="0" cy="4473637"/>
            </a:xfrm>
            <a:prstGeom prst="line">
              <a:avLst/>
            </a:prstGeom>
            <a:solidFill>
              <a:schemeClr val="tx2"/>
            </a:solidFill>
            <a:ln w="31750" cap="flat" cmpd="sng" algn="ctr">
              <a:solidFill>
                <a:srgbClr val="DFE6ED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1" name="Gleichschenkliges Dreieck 60">
              <a:extLst>
                <a:ext uri="{FF2B5EF4-FFF2-40B4-BE49-F238E27FC236}">
                  <a16:creationId xmlns:a16="http://schemas.microsoft.com/office/drawing/2014/main" id="{26DF30D5-6BE2-482C-AD49-D7ADADC2A0EC}"/>
                </a:ext>
              </a:extLst>
            </p:cNvPr>
            <p:cNvSpPr/>
            <p:nvPr/>
          </p:nvSpPr>
          <p:spPr bwMode="auto">
            <a:xfrm rot="5400000">
              <a:off x="6070039" y="3578676"/>
              <a:ext cx="546100" cy="196282"/>
            </a:xfrm>
            <a:prstGeom prst="triangle">
              <a:avLst/>
            </a:prstGeom>
            <a:solidFill>
              <a:srgbClr val="41AAAA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733734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/>
      <p:bldP spid="96" grpId="0"/>
      <p:bldP spid="66" grpId="0" animBg="1"/>
      <p:bldP spid="83" grpId="0"/>
      <p:bldP spid="5" grpId="0" animBg="1"/>
      <p:bldP spid="6" grpId="0" animBg="1"/>
      <p:bldP spid="11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65" grpId="0" animBg="1"/>
      <p:bldP spid="33" grpId="0" animBg="1"/>
      <p:bldP spid="82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6CE16F19-DE14-4EE6-AB24-07FE3A6625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200" dirty="0"/>
              <a:t>Von der </a:t>
            </a:r>
            <a:r>
              <a:rPr lang="de-DE" dirty="0"/>
              <a:t>„c</a:t>
            </a:r>
            <a:r>
              <a:rPr lang="de-DE" sz="2200" dirty="0"/>
              <a:t>onnecteten“ Maschine zum Eco-System</a:t>
            </a:r>
          </a:p>
        </p:txBody>
      </p:sp>
      <p:sp>
        <p:nvSpPr>
          <p:cNvPr id="6" name="TextBox 3">
            <a:extLst>
              <a:ext uri="{FF2B5EF4-FFF2-40B4-BE49-F238E27FC236}">
                <a16:creationId xmlns:a16="http://schemas.microsoft.com/office/drawing/2014/main" id="{2C9E0F1C-ACFA-4688-99BB-3B301EE404F9}"/>
              </a:ext>
            </a:extLst>
          </p:cNvPr>
          <p:cNvSpPr txBox="1"/>
          <p:nvPr/>
        </p:nvSpPr>
        <p:spPr>
          <a:xfrm>
            <a:off x="446547" y="3864497"/>
            <a:ext cx="1820077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  <a:buClr>
                <a:schemeClr val="accent1"/>
              </a:buClr>
            </a:pPr>
            <a:r>
              <a:rPr lang="de-DE" sz="2000" b="1">
                <a:solidFill>
                  <a:srgbClr val="FFFFFF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ermeidung</a:t>
            </a:r>
            <a:br>
              <a:rPr lang="de-DE" sz="2000" b="1">
                <a:solidFill>
                  <a:srgbClr val="FFFFFF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de-DE" sz="2000" b="1">
                <a:solidFill>
                  <a:srgbClr val="FFFFFF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usfallzeiten</a:t>
            </a:r>
          </a:p>
        </p:txBody>
      </p:sp>
      <p:sp>
        <p:nvSpPr>
          <p:cNvPr id="7" name="TextBox 4">
            <a:extLst>
              <a:ext uri="{FF2B5EF4-FFF2-40B4-BE49-F238E27FC236}">
                <a16:creationId xmlns:a16="http://schemas.microsoft.com/office/drawing/2014/main" id="{1B20CC49-E04D-4DF0-ABEB-892CC06DCCB8}"/>
              </a:ext>
            </a:extLst>
          </p:cNvPr>
          <p:cNvSpPr txBox="1"/>
          <p:nvPr/>
        </p:nvSpPr>
        <p:spPr>
          <a:xfrm>
            <a:off x="3991698" y="5369731"/>
            <a:ext cx="2678529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buClr>
                <a:schemeClr val="accent1"/>
              </a:buClr>
              <a:defRPr sz="2000" b="1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 algn="ctr"/>
            <a:r>
              <a:rPr lang="de-DE">
                <a:solidFill>
                  <a:srgbClr val="FFFFFF"/>
                </a:solidFill>
              </a:rPr>
              <a:t> Verbesserung der Service-Effizienz</a:t>
            </a:r>
          </a:p>
        </p:txBody>
      </p:sp>
      <p:sp>
        <p:nvSpPr>
          <p:cNvPr id="8" name="TextBox 5">
            <a:extLst>
              <a:ext uri="{FF2B5EF4-FFF2-40B4-BE49-F238E27FC236}">
                <a16:creationId xmlns:a16="http://schemas.microsoft.com/office/drawing/2014/main" id="{6109475C-7735-4D6A-9851-5238F5974477}"/>
              </a:ext>
            </a:extLst>
          </p:cNvPr>
          <p:cNvSpPr txBox="1"/>
          <p:nvPr/>
        </p:nvSpPr>
        <p:spPr>
          <a:xfrm>
            <a:off x="9859194" y="3741433"/>
            <a:ext cx="2329745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buClr>
                <a:schemeClr val="accent1"/>
              </a:buClr>
              <a:defRPr sz="2000" b="1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 algn="ctr"/>
            <a:r>
              <a:rPr lang="de-DE" sz="1800">
                <a:solidFill>
                  <a:srgbClr val="FFFFFF"/>
                </a:solidFill>
              </a:rPr>
              <a:t>Erfahrungs-</a:t>
            </a:r>
            <a:br>
              <a:rPr lang="de-DE" sz="1800">
                <a:solidFill>
                  <a:srgbClr val="FFFFFF"/>
                </a:solidFill>
              </a:rPr>
            </a:br>
            <a:r>
              <a:rPr lang="de-DE" sz="1800">
                <a:solidFill>
                  <a:srgbClr val="FFFFFF"/>
                </a:solidFill>
              </a:rPr>
              <a:t>träger fühlen sich</a:t>
            </a:r>
            <a:br>
              <a:rPr lang="de-DE" sz="1800">
                <a:solidFill>
                  <a:srgbClr val="FFFFFF"/>
                </a:solidFill>
              </a:rPr>
            </a:br>
            <a:r>
              <a:rPr lang="de-DE" sz="1800">
                <a:solidFill>
                  <a:srgbClr val="FFFFFF"/>
                </a:solidFill>
              </a:rPr>
              <a:t>abgeholt</a:t>
            </a:r>
          </a:p>
        </p:txBody>
      </p:sp>
      <p:sp>
        <p:nvSpPr>
          <p:cNvPr id="9" name="TextBox 285">
            <a:extLst>
              <a:ext uri="{FF2B5EF4-FFF2-40B4-BE49-F238E27FC236}">
                <a16:creationId xmlns:a16="http://schemas.microsoft.com/office/drawing/2014/main" id="{F562BCB2-23FD-437B-9354-5C795738FE34}"/>
              </a:ext>
            </a:extLst>
          </p:cNvPr>
          <p:cNvSpPr txBox="1"/>
          <p:nvPr/>
        </p:nvSpPr>
        <p:spPr>
          <a:xfrm>
            <a:off x="8314824" y="5220243"/>
            <a:ext cx="1580317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buClr>
                <a:schemeClr val="accent1"/>
              </a:buClr>
              <a:defRPr sz="2000" b="1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 algn="ctr"/>
            <a:r>
              <a:rPr lang="de-DE" dirty="0">
                <a:solidFill>
                  <a:srgbClr val="EB780A"/>
                </a:solidFill>
              </a:rPr>
              <a:t>Smart Finance</a:t>
            </a:r>
          </a:p>
        </p:txBody>
      </p:sp>
      <p:grpSp>
        <p:nvGrpSpPr>
          <p:cNvPr id="10" name="Group 275">
            <a:extLst>
              <a:ext uri="{FF2B5EF4-FFF2-40B4-BE49-F238E27FC236}">
                <a16:creationId xmlns:a16="http://schemas.microsoft.com/office/drawing/2014/main" id="{EF01FB61-5BD7-46B6-8F12-0D15A32836A7}"/>
              </a:ext>
            </a:extLst>
          </p:cNvPr>
          <p:cNvGrpSpPr/>
          <p:nvPr/>
        </p:nvGrpSpPr>
        <p:grpSpPr>
          <a:xfrm>
            <a:off x="1249871" y="2961512"/>
            <a:ext cx="951486" cy="932202"/>
            <a:chOff x="1262801" y="2536250"/>
            <a:chExt cx="951486" cy="932202"/>
          </a:xfrm>
        </p:grpSpPr>
        <p:sp>
          <p:nvSpPr>
            <p:cNvPr id="11" name="TextBox 8">
              <a:extLst>
                <a:ext uri="{FF2B5EF4-FFF2-40B4-BE49-F238E27FC236}">
                  <a16:creationId xmlns:a16="http://schemas.microsoft.com/office/drawing/2014/main" id="{0BE52BE4-BCD4-46A9-B043-599CC2E742EB}"/>
                </a:ext>
              </a:extLst>
            </p:cNvPr>
            <p:cNvSpPr txBox="1"/>
            <p:nvPr/>
          </p:nvSpPr>
          <p:spPr>
            <a:xfrm>
              <a:off x="1262801" y="2536250"/>
              <a:ext cx="951486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  <a:buClr>
                  <a:schemeClr val="accent1"/>
                </a:buClr>
              </a:pPr>
              <a:r>
                <a:rPr lang="de-DE" sz="1400">
                  <a:solidFill>
                    <a:srgbClr val="FFFFFF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Vorhersage Ausfälle</a:t>
              </a:r>
            </a:p>
          </p:txBody>
        </p:sp>
        <p:cxnSp>
          <p:nvCxnSpPr>
            <p:cNvPr id="12" name="Connector: Curved 2">
              <a:extLst>
                <a:ext uri="{FF2B5EF4-FFF2-40B4-BE49-F238E27FC236}">
                  <a16:creationId xmlns:a16="http://schemas.microsoft.com/office/drawing/2014/main" id="{A1071EC4-D066-409D-B746-2C158947A452}"/>
                </a:ext>
              </a:extLst>
            </p:cNvPr>
            <p:cNvCxnSpPr>
              <a:cxnSpLocks/>
              <a:stCxn id="6" idx="0"/>
              <a:endCxn id="11" idx="2"/>
            </p:cNvCxnSpPr>
            <p:nvPr/>
          </p:nvCxnSpPr>
          <p:spPr bwMode="auto">
            <a:xfrm rot="5400000" flipH="1" flipV="1">
              <a:off x="1411095" y="3141003"/>
              <a:ext cx="285871" cy="369028"/>
            </a:xfrm>
            <a:prstGeom prst="curvedConnector3">
              <a:avLst>
                <a:gd name="adj1" fmla="val 50000"/>
              </a:avLst>
            </a:prstGeom>
            <a:solidFill>
              <a:schemeClr val="tx2"/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stealth" w="lg" len="lg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3" name="Group 274">
            <a:extLst>
              <a:ext uri="{FF2B5EF4-FFF2-40B4-BE49-F238E27FC236}">
                <a16:creationId xmlns:a16="http://schemas.microsoft.com/office/drawing/2014/main" id="{512134D7-9A28-46FE-9700-60F299588997}"/>
              </a:ext>
            </a:extLst>
          </p:cNvPr>
          <p:cNvGrpSpPr/>
          <p:nvPr/>
        </p:nvGrpSpPr>
        <p:grpSpPr>
          <a:xfrm>
            <a:off x="2266624" y="4201491"/>
            <a:ext cx="3133336" cy="1197457"/>
            <a:chOff x="1841823" y="3793119"/>
            <a:chExt cx="3133336" cy="1197457"/>
          </a:xfrm>
        </p:grpSpPr>
        <p:sp>
          <p:nvSpPr>
            <p:cNvPr id="14" name="TextBox 281">
              <a:extLst>
                <a:ext uri="{FF2B5EF4-FFF2-40B4-BE49-F238E27FC236}">
                  <a16:creationId xmlns:a16="http://schemas.microsoft.com/office/drawing/2014/main" id="{797F92F4-21CB-494F-B455-02E224BFA3C8}"/>
                </a:ext>
              </a:extLst>
            </p:cNvPr>
            <p:cNvSpPr txBox="1"/>
            <p:nvPr/>
          </p:nvSpPr>
          <p:spPr>
            <a:xfrm>
              <a:off x="3240678" y="4038743"/>
              <a:ext cx="1734481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  <a:buClr>
                  <a:schemeClr val="accent1"/>
                </a:buClr>
              </a:pPr>
              <a:r>
                <a:rPr lang="de-DE" sz="1400">
                  <a:solidFill>
                    <a:srgbClr val="FFFFFF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Verfügbarkeit von Service-Experten</a:t>
              </a:r>
            </a:p>
          </p:txBody>
        </p:sp>
        <p:cxnSp>
          <p:nvCxnSpPr>
            <p:cNvPr id="15" name="Connector: Curved 566">
              <a:extLst>
                <a:ext uri="{FF2B5EF4-FFF2-40B4-BE49-F238E27FC236}">
                  <a16:creationId xmlns:a16="http://schemas.microsoft.com/office/drawing/2014/main" id="{33CE50DE-B275-4EF0-8544-BD6BDE85ABF6}"/>
                </a:ext>
              </a:extLst>
            </p:cNvPr>
            <p:cNvCxnSpPr>
              <a:cxnSpLocks/>
              <a:stCxn id="6" idx="3"/>
              <a:endCxn id="14" idx="1"/>
            </p:cNvCxnSpPr>
            <p:nvPr/>
          </p:nvCxnSpPr>
          <p:spPr bwMode="auto">
            <a:xfrm>
              <a:off x="1841823" y="3793119"/>
              <a:ext cx="1398855" cy="461068"/>
            </a:xfrm>
            <a:prstGeom prst="curvedConnector3">
              <a:avLst>
                <a:gd name="adj1" fmla="val 50000"/>
              </a:avLst>
            </a:prstGeom>
            <a:solidFill>
              <a:schemeClr val="tx2"/>
            </a:solidFill>
            <a:ln w="28575" cap="flat" cmpd="sng" algn="ctr">
              <a:solidFill>
                <a:srgbClr val="FFFFFF"/>
              </a:solidFill>
              <a:prstDash val="solid"/>
              <a:round/>
              <a:headEnd type="stealth" w="lg" len="lg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Connector: Curved 570">
              <a:extLst>
                <a:ext uri="{FF2B5EF4-FFF2-40B4-BE49-F238E27FC236}">
                  <a16:creationId xmlns:a16="http://schemas.microsoft.com/office/drawing/2014/main" id="{9F95D49C-CD41-4C0D-A17F-2FC12DBE5A0C}"/>
                </a:ext>
              </a:extLst>
            </p:cNvPr>
            <p:cNvCxnSpPr>
              <a:cxnSpLocks/>
              <a:stCxn id="7" idx="0"/>
              <a:endCxn id="14" idx="2"/>
            </p:cNvCxnSpPr>
            <p:nvPr/>
          </p:nvCxnSpPr>
          <p:spPr bwMode="auto">
            <a:xfrm rot="16200000" flipV="1">
              <a:off x="4246568" y="4330981"/>
              <a:ext cx="520946" cy="798243"/>
            </a:xfrm>
            <a:prstGeom prst="curvedConnector3">
              <a:avLst>
                <a:gd name="adj1" fmla="val 50000"/>
              </a:avLst>
            </a:prstGeom>
            <a:solidFill>
              <a:schemeClr val="tx2"/>
            </a:solidFill>
            <a:ln w="28575" cap="flat" cmpd="sng" algn="ctr">
              <a:solidFill>
                <a:srgbClr val="FFFFFF"/>
              </a:solidFill>
              <a:prstDash val="solid"/>
              <a:round/>
              <a:headEnd type="stealth" w="lg" len="lg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7" name="Group 269">
            <a:extLst>
              <a:ext uri="{FF2B5EF4-FFF2-40B4-BE49-F238E27FC236}">
                <a16:creationId xmlns:a16="http://schemas.microsoft.com/office/drawing/2014/main" id="{3EFAFD82-0CD7-4F24-933A-6FFDC8B7FCCE}"/>
              </a:ext>
            </a:extLst>
          </p:cNvPr>
          <p:cNvGrpSpPr/>
          <p:nvPr/>
        </p:nvGrpSpPr>
        <p:grpSpPr>
          <a:xfrm>
            <a:off x="1356587" y="4509266"/>
            <a:ext cx="2635111" cy="1197459"/>
            <a:chOff x="1369517" y="4084004"/>
            <a:chExt cx="2635111" cy="1197459"/>
          </a:xfrm>
        </p:grpSpPr>
        <p:sp>
          <p:nvSpPr>
            <p:cNvPr id="18" name="TextBox 280">
              <a:extLst>
                <a:ext uri="{FF2B5EF4-FFF2-40B4-BE49-F238E27FC236}">
                  <a16:creationId xmlns:a16="http://schemas.microsoft.com/office/drawing/2014/main" id="{0DCD5A00-F325-4728-B010-2AEF368A6B9D}"/>
                </a:ext>
              </a:extLst>
            </p:cNvPr>
            <p:cNvSpPr txBox="1"/>
            <p:nvPr/>
          </p:nvSpPr>
          <p:spPr>
            <a:xfrm>
              <a:off x="2034296" y="4382294"/>
              <a:ext cx="1402164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  <a:buClr>
                  <a:schemeClr val="accent1"/>
                </a:buClr>
              </a:pPr>
              <a:r>
                <a:rPr lang="de-DE" sz="1400">
                  <a:solidFill>
                    <a:srgbClr val="FFFFFF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Verfügbarkeit von Ersatzteilen</a:t>
              </a:r>
            </a:p>
          </p:txBody>
        </p:sp>
        <p:cxnSp>
          <p:nvCxnSpPr>
            <p:cNvPr id="19" name="Connector: Curved 563">
              <a:extLst>
                <a:ext uri="{FF2B5EF4-FFF2-40B4-BE49-F238E27FC236}">
                  <a16:creationId xmlns:a16="http://schemas.microsoft.com/office/drawing/2014/main" id="{55570077-BE1B-4F64-B51D-EAED1934D351}"/>
                </a:ext>
              </a:extLst>
            </p:cNvPr>
            <p:cNvCxnSpPr>
              <a:cxnSpLocks/>
              <a:stCxn id="6" idx="2"/>
              <a:endCxn id="18" idx="1"/>
            </p:cNvCxnSpPr>
            <p:nvPr/>
          </p:nvCxnSpPr>
          <p:spPr bwMode="auto">
            <a:xfrm rot="16200000" flipH="1">
              <a:off x="1445040" y="4008481"/>
              <a:ext cx="513733" cy="664780"/>
            </a:xfrm>
            <a:prstGeom prst="curvedConnector2">
              <a:avLst/>
            </a:prstGeom>
            <a:solidFill>
              <a:schemeClr val="tx2"/>
            </a:solidFill>
            <a:ln w="28575" cap="flat" cmpd="sng" algn="ctr">
              <a:solidFill>
                <a:srgbClr val="FFFFFF"/>
              </a:solidFill>
              <a:prstDash val="solid"/>
              <a:round/>
              <a:headEnd type="stealth" w="lg" len="lg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Connector: Curved 573">
              <a:extLst>
                <a:ext uri="{FF2B5EF4-FFF2-40B4-BE49-F238E27FC236}">
                  <a16:creationId xmlns:a16="http://schemas.microsoft.com/office/drawing/2014/main" id="{5AD038F9-D070-4BE6-929A-2C071D72FA44}"/>
                </a:ext>
              </a:extLst>
            </p:cNvPr>
            <p:cNvCxnSpPr>
              <a:cxnSpLocks/>
              <a:stCxn id="7" idx="1"/>
              <a:endCxn id="18" idx="2"/>
            </p:cNvCxnSpPr>
            <p:nvPr/>
          </p:nvCxnSpPr>
          <p:spPr bwMode="auto">
            <a:xfrm rot="10800000">
              <a:off x="2735378" y="4813181"/>
              <a:ext cx="1269250" cy="468282"/>
            </a:xfrm>
            <a:prstGeom prst="curvedConnector2">
              <a:avLst/>
            </a:prstGeom>
            <a:solidFill>
              <a:schemeClr val="tx2"/>
            </a:solidFill>
            <a:ln w="28575" cap="flat" cmpd="sng" algn="ctr">
              <a:solidFill>
                <a:srgbClr val="FFFFFF"/>
              </a:solidFill>
              <a:prstDash val="solid"/>
              <a:round/>
              <a:headEnd type="stealth" w="lg" len="lg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1" name="Group 268">
            <a:extLst>
              <a:ext uri="{FF2B5EF4-FFF2-40B4-BE49-F238E27FC236}">
                <a16:creationId xmlns:a16="http://schemas.microsoft.com/office/drawing/2014/main" id="{64A9CF65-346B-4713-962B-1D452E3C2DBF}"/>
              </a:ext>
            </a:extLst>
          </p:cNvPr>
          <p:cNvGrpSpPr/>
          <p:nvPr/>
        </p:nvGrpSpPr>
        <p:grpSpPr>
          <a:xfrm>
            <a:off x="2201357" y="3301476"/>
            <a:ext cx="1458956" cy="215444"/>
            <a:chOff x="2214288" y="2876215"/>
            <a:chExt cx="1458956" cy="215444"/>
          </a:xfrm>
        </p:grpSpPr>
        <p:sp>
          <p:nvSpPr>
            <p:cNvPr id="22" name="TextBox 556">
              <a:extLst>
                <a:ext uri="{FF2B5EF4-FFF2-40B4-BE49-F238E27FC236}">
                  <a16:creationId xmlns:a16="http://schemas.microsoft.com/office/drawing/2014/main" id="{42E3095A-7285-4C44-927A-B4EE9BE73EC6}"/>
                </a:ext>
              </a:extLst>
            </p:cNvPr>
            <p:cNvSpPr txBox="1"/>
            <p:nvPr/>
          </p:nvSpPr>
          <p:spPr>
            <a:xfrm>
              <a:off x="2831038" y="2876215"/>
              <a:ext cx="842206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  <a:buClr>
                  <a:schemeClr val="accent1"/>
                </a:buClr>
              </a:pPr>
              <a:r>
                <a:rPr lang="de-DE" sz="1400" b="1">
                  <a:solidFill>
                    <a:srgbClr val="A5E1E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Analytik</a:t>
              </a:r>
            </a:p>
          </p:txBody>
        </p:sp>
        <p:cxnSp>
          <p:nvCxnSpPr>
            <p:cNvPr id="23" name="Connector: Curved 582">
              <a:extLst>
                <a:ext uri="{FF2B5EF4-FFF2-40B4-BE49-F238E27FC236}">
                  <a16:creationId xmlns:a16="http://schemas.microsoft.com/office/drawing/2014/main" id="{A884CB07-7893-4FF7-9AD5-D1CBEAC6C42D}"/>
                </a:ext>
              </a:extLst>
            </p:cNvPr>
            <p:cNvCxnSpPr>
              <a:cxnSpLocks/>
              <a:stCxn id="22" idx="1"/>
              <a:endCxn id="11" idx="3"/>
            </p:cNvCxnSpPr>
            <p:nvPr/>
          </p:nvCxnSpPr>
          <p:spPr bwMode="auto">
            <a:xfrm rot="10800000">
              <a:off x="2214288" y="2888635"/>
              <a:ext cx="616750" cy="95303"/>
            </a:xfrm>
            <a:prstGeom prst="curvedConnector3">
              <a:avLst>
                <a:gd name="adj1" fmla="val 50000"/>
              </a:avLst>
            </a:prstGeom>
            <a:solidFill>
              <a:schemeClr val="tx2"/>
            </a:solidFill>
            <a:ln w="28575" cap="flat" cmpd="sng" algn="ctr">
              <a:solidFill>
                <a:srgbClr val="A5E1E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4" name="Group 267">
            <a:extLst>
              <a:ext uri="{FF2B5EF4-FFF2-40B4-BE49-F238E27FC236}">
                <a16:creationId xmlns:a16="http://schemas.microsoft.com/office/drawing/2014/main" id="{B2478FD6-F8DA-42AA-AF95-86EBE75B29EA}"/>
              </a:ext>
            </a:extLst>
          </p:cNvPr>
          <p:cNvGrpSpPr/>
          <p:nvPr/>
        </p:nvGrpSpPr>
        <p:grpSpPr>
          <a:xfrm>
            <a:off x="2722448" y="3511295"/>
            <a:ext cx="2853904" cy="1325478"/>
            <a:chOff x="2735379" y="3086034"/>
            <a:chExt cx="2853904" cy="1325478"/>
          </a:xfrm>
        </p:grpSpPr>
        <p:sp>
          <p:nvSpPr>
            <p:cNvPr id="25" name="TextBox 557">
              <a:extLst>
                <a:ext uri="{FF2B5EF4-FFF2-40B4-BE49-F238E27FC236}">
                  <a16:creationId xmlns:a16="http://schemas.microsoft.com/office/drawing/2014/main" id="{DDD457FE-3AF9-4B82-B463-23D73147F396}"/>
                </a:ext>
              </a:extLst>
            </p:cNvPr>
            <p:cNvSpPr txBox="1"/>
            <p:nvPr/>
          </p:nvSpPr>
          <p:spPr>
            <a:xfrm>
              <a:off x="4481157" y="3086034"/>
              <a:ext cx="1108126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  <a:buClr>
                  <a:schemeClr val="accent1"/>
                </a:buClr>
              </a:pPr>
              <a:r>
                <a:rPr lang="de-DE" sz="1400" b="1">
                  <a:solidFill>
                    <a:srgbClr val="A5E1E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ERP Anbindung</a:t>
              </a:r>
            </a:p>
          </p:txBody>
        </p:sp>
        <p:cxnSp>
          <p:nvCxnSpPr>
            <p:cNvPr id="26" name="Connector: Curved 585">
              <a:extLst>
                <a:ext uri="{FF2B5EF4-FFF2-40B4-BE49-F238E27FC236}">
                  <a16:creationId xmlns:a16="http://schemas.microsoft.com/office/drawing/2014/main" id="{E9C43B0C-D0B0-462D-BAB3-409B6D6F4E9E}"/>
                </a:ext>
              </a:extLst>
            </p:cNvPr>
            <p:cNvCxnSpPr>
              <a:cxnSpLocks/>
              <a:stCxn id="25" idx="1"/>
              <a:endCxn id="18" idx="0"/>
            </p:cNvCxnSpPr>
            <p:nvPr/>
          </p:nvCxnSpPr>
          <p:spPr bwMode="auto">
            <a:xfrm rot="10800000" flipV="1">
              <a:off x="2735379" y="3301478"/>
              <a:ext cx="1745778" cy="1110034"/>
            </a:xfrm>
            <a:prstGeom prst="curvedConnector2">
              <a:avLst/>
            </a:prstGeom>
            <a:solidFill>
              <a:schemeClr val="tx2"/>
            </a:solidFill>
            <a:ln w="28575" cap="flat" cmpd="sng" algn="ctr">
              <a:solidFill>
                <a:srgbClr val="A5E1E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Connector: Curved 588">
              <a:extLst>
                <a:ext uri="{FF2B5EF4-FFF2-40B4-BE49-F238E27FC236}">
                  <a16:creationId xmlns:a16="http://schemas.microsoft.com/office/drawing/2014/main" id="{C738FEE5-1966-4F16-A0B5-B9D2634CDBE8}"/>
                </a:ext>
              </a:extLst>
            </p:cNvPr>
            <p:cNvCxnSpPr>
              <a:cxnSpLocks/>
              <a:stCxn id="25" idx="2"/>
              <a:endCxn id="14" idx="0"/>
            </p:cNvCxnSpPr>
            <p:nvPr/>
          </p:nvCxnSpPr>
          <p:spPr bwMode="auto">
            <a:xfrm rot="5400000">
              <a:off x="4523361" y="3539212"/>
              <a:ext cx="534150" cy="489569"/>
            </a:xfrm>
            <a:prstGeom prst="curvedConnector3">
              <a:avLst>
                <a:gd name="adj1" fmla="val 50000"/>
              </a:avLst>
            </a:prstGeom>
            <a:solidFill>
              <a:schemeClr val="tx2"/>
            </a:solidFill>
            <a:ln w="28575" cap="flat" cmpd="sng" algn="ctr">
              <a:solidFill>
                <a:srgbClr val="A5E1E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8" name="Group 272">
            <a:extLst>
              <a:ext uri="{FF2B5EF4-FFF2-40B4-BE49-F238E27FC236}">
                <a16:creationId xmlns:a16="http://schemas.microsoft.com/office/drawing/2014/main" id="{66A0A0CA-0E85-41FE-B630-4AA11D3AB288}"/>
              </a:ext>
            </a:extLst>
          </p:cNvPr>
          <p:cNvGrpSpPr/>
          <p:nvPr/>
        </p:nvGrpSpPr>
        <p:grpSpPr>
          <a:xfrm>
            <a:off x="6360639" y="4588000"/>
            <a:ext cx="1954186" cy="969237"/>
            <a:chOff x="6373570" y="4162738"/>
            <a:chExt cx="1954186" cy="969237"/>
          </a:xfrm>
        </p:grpSpPr>
        <p:sp>
          <p:nvSpPr>
            <p:cNvPr id="29" name="TextBox 284">
              <a:extLst>
                <a:ext uri="{FF2B5EF4-FFF2-40B4-BE49-F238E27FC236}">
                  <a16:creationId xmlns:a16="http://schemas.microsoft.com/office/drawing/2014/main" id="{768421A1-C1EB-42B4-B923-E1A0DECD16E7}"/>
                </a:ext>
              </a:extLst>
            </p:cNvPr>
            <p:cNvSpPr txBox="1"/>
            <p:nvPr/>
          </p:nvSpPr>
          <p:spPr>
            <a:xfrm>
              <a:off x="6373570" y="4162738"/>
              <a:ext cx="1490864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  <a:buClr>
                  <a:schemeClr val="accent1"/>
                </a:buClr>
              </a:pPr>
              <a:r>
                <a:rPr lang="de-DE" sz="1400">
                  <a:solidFill>
                    <a:srgbClr val="FFFFFF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Aktuelle Nutzung der Maschine</a:t>
              </a:r>
            </a:p>
          </p:txBody>
        </p:sp>
        <p:cxnSp>
          <p:nvCxnSpPr>
            <p:cNvPr id="30" name="Connector: Curved 596">
              <a:extLst>
                <a:ext uri="{FF2B5EF4-FFF2-40B4-BE49-F238E27FC236}">
                  <a16:creationId xmlns:a16="http://schemas.microsoft.com/office/drawing/2014/main" id="{39CA4643-D90E-402A-AED4-1F7E3A53E00E}"/>
                </a:ext>
              </a:extLst>
            </p:cNvPr>
            <p:cNvCxnSpPr>
              <a:cxnSpLocks/>
              <a:stCxn id="9" idx="1"/>
              <a:endCxn id="29" idx="2"/>
            </p:cNvCxnSpPr>
            <p:nvPr/>
          </p:nvCxnSpPr>
          <p:spPr bwMode="auto">
            <a:xfrm rot="10800000">
              <a:off x="7119003" y="4593625"/>
              <a:ext cx="1208753" cy="538350"/>
            </a:xfrm>
            <a:prstGeom prst="curvedConnector2">
              <a:avLst/>
            </a:prstGeom>
            <a:solidFill>
              <a:schemeClr val="tx2"/>
            </a:solidFill>
            <a:ln w="28575" cap="flat" cmpd="sng" algn="ctr">
              <a:solidFill>
                <a:srgbClr val="FFFFFF"/>
              </a:solidFill>
              <a:prstDash val="solid"/>
              <a:round/>
              <a:headEnd type="stealth" w="lg" len="lg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1" name="Group 271">
            <a:extLst>
              <a:ext uri="{FF2B5EF4-FFF2-40B4-BE49-F238E27FC236}">
                <a16:creationId xmlns:a16="http://schemas.microsoft.com/office/drawing/2014/main" id="{9B86CB14-514C-41AE-92FE-B5BA0F441B88}"/>
              </a:ext>
            </a:extLst>
          </p:cNvPr>
          <p:cNvGrpSpPr/>
          <p:nvPr/>
        </p:nvGrpSpPr>
        <p:grpSpPr>
          <a:xfrm>
            <a:off x="8399759" y="4087698"/>
            <a:ext cx="1459436" cy="1161762"/>
            <a:chOff x="8412690" y="3662436"/>
            <a:chExt cx="1459436" cy="1161762"/>
          </a:xfrm>
        </p:grpSpPr>
        <p:sp>
          <p:nvSpPr>
            <p:cNvPr id="32" name="TextBox 555">
              <a:extLst>
                <a:ext uri="{FF2B5EF4-FFF2-40B4-BE49-F238E27FC236}">
                  <a16:creationId xmlns:a16="http://schemas.microsoft.com/office/drawing/2014/main" id="{00031CF7-ACCB-4165-9070-299D077CC387}"/>
                </a:ext>
              </a:extLst>
            </p:cNvPr>
            <p:cNvSpPr txBox="1"/>
            <p:nvPr/>
          </p:nvSpPr>
          <p:spPr>
            <a:xfrm>
              <a:off x="8412690" y="3662436"/>
              <a:ext cx="978590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  <a:buClr>
                  <a:schemeClr val="accent1"/>
                </a:buClr>
              </a:pPr>
              <a:r>
                <a:rPr lang="de-DE" sz="1400">
                  <a:solidFill>
                    <a:srgbClr val="FFFFFF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individuelle Dashboards</a:t>
              </a:r>
            </a:p>
          </p:txBody>
        </p:sp>
        <p:cxnSp>
          <p:nvCxnSpPr>
            <p:cNvPr id="33" name="Connector: Curved 609">
              <a:extLst>
                <a:ext uri="{FF2B5EF4-FFF2-40B4-BE49-F238E27FC236}">
                  <a16:creationId xmlns:a16="http://schemas.microsoft.com/office/drawing/2014/main" id="{1EDCBB6E-7FB2-4324-850E-E4A3D4A4BBC3}"/>
                </a:ext>
              </a:extLst>
            </p:cNvPr>
            <p:cNvCxnSpPr>
              <a:cxnSpLocks/>
              <a:stCxn id="9" idx="0"/>
              <a:endCxn id="32" idx="2"/>
            </p:cNvCxnSpPr>
            <p:nvPr/>
          </p:nvCxnSpPr>
          <p:spPr bwMode="auto">
            <a:xfrm rot="16200000" flipV="1">
              <a:off x="8644513" y="4350796"/>
              <a:ext cx="730875" cy="215929"/>
            </a:xfrm>
            <a:prstGeom prst="curvedConnector3">
              <a:avLst>
                <a:gd name="adj1" fmla="val 50000"/>
              </a:avLst>
            </a:prstGeom>
            <a:solidFill>
              <a:schemeClr val="tx2"/>
            </a:solidFill>
            <a:ln w="28575" cap="flat" cmpd="sng" algn="ctr">
              <a:solidFill>
                <a:srgbClr val="FFFFFF"/>
              </a:solidFill>
              <a:prstDash val="solid"/>
              <a:round/>
              <a:headEnd type="stealth" w="lg" len="lg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Connector: Curved 612">
              <a:extLst>
                <a:ext uri="{FF2B5EF4-FFF2-40B4-BE49-F238E27FC236}">
                  <a16:creationId xmlns:a16="http://schemas.microsoft.com/office/drawing/2014/main" id="{4AD1EF59-EE6A-4DBF-89BE-4F247C93BA3A}"/>
                </a:ext>
              </a:extLst>
            </p:cNvPr>
            <p:cNvCxnSpPr>
              <a:cxnSpLocks/>
              <a:stCxn id="8" idx="1"/>
              <a:endCxn id="32" idx="3"/>
            </p:cNvCxnSpPr>
            <p:nvPr/>
          </p:nvCxnSpPr>
          <p:spPr bwMode="auto">
            <a:xfrm rot="10800000" flipV="1">
              <a:off x="9391281" y="3760886"/>
              <a:ext cx="480845" cy="116993"/>
            </a:xfrm>
            <a:prstGeom prst="curvedConnector3">
              <a:avLst>
                <a:gd name="adj1" fmla="val 50000"/>
              </a:avLst>
            </a:prstGeom>
            <a:solidFill>
              <a:schemeClr val="tx2"/>
            </a:solidFill>
            <a:ln w="28575" cap="flat" cmpd="sng" algn="ctr">
              <a:solidFill>
                <a:srgbClr val="FFFFFF"/>
              </a:solidFill>
              <a:prstDash val="solid"/>
              <a:round/>
              <a:headEnd type="stealth" w="lg" len="lg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5" name="Group 270">
            <a:extLst>
              <a:ext uri="{FF2B5EF4-FFF2-40B4-BE49-F238E27FC236}">
                <a16:creationId xmlns:a16="http://schemas.microsoft.com/office/drawing/2014/main" id="{FBA33301-6783-40F9-8E67-7FB6AFAF79A4}"/>
              </a:ext>
            </a:extLst>
          </p:cNvPr>
          <p:cNvGrpSpPr/>
          <p:nvPr/>
        </p:nvGrpSpPr>
        <p:grpSpPr>
          <a:xfrm>
            <a:off x="8880872" y="2805982"/>
            <a:ext cx="2143196" cy="964668"/>
            <a:chOff x="8893802" y="2380720"/>
            <a:chExt cx="2143196" cy="964668"/>
          </a:xfrm>
        </p:grpSpPr>
        <p:sp>
          <p:nvSpPr>
            <p:cNvPr id="36" name="TextBox 10">
              <a:extLst>
                <a:ext uri="{FF2B5EF4-FFF2-40B4-BE49-F238E27FC236}">
                  <a16:creationId xmlns:a16="http://schemas.microsoft.com/office/drawing/2014/main" id="{16191059-3CDE-46CB-AD30-5F06058813BB}"/>
                </a:ext>
              </a:extLst>
            </p:cNvPr>
            <p:cNvSpPr txBox="1"/>
            <p:nvPr/>
          </p:nvSpPr>
          <p:spPr>
            <a:xfrm>
              <a:off x="8893802" y="2380720"/>
              <a:ext cx="1953902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  <a:buClr>
                  <a:schemeClr val="accent1"/>
                </a:buClr>
              </a:pPr>
              <a:r>
                <a:rPr lang="de-DE" sz="1400">
                  <a:solidFill>
                    <a:srgbClr val="FFFFFF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Geräteunabhängiges Frontend</a:t>
              </a:r>
            </a:p>
          </p:txBody>
        </p:sp>
        <p:cxnSp>
          <p:nvCxnSpPr>
            <p:cNvPr id="37" name="Connector: Curved 615">
              <a:extLst>
                <a:ext uri="{FF2B5EF4-FFF2-40B4-BE49-F238E27FC236}">
                  <a16:creationId xmlns:a16="http://schemas.microsoft.com/office/drawing/2014/main" id="{7122875C-BC50-4E89-810E-0017737F1934}"/>
                </a:ext>
              </a:extLst>
            </p:cNvPr>
            <p:cNvCxnSpPr>
              <a:cxnSpLocks/>
              <a:stCxn id="8" idx="0"/>
              <a:endCxn id="36" idx="2"/>
            </p:cNvCxnSpPr>
            <p:nvPr/>
          </p:nvCxnSpPr>
          <p:spPr bwMode="auto">
            <a:xfrm rot="16200000" flipV="1">
              <a:off x="10186985" y="2495376"/>
              <a:ext cx="533781" cy="1166244"/>
            </a:xfrm>
            <a:prstGeom prst="curvedConnector3">
              <a:avLst>
                <a:gd name="adj1" fmla="val 50000"/>
              </a:avLst>
            </a:prstGeom>
            <a:solidFill>
              <a:schemeClr val="tx2"/>
            </a:solidFill>
            <a:ln w="28575" cap="flat" cmpd="sng" algn="ctr">
              <a:solidFill>
                <a:srgbClr val="FFFFFF"/>
              </a:solidFill>
              <a:prstDash val="solid"/>
              <a:round/>
              <a:headEnd type="stealth" w="lg" len="lg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8" name="Group 265">
            <a:extLst>
              <a:ext uri="{FF2B5EF4-FFF2-40B4-BE49-F238E27FC236}">
                <a16:creationId xmlns:a16="http://schemas.microsoft.com/office/drawing/2014/main" id="{E610588D-CA85-43BB-A099-377F5D7BDD16}"/>
              </a:ext>
            </a:extLst>
          </p:cNvPr>
          <p:cNvGrpSpPr/>
          <p:nvPr/>
        </p:nvGrpSpPr>
        <p:grpSpPr>
          <a:xfrm>
            <a:off x="5977661" y="3487968"/>
            <a:ext cx="2422098" cy="1129249"/>
            <a:chOff x="5990592" y="3062706"/>
            <a:chExt cx="2422098" cy="1129249"/>
          </a:xfrm>
        </p:grpSpPr>
        <p:sp>
          <p:nvSpPr>
            <p:cNvPr id="39" name="TextBox 559">
              <a:extLst>
                <a:ext uri="{FF2B5EF4-FFF2-40B4-BE49-F238E27FC236}">
                  <a16:creationId xmlns:a16="http://schemas.microsoft.com/office/drawing/2014/main" id="{464B7241-63B1-407E-8263-D6157DC8C83C}"/>
                </a:ext>
              </a:extLst>
            </p:cNvPr>
            <p:cNvSpPr txBox="1"/>
            <p:nvPr/>
          </p:nvSpPr>
          <p:spPr>
            <a:xfrm>
              <a:off x="5990592" y="3062706"/>
              <a:ext cx="956552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  <a:buClr>
                  <a:schemeClr val="accent1"/>
                </a:buClr>
              </a:pPr>
              <a:r>
                <a:rPr lang="de-DE" sz="1400" b="1">
                  <a:solidFill>
                    <a:srgbClr val="A5E1E1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Zugangs- Kontrolle</a:t>
              </a:r>
              <a:endParaRPr lang="de-DE" sz="1400" b="1">
                <a:solidFill>
                  <a:srgbClr val="A5E1E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cxnSp>
          <p:nvCxnSpPr>
            <p:cNvPr id="40" name="Connector: Curved 627">
              <a:extLst>
                <a:ext uri="{FF2B5EF4-FFF2-40B4-BE49-F238E27FC236}">
                  <a16:creationId xmlns:a16="http://schemas.microsoft.com/office/drawing/2014/main" id="{DC5453D5-3A1D-4497-AF85-45F48D0EB344}"/>
                </a:ext>
              </a:extLst>
            </p:cNvPr>
            <p:cNvCxnSpPr>
              <a:cxnSpLocks/>
              <a:stCxn id="39" idx="2"/>
              <a:endCxn id="29" idx="0"/>
            </p:cNvCxnSpPr>
            <p:nvPr/>
          </p:nvCxnSpPr>
          <p:spPr bwMode="auto">
            <a:xfrm rot="16200000" flipH="1">
              <a:off x="6444754" y="3517707"/>
              <a:ext cx="698362" cy="650134"/>
            </a:xfrm>
            <a:prstGeom prst="curvedConnector3">
              <a:avLst>
                <a:gd name="adj1" fmla="val 50000"/>
              </a:avLst>
            </a:prstGeom>
            <a:solidFill>
              <a:schemeClr val="tx2"/>
            </a:solidFill>
            <a:ln w="28575" cap="flat" cmpd="sng" algn="ctr">
              <a:solidFill>
                <a:srgbClr val="A5E1E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Connector: Curved 631">
              <a:extLst>
                <a:ext uri="{FF2B5EF4-FFF2-40B4-BE49-F238E27FC236}">
                  <a16:creationId xmlns:a16="http://schemas.microsoft.com/office/drawing/2014/main" id="{0A0ABBC3-1075-4012-83AA-DD35C716E2FB}"/>
                </a:ext>
              </a:extLst>
            </p:cNvPr>
            <p:cNvCxnSpPr>
              <a:cxnSpLocks/>
              <a:stCxn id="39" idx="3"/>
              <a:endCxn id="32" idx="1"/>
            </p:cNvCxnSpPr>
            <p:nvPr/>
          </p:nvCxnSpPr>
          <p:spPr bwMode="auto">
            <a:xfrm>
              <a:off x="6947144" y="3278150"/>
              <a:ext cx="1465546" cy="628947"/>
            </a:xfrm>
            <a:prstGeom prst="curvedConnector3">
              <a:avLst>
                <a:gd name="adj1" fmla="val 50000"/>
              </a:avLst>
            </a:prstGeom>
            <a:solidFill>
              <a:schemeClr val="tx2"/>
            </a:solidFill>
            <a:ln w="28575" cap="flat" cmpd="sng" algn="ctr">
              <a:solidFill>
                <a:srgbClr val="A5E1E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42" name="Group 264">
            <a:extLst>
              <a:ext uri="{FF2B5EF4-FFF2-40B4-BE49-F238E27FC236}">
                <a16:creationId xmlns:a16="http://schemas.microsoft.com/office/drawing/2014/main" id="{DCF9A33D-BD9E-487F-871C-B9F1E5012B2D}"/>
              </a:ext>
            </a:extLst>
          </p:cNvPr>
          <p:cNvGrpSpPr/>
          <p:nvPr/>
        </p:nvGrpSpPr>
        <p:grpSpPr>
          <a:xfrm>
            <a:off x="7689038" y="3050643"/>
            <a:ext cx="1200016" cy="1066272"/>
            <a:chOff x="7701968" y="2625381"/>
            <a:chExt cx="1200016" cy="1066272"/>
          </a:xfrm>
        </p:grpSpPr>
        <p:sp>
          <p:nvSpPr>
            <p:cNvPr id="43" name="TextBox 560">
              <a:extLst>
                <a:ext uri="{FF2B5EF4-FFF2-40B4-BE49-F238E27FC236}">
                  <a16:creationId xmlns:a16="http://schemas.microsoft.com/office/drawing/2014/main" id="{952C7E59-0C7D-4D0F-878F-EA85F4B03BF5}"/>
                </a:ext>
              </a:extLst>
            </p:cNvPr>
            <p:cNvSpPr txBox="1"/>
            <p:nvPr/>
          </p:nvSpPr>
          <p:spPr>
            <a:xfrm>
              <a:off x="7701968" y="2755639"/>
              <a:ext cx="618823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  <a:buClr>
                  <a:schemeClr val="accent1"/>
                </a:buClr>
              </a:pPr>
              <a:r>
                <a:rPr lang="de-DE" sz="1400" b="1">
                  <a:solidFill>
                    <a:srgbClr val="A5E1E1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Mendix</a:t>
              </a:r>
              <a:endParaRPr lang="de-DE" sz="1400" b="1">
                <a:solidFill>
                  <a:srgbClr val="A5E1E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cxnSp>
          <p:nvCxnSpPr>
            <p:cNvPr id="44" name="Connector: Curved 634">
              <a:extLst>
                <a:ext uri="{FF2B5EF4-FFF2-40B4-BE49-F238E27FC236}">
                  <a16:creationId xmlns:a16="http://schemas.microsoft.com/office/drawing/2014/main" id="{8312F08E-C15D-4140-B667-B9466B18C17E}"/>
                </a:ext>
              </a:extLst>
            </p:cNvPr>
            <p:cNvCxnSpPr>
              <a:cxnSpLocks/>
              <a:stCxn id="43" idx="2"/>
              <a:endCxn id="32" idx="0"/>
            </p:cNvCxnSpPr>
            <p:nvPr/>
          </p:nvCxnSpPr>
          <p:spPr bwMode="auto">
            <a:xfrm rot="16200000" flipH="1">
              <a:off x="8096397" y="2886066"/>
              <a:ext cx="720570" cy="890604"/>
            </a:xfrm>
            <a:prstGeom prst="curvedConnector3">
              <a:avLst>
                <a:gd name="adj1" fmla="val 50000"/>
              </a:avLst>
            </a:prstGeom>
            <a:solidFill>
              <a:schemeClr val="tx2"/>
            </a:solidFill>
            <a:ln w="28575" cap="flat" cmpd="sng" algn="ctr">
              <a:solidFill>
                <a:srgbClr val="A5E1E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Connector: Curved 637">
              <a:extLst>
                <a:ext uri="{FF2B5EF4-FFF2-40B4-BE49-F238E27FC236}">
                  <a16:creationId xmlns:a16="http://schemas.microsoft.com/office/drawing/2014/main" id="{7D3D4FFC-658D-49C8-AF84-FCB956D30807}"/>
                </a:ext>
              </a:extLst>
            </p:cNvPr>
            <p:cNvCxnSpPr>
              <a:cxnSpLocks/>
              <a:stCxn id="43" idx="2"/>
              <a:endCxn id="36" idx="1"/>
            </p:cNvCxnSpPr>
            <p:nvPr/>
          </p:nvCxnSpPr>
          <p:spPr bwMode="auto">
            <a:xfrm rot="5400000" flipH="1" flipV="1">
              <a:off x="8279740" y="2357021"/>
              <a:ext cx="345702" cy="882422"/>
            </a:xfrm>
            <a:prstGeom prst="curvedConnector4">
              <a:avLst>
                <a:gd name="adj1" fmla="val -66126"/>
                <a:gd name="adj2" fmla="val 67532"/>
              </a:avLst>
            </a:prstGeom>
            <a:solidFill>
              <a:schemeClr val="tx2"/>
            </a:solidFill>
            <a:ln w="28575" cap="flat" cmpd="sng" algn="ctr">
              <a:solidFill>
                <a:srgbClr val="A5E1E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46" name="Group 4">
            <a:extLst>
              <a:ext uri="{FF2B5EF4-FFF2-40B4-BE49-F238E27FC236}">
                <a16:creationId xmlns:a16="http://schemas.microsoft.com/office/drawing/2014/main" id="{E85AC16A-E522-46FF-BCFE-26C87433949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165615" y="1658017"/>
            <a:ext cx="4754191" cy="1761270"/>
            <a:chOff x="395" y="883"/>
            <a:chExt cx="6894" cy="2554"/>
          </a:xfrm>
          <a:solidFill>
            <a:schemeClr val="bg1"/>
          </a:solidFill>
        </p:grpSpPr>
        <p:grpSp>
          <p:nvGrpSpPr>
            <p:cNvPr id="47" name="Group 205">
              <a:extLst>
                <a:ext uri="{FF2B5EF4-FFF2-40B4-BE49-F238E27FC236}">
                  <a16:creationId xmlns:a16="http://schemas.microsoft.com/office/drawing/2014/main" id="{4400E768-B191-4F3A-8B56-305E54F9686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5" y="883"/>
              <a:ext cx="6894" cy="2554"/>
              <a:chOff x="395" y="883"/>
              <a:chExt cx="6894" cy="2554"/>
            </a:xfrm>
            <a:grpFill/>
          </p:grpSpPr>
          <p:sp>
            <p:nvSpPr>
              <p:cNvPr id="200" name="Freeform 5">
                <a:extLst>
                  <a:ext uri="{FF2B5EF4-FFF2-40B4-BE49-F238E27FC236}">
                    <a16:creationId xmlns:a16="http://schemas.microsoft.com/office/drawing/2014/main" id="{14DB7DD3-75EC-4E93-A17F-1B4F6D654A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" y="1730"/>
                <a:ext cx="339" cy="350"/>
              </a:xfrm>
              <a:custGeom>
                <a:avLst/>
                <a:gdLst>
                  <a:gd name="T0" fmla="*/ 175 w 339"/>
                  <a:gd name="T1" fmla="*/ 350 h 350"/>
                  <a:gd name="T2" fmla="*/ 0 w 339"/>
                  <a:gd name="T3" fmla="*/ 350 h 350"/>
                  <a:gd name="T4" fmla="*/ 0 w 339"/>
                  <a:gd name="T5" fmla="*/ 334 h 350"/>
                  <a:gd name="T6" fmla="*/ 159 w 339"/>
                  <a:gd name="T7" fmla="*/ 334 h 350"/>
                  <a:gd name="T8" fmla="*/ 159 w 339"/>
                  <a:gd name="T9" fmla="*/ 170 h 350"/>
                  <a:gd name="T10" fmla="*/ 329 w 339"/>
                  <a:gd name="T11" fmla="*/ 0 h 350"/>
                  <a:gd name="T12" fmla="*/ 339 w 339"/>
                  <a:gd name="T13" fmla="*/ 13 h 350"/>
                  <a:gd name="T14" fmla="*/ 175 w 339"/>
                  <a:gd name="T15" fmla="*/ 178 h 350"/>
                  <a:gd name="T16" fmla="*/ 175 w 339"/>
                  <a:gd name="T17" fmla="*/ 350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9" h="350">
                    <a:moveTo>
                      <a:pt x="175" y="350"/>
                    </a:moveTo>
                    <a:lnTo>
                      <a:pt x="0" y="350"/>
                    </a:lnTo>
                    <a:lnTo>
                      <a:pt x="0" y="334"/>
                    </a:lnTo>
                    <a:lnTo>
                      <a:pt x="159" y="334"/>
                    </a:lnTo>
                    <a:lnTo>
                      <a:pt x="159" y="170"/>
                    </a:lnTo>
                    <a:lnTo>
                      <a:pt x="329" y="0"/>
                    </a:lnTo>
                    <a:lnTo>
                      <a:pt x="339" y="13"/>
                    </a:lnTo>
                    <a:lnTo>
                      <a:pt x="175" y="178"/>
                    </a:lnTo>
                    <a:lnTo>
                      <a:pt x="175" y="3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1" name="Freeform 6">
                <a:extLst>
                  <a:ext uri="{FF2B5EF4-FFF2-40B4-BE49-F238E27FC236}">
                    <a16:creationId xmlns:a16="http://schemas.microsoft.com/office/drawing/2014/main" id="{98668C02-0D6B-4918-85BD-4AB781A56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7" y="1395"/>
                <a:ext cx="681" cy="516"/>
              </a:xfrm>
              <a:custGeom>
                <a:avLst/>
                <a:gdLst>
                  <a:gd name="T0" fmla="*/ 10 w 681"/>
                  <a:gd name="T1" fmla="*/ 516 h 516"/>
                  <a:gd name="T2" fmla="*/ 0 w 681"/>
                  <a:gd name="T3" fmla="*/ 502 h 516"/>
                  <a:gd name="T4" fmla="*/ 336 w 681"/>
                  <a:gd name="T5" fmla="*/ 165 h 516"/>
                  <a:gd name="T6" fmla="*/ 503 w 681"/>
                  <a:gd name="T7" fmla="*/ 165 h 516"/>
                  <a:gd name="T8" fmla="*/ 670 w 681"/>
                  <a:gd name="T9" fmla="*/ 0 h 516"/>
                  <a:gd name="T10" fmla="*/ 681 w 681"/>
                  <a:gd name="T11" fmla="*/ 11 h 516"/>
                  <a:gd name="T12" fmla="*/ 511 w 681"/>
                  <a:gd name="T13" fmla="*/ 184 h 516"/>
                  <a:gd name="T14" fmla="*/ 344 w 681"/>
                  <a:gd name="T15" fmla="*/ 184 h 516"/>
                  <a:gd name="T16" fmla="*/ 10 w 681"/>
                  <a:gd name="T17" fmla="*/ 516 h 5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1" h="516">
                    <a:moveTo>
                      <a:pt x="10" y="516"/>
                    </a:moveTo>
                    <a:lnTo>
                      <a:pt x="0" y="502"/>
                    </a:lnTo>
                    <a:lnTo>
                      <a:pt x="336" y="165"/>
                    </a:lnTo>
                    <a:lnTo>
                      <a:pt x="503" y="165"/>
                    </a:lnTo>
                    <a:lnTo>
                      <a:pt x="670" y="0"/>
                    </a:lnTo>
                    <a:lnTo>
                      <a:pt x="681" y="11"/>
                    </a:lnTo>
                    <a:lnTo>
                      <a:pt x="511" y="184"/>
                    </a:lnTo>
                    <a:lnTo>
                      <a:pt x="344" y="184"/>
                    </a:lnTo>
                    <a:lnTo>
                      <a:pt x="10" y="5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2" name="Freeform 7">
                <a:extLst>
                  <a:ext uri="{FF2B5EF4-FFF2-40B4-BE49-F238E27FC236}">
                    <a16:creationId xmlns:a16="http://schemas.microsoft.com/office/drawing/2014/main" id="{38FB2918-3D6A-4F08-BFD1-8C8C4A579A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9" y="1226"/>
                <a:ext cx="3334" cy="356"/>
              </a:xfrm>
              <a:custGeom>
                <a:avLst/>
                <a:gdLst>
                  <a:gd name="T0" fmla="*/ 2154 w 3334"/>
                  <a:gd name="T1" fmla="*/ 356 h 356"/>
                  <a:gd name="T2" fmla="*/ 1987 w 3334"/>
                  <a:gd name="T3" fmla="*/ 188 h 356"/>
                  <a:gd name="T4" fmla="*/ 1823 w 3334"/>
                  <a:gd name="T5" fmla="*/ 353 h 356"/>
                  <a:gd name="T6" fmla="*/ 1481 w 3334"/>
                  <a:gd name="T7" fmla="*/ 353 h 356"/>
                  <a:gd name="T8" fmla="*/ 1314 w 3334"/>
                  <a:gd name="T9" fmla="*/ 183 h 356"/>
                  <a:gd name="T10" fmla="*/ 1155 w 3334"/>
                  <a:gd name="T11" fmla="*/ 183 h 356"/>
                  <a:gd name="T12" fmla="*/ 985 w 3334"/>
                  <a:gd name="T13" fmla="*/ 353 h 356"/>
                  <a:gd name="T14" fmla="*/ 813 w 3334"/>
                  <a:gd name="T15" fmla="*/ 353 h 356"/>
                  <a:gd name="T16" fmla="*/ 643 w 3334"/>
                  <a:gd name="T17" fmla="*/ 183 h 356"/>
                  <a:gd name="T18" fmla="*/ 142 w 3334"/>
                  <a:gd name="T19" fmla="*/ 183 h 356"/>
                  <a:gd name="T20" fmla="*/ 0 w 3334"/>
                  <a:gd name="T21" fmla="*/ 43 h 356"/>
                  <a:gd name="T22" fmla="*/ 13 w 3334"/>
                  <a:gd name="T23" fmla="*/ 29 h 356"/>
                  <a:gd name="T24" fmla="*/ 150 w 3334"/>
                  <a:gd name="T25" fmla="*/ 167 h 356"/>
                  <a:gd name="T26" fmla="*/ 651 w 3334"/>
                  <a:gd name="T27" fmla="*/ 167 h 356"/>
                  <a:gd name="T28" fmla="*/ 818 w 3334"/>
                  <a:gd name="T29" fmla="*/ 334 h 356"/>
                  <a:gd name="T30" fmla="*/ 980 w 3334"/>
                  <a:gd name="T31" fmla="*/ 334 h 356"/>
                  <a:gd name="T32" fmla="*/ 1147 w 3334"/>
                  <a:gd name="T33" fmla="*/ 167 h 356"/>
                  <a:gd name="T34" fmla="*/ 1322 w 3334"/>
                  <a:gd name="T35" fmla="*/ 167 h 356"/>
                  <a:gd name="T36" fmla="*/ 1489 w 3334"/>
                  <a:gd name="T37" fmla="*/ 334 h 356"/>
                  <a:gd name="T38" fmla="*/ 1817 w 3334"/>
                  <a:gd name="T39" fmla="*/ 334 h 356"/>
                  <a:gd name="T40" fmla="*/ 1987 w 3334"/>
                  <a:gd name="T41" fmla="*/ 164 h 356"/>
                  <a:gd name="T42" fmla="*/ 2154 w 3334"/>
                  <a:gd name="T43" fmla="*/ 331 h 356"/>
                  <a:gd name="T44" fmla="*/ 2318 w 3334"/>
                  <a:gd name="T45" fmla="*/ 167 h 356"/>
                  <a:gd name="T46" fmla="*/ 2655 w 3334"/>
                  <a:gd name="T47" fmla="*/ 167 h 356"/>
                  <a:gd name="T48" fmla="*/ 2822 w 3334"/>
                  <a:gd name="T49" fmla="*/ 0 h 356"/>
                  <a:gd name="T50" fmla="*/ 2997 w 3334"/>
                  <a:gd name="T51" fmla="*/ 0 h 356"/>
                  <a:gd name="T52" fmla="*/ 3161 w 3334"/>
                  <a:gd name="T53" fmla="*/ 164 h 356"/>
                  <a:gd name="T54" fmla="*/ 3323 w 3334"/>
                  <a:gd name="T55" fmla="*/ 2 h 356"/>
                  <a:gd name="T56" fmla="*/ 3334 w 3334"/>
                  <a:gd name="T57" fmla="*/ 13 h 356"/>
                  <a:gd name="T58" fmla="*/ 3161 w 3334"/>
                  <a:gd name="T59" fmla="*/ 188 h 356"/>
                  <a:gd name="T60" fmla="*/ 2989 w 3334"/>
                  <a:gd name="T61" fmla="*/ 16 h 356"/>
                  <a:gd name="T62" fmla="*/ 2830 w 3334"/>
                  <a:gd name="T63" fmla="*/ 16 h 356"/>
                  <a:gd name="T64" fmla="*/ 2660 w 3334"/>
                  <a:gd name="T65" fmla="*/ 183 h 356"/>
                  <a:gd name="T66" fmla="*/ 2326 w 3334"/>
                  <a:gd name="T67" fmla="*/ 183 h 356"/>
                  <a:gd name="T68" fmla="*/ 2154 w 3334"/>
                  <a:gd name="T69" fmla="*/ 356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334" h="356">
                    <a:moveTo>
                      <a:pt x="2154" y="356"/>
                    </a:moveTo>
                    <a:lnTo>
                      <a:pt x="1987" y="188"/>
                    </a:lnTo>
                    <a:lnTo>
                      <a:pt x="1823" y="353"/>
                    </a:lnTo>
                    <a:lnTo>
                      <a:pt x="1481" y="353"/>
                    </a:lnTo>
                    <a:lnTo>
                      <a:pt x="1314" y="183"/>
                    </a:lnTo>
                    <a:lnTo>
                      <a:pt x="1155" y="183"/>
                    </a:lnTo>
                    <a:lnTo>
                      <a:pt x="985" y="353"/>
                    </a:lnTo>
                    <a:lnTo>
                      <a:pt x="813" y="353"/>
                    </a:lnTo>
                    <a:lnTo>
                      <a:pt x="643" y="183"/>
                    </a:lnTo>
                    <a:lnTo>
                      <a:pt x="142" y="183"/>
                    </a:lnTo>
                    <a:lnTo>
                      <a:pt x="0" y="43"/>
                    </a:lnTo>
                    <a:lnTo>
                      <a:pt x="13" y="29"/>
                    </a:lnTo>
                    <a:lnTo>
                      <a:pt x="150" y="167"/>
                    </a:lnTo>
                    <a:lnTo>
                      <a:pt x="651" y="167"/>
                    </a:lnTo>
                    <a:lnTo>
                      <a:pt x="818" y="334"/>
                    </a:lnTo>
                    <a:lnTo>
                      <a:pt x="980" y="334"/>
                    </a:lnTo>
                    <a:lnTo>
                      <a:pt x="1147" y="167"/>
                    </a:lnTo>
                    <a:lnTo>
                      <a:pt x="1322" y="167"/>
                    </a:lnTo>
                    <a:lnTo>
                      <a:pt x="1489" y="334"/>
                    </a:lnTo>
                    <a:lnTo>
                      <a:pt x="1817" y="334"/>
                    </a:lnTo>
                    <a:lnTo>
                      <a:pt x="1987" y="164"/>
                    </a:lnTo>
                    <a:lnTo>
                      <a:pt x="2154" y="331"/>
                    </a:lnTo>
                    <a:lnTo>
                      <a:pt x="2318" y="167"/>
                    </a:lnTo>
                    <a:lnTo>
                      <a:pt x="2655" y="167"/>
                    </a:lnTo>
                    <a:lnTo>
                      <a:pt x="2822" y="0"/>
                    </a:lnTo>
                    <a:lnTo>
                      <a:pt x="2997" y="0"/>
                    </a:lnTo>
                    <a:lnTo>
                      <a:pt x="3161" y="164"/>
                    </a:lnTo>
                    <a:lnTo>
                      <a:pt x="3323" y="2"/>
                    </a:lnTo>
                    <a:lnTo>
                      <a:pt x="3334" y="13"/>
                    </a:lnTo>
                    <a:lnTo>
                      <a:pt x="3161" y="188"/>
                    </a:lnTo>
                    <a:lnTo>
                      <a:pt x="2989" y="16"/>
                    </a:lnTo>
                    <a:lnTo>
                      <a:pt x="2830" y="16"/>
                    </a:lnTo>
                    <a:lnTo>
                      <a:pt x="2660" y="183"/>
                    </a:lnTo>
                    <a:lnTo>
                      <a:pt x="2326" y="183"/>
                    </a:lnTo>
                    <a:lnTo>
                      <a:pt x="2154" y="3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3" name="Freeform 8">
                <a:extLst>
                  <a:ext uri="{FF2B5EF4-FFF2-40B4-BE49-F238E27FC236}">
                    <a16:creationId xmlns:a16="http://schemas.microsoft.com/office/drawing/2014/main" id="{0DDA1143-AE83-499F-8DF4-AF0F4FBC09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1" y="1560"/>
                <a:ext cx="480" cy="154"/>
              </a:xfrm>
              <a:custGeom>
                <a:avLst/>
                <a:gdLst>
                  <a:gd name="T0" fmla="*/ 11 w 480"/>
                  <a:gd name="T1" fmla="*/ 154 h 154"/>
                  <a:gd name="T2" fmla="*/ 0 w 480"/>
                  <a:gd name="T3" fmla="*/ 143 h 154"/>
                  <a:gd name="T4" fmla="*/ 143 w 480"/>
                  <a:gd name="T5" fmla="*/ 0 h 154"/>
                  <a:gd name="T6" fmla="*/ 480 w 480"/>
                  <a:gd name="T7" fmla="*/ 0 h 154"/>
                  <a:gd name="T8" fmla="*/ 480 w 480"/>
                  <a:gd name="T9" fmla="*/ 19 h 154"/>
                  <a:gd name="T10" fmla="*/ 148 w 480"/>
                  <a:gd name="T11" fmla="*/ 19 h 154"/>
                  <a:gd name="T12" fmla="*/ 11 w 480"/>
                  <a:gd name="T13" fmla="*/ 154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0" h="154">
                    <a:moveTo>
                      <a:pt x="11" y="154"/>
                    </a:moveTo>
                    <a:lnTo>
                      <a:pt x="0" y="143"/>
                    </a:lnTo>
                    <a:lnTo>
                      <a:pt x="143" y="0"/>
                    </a:lnTo>
                    <a:lnTo>
                      <a:pt x="480" y="0"/>
                    </a:lnTo>
                    <a:lnTo>
                      <a:pt x="480" y="19"/>
                    </a:lnTo>
                    <a:lnTo>
                      <a:pt x="148" y="19"/>
                    </a:lnTo>
                    <a:lnTo>
                      <a:pt x="11" y="1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4" name="Freeform 9">
                <a:extLst>
                  <a:ext uri="{FF2B5EF4-FFF2-40B4-BE49-F238E27FC236}">
                    <a16:creationId xmlns:a16="http://schemas.microsoft.com/office/drawing/2014/main" id="{0BCDC289-B325-4AFF-841C-F08CAD9AFC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6" y="1422"/>
                <a:ext cx="983" cy="491"/>
              </a:xfrm>
              <a:custGeom>
                <a:avLst/>
                <a:gdLst>
                  <a:gd name="T0" fmla="*/ 983 w 983"/>
                  <a:gd name="T1" fmla="*/ 491 h 491"/>
                  <a:gd name="T2" fmla="*/ 643 w 983"/>
                  <a:gd name="T3" fmla="*/ 491 h 491"/>
                  <a:gd name="T4" fmla="*/ 309 w 983"/>
                  <a:gd name="T5" fmla="*/ 157 h 491"/>
                  <a:gd name="T6" fmla="*/ 142 w 983"/>
                  <a:gd name="T7" fmla="*/ 157 h 491"/>
                  <a:gd name="T8" fmla="*/ 0 w 983"/>
                  <a:gd name="T9" fmla="*/ 14 h 491"/>
                  <a:gd name="T10" fmla="*/ 13 w 983"/>
                  <a:gd name="T11" fmla="*/ 0 h 491"/>
                  <a:gd name="T12" fmla="*/ 148 w 983"/>
                  <a:gd name="T13" fmla="*/ 138 h 491"/>
                  <a:gd name="T14" fmla="*/ 317 w 983"/>
                  <a:gd name="T15" fmla="*/ 138 h 491"/>
                  <a:gd name="T16" fmla="*/ 651 w 983"/>
                  <a:gd name="T17" fmla="*/ 475 h 491"/>
                  <a:gd name="T18" fmla="*/ 983 w 983"/>
                  <a:gd name="T19" fmla="*/ 475 h 491"/>
                  <a:gd name="T20" fmla="*/ 983 w 983"/>
                  <a:gd name="T21" fmla="*/ 491 h 4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83" h="491">
                    <a:moveTo>
                      <a:pt x="983" y="491"/>
                    </a:moveTo>
                    <a:lnTo>
                      <a:pt x="643" y="491"/>
                    </a:lnTo>
                    <a:lnTo>
                      <a:pt x="309" y="157"/>
                    </a:lnTo>
                    <a:lnTo>
                      <a:pt x="142" y="157"/>
                    </a:lnTo>
                    <a:lnTo>
                      <a:pt x="0" y="14"/>
                    </a:lnTo>
                    <a:lnTo>
                      <a:pt x="13" y="0"/>
                    </a:lnTo>
                    <a:lnTo>
                      <a:pt x="148" y="138"/>
                    </a:lnTo>
                    <a:lnTo>
                      <a:pt x="317" y="138"/>
                    </a:lnTo>
                    <a:lnTo>
                      <a:pt x="651" y="475"/>
                    </a:lnTo>
                    <a:lnTo>
                      <a:pt x="983" y="475"/>
                    </a:lnTo>
                    <a:lnTo>
                      <a:pt x="983" y="49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5" name="Freeform 10">
                <a:extLst>
                  <a:ext uri="{FF2B5EF4-FFF2-40B4-BE49-F238E27FC236}">
                    <a16:creationId xmlns:a16="http://schemas.microsoft.com/office/drawing/2014/main" id="{EF2B7877-971A-4939-9AF1-FF298C685A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8" y="2234"/>
                <a:ext cx="339" cy="184"/>
              </a:xfrm>
              <a:custGeom>
                <a:avLst/>
                <a:gdLst>
                  <a:gd name="T0" fmla="*/ 169 w 339"/>
                  <a:gd name="T1" fmla="*/ 184 h 184"/>
                  <a:gd name="T2" fmla="*/ 0 w 339"/>
                  <a:gd name="T3" fmla="*/ 184 h 184"/>
                  <a:gd name="T4" fmla="*/ 0 w 339"/>
                  <a:gd name="T5" fmla="*/ 165 h 184"/>
                  <a:gd name="T6" fmla="*/ 161 w 339"/>
                  <a:gd name="T7" fmla="*/ 165 h 184"/>
                  <a:gd name="T8" fmla="*/ 328 w 339"/>
                  <a:gd name="T9" fmla="*/ 0 h 184"/>
                  <a:gd name="T10" fmla="*/ 339 w 339"/>
                  <a:gd name="T11" fmla="*/ 11 h 184"/>
                  <a:gd name="T12" fmla="*/ 169 w 339"/>
                  <a:gd name="T13" fmla="*/ 184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9" h="184">
                    <a:moveTo>
                      <a:pt x="169" y="184"/>
                    </a:moveTo>
                    <a:lnTo>
                      <a:pt x="0" y="184"/>
                    </a:lnTo>
                    <a:lnTo>
                      <a:pt x="0" y="165"/>
                    </a:lnTo>
                    <a:lnTo>
                      <a:pt x="161" y="165"/>
                    </a:lnTo>
                    <a:lnTo>
                      <a:pt x="328" y="0"/>
                    </a:lnTo>
                    <a:lnTo>
                      <a:pt x="339" y="11"/>
                    </a:lnTo>
                    <a:lnTo>
                      <a:pt x="169" y="1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6" name="Freeform 11">
                <a:extLst>
                  <a:ext uri="{FF2B5EF4-FFF2-40B4-BE49-F238E27FC236}">
                    <a16:creationId xmlns:a16="http://schemas.microsoft.com/office/drawing/2014/main" id="{0BF6228D-43EC-415E-88A4-1D7B1F9D00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1" y="2064"/>
                <a:ext cx="282" cy="154"/>
              </a:xfrm>
              <a:custGeom>
                <a:avLst/>
                <a:gdLst>
                  <a:gd name="T0" fmla="*/ 272 w 282"/>
                  <a:gd name="T1" fmla="*/ 154 h 154"/>
                  <a:gd name="T2" fmla="*/ 134 w 282"/>
                  <a:gd name="T3" fmla="*/ 16 h 154"/>
                  <a:gd name="T4" fmla="*/ 0 w 282"/>
                  <a:gd name="T5" fmla="*/ 16 h 154"/>
                  <a:gd name="T6" fmla="*/ 0 w 282"/>
                  <a:gd name="T7" fmla="*/ 0 h 154"/>
                  <a:gd name="T8" fmla="*/ 142 w 282"/>
                  <a:gd name="T9" fmla="*/ 0 h 154"/>
                  <a:gd name="T10" fmla="*/ 282 w 282"/>
                  <a:gd name="T11" fmla="*/ 141 h 154"/>
                  <a:gd name="T12" fmla="*/ 272 w 282"/>
                  <a:gd name="T13" fmla="*/ 154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2" h="154">
                    <a:moveTo>
                      <a:pt x="272" y="154"/>
                    </a:moveTo>
                    <a:lnTo>
                      <a:pt x="134" y="16"/>
                    </a:lnTo>
                    <a:lnTo>
                      <a:pt x="0" y="16"/>
                    </a:lnTo>
                    <a:lnTo>
                      <a:pt x="0" y="0"/>
                    </a:lnTo>
                    <a:lnTo>
                      <a:pt x="142" y="0"/>
                    </a:lnTo>
                    <a:lnTo>
                      <a:pt x="282" y="141"/>
                    </a:lnTo>
                    <a:lnTo>
                      <a:pt x="272" y="1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7" name="Freeform 12">
                <a:extLst>
                  <a:ext uri="{FF2B5EF4-FFF2-40B4-BE49-F238E27FC236}">
                    <a16:creationId xmlns:a16="http://schemas.microsoft.com/office/drawing/2014/main" id="{53B886FD-09B9-469A-A6A6-8D904EA1DC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0" y="2566"/>
                <a:ext cx="649" cy="491"/>
              </a:xfrm>
              <a:custGeom>
                <a:avLst/>
                <a:gdLst>
                  <a:gd name="T0" fmla="*/ 13 w 649"/>
                  <a:gd name="T1" fmla="*/ 491 h 491"/>
                  <a:gd name="T2" fmla="*/ 0 w 649"/>
                  <a:gd name="T3" fmla="*/ 477 h 491"/>
                  <a:gd name="T4" fmla="*/ 479 w 649"/>
                  <a:gd name="T5" fmla="*/ 0 h 491"/>
                  <a:gd name="T6" fmla="*/ 649 w 649"/>
                  <a:gd name="T7" fmla="*/ 0 h 491"/>
                  <a:gd name="T8" fmla="*/ 649 w 649"/>
                  <a:gd name="T9" fmla="*/ 19 h 491"/>
                  <a:gd name="T10" fmla="*/ 484 w 649"/>
                  <a:gd name="T11" fmla="*/ 19 h 491"/>
                  <a:gd name="T12" fmla="*/ 13 w 649"/>
                  <a:gd name="T13" fmla="*/ 491 h 4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9" h="491">
                    <a:moveTo>
                      <a:pt x="13" y="491"/>
                    </a:moveTo>
                    <a:lnTo>
                      <a:pt x="0" y="477"/>
                    </a:lnTo>
                    <a:lnTo>
                      <a:pt x="479" y="0"/>
                    </a:lnTo>
                    <a:lnTo>
                      <a:pt x="649" y="0"/>
                    </a:lnTo>
                    <a:lnTo>
                      <a:pt x="649" y="19"/>
                    </a:lnTo>
                    <a:lnTo>
                      <a:pt x="484" y="19"/>
                    </a:lnTo>
                    <a:lnTo>
                      <a:pt x="13" y="49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8" name="Freeform 13">
                <a:extLst>
                  <a:ext uri="{FF2B5EF4-FFF2-40B4-BE49-F238E27FC236}">
                    <a16:creationId xmlns:a16="http://schemas.microsoft.com/office/drawing/2014/main" id="{B04D86D5-1F5C-484C-A139-DD986652A1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0" y="2733"/>
                <a:ext cx="670" cy="186"/>
              </a:xfrm>
              <a:custGeom>
                <a:avLst/>
                <a:gdLst>
                  <a:gd name="T0" fmla="*/ 670 w 670"/>
                  <a:gd name="T1" fmla="*/ 186 h 186"/>
                  <a:gd name="T2" fmla="*/ 498 w 670"/>
                  <a:gd name="T3" fmla="*/ 186 h 186"/>
                  <a:gd name="T4" fmla="*/ 331 w 670"/>
                  <a:gd name="T5" fmla="*/ 19 h 186"/>
                  <a:gd name="T6" fmla="*/ 0 w 670"/>
                  <a:gd name="T7" fmla="*/ 19 h 186"/>
                  <a:gd name="T8" fmla="*/ 0 w 670"/>
                  <a:gd name="T9" fmla="*/ 0 h 186"/>
                  <a:gd name="T10" fmla="*/ 339 w 670"/>
                  <a:gd name="T11" fmla="*/ 0 h 186"/>
                  <a:gd name="T12" fmla="*/ 506 w 670"/>
                  <a:gd name="T13" fmla="*/ 170 h 186"/>
                  <a:gd name="T14" fmla="*/ 670 w 670"/>
                  <a:gd name="T15" fmla="*/ 170 h 186"/>
                  <a:gd name="T16" fmla="*/ 670 w 670"/>
                  <a:gd name="T17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0" h="186">
                    <a:moveTo>
                      <a:pt x="670" y="186"/>
                    </a:moveTo>
                    <a:lnTo>
                      <a:pt x="498" y="186"/>
                    </a:lnTo>
                    <a:lnTo>
                      <a:pt x="331" y="19"/>
                    </a:lnTo>
                    <a:lnTo>
                      <a:pt x="0" y="19"/>
                    </a:lnTo>
                    <a:lnTo>
                      <a:pt x="0" y="0"/>
                    </a:lnTo>
                    <a:lnTo>
                      <a:pt x="339" y="0"/>
                    </a:lnTo>
                    <a:lnTo>
                      <a:pt x="506" y="170"/>
                    </a:lnTo>
                    <a:lnTo>
                      <a:pt x="670" y="170"/>
                    </a:lnTo>
                    <a:lnTo>
                      <a:pt x="670" y="18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9" name="Freeform 14">
                <a:extLst>
                  <a:ext uri="{FF2B5EF4-FFF2-40B4-BE49-F238E27FC236}">
                    <a16:creationId xmlns:a16="http://schemas.microsoft.com/office/drawing/2014/main" id="{C4764627-6704-440A-A081-15D9E5700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2" y="2733"/>
                <a:ext cx="956" cy="359"/>
              </a:xfrm>
              <a:custGeom>
                <a:avLst/>
                <a:gdLst>
                  <a:gd name="T0" fmla="*/ 811 w 956"/>
                  <a:gd name="T1" fmla="*/ 359 h 359"/>
                  <a:gd name="T2" fmla="*/ 638 w 956"/>
                  <a:gd name="T3" fmla="*/ 186 h 359"/>
                  <a:gd name="T4" fmla="*/ 304 w 956"/>
                  <a:gd name="T5" fmla="*/ 186 h 359"/>
                  <a:gd name="T6" fmla="*/ 137 w 956"/>
                  <a:gd name="T7" fmla="*/ 19 h 359"/>
                  <a:gd name="T8" fmla="*/ 0 w 956"/>
                  <a:gd name="T9" fmla="*/ 19 h 359"/>
                  <a:gd name="T10" fmla="*/ 0 w 956"/>
                  <a:gd name="T11" fmla="*/ 0 h 359"/>
                  <a:gd name="T12" fmla="*/ 143 w 956"/>
                  <a:gd name="T13" fmla="*/ 0 h 359"/>
                  <a:gd name="T14" fmla="*/ 310 w 956"/>
                  <a:gd name="T15" fmla="*/ 170 h 359"/>
                  <a:gd name="T16" fmla="*/ 646 w 956"/>
                  <a:gd name="T17" fmla="*/ 170 h 359"/>
                  <a:gd name="T18" fmla="*/ 811 w 956"/>
                  <a:gd name="T19" fmla="*/ 335 h 359"/>
                  <a:gd name="T20" fmla="*/ 943 w 956"/>
                  <a:gd name="T21" fmla="*/ 200 h 359"/>
                  <a:gd name="T22" fmla="*/ 956 w 956"/>
                  <a:gd name="T23" fmla="*/ 210 h 359"/>
                  <a:gd name="T24" fmla="*/ 811 w 956"/>
                  <a:gd name="T25" fmla="*/ 359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56" h="359">
                    <a:moveTo>
                      <a:pt x="811" y="359"/>
                    </a:moveTo>
                    <a:lnTo>
                      <a:pt x="638" y="186"/>
                    </a:lnTo>
                    <a:lnTo>
                      <a:pt x="304" y="186"/>
                    </a:lnTo>
                    <a:lnTo>
                      <a:pt x="137" y="19"/>
                    </a:lnTo>
                    <a:lnTo>
                      <a:pt x="0" y="19"/>
                    </a:lnTo>
                    <a:lnTo>
                      <a:pt x="0" y="0"/>
                    </a:lnTo>
                    <a:lnTo>
                      <a:pt x="143" y="0"/>
                    </a:lnTo>
                    <a:lnTo>
                      <a:pt x="310" y="170"/>
                    </a:lnTo>
                    <a:lnTo>
                      <a:pt x="646" y="170"/>
                    </a:lnTo>
                    <a:lnTo>
                      <a:pt x="811" y="335"/>
                    </a:lnTo>
                    <a:lnTo>
                      <a:pt x="943" y="200"/>
                    </a:lnTo>
                    <a:lnTo>
                      <a:pt x="956" y="210"/>
                    </a:lnTo>
                    <a:lnTo>
                      <a:pt x="811" y="3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0" name="Freeform 15">
                <a:extLst>
                  <a:ext uri="{FF2B5EF4-FFF2-40B4-BE49-F238E27FC236}">
                    <a16:creationId xmlns:a16="http://schemas.microsoft.com/office/drawing/2014/main" id="{9F281F69-0C7A-4DE8-A467-9AB0ABF808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8" y="3070"/>
                <a:ext cx="649" cy="184"/>
              </a:xfrm>
              <a:custGeom>
                <a:avLst/>
                <a:gdLst>
                  <a:gd name="T0" fmla="*/ 13 w 649"/>
                  <a:gd name="T1" fmla="*/ 184 h 184"/>
                  <a:gd name="T2" fmla="*/ 0 w 649"/>
                  <a:gd name="T3" fmla="*/ 170 h 184"/>
                  <a:gd name="T4" fmla="*/ 172 w 649"/>
                  <a:gd name="T5" fmla="*/ 0 h 184"/>
                  <a:gd name="T6" fmla="*/ 649 w 649"/>
                  <a:gd name="T7" fmla="*/ 0 h 184"/>
                  <a:gd name="T8" fmla="*/ 649 w 649"/>
                  <a:gd name="T9" fmla="*/ 16 h 184"/>
                  <a:gd name="T10" fmla="*/ 177 w 649"/>
                  <a:gd name="T11" fmla="*/ 16 h 184"/>
                  <a:gd name="T12" fmla="*/ 13 w 649"/>
                  <a:gd name="T13" fmla="*/ 184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9" h="184">
                    <a:moveTo>
                      <a:pt x="13" y="184"/>
                    </a:moveTo>
                    <a:lnTo>
                      <a:pt x="0" y="170"/>
                    </a:lnTo>
                    <a:lnTo>
                      <a:pt x="172" y="0"/>
                    </a:lnTo>
                    <a:lnTo>
                      <a:pt x="649" y="0"/>
                    </a:lnTo>
                    <a:lnTo>
                      <a:pt x="649" y="16"/>
                    </a:lnTo>
                    <a:lnTo>
                      <a:pt x="177" y="16"/>
                    </a:lnTo>
                    <a:lnTo>
                      <a:pt x="13" y="1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1" name="Freeform 16">
                <a:extLst>
                  <a:ext uri="{FF2B5EF4-FFF2-40B4-BE49-F238E27FC236}">
                    <a16:creationId xmlns:a16="http://schemas.microsoft.com/office/drawing/2014/main" id="{907ADD1F-E2B7-44A2-B2CA-3314D706DE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3" y="2569"/>
                <a:ext cx="646" cy="350"/>
              </a:xfrm>
              <a:custGeom>
                <a:avLst/>
                <a:gdLst>
                  <a:gd name="T0" fmla="*/ 646 w 646"/>
                  <a:gd name="T1" fmla="*/ 350 h 350"/>
                  <a:gd name="T2" fmla="*/ 503 w 646"/>
                  <a:gd name="T3" fmla="*/ 350 h 350"/>
                  <a:gd name="T4" fmla="*/ 336 w 646"/>
                  <a:gd name="T5" fmla="*/ 183 h 350"/>
                  <a:gd name="T6" fmla="*/ 169 w 646"/>
                  <a:gd name="T7" fmla="*/ 183 h 350"/>
                  <a:gd name="T8" fmla="*/ 0 w 646"/>
                  <a:gd name="T9" fmla="*/ 13 h 350"/>
                  <a:gd name="T10" fmla="*/ 11 w 646"/>
                  <a:gd name="T11" fmla="*/ 0 h 350"/>
                  <a:gd name="T12" fmla="*/ 175 w 646"/>
                  <a:gd name="T13" fmla="*/ 164 h 350"/>
                  <a:gd name="T14" fmla="*/ 344 w 646"/>
                  <a:gd name="T15" fmla="*/ 164 h 350"/>
                  <a:gd name="T16" fmla="*/ 511 w 646"/>
                  <a:gd name="T17" fmla="*/ 334 h 350"/>
                  <a:gd name="T18" fmla="*/ 646 w 646"/>
                  <a:gd name="T19" fmla="*/ 334 h 350"/>
                  <a:gd name="T20" fmla="*/ 646 w 646"/>
                  <a:gd name="T21" fmla="*/ 350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6" h="350">
                    <a:moveTo>
                      <a:pt x="646" y="350"/>
                    </a:moveTo>
                    <a:lnTo>
                      <a:pt x="503" y="350"/>
                    </a:lnTo>
                    <a:lnTo>
                      <a:pt x="336" y="183"/>
                    </a:lnTo>
                    <a:lnTo>
                      <a:pt x="169" y="183"/>
                    </a:lnTo>
                    <a:lnTo>
                      <a:pt x="0" y="13"/>
                    </a:lnTo>
                    <a:lnTo>
                      <a:pt x="11" y="0"/>
                    </a:lnTo>
                    <a:lnTo>
                      <a:pt x="175" y="164"/>
                    </a:lnTo>
                    <a:lnTo>
                      <a:pt x="344" y="164"/>
                    </a:lnTo>
                    <a:lnTo>
                      <a:pt x="511" y="334"/>
                    </a:lnTo>
                    <a:lnTo>
                      <a:pt x="646" y="334"/>
                    </a:lnTo>
                    <a:lnTo>
                      <a:pt x="646" y="3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2" name="Freeform 17">
                <a:extLst>
                  <a:ext uri="{FF2B5EF4-FFF2-40B4-BE49-F238E27FC236}">
                    <a16:creationId xmlns:a16="http://schemas.microsoft.com/office/drawing/2014/main" id="{13911BAA-59F6-4D4B-B7F4-B36A158A33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9" y="2399"/>
                <a:ext cx="649" cy="323"/>
              </a:xfrm>
              <a:custGeom>
                <a:avLst/>
                <a:gdLst>
                  <a:gd name="T0" fmla="*/ 636 w 649"/>
                  <a:gd name="T1" fmla="*/ 323 h 323"/>
                  <a:gd name="T2" fmla="*/ 501 w 649"/>
                  <a:gd name="T3" fmla="*/ 186 h 323"/>
                  <a:gd name="T4" fmla="*/ 331 w 649"/>
                  <a:gd name="T5" fmla="*/ 186 h 323"/>
                  <a:gd name="T6" fmla="*/ 164 w 649"/>
                  <a:gd name="T7" fmla="*/ 19 h 323"/>
                  <a:gd name="T8" fmla="*/ 0 w 649"/>
                  <a:gd name="T9" fmla="*/ 19 h 323"/>
                  <a:gd name="T10" fmla="*/ 0 w 649"/>
                  <a:gd name="T11" fmla="*/ 0 h 323"/>
                  <a:gd name="T12" fmla="*/ 172 w 649"/>
                  <a:gd name="T13" fmla="*/ 0 h 323"/>
                  <a:gd name="T14" fmla="*/ 339 w 649"/>
                  <a:gd name="T15" fmla="*/ 167 h 323"/>
                  <a:gd name="T16" fmla="*/ 506 w 649"/>
                  <a:gd name="T17" fmla="*/ 167 h 323"/>
                  <a:gd name="T18" fmla="*/ 649 w 649"/>
                  <a:gd name="T19" fmla="*/ 310 h 323"/>
                  <a:gd name="T20" fmla="*/ 636 w 649"/>
                  <a:gd name="T21" fmla="*/ 323 h 3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9" h="323">
                    <a:moveTo>
                      <a:pt x="636" y="323"/>
                    </a:moveTo>
                    <a:lnTo>
                      <a:pt x="501" y="186"/>
                    </a:lnTo>
                    <a:lnTo>
                      <a:pt x="331" y="186"/>
                    </a:lnTo>
                    <a:lnTo>
                      <a:pt x="164" y="19"/>
                    </a:lnTo>
                    <a:lnTo>
                      <a:pt x="0" y="19"/>
                    </a:lnTo>
                    <a:lnTo>
                      <a:pt x="0" y="0"/>
                    </a:lnTo>
                    <a:lnTo>
                      <a:pt x="172" y="0"/>
                    </a:lnTo>
                    <a:lnTo>
                      <a:pt x="339" y="167"/>
                    </a:lnTo>
                    <a:lnTo>
                      <a:pt x="506" y="167"/>
                    </a:lnTo>
                    <a:lnTo>
                      <a:pt x="649" y="310"/>
                    </a:lnTo>
                    <a:lnTo>
                      <a:pt x="636" y="3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3" name="Rectangle 18">
                <a:extLst>
                  <a:ext uri="{FF2B5EF4-FFF2-40B4-BE49-F238E27FC236}">
                    <a16:creationId xmlns:a16="http://schemas.microsoft.com/office/drawing/2014/main" id="{FC8986AE-A491-4C5B-8ECB-227A7B62D0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53" y="2064"/>
                <a:ext cx="167" cy="1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4" name="Freeform 19">
                <a:extLst>
                  <a:ext uri="{FF2B5EF4-FFF2-40B4-BE49-F238E27FC236}">
                    <a16:creationId xmlns:a16="http://schemas.microsoft.com/office/drawing/2014/main" id="{11436EEB-B7B7-48D8-BF9B-FBF4F39DC7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3" y="1727"/>
                <a:ext cx="474" cy="186"/>
              </a:xfrm>
              <a:custGeom>
                <a:avLst/>
                <a:gdLst>
                  <a:gd name="T0" fmla="*/ 169 w 474"/>
                  <a:gd name="T1" fmla="*/ 186 h 186"/>
                  <a:gd name="T2" fmla="*/ 0 w 474"/>
                  <a:gd name="T3" fmla="*/ 186 h 186"/>
                  <a:gd name="T4" fmla="*/ 0 w 474"/>
                  <a:gd name="T5" fmla="*/ 170 h 186"/>
                  <a:gd name="T6" fmla="*/ 164 w 474"/>
                  <a:gd name="T7" fmla="*/ 170 h 186"/>
                  <a:gd name="T8" fmla="*/ 331 w 474"/>
                  <a:gd name="T9" fmla="*/ 0 h 186"/>
                  <a:gd name="T10" fmla="*/ 474 w 474"/>
                  <a:gd name="T11" fmla="*/ 0 h 186"/>
                  <a:gd name="T12" fmla="*/ 474 w 474"/>
                  <a:gd name="T13" fmla="*/ 19 h 186"/>
                  <a:gd name="T14" fmla="*/ 339 w 474"/>
                  <a:gd name="T15" fmla="*/ 19 h 186"/>
                  <a:gd name="T16" fmla="*/ 169 w 474"/>
                  <a:gd name="T17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4" h="186">
                    <a:moveTo>
                      <a:pt x="169" y="186"/>
                    </a:moveTo>
                    <a:lnTo>
                      <a:pt x="0" y="186"/>
                    </a:lnTo>
                    <a:lnTo>
                      <a:pt x="0" y="170"/>
                    </a:lnTo>
                    <a:lnTo>
                      <a:pt x="164" y="170"/>
                    </a:lnTo>
                    <a:lnTo>
                      <a:pt x="331" y="0"/>
                    </a:lnTo>
                    <a:lnTo>
                      <a:pt x="474" y="0"/>
                    </a:lnTo>
                    <a:lnTo>
                      <a:pt x="474" y="19"/>
                    </a:lnTo>
                    <a:lnTo>
                      <a:pt x="339" y="19"/>
                    </a:lnTo>
                    <a:lnTo>
                      <a:pt x="169" y="18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5" name="Rectangle 20">
                <a:extLst>
                  <a:ext uri="{FF2B5EF4-FFF2-40B4-BE49-F238E27FC236}">
                    <a16:creationId xmlns:a16="http://schemas.microsoft.com/office/drawing/2014/main" id="{63422529-CA78-4FA9-93DF-4837AF3AE5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77" y="2733"/>
                <a:ext cx="307" cy="1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6" name="Freeform 21">
                <a:extLst>
                  <a:ext uri="{FF2B5EF4-FFF2-40B4-BE49-F238E27FC236}">
                    <a16:creationId xmlns:a16="http://schemas.microsoft.com/office/drawing/2014/main" id="{725A5252-126F-444F-9FC8-DA2595F6B5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8" y="2736"/>
                <a:ext cx="988" cy="523"/>
              </a:xfrm>
              <a:custGeom>
                <a:avLst/>
                <a:gdLst>
                  <a:gd name="T0" fmla="*/ 479 w 988"/>
                  <a:gd name="T1" fmla="*/ 523 h 523"/>
                  <a:gd name="T2" fmla="*/ 312 w 988"/>
                  <a:gd name="T3" fmla="*/ 356 h 523"/>
                  <a:gd name="T4" fmla="*/ 145 w 988"/>
                  <a:gd name="T5" fmla="*/ 523 h 523"/>
                  <a:gd name="T6" fmla="*/ 0 w 988"/>
                  <a:gd name="T7" fmla="*/ 377 h 523"/>
                  <a:gd name="T8" fmla="*/ 11 w 988"/>
                  <a:gd name="T9" fmla="*/ 364 h 523"/>
                  <a:gd name="T10" fmla="*/ 145 w 988"/>
                  <a:gd name="T11" fmla="*/ 499 h 523"/>
                  <a:gd name="T12" fmla="*/ 312 w 988"/>
                  <a:gd name="T13" fmla="*/ 332 h 523"/>
                  <a:gd name="T14" fmla="*/ 479 w 988"/>
                  <a:gd name="T15" fmla="*/ 499 h 523"/>
                  <a:gd name="T16" fmla="*/ 975 w 988"/>
                  <a:gd name="T17" fmla="*/ 0 h 523"/>
                  <a:gd name="T18" fmla="*/ 988 w 988"/>
                  <a:gd name="T19" fmla="*/ 13 h 523"/>
                  <a:gd name="T20" fmla="*/ 479 w 988"/>
                  <a:gd name="T21" fmla="*/ 523 h 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88" h="523">
                    <a:moveTo>
                      <a:pt x="479" y="523"/>
                    </a:moveTo>
                    <a:lnTo>
                      <a:pt x="312" y="356"/>
                    </a:lnTo>
                    <a:lnTo>
                      <a:pt x="145" y="523"/>
                    </a:lnTo>
                    <a:lnTo>
                      <a:pt x="0" y="377"/>
                    </a:lnTo>
                    <a:lnTo>
                      <a:pt x="11" y="364"/>
                    </a:lnTo>
                    <a:lnTo>
                      <a:pt x="145" y="499"/>
                    </a:lnTo>
                    <a:lnTo>
                      <a:pt x="312" y="332"/>
                    </a:lnTo>
                    <a:lnTo>
                      <a:pt x="479" y="499"/>
                    </a:lnTo>
                    <a:lnTo>
                      <a:pt x="975" y="0"/>
                    </a:lnTo>
                    <a:lnTo>
                      <a:pt x="988" y="13"/>
                    </a:lnTo>
                    <a:lnTo>
                      <a:pt x="479" y="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7" name="Freeform 22">
                <a:extLst>
                  <a:ext uri="{FF2B5EF4-FFF2-40B4-BE49-F238E27FC236}">
                    <a16:creationId xmlns:a16="http://schemas.microsoft.com/office/drawing/2014/main" id="{78FC94E2-6B3E-4BA0-AC61-845116D6AC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3" y="1053"/>
                <a:ext cx="1123" cy="361"/>
              </a:xfrm>
              <a:custGeom>
                <a:avLst/>
                <a:gdLst>
                  <a:gd name="T0" fmla="*/ 307 w 1123"/>
                  <a:gd name="T1" fmla="*/ 361 h 361"/>
                  <a:gd name="T2" fmla="*/ 137 w 1123"/>
                  <a:gd name="T3" fmla="*/ 189 h 361"/>
                  <a:gd name="T4" fmla="*/ 0 w 1123"/>
                  <a:gd name="T5" fmla="*/ 189 h 361"/>
                  <a:gd name="T6" fmla="*/ 0 w 1123"/>
                  <a:gd name="T7" fmla="*/ 173 h 361"/>
                  <a:gd name="T8" fmla="*/ 142 w 1123"/>
                  <a:gd name="T9" fmla="*/ 173 h 361"/>
                  <a:gd name="T10" fmla="*/ 307 w 1123"/>
                  <a:gd name="T11" fmla="*/ 337 h 361"/>
                  <a:gd name="T12" fmla="*/ 471 w 1123"/>
                  <a:gd name="T13" fmla="*/ 173 h 361"/>
                  <a:gd name="T14" fmla="*/ 805 w 1123"/>
                  <a:gd name="T15" fmla="*/ 173 h 361"/>
                  <a:gd name="T16" fmla="*/ 977 w 1123"/>
                  <a:gd name="T17" fmla="*/ 0 h 361"/>
                  <a:gd name="T18" fmla="*/ 1123 w 1123"/>
                  <a:gd name="T19" fmla="*/ 146 h 361"/>
                  <a:gd name="T20" fmla="*/ 1109 w 1123"/>
                  <a:gd name="T21" fmla="*/ 159 h 361"/>
                  <a:gd name="T22" fmla="*/ 977 w 1123"/>
                  <a:gd name="T23" fmla="*/ 24 h 361"/>
                  <a:gd name="T24" fmla="*/ 813 w 1123"/>
                  <a:gd name="T25" fmla="*/ 189 h 361"/>
                  <a:gd name="T26" fmla="*/ 479 w 1123"/>
                  <a:gd name="T27" fmla="*/ 189 h 361"/>
                  <a:gd name="T28" fmla="*/ 307 w 1123"/>
                  <a:gd name="T29" fmla="*/ 361 h 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23" h="361">
                    <a:moveTo>
                      <a:pt x="307" y="361"/>
                    </a:moveTo>
                    <a:lnTo>
                      <a:pt x="137" y="189"/>
                    </a:lnTo>
                    <a:lnTo>
                      <a:pt x="0" y="189"/>
                    </a:lnTo>
                    <a:lnTo>
                      <a:pt x="0" y="173"/>
                    </a:lnTo>
                    <a:lnTo>
                      <a:pt x="142" y="173"/>
                    </a:lnTo>
                    <a:lnTo>
                      <a:pt x="307" y="337"/>
                    </a:lnTo>
                    <a:lnTo>
                      <a:pt x="471" y="173"/>
                    </a:lnTo>
                    <a:lnTo>
                      <a:pt x="805" y="173"/>
                    </a:lnTo>
                    <a:lnTo>
                      <a:pt x="977" y="0"/>
                    </a:lnTo>
                    <a:lnTo>
                      <a:pt x="1123" y="146"/>
                    </a:lnTo>
                    <a:lnTo>
                      <a:pt x="1109" y="159"/>
                    </a:lnTo>
                    <a:lnTo>
                      <a:pt x="977" y="24"/>
                    </a:lnTo>
                    <a:lnTo>
                      <a:pt x="813" y="189"/>
                    </a:lnTo>
                    <a:lnTo>
                      <a:pt x="479" y="189"/>
                    </a:lnTo>
                    <a:lnTo>
                      <a:pt x="307" y="3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8" name="Rectangle 23">
                <a:extLst>
                  <a:ext uri="{FF2B5EF4-FFF2-40B4-BE49-F238E27FC236}">
                    <a16:creationId xmlns:a16="http://schemas.microsoft.com/office/drawing/2014/main" id="{C3603D81-2695-4467-B79A-82673309D1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35" y="2231"/>
                <a:ext cx="140" cy="1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9" name="Rectangle 24">
                <a:extLst>
                  <a:ext uri="{FF2B5EF4-FFF2-40B4-BE49-F238E27FC236}">
                    <a16:creationId xmlns:a16="http://schemas.microsoft.com/office/drawing/2014/main" id="{D0BC1885-697E-4A0B-B3EE-D94F114661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71" y="3070"/>
                <a:ext cx="140" cy="1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0" name="Freeform 25">
                <a:extLst>
                  <a:ext uri="{FF2B5EF4-FFF2-40B4-BE49-F238E27FC236}">
                    <a16:creationId xmlns:a16="http://schemas.microsoft.com/office/drawing/2014/main" id="{E6DBCB2B-F8D7-4F83-80E7-65D0FD51E8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1" y="2933"/>
                <a:ext cx="318" cy="321"/>
              </a:xfrm>
              <a:custGeom>
                <a:avLst/>
                <a:gdLst>
                  <a:gd name="T0" fmla="*/ 307 w 318"/>
                  <a:gd name="T1" fmla="*/ 321 h 321"/>
                  <a:gd name="T2" fmla="*/ 0 w 318"/>
                  <a:gd name="T3" fmla="*/ 10 h 321"/>
                  <a:gd name="T4" fmla="*/ 11 w 318"/>
                  <a:gd name="T5" fmla="*/ 0 h 321"/>
                  <a:gd name="T6" fmla="*/ 318 w 318"/>
                  <a:gd name="T7" fmla="*/ 307 h 321"/>
                  <a:gd name="T8" fmla="*/ 307 w 318"/>
                  <a:gd name="T9" fmla="*/ 321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8" h="321">
                    <a:moveTo>
                      <a:pt x="307" y="321"/>
                    </a:moveTo>
                    <a:lnTo>
                      <a:pt x="0" y="10"/>
                    </a:lnTo>
                    <a:lnTo>
                      <a:pt x="11" y="0"/>
                    </a:lnTo>
                    <a:lnTo>
                      <a:pt x="318" y="307"/>
                    </a:lnTo>
                    <a:lnTo>
                      <a:pt x="307" y="3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1" name="Freeform 26">
                <a:extLst>
                  <a:ext uri="{FF2B5EF4-FFF2-40B4-BE49-F238E27FC236}">
                    <a16:creationId xmlns:a16="http://schemas.microsoft.com/office/drawing/2014/main" id="{BFFCECA0-A7CC-41B3-8AFE-346D7A7AAE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2" y="2733"/>
                <a:ext cx="814" cy="359"/>
              </a:xfrm>
              <a:custGeom>
                <a:avLst/>
                <a:gdLst>
                  <a:gd name="T0" fmla="*/ 173 w 814"/>
                  <a:gd name="T1" fmla="*/ 359 h 359"/>
                  <a:gd name="T2" fmla="*/ 0 w 814"/>
                  <a:gd name="T3" fmla="*/ 183 h 359"/>
                  <a:gd name="T4" fmla="*/ 11 w 814"/>
                  <a:gd name="T5" fmla="*/ 173 h 359"/>
                  <a:gd name="T6" fmla="*/ 173 w 814"/>
                  <a:gd name="T7" fmla="*/ 335 h 359"/>
                  <a:gd name="T8" fmla="*/ 504 w 814"/>
                  <a:gd name="T9" fmla="*/ 0 h 359"/>
                  <a:gd name="T10" fmla="*/ 814 w 814"/>
                  <a:gd name="T11" fmla="*/ 0 h 359"/>
                  <a:gd name="T12" fmla="*/ 814 w 814"/>
                  <a:gd name="T13" fmla="*/ 19 h 359"/>
                  <a:gd name="T14" fmla="*/ 512 w 814"/>
                  <a:gd name="T15" fmla="*/ 19 h 359"/>
                  <a:gd name="T16" fmla="*/ 173 w 814"/>
                  <a:gd name="T17" fmla="*/ 359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14" h="359">
                    <a:moveTo>
                      <a:pt x="173" y="359"/>
                    </a:moveTo>
                    <a:lnTo>
                      <a:pt x="0" y="183"/>
                    </a:lnTo>
                    <a:lnTo>
                      <a:pt x="11" y="173"/>
                    </a:lnTo>
                    <a:lnTo>
                      <a:pt x="173" y="335"/>
                    </a:lnTo>
                    <a:lnTo>
                      <a:pt x="504" y="0"/>
                    </a:lnTo>
                    <a:lnTo>
                      <a:pt x="814" y="0"/>
                    </a:lnTo>
                    <a:lnTo>
                      <a:pt x="814" y="19"/>
                    </a:lnTo>
                    <a:lnTo>
                      <a:pt x="512" y="19"/>
                    </a:lnTo>
                    <a:lnTo>
                      <a:pt x="173" y="3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2" name="Rectangle 27">
                <a:extLst>
                  <a:ext uri="{FF2B5EF4-FFF2-40B4-BE49-F238E27FC236}">
                    <a16:creationId xmlns:a16="http://schemas.microsoft.com/office/drawing/2014/main" id="{7E2DF796-40F3-45FC-93F6-AC2A816092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2" y="1387"/>
                <a:ext cx="27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3" name="Rectangle 28">
                <a:extLst>
                  <a:ext uri="{FF2B5EF4-FFF2-40B4-BE49-F238E27FC236}">
                    <a16:creationId xmlns:a16="http://schemas.microsoft.com/office/drawing/2014/main" id="{C036CEA3-6D6B-4578-BADD-77D0C0D881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5" y="1387"/>
                <a:ext cx="27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4" name="Rectangle 29">
                <a:extLst>
                  <a:ext uri="{FF2B5EF4-FFF2-40B4-BE49-F238E27FC236}">
                    <a16:creationId xmlns:a16="http://schemas.microsoft.com/office/drawing/2014/main" id="{A70D7D55-66A3-4D3F-9972-C98D70AF04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" y="1722"/>
                <a:ext cx="30" cy="2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5" name="Rectangle 30">
                <a:extLst>
                  <a:ext uri="{FF2B5EF4-FFF2-40B4-BE49-F238E27FC236}">
                    <a16:creationId xmlns:a16="http://schemas.microsoft.com/office/drawing/2014/main" id="{B92C2C7D-B1A5-44E0-BB15-FCBE7F37AD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5" y="1722"/>
                <a:ext cx="27" cy="2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6" name="Rectangle 31">
                <a:extLst>
                  <a:ext uri="{FF2B5EF4-FFF2-40B4-BE49-F238E27FC236}">
                    <a16:creationId xmlns:a16="http://schemas.microsoft.com/office/drawing/2014/main" id="{3EAA7CCB-1C36-4693-A55D-C05396174E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9" y="2059"/>
                <a:ext cx="27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7" name="Rectangle 32">
                <a:extLst>
                  <a:ext uri="{FF2B5EF4-FFF2-40B4-BE49-F238E27FC236}">
                    <a16:creationId xmlns:a16="http://schemas.microsoft.com/office/drawing/2014/main" id="{D2E9A461-2364-40F1-94DD-C6D31B4091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3" y="2059"/>
                <a:ext cx="29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8" name="Rectangle 33">
                <a:extLst>
                  <a:ext uri="{FF2B5EF4-FFF2-40B4-BE49-F238E27FC236}">
                    <a16:creationId xmlns:a16="http://schemas.microsoft.com/office/drawing/2014/main" id="{D812226F-51E9-4AF9-9201-97C4258BA8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2" y="2226"/>
                <a:ext cx="27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9" name="Rectangle 34">
                <a:extLst>
                  <a:ext uri="{FF2B5EF4-FFF2-40B4-BE49-F238E27FC236}">
                    <a16:creationId xmlns:a16="http://schemas.microsoft.com/office/drawing/2014/main" id="{396144B9-705B-4933-8AA2-48456D41EE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6" y="2561"/>
                <a:ext cx="29" cy="2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0" name="Rectangle 35">
                <a:extLst>
                  <a:ext uri="{FF2B5EF4-FFF2-40B4-BE49-F238E27FC236}">
                    <a16:creationId xmlns:a16="http://schemas.microsoft.com/office/drawing/2014/main" id="{1539C085-99A0-4E2E-B36C-FB0494F6F6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3" y="2728"/>
                <a:ext cx="29" cy="2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1" name="Rectangle 36">
                <a:extLst>
                  <a:ext uri="{FF2B5EF4-FFF2-40B4-BE49-F238E27FC236}">
                    <a16:creationId xmlns:a16="http://schemas.microsoft.com/office/drawing/2014/main" id="{BAE4DAD6-DFA6-47DD-9DF2-FB9BBB2DB2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2" y="2898"/>
                <a:ext cx="27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2" name="Rectangle 37">
                <a:extLst>
                  <a:ext uri="{FF2B5EF4-FFF2-40B4-BE49-F238E27FC236}">
                    <a16:creationId xmlns:a16="http://schemas.microsoft.com/office/drawing/2014/main" id="{CD312377-0CA0-49F3-849C-D9A6260C0D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2" y="3065"/>
                <a:ext cx="27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3" name="Rectangle 38">
                <a:extLst>
                  <a:ext uri="{FF2B5EF4-FFF2-40B4-BE49-F238E27FC236}">
                    <a16:creationId xmlns:a16="http://schemas.microsoft.com/office/drawing/2014/main" id="{2ED95232-86C1-49F1-BDAD-96489D1501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3" y="3232"/>
                <a:ext cx="29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4" name="Rectangle 39">
                <a:extLst>
                  <a:ext uri="{FF2B5EF4-FFF2-40B4-BE49-F238E27FC236}">
                    <a16:creationId xmlns:a16="http://schemas.microsoft.com/office/drawing/2014/main" id="{BF06FBAF-B9A9-415F-98DC-905364554A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6" y="3065"/>
                <a:ext cx="29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5" name="Rectangle 40">
                <a:extLst>
                  <a:ext uri="{FF2B5EF4-FFF2-40B4-BE49-F238E27FC236}">
                    <a16:creationId xmlns:a16="http://schemas.microsoft.com/office/drawing/2014/main" id="{7AC10463-69BB-4D1F-A30B-7DEB252209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2" y="2393"/>
                <a:ext cx="27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6" name="Rectangle 41">
                <a:extLst>
                  <a:ext uri="{FF2B5EF4-FFF2-40B4-BE49-F238E27FC236}">
                    <a16:creationId xmlns:a16="http://schemas.microsoft.com/office/drawing/2014/main" id="{36CA95AD-CFF4-4485-955D-26C09D5036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5" y="2728"/>
                <a:ext cx="27" cy="2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7" name="Rectangle 42">
                <a:extLst>
                  <a:ext uri="{FF2B5EF4-FFF2-40B4-BE49-F238E27FC236}">
                    <a16:creationId xmlns:a16="http://schemas.microsoft.com/office/drawing/2014/main" id="{AE6A9DA5-680F-4A5B-8422-ACAF0580A2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" y="2393"/>
                <a:ext cx="30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8" name="Rectangle 43">
                <a:extLst>
                  <a:ext uri="{FF2B5EF4-FFF2-40B4-BE49-F238E27FC236}">
                    <a16:creationId xmlns:a16="http://schemas.microsoft.com/office/drawing/2014/main" id="{78610C8B-5FFC-4A2A-9608-B305184828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2" y="1722"/>
                <a:ext cx="27" cy="2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9" name="Rectangle 44">
                <a:extLst>
                  <a:ext uri="{FF2B5EF4-FFF2-40B4-BE49-F238E27FC236}">
                    <a16:creationId xmlns:a16="http://schemas.microsoft.com/office/drawing/2014/main" id="{C85BBEFF-6600-48A6-8B72-F499E7D4DB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6" y="2226"/>
                <a:ext cx="27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0" name="Rectangle 45">
                <a:extLst>
                  <a:ext uri="{FF2B5EF4-FFF2-40B4-BE49-F238E27FC236}">
                    <a16:creationId xmlns:a16="http://schemas.microsoft.com/office/drawing/2014/main" id="{4BE32466-0B00-42C9-BB4B-8036B0858A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6" y="1220"/>
                <a:ext cx="27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1" name="Rectangle 46">
                <a:extLst>
                  <a:ext uri="{FF2B5EF4-FFF2-40B4-BE49-F238E27FC236}">
                    <a16:creationId xmlns:a16="http://schemas.microsoft.com/office/drawing/2014/main" id="{74885D7D-5A63-4B7A-B397-AC6A48899E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03" y="1053"/>
                <a:ext cx="27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2" name="Rectangle 47">
                <a:extLst>
                  <a:ext uri="{FF2B5EF4-FFF2-40B4-BE49-F238E27FC236}">
                    <a16:creationId xmlns:a16="http://schemas.microsoft.com/office/drawing/2014/main" id="{758CAE45-47C5-44D5-8204-38CF6F6755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37" y="1053"/>
                <a:ext cx="30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3" name="Rectangle 48">
                <a:extLst>
                  <a:ext uri="{FF2B5EF4-FFF2-40B4-BE49-F238E27FC236}">
                    <a16:creationId xmlns:a16="http://schemas.microsoft.com/office/drawing/2014/main" id="{F6841F94-A4DD-41A1-B64D-8AB5F2D485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74" y="1555"/>
                <a:ext cx="27" cy="2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4" name="Rectangle 49">
                <a:extLst>
                  <a:ext uri="{FF2B5EF4-FFF2-40B4-BE49-F238E27FC236}">
                    <a16:creationId xmlns:a16="http://schemas.microsoft.com/office/drawing/2014/main" id="{06BA3F22-296B-4D24-8D2D-A8EB1C0A19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08" y="1220"/>
                <a:ext cx="29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5" name="Rectangle 50">
                <a:extLst>
                  <a:ext uri="{FF2B5EF4-FFF2-40B4-BE49-F238E27FC236}">
                    <a16:creationId xmlns:a16="http://schemas.microsoft.com/office/drawing/2014/main" id="{F17CB76E-264A-4863-A829-469493BD04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11" y="1387"/>
                <a:ext cx="27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6" name="Rectangle 51">
                <a:extLst>
                  <a:ext uri="{FF2B5EF4-FFF2-40B4-BE49-F238E27FC236}">
                    <a16:creationId xmlns:a16="http://schemas.microsoft.com/office/drawing/2014/main" id="{9515F44C-355A-49BB-9332-AE12F1F38B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45" y="1053"/>
                <a:ext cx="30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7" name="Rectangle 52">
                <a:extLst>
                  <a:ext uri="{FF2B5EF4-FFF2-40B4-BE49-F238E27FC236}">
                    <a16:creationId xmlns:a16="http://schemas.microsoft.com/office/drawing/2014/main" id="{148C8199-F7F8-44BA-9738-870C6BB633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2" y="1053"/>
                <a:ext cx="30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8" name="Rectangle 53">
                <a:extLst>
                  <a:ext uri="{FF2B5EF4-FFF2-40B4-BE49-F238E27FC236}">
                    <a16:creationId xmlns:a16="http://schemas.microsoft.com/office/drawing/2014/main" id="{098BCF24-BD6F-426E-8517-3D76D98465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86" y="1053"/>
                <a:ext cx="27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9" name="Rectangle 54">
                <a:extLst>
                  <a:ext uri="{FF2B5EF4-FFF2-40B4-BE49-F238E27FC236}">
                    <a16:creationId xmlns:a16="http://schemas.microsoft.com/office/drawing/2014/main" id="{02BD6B5E-3277-404A-A42D-CAD227AA22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53" y="1220"/>
                <a:ext cx="27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0" name="Rectangle 55">
                <a:extLst>
                  <a:ext uri="{FF2B5EF4-FFF2-40B4-BE49-F238E27FC236}">
                    <a16:creationId xmlns:a16="http://schemas.microsoft.com/office/drawing/2014/main" id="{FF48E1AE-57D9-4BE9-B118-5F38C09841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20" y="1387"/>
                <a:ext cx="27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1" name="Rectangle 56">
                <a:extLst>
                  <a:ext uri="{FF2B5EF4-FFF2-40B4-BE49-F238E27FC236}">
                    <a16:creationId xmlns:a16="http://schemas.microsoft.com/office/drawing/2014/main" id="{34149DDF-B5DC-4B4B-A5EC-987AEA8BEB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87" y="1892"/>
                <a:ext cx="30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2" name="Rectangle 57">
                <a:extLst>
                  <a:ext uri="{FF2B5EF4-FFF2-40B4-BE49-F238E27FC236}">
                    <a16:creationId xmlns:a16="http://schemas.microsoft.com/office/drawing/2014/main" id="{02588CE8-A1BD-4CA8-A1CB-7A3CA312A6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53" y="2226"/>
                <a:ext cx="27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3" name="Rectangle 58">
                <a:extLst>
                  <a:ext uri="{FF2B5EF4-FFF2-40B4-BE49-F238E27FC236}">
                    <a16:creationId xmlns:a16="http://schemas.microsoft.com/office/drawing/2014/main" id="{42875C9E-2189-4386-9E33-51CF51105E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53" y="2561"/>
                <a:ext cx="27" cy="2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4" name="Rectangle 59">
                <a:extLst>
                  <a:ext uri="{FF2B5EF4-FFF2-40B4-BE49-F238E27FC236}">
                    <a16:creationId xmlns:a16="http://schemas.microsoft.com/office/drawing/2014/main" id="{D7931A81-6A59-4281-9274-89F46483DE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20" y="2226"/>
                <a:ext cx="27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5" name="Rectangle 60">
                <a:extLst>
                  <a:ext uri="{FF2B5EF4-FFF2-40B4-BE49-F238E27FC236}">
                    <a16:creationId xmlns:a16="http://schemas.microsoft.com/office/drawing/2014/main" id="{F70FA407-3F89-4875-9B1D-1D26D9E632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54" y="2059"/>
                <a:ext cx="30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6" name="Rectangle 61">
                <a:extLst>
                  <a:ext uri="{FF2B5EF4-FFF2-40B4-BE49-F238E27FC236}">
                    <a16:creationId xmlns:a16="http://schemas.microsoft.com/office/drawing/2014/main" id="{B5482B4A-E436-469A-95C1-8121AA3AF1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54" y="2393"/>
                <a:ext cx="30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7" name="Rectangle 62">
                <a:extLst>
                  <a:ext uri="{FF2B5EF4-FFF2-40B4-BE49-F238E27FC236}">
                    <a16:creationId xmlns:a16="http://schemas.microsoft.com/office/drawing/2014/main" id="{269FD9FC-A4A2-4907-84F3-3E325F6445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20" y="1053"/>
                <a:ext cx="27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8" name="Rectangle 63">
                <a:extLst>
                  <a:ext uri="{FF2B5EF4-FFF2-40B4-BE49-F238E27FC236}">
                    <a16:creationId xmlns:a16="http://schemas.microsoft.com/office/drawing/2014/main" id="{59E4CF62-9384-44BE-A616-A9AFA8CCF0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87" y="1053"/>
                <a:ext cx="30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9" name="Rectangle 64">
                <a:extLst>
                  <a:ext uri="{FF2B5EF4-FFF2-40B4-BE49-F238E27FC236}">
                    <a16:creationId xmlns:a16="http://schemas.microsoft.com/office/drawing/2014/main" id="{0762522D-0C55-49FA-B06F-1EB40F6FAF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" y="1722"/>
                <a:ext cx="27" cy="2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0" name="Rectangle 65">
                <a:extLst>
                  <a:ext uri="{FF2B5EF4-FFF2-40B4-BE49-F238E27FC236}">
                    <a16:creationId xmlns:a16="http://schemas.microsoft.com/office/drawing/2014/main" id="{BD54A9D8-5A2F-4FC5-9DFC-EB847FBB57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11" y="1722"/>
                <a:ext cx="27" cy="2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1" name="Rectangle 66">
                <a:extLst>
                  <a:ext uri="{FF2B5EF4-FFF2-40B4-BE49-F238E27FC236}">
                    <a16:creationId xmlns:a16="http://schemas.microsoft.com/office/drawing/2014/main" id="{2AA5D456-7E65-4701-B5E9-68598AF122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1" y="1053"/>
                <a:ext cx="27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2" name="Rectangle 67">
                <a:extLst>
                  <a:ext uri="{FF2B5EF4-FFF2-40B4-BE49-F238E27FC236}">
                    <a16:creationId xmlns:a16="http://schemas.microsoft.com/office/drawing/2014/main" id="{1419068C-9A66-4690-9880-189902DB3B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1" y="1220"/>
                <a:ext cx="27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3" name="Rectangle 68">
                <a:extLst>
                  <a:ext uri="{FF2B5EF4-FFF2-40B4-BE49-F238E27FC236}">
                    <a16:creationId xmlns:a16="http://schemas.microsoft.com/office/drawing/2014/main" id="{DE864370-127A-4BEE-B2C9-1C09EB014A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74" y="1722"/>
                <a:ext cx="27" cy="2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4" name="Rectangle 69">
                <a:extLst>
                  <a:ext uri="{FF2B5EF4-FFF2-40B4-BE49-F238E27FC236}">
                    <a16:creationId xmlns:a16="http://schemas.microsoft.com/office/drawing/2014/main" id="{73E33E27-9DAE-4D5B-9B19-A059F06A00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07" y="1892"/>
                <a:ext cx="27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5" name="Rectangle 70">
                <a:extLst>
                  <a:ext uri="{FF2B5EF4-FFF2-40B4-BE49-F238E27FC236}">
                    <a16:creationId xmlns:a16="http://schemas.microsoft.com/office/drawing/2014/main" id="{E0D38B63-F700-44CB-987E-921B034A93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8" y="1722"/>
                <a:ext cx="27" cy="2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6" name="Rectangle 71">
                <a:extLst>
                  <a:ext uri="{FF2B5EF4-FFF2-40B4-BE49-F238E27FC236}">
                    <a16:creationId xmlns:a16="http://schemas.microsoft.com/office/drawing/2014/main" id="{4FB75964-402C-4599-9C1C-E87F9A150E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25" y="1892"/>
                <a:ext cx="29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7" name="Rectangle 72">
                <a:extLst>
                  <a:ext uri="{FF2B5EF4-FFF2-40B4-BE49-F238E27FC236}">
                    <a16:creationId xmlns:a16="http://schemas.microsoft.com/office/drawing/2014/main" id="{CB3BAF8C-1F10-40B5-BA62-E694F5A6C3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61" y="1555"/>
                <a:ext cx="27" cy="2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8" name="Rectangle 73">
                <a:extLst>
                  <a:ext uri="{FF2B5EF4-FFF2-40B4-BE49-F238E27FC236}">
                    <a16:creationId xmlns:a16="http://schemas.microsoft.com/office/drawing/2014/main" id="{F9AADF48-85BD-4BB8-A343-F068365C78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28" y="1387"/>
                <a:ext cx="27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9" name="Rectangle 74">
                <a:extLst>
                  <a:ext uri="{FF2B5EF4-FFF2-40B4-BE49-F238E27FC236}">
                    <a16:creationId xmlns:a16="http://schemas.microsoft.com/office/drawing/2014/main" id="{D7BD784F-585B-402E-B61C-ECD2C31A61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62" y="1555"/>
                <a:ext cx="27" cy="2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0" name="Rectangle 75">
                <a:extLst>
                  <a:ext uri="{FF2B5EF4-FFF2-40B4-BE49-F238E27FC236}">
                    <a16:creationId xmlns:a16="http://schemas.microsoft.com/office/drawing/2014/main" id="{0E7743D0-EF3E-444E-8827-DD9853CD96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62" y="1892"/>
                <a:ext cx="27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1" name="Rectangle 76">
                <a:extLst>
                  <a:ext uri="{FF2B5EF4-FFF2-40B4-BE49-F238E27FC236}">
                    <a16:creationId xmlns:a16="http://schemas.microsoft.com/office/drawing/2014/main" id="{C3859950-4FAB-4CC6-897C-9802C52FEB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61" y="1722"/>
                <a:ext cx="27" cy="2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2" name="Rectangle 77">
                <a:extLst>
                  <a:ext uri="{FF2B5EF4-FFF2-40B4-BE49-F238E27FC236}">
                    <a16:creationId xmlns:a16="http://schemas.microsoft.com/office/drawing/2014/main" id="{19D9AC78-B287-4933-9588-6AFE61D416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54" y="2728"/>
                <a:ext cx="30" cy="2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3" name="Rectangle 78">
                <a:extLst>
                  <a:ext uri="{FF2B5EF4-FFF2-40B4-BE49-F238E27FC236}">
                    <a16:creationId xmlns:a16="http://schemas.microsoft.com/office/drawing/2014/main" id="{FCED72AC-05D0-4A4A-B8B0-2272F287D6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53" y="3232"/>
                <a:ext cx="27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4" name="Rectangle 79">
                <a:extLst>
                  <a:ext uri="{FF2B5EF4-FFF2-40B4-BE49-F238E27FC236}">
                    <a16:creationId xmlns:a16="http://schemas.microsoft.com/office/drawing/2014/main" id="{3A4E7AE0-2D8A-46E8-AFDB-12E7E57AA6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17" y="2898"/>
                <a:ext cx="29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5" name="Rectangle 80">
                <a:extLst>
                  <a:ext uri="{FF2B5EF4-FFF2-40B4-BE49-F238E27FC236}">
                    <a16:creationId xmlns:a16="http://schemas.microsoft.com/office/drawing/2014/main" id="{860741FE-1614-427C-9A72-B5637FDD37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50" y="3065"/>
                <a:ext cx="29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6" name="Rectangle 81">
                <a:extLst>
                  <a:ext uri="{FF2B5EF4-FFF2-40B4-BE49-F238E27FC236}">
                    <a16:creationId xmlns:a16="http://schemas.microsoft.com/office/drawing/2014/main" id="{EA439EFC-7925-4700-BC5A-6DFFEBCE21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16" y="3065"/>
                <a:ext cx="27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7" name="Rectangle 82">
                <a:extLst>
                  <a:ext uri="{FF2B5EF4-FFF2-40B4-BE49-F238E27FC236}">
                    <a16:creationId xmlns:a16="http://schemas.microsoft.com/office/drawing/2014/main" id="{176D66B0-B4E7-46F4-BC13-D154F99B85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2" y="3232"/>
                <a:ext cx="30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8" name="Rectangle 83">
                <a:extLst>
                  <a:ext uri="{FF2B5EF4-FFF2-40B4-BE49-F238E27FC236}">
                    <a16:creationId xmlns:a16="http://schemas.microsoft.com/office/drawing/2014/main" id="{F3C9FE26-7910-493C-98DC-1DC1C58B55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08" y="3232"/>
                <a:ext cx="29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9" name="Rectangle 84">
                <a:extLst>
                  <a:ext uri="{FF2B5EF4-FFF2-40B4-BE49-F238E27FC236}">
                    <a16:creationId xmlns:a16="http://schemas.microsoft.com/office/drawing/2014/main" id="{073550FB-761C-420F-B63A-DD5D59554A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07" y="2898"/>
                <a:ext cx="27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0" name="Rectangle 85">
                <a:extLst>
                  <a:ext uri="{FF2B5EF4-FFF2-40B4-BE49-F238E27FC236}">
                    <a16:creationId xmlns:a16="http://schemas.microsoft.com/office/drawing/2014/main" id="{F2EB26F5-ADCC-4F7F-AFD8-13D1A83DC9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03" y="3399"/>
                <a:ext cx="27" cy="3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1" name="Rectangle 86">
                <a:extLst>
                  <a:ext uri="{FF2B5EF4-FFF2-40B4-BE49-F238E27FC236}">
                    <a16:creationId xmlns:a16="http://schemas.microsoft.com/office/drawing/2014/main" id="{F89C7B5D-FEE9-42BA-B098-5AA95B9E38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03" y="3232"/>
                <a:ext cx="27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2" name="Rectangle 87">
                <a:extLst>
                  <a:ext uri="{FF2B5EF4-FFF2-40B4-BE49-F238E27FC236}">
                    <a16:creationId xmlns:a16="http://schemas.microsoft.com/office/drawing/2014/main" id="{9E6C039E-4E37-4197-948A-21B9173E6F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07" y="2561"/>
                <a:ext cx="27" cy="2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3" name="Rectangle 88">
                <a:extLst>
                  <a:ext uri="{FF2B5EF4-FFF2-40B4-BE49-F238E27FC236}">
                    <a16:creationId xmlns:a16="http://schemas.microsoft.com/office/drawing/2014/main" id="{FB406E15-BA47-4C6E-8188-9605A65D99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70" y="2898"/>
                <a:ext cx="30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4" name="Rectangle 89">
                <a:extLst>
                  <a:ext uri="{FF2B5EF4-FFF2-40B4-BE49-F238E27FC236}">
                    <a16:creationId xmlns:a16="http://schemas.microsoft.com/office/drawing/2014/main" id="{E65587FB-5A31-4818-A147-38F8F485DE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6" y="2898"/>
                <a:ext cx="27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5" name="Rectangle 90">
                <a:extLst>
                  <a:ext uri="{FF2B5EF4-FFF2-40B4-BE49-F238E27FC236}">
                    <a16:creationId xmlns:a16="http://schemas.microsoft.com/office/drawing/2014/main" id="{82C71A95-6440-433A-AF24-45606D2E76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37" y="2393"/>
                <a:ext cx="30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6" name="Rectangle 91">
                <a:extLst>
                  <a:ext uri="{FF2B5EF4-FFF2-40B4-BE49-F238E27FC236}">
                    <a16:creationId xmlns:a16="http://schemas.microsoft.com/office/drawing/2014/main" id="{7E32AF99-F043-4ACB-90FE-BDFCC32D35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07" y="2226"/>
                <a:ext cx="27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7" name="Rectangle 92">
                <a:extLst>
                  <a:ext uri="{FF2B5EF4-FFF2-40B4-BE49-F238E27FC236}">
                    <a16:creationId xmlns:a16="http://schemas.microsoft.com/office/drawing/2014/main" id="{A6C33D59-8E7E-46BD-A59E-AC3C617859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91" y="2728"/>
                <a:ext cx="27" cy="2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8" name="Rectangle 93">
                <a:extLst>
                  <a:ext uri="{FF2B5EF4-FFF2-40B4-BE49-F238E27FC236}">
                    <a16:creationId xmlns:a16="http://schemas.microsoft.com/office/drawing/2014/main" id="{65B9EDC8-C1D7-4720-92A9-E0D55F12FF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8" y="2898"/>
                <a:ext cx="27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9" name="Rectangle 94">
                <a:extLst>
                  <a:ext uri="{FF2B5EF4-FFF2-40B4-BE49-F238E27FC236}">
                    <a16:creationId xmlns:a16="http://schemas.microsoft.com/office/drawing/2014/main" id="{D53ED228-18A5-4913-BA59-392C096EE9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91" y="3065"/>
                <a:ext cx="27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0" name="Rectangle 95">
                <a:extLst>
                  <a:ext uri="{FF2B5EF4-FFF2-40B4-BE49-F238E27FC236}">
                    <a16:creationId xmlns:a16="http://schemas.microsoft.com/office/drawing/2014/main" id="{0FCB6882-B696-46F1-A6DE-45BF92B5EE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24" y="3232"/>
                <a:ext cx="27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1" name="Rectangle 96">
                <a:extLst>
                  <a:ext uri="{FF2B5EF4-FFF2-40B4-BE49-F238E27FC236}">
                    <a16:creationId xmlns:a16="http://schemas.microsoft.com/office/drawing/2014/main" id="{50B3A9CB-A357-4790-81C9-04A0C26138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54" y="3232"/>
                <a:ext cx="30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2" name="Rectangle 97">
                <a:extLst>
                  <a:ext uri="{FF2B5EF4-FFF2-40B4-BE49-F238E27FC236}">
                    <a16:creationId xmlns:a16="http://schemas.microsoft.com/office/drawing/2014/main" id="{3F478AB0-B340-4206-8F05-C53951E802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24" y="3399"/>
                <a:ext cx="27" cy="3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3" name="Rectangle 98">
                <a:extLst>
                  <a:ext uri="{FF2B5EF4-FFF2-40B4-BE49-F238E27FC236}">
                    <a16:creationId xmlns:a16="http://schemas.microsoft.com/office/drawing/2014/main" id="{20E3B53E-10CA-4FC7-8E5C-D195C98A8C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87" y="3232"/>
                <a:ext cx="30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4" name="Rectangle 99">
                <a:extLst>
                  <a:ext uri="{FF2B5EF4-FFF2-40B4-BE49-F238E27FC236}">
                    <a16:creationId xmlns:a16="http://schemas.microsoft.com/office/drawing/2014/main" id="{704EF520-91C2-4392-B037-76A774250E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8" y="2728"/>
                <a:ext cx="27" cy="2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5" name="Rectangle 100">
                <a:extLst>
                  <a:ext uri="{FF2B5EF4-FFF2-40B4-BE49-F238E27FC236}">
                    <a16:creationId xmlns:a16="http://schemas.microsoft.com/office/drawing/2014/main" id="{04CA2994-EEFE-4E7C-8B06-4D323374B5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61" y="2561"/>
                <a:ext cx="27" cy="2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6" name="Rectangle 101">
                <a:extLst>
                  <a:ext uri="{FF2B5EF4-FFF2-40B4-BE49-F238E27FC236}">
                    <a16:creationId xmlns:a16="http://schemas.microsoft.com/office/drawing/2014/main" id="{F56C9B20-55F1-4F94-8D9A-920AA47FA5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61" y="2059"/>
                <a:ext cx="27" cy="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7" name="Rectangle 102">
                <a:extLst>
                  <a:ext uri="{FF2B5EF4-FFF2-40B4-BE49-F238E27FC236}">
                    <a16:creationId xmlns:a16="http://schemas.microsoft.com/office/drawing/2014/main" id="{FA6A2F33-D6E5-43D1-8374-7D55485A82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28" y="2728"/>
                <a:ext cx="27" cy="2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8" name="Rectangle 103">
                <a:extLst>
                  <a:ext uri="{FF2B5EF4-FFF2-40B4-BE49-F238E27FC236}">
                    <a16:creationId xmlns:a16="http://schemas.microsoft.com/office/drawing/2014/main" id="{04C648D3-86C9-477A-A923-B5E20FC162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62" y="2728"/>
                <a:ext cx="27" cy="2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9" name="Rectangle 104">
                <a:extLst>
                  <a:ext uri="{FF2B5EF4-FFF2-40B4-BE49-F238E27FC236}">
                    <a16:creationId xmlns:a16="http://schemas.microsoft.com/office/drawing/2014/main" id="{0A1B21EC-6A82-4747-9E8B-3D84381C28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87" y="2728"/>
                <a:ext cx="30" cy="2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0" name="Rectangle 105">
                <a:extLst>
                  <a:ext uri="{FF2B5EF4-FFF2-40B4-BE49-F238E27FC236}">
                    <a16:creationId xmlns:a16="http://schemas.microsoft.com/office/drawing/2014/main" id="{6F428A86-345C-4B9B-89E8-46973FF19D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37" y="883"/>
                <a:ext cx="30" cy="3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1" name="Rectangle 106">
                <a:extLst>
                  <a:ext uri="{FF2B5EF4-FFF2-40B4-BE49-F238E27FC236}">
                    <a16:creationId xmlns:a16="http://schemas.microsoft.com/office/drawing/2014/main" id="{0DF320D3-2B3E-4F6F-B29E-65278C06E6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8" y="1544"/>
                <a:ext cx="48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2" name="Rectangle 107">
                <a:extLst>
                  <a:ext uri="{FF2B5EF4-FFF2-40B4-BE49-F238E27FC236}">
                    <a16:creationId xmlns:a16="http://schemas.microsoft.com/office/drawing/2014/main" id="{462B045C-B665-4E0A-838B-28C2B37B9C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1" y="2048"/>
                <a:ext cx="48" cy="4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3" name="Rectangle 108">
                <a:extLst>
                  <a:ext uri="{FF2B5EF4-FFF2-40B4-BE49-F238E27FC236}">
                    <a16:creationId xmlns:a16="http://schemas.microsoft.com/office/drawing/2014/main" id="{541C04F6-48AB-4857-85B8-EBEBD28B5F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4" y="2048"/>
                <a:ext cx="48" cy="4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4" name="Rectangle 109">
                <a:extLst>
                  <a:ext uri="{FF2B5EF4-FFF2-40B4-BE49-F238E27FC236}">
                    <a16:creationId xmlns:a16="http://schemas.microsoft.com/office/drawing/2014/main" id="{E7E07782-64B7-4A06-8BEF-0B7621752C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8" y="1881"/>
                <a:ext cx="48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5" name="Rectangle 110">
                <a:extLst>
                  <a:ext uri="{FF2B5EF4-FFF2-40B4-BE49-F238E27FC236}">
                    <a16:creationId xmlns:a16="http://schemas.microsoft.com/office/drawing/2014/main" id="{F464A4FC-E2A7-4000-B1F5-05DCC257F7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8" y="1711"/>
                <a:ext cx="48" cy="5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6" name="Rectangle 111">
                <a:extLst>
                  <a:ext uri="{FF2B5EF4-FFF2-40B4-BE49-F238E27FC236}">
                    <a16:creationId xmlns:a16="http://schemas.microsoft.com/office/drawing/2014/main" id="{13567524-5BCC-4CE7-AAFE-A44B9F03C5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5" y="2048"/>
                <a:ext cx="48" cy="4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7" name="Rectangle 112">
                <a:extLst>
                  <a:ext uri="{FF2B5EF4-FFF2-40B4-BE49-F238E27FC236}">
                    <a16:creationId xmlns:a16="http://schemas.microsoft.com/office/drawing/2014/main" id="{5FF731E0-3EB5-4C41-8792-35A245073A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2" y="1711"/>
                <a:ext cx="51" cy="5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8" name="Rectangle 113">
                <a:extLst>
                  <a:ext uri="{FF2B5EF4-FFF2-40B4-BE49-F238E27FC236}">
                    <a16:creationId xmlns:a16="http://schemas.microsoft.com/office/drawing/2014/main" id="{FB9B7B58-4301-4A47-BBFD-20FD3FF22B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2" y="1881"/>
                <a:ext cx="51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9" name="Rectangle 114">
                <a:extLst>
                  <a:ext uri="{FF2B5EF4-FFF2-40B4-BE49-F238E27FC236}">
                    <a16:creationId xmlns:a16="http://schemas.microsoft.com/office/drawing/2014/main" id="{A42122B0-1559-4545-81F1-4E4813CF24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58" y="1711"/>
                <a:ext cx="49" cy="5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0" name="Rectangle 115">
                <a:extLst>
                  <a:ext uri="{FF2B5EF4-FFF2-40B4-BE49-F238E27FC236}">
                    <a16:creationId xmlns:a16="http://schemas.microsoft.com/office/drawing/2014/main" id="{D0790298-4265-4DFB-AEA5-7B4C5711D1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2" y="1377"/>
                <a:ext cx="51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1" name="Rectangle 116">
                <a:extLst>
                  <a:ext uri="{FF2B5EF4-FFF2-40B4-BE49-F238E27FC236}">
                    <a16:creationId xmlns:a16="http://schemas.microsoft.com/office/drawing/2014/main" id="{974CCEF6-8BF9-4569-AEF8-36785A02A1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1" y="1377"/>
                <a:ext cx="49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2" name="Rectangle 117">
                <a:extLst>
                  <a:ext uri="{FF2B5EF4-FFF2-40B4-BE49-F238E27FC236}">
                    <a16:creationId xmlns:a16="http://schemas.microsoft.com/office/drawing/2014/main" id="{99CD8D5B-9215-4204-B8C2-7BB13F577A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58" y="1377"/>
                <a:ext cx="49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3" name="Rectangle 118">
                <a:extLst>
                  <a:ext uri="{FF2B5EF4-FFF2-40B4-BE49-F238E27FC236}">
                    <a16:creationId xmlns:a16="http://schemas.microsoft.com/office/drawing/2014/main" id="{2DEB4B8A-5808-465B-917C-C97BC68C09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58" y="1881"/>
                <a:ext cx="49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4" name="Rectangle 119">
                <a:extLst>
                  <a:ext uri="{FF2B5EF4-FFF2-40B4-BE49-F238E27FC236}">
                    <a16:creationId xmlns:a16="http://schemas.microsoft.com/office/drawing/2014/main" id="{02992395-9CC1-442D-8678-0E39E27BC9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2" y="2215"/>
                <a:ext cx="51" cy="4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5" name="Rectangle 120">
                <a:extLst>
                  <a:ext uri="{FF2B5EF4-FFF2-40B4-BE49-F238E27FC236}">
                    <a16:creationId xmlns:a16="http://schemas.microsoft.com/office/drawing/2014/main" id="{5DD76C3C-C909-4814-97E6-C49B927FF5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58" y="1209"/>
                <a:ext cx="49" cy="4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6" name="Rectangle 121">
                <a:extLst>
                  <a:ext uri="{FF2B5EF4-FFF2-40B4-BE49-F238E27FC236}">
                    <a16:creationId xmlns:a16="http://schemas.microsoft.com/office/drawing/2014/main" id="{FAB397DC-BDA7-4060-8130-512E89FB0B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5" y="1544"/>
                <a:ext cx="49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7" name="Rectangle 122">
                <a:extLst>
                  <a:ext uri="{FF2B5EF4-FFF2-40B4-BE49-F238E27FC236}">
                    <a16:creationId xmlns:a16="http://schemas.microsoft.com/office/drawing/2014/main" id="{505EE583-155B-488D-9747-297F6323C5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92" y="1544"/>
                <a:ext cx="49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8" name="Rectangle 123">
                <a:extLst>
                  <a:ext uri="{FF2B5EF4-FFF2-40B4-BE49-F238E27FC236}">
                    <a16:creationId xmlns:a16="http://schemas.microsoft.com/office/drawing/2014/main" id="{B7B4FF2B-65B3-421A-AEF2-401CAFBC8A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9" y="1377"/>
                <a:ext cx="51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9" name="Rectangle 124">
                <a:extLst>
                  <a:ext uri="{FF2B5EF4-FFF2-40B4-BE49-F238E27FC236}">
                    <a16:creationId xmlns:a16="http://schemas.microsoft.com/office/drawing/2014/main" id="{3883CA43-665B-4A30-9101-EABFF9B7DC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96" y="1042"/>
                <a:ext cx="48" cy="4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0" name="Rectangle 125">
                <a:extLst>
                  <a:ext uri="{FF2B5EF4-FFF2-40B4-BE49-F238E27FC236}">
                    <a16:creationId xmlns:a16="http://schemas.microsoft.com/office/drawing/2014/main" id="{66FA9093-9486-4244-A991-E151F2F4ED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29" y="1377"/>
                <a:ext cx="48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1" name="Rectangle 126">
                <a:extLst>
                  <a:ext uri="{FF2B5EF4-FFF2-40B4-BE49-F238E27FC236}">
                    <a16:creationId xmlns:a16="http://schemas.microsoft.com/office/drawing/2014/main" id="{E3A6A221-28B8-490A-B668-F98A74B78C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92" y="1711"/>
                <a:ext cx="49" cy="5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2" name="Rectangle 127">
                <a:extLst>
                  <a:ext uri="{FF2B5EF4-FFF2-40B4-BE49-F238E27FC236}">
                    <a16:creationId xmlns:a16="http://schemas.microsoft.com/office/drawing/2014/main" id="{68EC23EB-61C4-48BD-9330-D8C01D4437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96" y="1209"/>
                <a:ext cx="48" cy="4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3" name="Rectangle 128">
                <a:extLst>
                  <a:ext uri="{FF2B5EF4-FFF2-40B4-BE49-F238E27FC236}">
                    <a16:creationId xmlns:a16="http://schemas.microsoft.com/office/drawing/2014/main" id="{BD58C60D-BC82-4654-B1E5-679220C853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3" y="1377"/>
                <a:ext cx="48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4" name="Rectangle 129">
                <a:extLst>
                  <a:ext uri="{FF2B5EF4-FFF2-40B4-BE49-F238E27FC236}">
                    <a16:creationId xmlns:a16="http://schemas.microsoft.com/office/drawing/2014/main" id="{7F93C490-9F5A-4DED-A5DE-D8BB72E75D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3" y="1042"/>
                <a:ext cx="48" cy="4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5" name="Rectangle 130">
                <a:extLst>
                  <a:ext uri="{FF2B5EF4-FFF2-40B4-BE49-F238E27FC236}">
                    <a16:creationId xmlns:a16="http://schemas.microsoft.com/office/drawing/2014/main" id="{46B35A53-677A-4141-8C24-05966F3FBE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9" y="1042"/>
                <a:ext cx="51" cy="4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6" name="Rectangle 131">
                <a:extLst>
                  <a:ext uri="{FF2B5EF4-FFF2-40B4-BE49-F238E27FC236}">
                    <a16:creationId xmlns:a16="http://schemas.microsoft.com/office/drawing/2014/main" id="{DE0C101F-CF9E-4735-B763-A42562676A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9" y="1209"/>
                <a:ext cx="51" cy="4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7" name="Rectangle 132">
                <a:extLst>
                  <a:ext uri="{FF2B5EF4-FFF2-40B4-BE49-F238E27FC236}">
                    <a16:creationId xmlns:a16="http://schemas.microsoft.com/office/drawing/2014/main" id="{91E60B74-323C-436C-A88E-C4835CB2BD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30" y="1544"/>
                <a:ext cx="48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8" name="Rectangle 133">
                <a:extLst>
                  <a:ext uri="{FF2B5EF4-FFF2-40B4-BE49-F238E27FC236}">
                    <a16:creationId xmlns:a16="http://schemas.microsoft.com/office/drawing/2014/main" id="{294E615C-A38A-45D7-9A9F-1281B331A1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7" y="1377"/>
                <a:ext cx="48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9" name="Rectangle 134">
                <a:extLst>
                  <a:ext uri="{FF2B5EF4-FFF2-40B4-BE49-F238E27FC236}">
                    <a16:creationId xmlns:a16="http://schemas.microsoft.com/office/drawing/2014/main" id="{91D3C56A-884D-47FE-A929-C6B721DBE7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66" y="1377"/>
                <a:ext cx="49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0" name="Rectangle 135">
                <a:extLst>
                  <a:ext uri="{FF2B5EF4-FFF2-40B4-BE49-F238E27FC236}">
                    <a16:creationId xmlns:a16="http://schemas.microsoft.com/office/drawing/2014/main" id="{1CEFD43F-AB38-48FC-A0B3-43BA12E709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33" y="1544"/>
                <a:ext cx="49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1" name="Rectangle 136">
                <a:extLst>
                  <a:ext uri="{FF2B5EF4-FFF2-40B4-BE49-F238E27FC236}">
                    <a16:creationId xmlns:a16="http://schemas.microsoft.com/office/drawing/2014/main" id="{E6C6A7D9-69A1-4447-B35E-899687AC49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7" y="1711"/>
                <a:ext cx="48" cy="5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2" name="Rectangle 137">
                <a:extLst>
                  <a:ext uri="{FF2B5EF4-FFF2-40B4-BE49-F238E27FC236}">
                    <a16:creationId xmlns:a16="http://schemas.microsoft.com/office/drawing/2014/main" id="{23001CBA-8E08-41D5-BC5A-F38E31C585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33" y="1377"/>
                <a:ext cx="49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3" name="Rectangle 138">
                <a:extLst>
                  <a:ext uri="{FF2B5EF4-FFF2-40B4-BE49-F238E27FC236}">
                    <a16:creationId xmlns:a16="http://schemas.microsoft.com/office/drawing/2014/main" id="{C4C7C03A-4CBF-4654-B44B-B5D69DFF04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0" y="1544"/>
                <a:ext cx="49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4" name="Rectangle 139">
                <a:extLst>
                  <a:ext uri="{FF2B5EF4-FFF2-40B4-BE49-F238E27FC236}">
                    <a16:creationId xmlns:a16="http://schemas.microsoft.com/office/drawing/2014/main" id="{CE3E50F7-F89B-4B37-8110-5D4B49F6A5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67" y="1711"/>
                <a:ext cx="49" cy="5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5" name="Rectangle 140">
                <a:extLst>
                  <a:ext uri="{FF2B5EF4-FFF2-40B4-BE49-F238E27FC236}">
                    <a16:creationId xmlns:a16="http://schemas.microsoft.com/office/drawing/2014/main" id="{79B3B24A-9F35-403B-9ECE-9F71EA32E4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01" y="1377"/>
                <a:ext cx="51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6" name="Rectangle 141">
                <a:extLst>
                  <a:ext uri="{FF2B5EF4-FFF2-40B4-BE49-F238E27FC236}">
                    <a16:creationId xmlns:a16="http://schemas.microsoft.com/office/drawing/2014/main" id="{29BAC6F6-377E-4888-B3BC-19DDBDB7AF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71" y="1377"/>
                <a:ext cx="48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7" name="Rectangle 142">
                <a:extLst>
                  <a:ext uri="{FF2B5EF4-FFF2-40B4-BE49-F238E27FC236}">
                    <a16:creationId xmlns:a16="http://schemas.microsoft.com/office/drawing/2014/main" id="{2872CB78-D69D-4CCE-833D-3D5747625C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38" y="1377"/>
                <a:ext cx="48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8" name="Rectangle 143">
                <a:extLst>
                  <a:ext uri="{FF2B5EF4-FFF2-40B4-BE49-F238E27FC236}">
                    <a16:creationId xmlns:a16="http://schemas.microsoft.com/office/drawing/2014/main" id="{2D0074F2-439B-4432-892F-D9A9B8428E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05" y="1377"/>
                <a:ext cx="48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9" name="Rectangle 144">
                <a:extLst>
                  <a:ext uri="{FF2B5EF4-FFF2-40B4-BE49-F238E27FC236}">
                    <a16:creationId xmlns:a16="http://schemas.microsoft.com/office/drawing/2014/main" id="{5D99DDBD-A483-474E-BB34-F39487107C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38" y="1544"/>
                <a:ext cx="48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0" name="Rectangle 145">
                <a:extLst>
                  <a:ext uri="{FF2B5EF4-FFF2-40B4-BE49-F238E27FC236}">
                    <a16:creationId xmlns:a16="http://schemas.microsoft.com/office/drawing/2014/main" id="{B04F90CF-9226-4077-9112-09963068A1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72" y="1544"/>
                <a:ext cx="48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1" name="Rectangle 146">
                <a:extLst>
                  <a:ext uri="{FF2B5EF4-FFF2-40B4-BE49-F238E27FC236}">
                    <a16:creationId xmlns:a16="http://schemas.microsoft.com/office/drawing/2014/main" id="{F4160088-C18F-419B-8D51-2B00ABDF23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05" y="1711"/>
                <a:ext cx="48" cy="5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2" name="Rectangle 147">
                <a:extLst>
                  <a:ext uri="{FF2B5EF4-FFF2-40B4-BE49-F238E27FC236}">
                    <a16:creationId xmlns:a16="http://schemas.microsoft.com/office/drawing/2014/main" id="{4AE5271E-B596-4011-A169-DBACF92500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72" y="1377"/>
                <a:ext cx="48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3" name="Rectangle 148">
                <a:extLst>
                  <a:ext uri="{FF2B5EF4-FFF2-40B4-BE49-F238E27FC236}">
                    <a16:creationId xmlns:a16="http://schemas.microsoft.com/office/drawing/2014/main" id="{FDE080E0-4305-4AFF-B28F-75C7EBDE9D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05" y="1544"/>
                <a:ext cx="48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4" name="Rectangle 149">
                <a:extLst>
                  <a:ext uri="{FF2B5EF4-FFF2-40B4-BE49-F238E27FC236}">
                    <a16:creationId xmlns:a16="http://schemas.microsoft.com/office/drawing/2014/main" id="{F9C9B57B-7ABF-4E85-A328-0F202AB9AC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72" y="1711"/>
                <a:ext cx="48" cy="5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5" name="Rectangle 150">
                <a:extLst>
                  <a:ext uri="{FF2B5EF4-FFF2-40B4-BE49-F238E27FC236}">
                    <a16:creationId xmlns:a16="http://schemas.microsoft.com/office/drawing/2014/main" id="{199E57F3-8276-4B0E-A74B-286AF313C0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39" y="1377"/>
                <a:ext cx="51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6" name="Rectangle 151">
                <a:extLst>
                  <a:ext uri="{FF2B5EF4-FFF2-40B4-BE49-F238E27FC236}">
                    <a16:creationId xmlns:a16="http://schemas.microsoft.com/office/drawing/2014/main" id="{8D81CB17-982B-46F7-9033-7EFA0B421A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39" y="1544"/>
                <a:ext cx="51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7" name="Rectangle 152">
                <a:extLst>
                  <a:ext uri="{FF2B5EF4-FFF2-40B4-BE49-F238E27FC236}">
                    <a16:creationId xmlns:a16="http://schemas.microsoft.com/office/drawing/2014/main" id="{A1EEDECF-5D3B-4557-B906-8E855493A5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08" y="1377"/>
                <a:ext cx="49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8" name="Rectangle 153">
                <a:extLst>
                  <a:ext uri="{FF2B5EF4-FFF2-40B4-BE49-F238E27FC236}">
                    <a16:creationId xmlns:a16="http://schemas.microsoft.com/office/drawing/2014/main" id="{B7B73315-91B9-4AE9-B91C-63EABBEA34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75" y="1544"/>
                <a:ext cx="49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9" name="Rectangle 154">
                <a:extLst>
                  <a:ext uri="{FF2B5EF4-FFF2-40B4-BE49-F238E27FC236}">
                    <a16:creationId xmlns:a16="http://schemas.microsoft.com/office/drawing/2014/main" id="{3CB4AB7F-7058-462F-98AB-BBEAED9132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42" y="1711"/>
                <a:ext cx="49" cy="5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0" name="Rectangle 155">
                <a:extLst>
                  <a:ext uri="{FF2B5EF4-FFF2-40B4-BE49-F238E27FC236}">
                    <a16:creationId xmlns:a16="http://schemas.microsoft.com/office/drawing/2014/main" id="{8FD754FE-38A5-4371-BA06-26BE04B269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42" y="1377"/>
                <a:ext cx="49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1" name="Rectangle 156">
                <a:extLst>
                  <a:ext uri="{FF2B5EF4-FFF2-40B4-BE49-F238E27FC236}">
                    <a16:creationId xmlns:a16="http://schemas.microsoft.com/office/drawing/2014/main" id="{A0C52E5B-8342-465C-8201-FD76DCAD3E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09" y="1544"/>
                <a:ext cx="49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2" name="Rectangle 157">
                <a:extLst>
                  <a:ext uri="{FF2B5EF4-FFF2-40B4-BE49-F238E27FC236}">
                    <a16:creationId xmlns:a16="http://schemas.microsoft.com/office/drawing/2014/main" id="{4A8B756F-5577-4C33-8A14-4D669162CA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46" y="1209"/>
                <a:ext cx="48" cy="4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3" name="Rectangle 158">
                <a:extLst>
                  <a:ext uri="{FF2B5EF4-FFF2-40B4-BE49-F238E27FC236}">
                    <a16:creationId xmlns:a16="http://schemas.microsoft.com/office/drawing/2014/main" id="{5E75BA96-6984-4226-AFA6-12EFB3D1F3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80" y="1544"/>
                <a:ext cx="48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4" name="Rectangle 159">
                <a:extLst>
                  <a:ext uri="{FF2B5EF4-FFF2-40B4-BE49-F238E27FC236}">
                    <a16:creationId xmlns:a16="http://schemas.microsoft.com/office/drawing/2014/main" id="{F2BC18E6-06E1-4DAC-B9FF-6E1B908B3D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08" y="1544"/>
                <a:ext cx="49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5" name="Rectangle 160">
                <a:extLst>
                  <a:ext uri="{FF2B5EF4-FFF2-40B4-BE49-F238E27FC236}">
                    <a16:creationId xmlns:a16="http://schemas.microsoft.com/office/drawing/2014/main" id="{121C33B8-4E83-4877-B8CA-1651BD2AE1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75" y="1377"/>
                <a:ext cx="49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6" name="Rectangle 161">
                <a:extLst>
                  <a:ext uri="{FF2B5EF4-FFF2-40B4-BE49-F238E27FC236}">
                    <a16:creationId xmlns:a16="http://schemas.microsoft.com/office/drawing/2014/main" id="{28C0782A-FCF5-460A-ACFE-F143CD17DF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42" y="1544"/>
                <a:ext cx="49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7" name="Rectangle 162">
                <a:extLst>
                  <a:ext uri="{FF2B5EF4-FFF2-40B4-BE49-F238E27FC236}">
                    <a16:creationId xmlns:a16="http://schemas.microsoft.com/office/drawing/2014/main" id="{4DBAA14E-250E-4B98-B5F5-4E48A059AE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6" y="1209"/>
                <a:ext cx="49" cy="4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8" name="Rectangle 163">
                <a:extLst>
                  <a:ext uri="{FF2B5EF4-FFF2-40B4-BE49-F238E27FC236}">
                    <a16:creationId xmlns:a16="http://schemas.microsoft.com/office/drawing/2014/main" id="{63E19B3C-EA89-44A4-B71C-A59C2B6630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46" y="1377"/>
                <a:ext cx="48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9" name="Rectangle 164">
                <a:extLst>
                  <a:ext uri="{FF2B5EF4-FFF2-40B4-BE49-F238E27FC236}">
                    <a16:creationId xmlns:a16="http://schemas.microsoft.com/office/drawing/2014/main" id="{24DFABF0-5171-47E1-8FD0-24E727BBB7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13" y="1544"/>
                <a:ext cx="48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0" name="Rectangle 165">
                <a:extLst>
                  <a:ext uri="{FF2B5EF4-FFF2-40B4-BE49-F238E27FC236}">
                    <a16:creationId xmlns:a16="http://schemas.microsoft.com/office/drawing/2014/main" id="{91CDE111-D60C-4108-B7B1-873C14EF5D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09" y="1881"/>
                <a:ext cx="49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1" name="Rectangle 166">
                <a:extLst>
                  <a:ext uri="{FF2B5EF4-FFF2-40B4-BE49-F238E27FC236}">
                    <a16:creationId xmlns:a16="http://schemas.microsoft.com/office/drawing/2014/main" id="{7988F3D4-DFFB-4FF2-8901-9545657287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13" y="1377"/>
                <a:ext cx="48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2" name="Rectangle 167">
                <a:extLst>
                  <a:ext uri="{FF2B5EF4-FFF2-40B4-BE49-F238E27FC236}">
                    <a16:creationId xmlns:a16="http://schemas.microsoft.com/office/drawing/2014/main" id="{704998B6-CE56-4862-9463-C85CA8C1A9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46" y="1544"/>
                <a:ext cx="48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3" name="Rectangle 168">
                <a:extLst>
                  <a:ext uri="{FF2B5EF4-FFF2-40B4-BE49-F238E27FC236}">
                    <a16:creationId xmlns:a16="http://schemas.microsoft.com/office/drawing/2014/main" id="{E34CE99D-F97A-4A2C-A8D7-791AF5ADFF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80" y="1711"/>
                <a:ext cx="48" cy="5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4" name="Rectangle 169">
                <a:extLst>
                  <a:ext uri="{FF2B5EF4-FFF2-40B4-BE49-F238E27FC236}">
                    <a16:creationId xmlns:a16="http://schemas.microsoft.com/office/drawing/2014/main" id="{D67E7F16-A605-46F6-86DE-F1FDE719CD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47" y="1881"/>
                <a:ext cx="48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5" name="Rectangle 170">
                <a:extLst>
                  <a:ext uri="{FF2B5EF4-FFF2-40B4-BE49-F238E27FC236}">
                    <a16:creationId xmlns:a16="http://schemas.microsoft.com/office/drawing/2014/main" id="{3C318C27-4C51-4368-8195-D1C74AF04B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14" y="1711"/>
                <a:ext cx="48" cy="5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6" name="Rectangle 171">
                <a:extLst>
                  <a:ext uri="{FF2B5EF4-FFF2-40B4-BE49-F238E27FC236}">
                    <a16:creationId xmlns:a16="http://schemas.microsoft.com/office/drawing/2014/main" id="{43EB2D98-7D8A-44D3-8F41-7FE35CC6CF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81" y="1544"/>
                <a:ext cx="51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7" name="Rectangle 172">
                <a:extLst>
                  <a:ext uri="{FF2B5EF4-FFF2-40B4-BE49-F238E27FC236}">
                    <a16:creationId xmlns:a16="http://schemas.microsoft.com/office/drawing/2014/main" id="{36B1379C-A8FD-4718-BE5A-199E013468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14" y="1377"/>
                <a:ext cx="48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8" name="Rectangle 173">
                <a:extLst>
                  <a:ext uri="{FF2B5EF4-FFF2-40B4-BE49-F238E27FC236}">
                    <a16:creationId xmlns:a16="http://schemas.microsoft.com/office/drawing/2014/main" id="{9E3B2671-090A-469A-85FD-C1CBB09529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13" y="1881"/>
                <a:ext cx="48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9" name="Rectangle 174">
                <a:extLst>
                  <a:ext uri="{FF2B5EF4-FFF2-40B4-BE49-F238E27FC236}">
                    <a16:creationId xmlns:a16="http://schemas.microsoft.com/office/drawing/2014/main" id="{080722D0-39F9-47AD-B203-E9176DCC04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80" y="2048"/>
                <a:ext cx="48" cy="4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0" name="Rectangle 175">
                <a:extLst>
                  <a:ext uri="{FF2B5EF4-FFF2-40B4-BE49-F238E27FC236}">
                    <a16:creationId xmlns:a16="http://schemas.microsoft.com/office/drawing/2014/main" id="{1635FA01-CB09-4D9D-90DE-15356D7665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80" y="2215"/>
                <a:ext cx="48" cy="4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1" name="Rectangle 176">
                <a:extLst>
                  <a:ext uri="{FF2B5EF4-FFF2-40B4-BE49-F238E27FC236}">
                    <a16:creationId xmlns:a16="http://schemas.microsoft.com/office/drawing/2014/main" id="{6F2ACF6C-8724-4E6E-AA11-32973D1CA6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47" y="2215"/>
                <a:ext cx="48" cy="4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2" name="Rectangle 177">
                <a:extLst>
                  <a:ext uri="{FF2B5EF4-FFF2-40B4-BE49-F238E27FC236}">
                    <a16:creationId xmlns:a16="http://schemas.microsoft.com/office/drawing/2014/main" id="{D4F50D77-B8C8-481A-8F40-950399A1B9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47" y="2383"/>
                <a:ext cx="48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3" name="Rectangle 178">
                <a:extLst>
                  <a:ext uri="{FF2B5EF4-FFF2-40B4-BE49-F238E27FC236}">
                    <a16:creationId xmlns:a16="http://schemas.microsoft.com/office/drawing/2014/main" id="{426359ED-D4B2-4A5D-84E7-91FDDF5FEE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14" y="2383"/>
                <a:ext cx="48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4" name="Rectangle 179">
                <a:extLst>
                  <a:ext uri="{FF2B5EF4-FFF2-40B4-BE49-F238E27FC236}">
                    <a16:creationId xmlns:a16="http://schemas.microsoft.com/office/drawing/2014/main" id="{1D6DBB4E-6073-4FF1-8D97-3A83CA7C53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14" y="2550"/>
                <a:ext cx="48" cy="5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5" name="Rectangle 180">
                <a:extLst>
                  <a:ext uri="{FF2B5EF4-FFF2-40B4-BE49-F238E27FC236}">
                    <a16:creationId xmlns:a16="http://schemas.microsoft.com/office/drawing/2014/main" id="{BFF1BAB2-A366-4995-BC10-DEE1FBFB0B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81" y="2550"/>
                <a:ext cx="51" cy="5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6" name="Rectangle 181">
                <a:extLst>
                  <a:ext uri="{FF2B5EF4-FFF2-40B4-BE49-F238E27FC236}">
                    <a16:creationId xmlns:a16="http://schemas.microsoft.com/office/drawing/2014/main" id="{4CB0BD39-9B7B-4EF9-80BF-319BDE0371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81" y="2383"/>
                <a:ext cx="51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7" name="Rectangle 182">
                <a:extLst>
                  <a:ext uri="{FF2B5EF4-FFF2-40B4-BE49-F238E27FC236}">
                    <a16:creationId xmlns:a16="http://schemas.microsoft.com/office/drawing/2014/main" id="{6E5F1027-CC37-4795-8878-C8D8C9F528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50" y="2215"/>
                <a:ext cx="49" cy="4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8" name="Rectangle 183">
                <a:extLst>
                  <a:ext uri="{FF2B5EF4-FFF2-40B4-BE49-F238E27FC236}">
                    <a16:creationId xmlns:a16="http://schemas.microsoft.com/office/drawing/2014/main" id="{C16EDE71-D6B1-4F1F-BE1E-08AB3F6FC7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81" y="2048"/>
                <a:ext cx="51" cy="4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9" name="Rectangle 184">
                <a:extLst>
                  <a:ext uri="{FF2B5EF4-FFF2-40B4-BE49-F238E27FC236}">
                    <a16:creationId xmlns:a16="http://schemas.microsoft.com/office/drawing/2014/main" id="{A2E4D96B-8AE0-447C-99C4-97B250A9B9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50" y="1881"/>
                <a:ext cx="49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0" name="Rectangle 185">
                <a:extLst>
                  <a:ext uri="{FF2B5EF4-FFF2-40B4-BE49-F238E27FC236}">
                    <a16:creationId xmlns:a16="http://schemas.microsoft.com/office/drawing/2014/main" id="{5D9FBEC0-5006-4825-8569-A33C30290E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84" y="1881"/>
                <a:ext cx="49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1" name="Rectangle 186">
                <a:extLst>
                  <a:ext uri="{FF2B5EF4-FFF2-40B4-BE49-F238E27FC236}">
                    <a16:creationId xmlns:a16="http://schemas.microsoft.com/office/drawing/2014/main" id="{6E066EE9-AC63-423B-955E-7A5326E24F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81" y="1711"/>
                <a:ext cx="51" cy="5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2" name="Rectangle 187">
                <a:extLst>
                  <a:ext uri="{FF2B5EF4-FFF2-40B4-BE49-F238E27FC236}">
                    <a16:creationId xmlns:a16="http://schemas.microsoft.com/office/drawing/2014/main" id="{1C48F18F-E52B-4A3E-92E6-1BF9ABE8D7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50" y="2383"/>
                <a:ext cx="49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3" name="Rectangle 188">
                <a:extLst>
                  <a:ext uri="{FF2B5EF4-FFF2-40B4-BE49-F238E27FC236}">
                    <a16:creationId xmlns:a16="http://schemas.microsoft.com/office/drawing/2014/main" id="{16655431-C06F-47C1-93BD-D30521E150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84" y="2550"/>
                <a:ext cx="49" cy="5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4" name="Rectangle 189">
                <a:extLst>
                  <a:ext uri="{FF2B5EF4-FFF2-40B4-BE49-F238E27FC236}">
                    <a16:creationId xmlns:a16="http://schemas.microsoft.com/office/drawing/2014/main" id="{21739AC5-7CE6-4FD5-BE35-5808BA42C2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17" y="2550"/>
                <a:ext cx="49" cy="5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5" name="Rectangle 190">
                <a:extLst>
                  <a:ext uri="{FF2B5EF4-FFF2-40B4-BE49-F238E27FC236}">
                    <a16:creationId xmlns:a16="http://schemas.microsoft.com/office/drawing/2014/main" id="{A12F6C61-C0D3-4FE6-B3E2-13FD796771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81" y="2720"/>
                <a:ext cx="51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6" name="Rectangle 191">
                <a:extLst>
                  <a:ext uri="{FF2B5EF4-FFF2-40B4-BE49-F238E27FC236}">
                    <a16:creationId xmlns:a16="http://schemas.microsoft.com/office/drawing/2014/main" id="{5A0F9FB5-0FC9-488A-A50A-E57BD1C577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14" y="2887"/>
                <a:ext cx="48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7" name="Rectangle 192">
                <a:extLst>
                  <a:ext uri="{FF2B5EF4-FFF2-40B4-BE49-F238E27FC236}">
                    <a16:creationId xmlns:a16="http://schemas.microsoft.com/office/drawing/2014/main" id="{F42A251D-4B37-49DF-830C-0849D16CBF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47" y="3054"/>
                <a:ext cx="48" cy="4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8" name="Rectangle 193">
                <a:extLst>
                  <a:ext uri="{FF2B5EF4-FFF2-40B4-BE49-F238E27FC236}">
                    <a16:creationId xmlns:a16="http://schemas.microsoft.com/office/drawing/2014/main" id="{95425113-57C9-402D-8C35-98C2718F59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80" y="3388"/>
                <a:ext cx="48" cy="4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9" name="Rectangle 194">
                <a:extLst>
                  <a:ext uri="{FF2B5EF4-FFF2-40B4-BE49-F238E27FC236}">
                    <a16:creationId xmlns:a16="http://schemas.microsoft.com/office/drawing/2014/main" id="{83E602AC-2A1E-48DC-ADAA-5EB9A3D023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6" y="3388"/>
                <a:ext cx="49" cy="4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0" name="Rectangle 195">
                <a:extLst>
                  <a:ext uri="{FF2B5EF4-FFF2-40B4-BE49-F238E27FC236}">
                    <a16:creationId xmlns:a16="http://schemas.microsoft.com/office/drawing/2014/main" id="{A89B2620-6423-45D4-B132-E7F323F0C3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42" y="3054"/>
                <a:ext cx="49" cy="4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1" name="Rectangle 196">
                <a:extLst>
                  <a:ext uri="{FF2B5EF4-FFF2-40B4-BE49-F238E27FC236}">
                    <a16:creationId xmlns:a16="http://schemas.microsoft.com/office/drawing/2014/main" id="{238629E5-8417-4FBF-9E60-86D1A6D669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09" y="2887"/>
                <a:ext cx="49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2" name="Rectangle 197">
                <a:extLst>
                  <a:ext uri="{FF2B5EF4-FFF2-40B4-BE49-F238E27FC236}">
                    <a16:creationId xmlns:a16="http://schemas.microsoft.com/office/drawing/2014/main" id="{75A952FD-0406-4855-8BA0-147F014CEE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42" y="2720"/>
                <a:ext cx="49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3" name="Rectangle 198">
                <a:extLst>
                  <a:ext uri="{FF2B5EF4-FFF2-40B4-BE49-F238E27FC236}">
                    <a16:creationId xmlns:a16="http://schemas.microsoft.com/office/drawing/2014/main" id="{C8D69228-4E6B-4B15-B5DE-DAF42EA4C3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09" y="2720"/>
                <a:ext cx="49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4" name="Rectangle 199">
                <a:extLst>
                  <a:ext uri="{FF2B5EF4-FFF2-40B4-BE49-F238E27FC236}">
                    <a16:creationId xmlns:a16="http://schemas.microsoft.com/office/drawing/2014/main" id="{949AAE94-46B0-4B88-9990-4966ADEDDE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6" y="2887"/>
                <a:ext cx="49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5" name="Rectangle 200">
                <a:extLst>
                  <a:ext uri="{FF2B5EF4-FFF2-40B4-BE49-F238E27FC236}">
                    <a16:creationId xmlns:a16="http://schemas.microsoft.com/office/drawing/2014/main" id="{44E70B3F-BB46-4015-AAD4-71131C0FE0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46" y="2887"/>
                <a:ext cx="48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6" name="Rectangle 201">
                <a:extLst>
                  <a:ext uri="{FF2B5EF4-FFF2-40B4-BE49-F238E27FC236}">
                    <a16:creationId xmlns:a16="http://schemas.microsoft.com/office/drawing/2014/main" id="{5C3341B8-5ECB-414F-8248-8E6150108B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6" y="3054"/>
                <a:ext cx="49" cy="4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7" name="Rectangle 202">
                <a:extLst>
                  <a:ext uri="{FF2B5EF4-FFF2-40B4-BE49-F238E27FC236}">
                    <a16:creationId xmlns:a16="http://schemas.microsoft.com/office/drawing/2014/main" id="{7EBB8CB7-A260-4003-8974-B15BE950C5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46" y="3054"/>
                <a:ext cx="48" cy="4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8" name="Rectangle 203">
                <a:extLst>
                  <a:ext uri="{FF2B5EF4-FFF2-40B4-BE49-F238E27FC236}">
                    <a16:creationId xmlns:a16="http://schemas.microsoft.com/office/drawing/2014/main" id="{AB2D7988-43FE-4C86-923B-06C09F6DA9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13" y="2887"/>
                <a:ext cx="48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9" name="Rectangle 204">
                <a:extLst>
                  <a:ext uri="{FF2B5EF4-FFF2-40B4-BE49-F238E27FC236}">
                    <a16:creationId xmlns:a16="http://schemas.microsoft.com/office/drawing/2014/main" id="{214F519B-B773-4A62-9A3B-A1299CF36F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42" y="2887"/>
                <a:ext cx="49" cy="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48" name="Rectangle 206">
              <a:extLst>
                <a:ext uri="{FF2B5EF4-FFF2-40B4-BE49-F238E27FC236}">
                  <a16:creationId xmlns:a16="http://schemas.microsoft.com/office/drawing/2014/main" id="{8546BE1D-293A-45A9-BF33-29B743BB93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08" y="3054"/>
              <a:ext cx="49" cy="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49" name="Rectangle 207">
              <a:extLst>
                <a:ext uri="{FF2B5EF4-FFF2-40B4-BE49-F238E27FC236}">
                  <a16:creationId xmlns:a16="http://schemas.microsoft.com/office/drawing/2014/main" id="{A4A70943-9577-4EAD-BB95-9D935C32CF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9" y="2887"/>
              <a:ext cx="51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50" name="Rectangle 208">
              <a:extLst>
                <a:ext uri="{FF2B5EF4-FFF2-40B4-BE49-F238E27FC236}">
                  <a16:creationId xmlns:a16="http://schemas.microsoft.com/office/drawing/2014/main" id="{D6D133D2-6F77-4127-AC43-ED5D320E4A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72" y="2720"/>
              <a:ext cx="48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51" name="Rectangle 209">
              <a:extLst>
                <a:ext uri="{FF2B5EF4-FFF2-40B4-BE49-F238E27FC236}">
                  <a16:creationId xmlns:a16="http://schemas.microsoft.com/office/drawing/2014/main" id="{DD51DF87-4DE4-45D8-BF6A-512F049F6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5" y="2887"/>
              <a:ext cx="48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52" name="Rectangle 210">
              <a:extLst>
                <a:ext uri="{FF2B5EF4-FFF2-40B4-BE49-F238E27FC236}">
                  <a16:creationId xmlns:a16="http://schemas.microsoft.com/office/drawing/2014/main" id="{F37C6A41-8B50-4189-B5C4-BA0053596A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8" y="2720"/>
              <a:ext cx="48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53" name="Rectangle 211">
              <a:extLst>
                <a:ext uri="{FF2B5EF4-FFF2-40B4-BE49-F238E27FC236}">
                  <a16:creationId xmlns:a16="http://schemas.microsoft.com/office/drawing/2014/main" id="{7EB10078-5C42-44BF-B718-672F385191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1" y="2887"/>
              <a:ext cx="48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54" name="Rectangle 212">
              <a:extLst>
                <a:ext uri="{FF2B5EF4-FFF2-40B4-BE49-F238E27FC236}">
                  <a16:creationId xmlns:a16="http://schemas.microsoft.com/office/drawing/2014/main" id="{364FB546-26A9-4F19-9D14-9D979EA4E3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01" y="2720"/>
              <a:ext cx="51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55" name="Rectangle 213">
              <a:extLst>
                <a:ext uri="{FF2B5EF4-FFF2-40B4-BE49-F238E27FC236}">
                  <a16:creationId xmlns:a16="http://schemas.microsoft.com/office/drawing/2014/main" id="{8D35D052-D775-4E9B-A746-DB32B299E6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4" y="2887"/>
              <a:ext cx="49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56" name="Rectangle 214">
              <a:extLst>
                <a:ext uri="{FF2B5EF4-FFF2-40B4-BE49-F238E27FC236}">
                  <a16:creationId xmlns:a16="http://schemas.microsoft.com/office/drawing/2014/main" id="{4FFB2039-C4DD-4F94-95B5-F63A31516D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7" y="2720"/>
              <a:ext cx="49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57" name="Rectangle 215">
              <a:extLst>
                <a:ext uri="{FF2B5EF4-FFF2-40B4-BE49-F238E27FC236}">
                  <a16:creationId xmlns:a16="http://schemas.microsoft.com/office/drawing/2014/main" id="{31A0DEC2-C926-4A09-B40A-10BBAD4343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4" y="2720"/>
              <a:ext cx="49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58" name="Rectangle 216">
              <a:extLst>
                <a:ext uri="{FF2B5EF4-FFF2-40B4-BE49-F238E27FC236}">
                  <a16:creationId xmlns:a16="http://schemas.microsoft.com/office/drawing/2014/main" id="{549601F7-E6D7-4907-BAA6-548CF9AA45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7" y="2887"/>
              <a:ext cx="49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59" name="Rectangle 217">
              <a:extLst>
                <a:ext uri="{FF2B5EF4-FFF2-40B4-BE49-F238E27FC236}">
                  <a16:creationId xmlns:a16="http://schemas.microsoft.com/office/drawing/2014/main" id="{B1D53134-6446-44B5-A848-602FF905A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0" y="2887"/>
              <a:ext cx="49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0" name="Rectangle 218">
              <a:extLst>
                <a:ext uri="{FF2B5EF4-FFF2-40B4-BE49-F238E27FC236}">
                  <a16:creationId xmlns:a16="http://schemas.microsoft.com/office/drawing/2014/main" id="{8102AC63-FEC9-4C15-8AFA-D3D310DB09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0" y="3054"/>
              <a:ext cx="49" cy="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1" name="Rectangle 219">
              <a:extLst>
                <a:ext uri="{FF2B5EF4-FFF2-40B4-BE49-F238E27FC236}">
                  <a16:creationId xmlns:a16="http://schemas.microsoft.com/office/drawing/2014/main" id="{7B9C7972-1446-4EBC-9127-611888DEC2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3" y="2720"/>
              <a:ext cx="49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2" name="Rectangle 220">
              <a:extLst>
                <a:ext uri="{FF2B5EF4-FFF2-40B4-BE49-F238E27FC236}">
                  <a16:creationId xmlns:a16="http://schemas.microsoft.com/office/drawing/2014/main" id="{C7E071A6-B530-4177-AFC5-16A2B058B9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66" y="2887"/>
              <a:ext cx="49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" name="Rectangle 221">
              <a:extLst>
                <a:ext uri="{FF2B5EF4-FFF2-40B4-BE49-F238E27FC236}">
                  <a16:creationId xmlns:a16="http://schemas.microsoft.com/office/drawing/2014/main" id="{47D9CDF8-55AB-4386-8B3A-C37A3C0A5A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7" y="2720"/>
              <a:ext cx="48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4" name="Rectangle 222">
              <a:extLst>
                <a:ext uri="{FF2B5EF4-FFF2-40B4-BE49-F238E27FC236}">
                  <a16:creationId xmlns:a16="http://schemas.microsoft.com/office/drawing/2014/main" id="{6013AC61-200A-40BF-87B4-0C69F4198C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0" y="2887"/>
              <a:ext cx="48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5" name="Rectangle 223">
              <a:extLst>
                <a:ext uri="{FF2B5EF4-FFF2-40B4-BE49-F238E27FC236}">
                  <a16:creationId xmlns:a16="http://schemas.microsoft.com/office/drawing/2014/main" id="{CDFE3DB4-63E5-4C92-B5A2-5587F0778D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3" y="2720"/>
              <a:ext cx="48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6" name="Rectangle 224">
              <a:extLst>
                <a:ext uri="{FF2B5EF4-FFF2-40B4-BE49-F238E27FC236}">
                  <a16:creationId xmlns:a16="http://schemas.microsoft.com/office/drawing/2014/main" id="{65E12DED-1B21-46E5-82E9-993236CAD9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3" y="3054"/>
              <a:ext cx="48" cy="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7" name="Rectangle 225">
              <a:extLst>
                <a:ext uri="{FF2B5EF4-FFF2-40B4-BE49-F238E27FC236}">
                  <a16:creationId xmlns:a16="http://schemas.microsoft.com/office/drawing/2014/main" id="{251500BD-8A0A-4756-831C-B9BBB2F92C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96" y="3221"/>
              <a:ext cx="48" cy="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8" name="Rectangle 226">
              <a:extLst>
                <a:ext uri="{FF2B5EF4-FFF2-40B4-BE49-F238E27FC236}">
                  <a16:creationId xmlns:a16="http://schemas.microsoft.com/office/drawing/2014/main" id="{4BEEA0D1-BAE4-4293-9C5C-45F98BB777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7" y="2887"/>
              <a:ext cx="48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9" name="Rectangle 227">
              <a:extLst>
                <a:ext uri="{FF2B5EF4-FFF2-40B4-BE49-F238E27FC236}">
                  <a16:creationId xmlns:a16="http://schemas.microsoft.com/office/drawing/2014/main" id="{3F6CF7B0-8E88-4F22-A010-A67326858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3" y="3221"/>
              <a:ext cx="48" cy="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70" name="Rectangle 228">
              <a:extLst>
                <a:ext uri="{FF2B5EF4-FFF2-40B4-BE49-F238E27FC236}">
                  <a16:creationId xmlns:a16="http://schemas.microsoft.com/office/drawing/2014/main" id="{0422B147-3C70-4944-BFD5-EF1D884A0B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29" y="2887"/>
              <a:ext cx="48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71" name="Rectangle 229">
              <a:extLst>
                <a:ext uri="{FF2B5EF4-FFF2-40B4-BE49-F238E27FC236}">
                  <a16:creationId xmlns:a16="http://schemas.microsoft.com/office/drawing/2014/main" id="{1CFA24AD-3813-4ABD-92D6-73BF72B8C2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96" y="3054"/>
              <a:ext cx="48" cy="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72" name="Rectangle 230">
              <a:extLst>
                <a:ext uri="{FF2B5EF4-FFF2-40B4-BE49-F238E27FC236}">
                  <a16:creationId xmlns:a16="http://schemas.microsoft.com/office/drawing/2014/main" id="{3A1400D0-A794-478A-A572-658EFC5923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29" y="3221"/>
              <a:ext cx="48" cy="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73" name="Rectangle 231">
              <a:extLst>
                <a:ext uri="{FF2B5EF4-FFF2-40B4-BE49-F238E27FC236}">
                  <a16:creationId xmlns:a16="http://schemas.microsoft.com/office/drawing/2014/main" id="{DF353EA1-D173-4D56-BC2B-021C4C8CE4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3" y="2887"/>
              <a:ext cx="48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74" name="Rectangle 232">
              <a:extLst>
                <a:ext uri="{FF2B5EF4-FFF2-40B4-BE49-F238E27FC236}">
                  <a16:creationId xmlns:a16="http://schemas.microsoft.com/office/drawing/2014/main" id="{A59754CE-480C-4729-93FF-31BEB39AD7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29" y="2550"/>
              <a:ext cx="48" cy="5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75" name="Rectangle 233">
              <a:extLst>
                <a:ext uri="{FF2B5EF4-FFF2-40B4-BE49-F238E27FC236}">
                  <a16:creationId xmlns:a16="http://schemas.microsoft.com/office/drawing/2014/main" id="{6EC501A2-D272-4D0C-A7AF-7AB7B6EFED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59" y="2720"/>
              <a:ext cx="51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76" name="Rectangle 234">
              <a:extLst>
                <a:ext uri="{FF2B5EF4-FFF2-40B4-BE49-F238E27FC236}">
                  <a16:creationId xmlns:a16="http://schemas.microsoft.com/office/drawing/2014/main" id="{F4C3D28B-E80B-471C-B585-98C7D68298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2" y="2720"/>
              <a:ext cx="49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77" name="Rectangle 235">
              <a:extLst>
                <a:ext uri="{FF2B5EF4-FFF2-40B4-BE49-F238E27FC236}">
                  <a16:creationId xmlns:a16="http://schemas.microsoft.com/office/drawing/2014/main" id="{469828C2-B71D-4251-A7F7-1DD3D591FE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2" y="2887"/>
              <a:ext cx="49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78" name="Rectangle 236">
              <a:extLst>
                <a:ext uri="{FF2B5EF4-FFF2-40B4-BE49-F238E27FC236}">
                  <a16:creationId xmlns:a16="http://schemas.microsoft.com/office/drawing/2014/main" id="{3A89A8ED-D6FD-468F-819D-90A6A5138C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2" y="3054"/>
              <a:ext cx="49" cy="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79" name="Rectangle 237">
              <a:extLst>
                <a:ext uri="{FF2B5EF4-FFF2-40B4-BE49-F238E27FC236}">
                  <a16:creationId xmlns:a16="http://schemas.microsoft.com/office/drawing/2014/main" id="{F28AB9D9-36B4-49F4-BC66-6ACDA49BCE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5" y="3221"/>
              <a:ext cx="49" cy="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80" name="Rectangle 238">
              <a:extLst>
                <a:ext uri="{FF2B5EF4-FFF2-40B4-BE49-F238E27FC236}">
                  <a16:creationId xmlns:a16="http://schemas.microsoft.com/office/drawing/2014/main" id="{E70C0631-3902-4C5A-90BB-CC6C3685FB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5" y="2720"/>
              <a:ext cx="48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81" name="Rectangle 239">
              <a:extLst>
                <a:ext uri="{FF2B5EF4-FFF2-40B4-BE49-F238E27FC236}">
                  <a16:creationId xmlns:a16="http://schemas.microsoft.com/office/drawing/2014/main" id="{ACA46DE4-C77A-4404-BAF7-95894F752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8" y="2550"/>
              <a:ext cx="48" cy="5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82" name="Rectangle 240">
              <a:extLst>
                <a:ext uri="{FF2B5EF4-FFF2-40B4-BE49-F238E27FC236}">
                  <a16:creationId xmlns:a16="http://schemas.microsoft.com/office/drawing/2014/main" id="{7227EB68-0971-485B-8983-9A870153FC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" y="2720"/>
              <a:ext cx="48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83" name="Rectangle 241">
              <a:extLst>
                <a:ext uri="{FF2B5EF4-FFF2-40B4-BE49-F238E27FC236}">
                  <a16:creationId xmlns:a16="http://schemas.microsoft.com/office/drawing/2014/main" id="{2F9544D6-93E6-4F4C-ADF9-9889D75FEA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" y="2550"/>
              <a:ext cx="48" cy="5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84" name="Rectangle 242">
              <a:extLst>
                <a:ext uri="{FF2B5EF4-FFF2-40B4-BE49-F238E27FC236}">
                  <a16:creationId xmlns:a16="http://schemas.microsoft.com/office/drawing/2014/main" id="{EDF40A82-EA3D-4F14-8A62-3F52DC57BD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8" y="2215"/>
              <a:ext cx="48" cy="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85" name="Rectangle 243">
              <a:extLst>
                <a:ext uri="{FF2B5EF4-FFF2-40B4-BE49-F238E27FC236}">
                  <a16:creationId xmlns:a16="http://schemas.microsoft.com/office/drawing/2014/main" id="{74ED6347-F181-4559-9081-73FB61BC6D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" y="2383"/>
              <a:ext cx="48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86" name="Rectangle 244">
              <a:extLst>
                <a:ext uri="{FF2B5EF4-FFF2-40B4-BE49-F238E27FC236}">
                  <a16:creationId xmlns:a16="http://schemas.microsoft.com/office/drawing/2014/main" id="{5E5F1096-5231-439D-80D5-FADAD0E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58" y="2887"/>
              <a:ext cx="49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87" name="Rectangle 245">
              <a:extLst>
                <a:ext uri="{FF2B5EF4-FFF2-40B4-BE49-F238E27FC236}">
                  <a16:creationId xmlns:a16="http://schemas.microsoft.com/office/drawing/2014/main" id="{D677BB33-9D1B-4C67-B01F-0718C7A256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58" y="2720"/>
              <a:ext cx="49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88" name="Rectangle 246">
              <a:extLst>
                <a:ext uri="{FF2B5EF4-FFF2-40B4-BE49-F238E27FC236}">
                  <a16:creationId xmlns:a16="http://schemas.microsoft.com/office/drawing/2014/main" id="{774B3397-C131-4805-A999-8BE1EDF437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2" y="3054"/>
              <a:ext cx="51" cy="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89" name="Rectangle 247">
              <a:extLst>
                <a:ext uri="{FF2B5EF4-FFF2-40B4-BE49-F238E27FC236}">
                  <a16:creationId xmlns:a16="http://schemas.microsoft.com/office/drawing/2014/main" id="{079F7026-AFE0-4F05-880B-4419AA699D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5" y="2887"/>
              <a:ext cx="48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90" name="Rectangle 248">
              <a:extLst>
                <a:ext uri="{FF2B5EF4-FFF2-40B4-BE49-F238E27FC236}">
                  <a16:creationId xmlns:a16="http://schemas.microsoft.com/office/drawing/2014/main" id="{4EC86AF5-860B-472E-80B7-DB0A55D645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58" y="3221"/>
              <a:ext cx="49" cy="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91" name="Rectangle 249">
              <a:extLst>
                <a:ext uri="{FF2B5EF4-FFF2-40B4-BE49-F238E27FC236}">
                  <a16:creationId xmlns:a16="http://schemas.microsoft.com/office/drawing/2014/main" id="{564AA297-AEDD-43F5-8CBE-58066121E2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1" y="3221"/>
              <a:ext cx="49" cy="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92" name="Rectangle 250">
              <a:extLst>
                <a:ext uri="{FF2B5EF4-FFF2-40B4-BE49-F238E27FC236}">
                  <a16:creationId xmlns:a16="http://schemas.microsoft.com/office/drawing/2014/main" id="{53B282AE-ACF8-4EF4-A0D4-DACB74D1E2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3" y="2887"/>
              <a:ext cx="49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93" name="Rectangle 251">
              <a:extLst>
                <a:ext uri="{FF2B5EF4-FFF2-40B4-BE49-F238E27FC236}">
                  <a16:creationId xmlns:a16="http://schemas.microsoft.com/office/drawing/2014/main" id="{6B9D7BDA-2A02-43BB-9441-8B8E84BDA8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72" y="2887"/>
              <a:ext cx="48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94" name="Rectangle 252">
              <a:extLst>
                <a:ext uri="{FF2B5EF4-FFF2-40B4-BE49-F238E27FC236}">
                  <a16:creationId xmlns:a16="http://schemas.microsoft.com/office/drawing/2014/main" id="{F2049A1C-4140-4235-A62D-AB38E90207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9" y="2720"/>
              <a:ext cx="51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95" name="Rectangle 253">
              <a:extLst>
                <a:ext uri="{FF2B5EF4-FFF2-40B4-BE49-F238E27FC236}">
                  <a16:creationId xmlns:a16="http://schemas.microsoft.com/office/drawing/2014/main" id="{85E18B67-ED8D-45E9-8264-3014F30180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8" y="2887"/>
              <a:ext cx="48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96" name="Rectangle 254">
              <a:extLst>
                <a:ext uri="{FF2B5EF4-FFF2-40B4-BE49-F238E27FC236}">
                  <a16:creationId xmlns:a16="http://schemas.microsoft.com/office/drawing/2014/main" id="{36081A59-EAF9-4877-9CBD-B0379587B7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08" y="3221"/>
              <a:ext cx="49" cy="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97" name="Rectangle 255">
              <a:extLst>
                <a:ext uri="{FF2B5EF4-FFF2-40B4-BE49-F238E27FC236}">
                  <a16:creationId xmlns:a16="http://schemas.microsoft.com/office/drawing/2014/main" id="{9F1AC769-8BD3-4306-BDE5-7C9F4E6281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5" y="2720"/>
              <a:ext cx="49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98" name="Rectangle 256">
              <a:extLst>
                <a:ext uri="{FF2B5EF4-FFF2-40B4-BE49-F238E27FC236}">
                  <a16:creationId xmlns:a16="http://schemas.microsoft.com/office/drawing/2014/main" id="{26E71F09-9D50-4D9D-90DF-7A1E5459A0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5" y="3221"/>
              <a:ext cx="49" cy="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99" name="Rectangle 257">
              <a:extLst>
                <a:ext uri="{FF2B5EF4-FFF2-40B4-BE49-F238E27FC236}">
                  <a16:creationId xmlns:a16="http://schemas.microsoft.com/office/drawing/2014/main" id="{8A2C8BCE-0A17-411D-A671-7CE52A2F55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80" y="2383"/>
              <a:ext cx="48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00" name="Rectangle 258">
              <a:extLst>
                <a:ext uri="{FF2B5EF4-FFF2-40B4-BE49-F238E27FC236}">
                  <a16:creationId xmlns:a16="http://schemas.microsoft.com/office/drawing/2014/main" id="{D6AA1D7E-7DFC-4361-A5A7-1945E38D2E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13" y="2550"/>
              <a:ext cx="48" cy="5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01" name="Rectangle 259">
              <a:extLst>
                <a:ext uri="{FF2B5EF4-FFF2-40B4-BE49-F238E27FC236}">
                  <a16:creationId xmlns:a16="http://schemas.microsoft.com/office/drawing/2014/main" id="{3442D23B-31B3-4E0A-BFED-3013D6FE65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6" y="2215"/>
              <a:ext cx="49" cy="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02" name="Rectangle 260">
              <a:extLst>
                <a:ext uri="{FF2B5EF4-FFF2-40B4-BE49-F238E27FC236}">
                  <a16:creationId xmlns:a16="http://schemas.microsoft.com/office/drawing/2014/main" id="{CF9F3536-46A2-4AD8-B35D-BD2F5026B6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09" y="2383"/>
              <a:ext cx="49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03" name="Rectangle 261">
              <a:extLst>
                <a:ext uri="{FF2B5EF4-FFF2-40B4-BE49-F238E27FC236}">
                  <a16:creationId xmlns:a16="http://schemas.microsoft.com/office/drawing/2014/main" id="{F70A6E95-279B-418E-A90D-8C0EE03B20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6" y="2215"/>
              <a:ext cx="48" cy="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04" name="Rectangle 262">
              <a:extLst>
                <a:ext uri="{FF2B5EF4-FFF2-40B4-BE49-F238E27FC236}">
                  <a16:creationId xmlns:a16="http://schemas.microsoft.com/office/drawing/2014/main" id="{3B32A66F-FC16-4BA5-9D11-617A061FFA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09" y="2048"/>
              <a:ext cx="49" cy="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05" name="Rectangle 263">
              <a:extLst>
                <a:ext uri="{FF2B5EF4-FFF2-40B4-BE49-F238E27FC236}">
                  <a16:creationId xmlns:a16="http://schemas.microsoft.com/office/drawing/2014/main" id="{0E2FC9BA-735B-46C9-8845-9E118CB1D9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6" y="2048"/>
              <a:ext cx="49" cy="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06" name="Rectangle 264">
              <a:extLst>
                <a:ext uri="{FF2B5EF4-FFF2-40B4-BE49-F238E27FC236}">
                  <a16:creationId xmlns:a16="http://schemas.microsoft.com/office/drawing/2014/main" id="{AC2CDBBA-89A2-4817-9795-3549668547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6" y="2550"/>
              <a:ext cx="49" cy="5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07" name="Rectangle 265">
              <a:extLst>
                <a:ext uri="{FF2B5EF4-FFF2-40B4-BE49-F238E27FC236}">
                  <a16:creationId xmlns:a16="http://schemas.microsoft.com/office/drawing/2014/main" id="{693F8720-FDE6-49A6-94DD-FD6FB48FB8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13" y="1711"/>
              <a:ext cx="48" cy="5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08" name="Rectangle 266">
              <a:extLst>
                <a:ext uri="{FF2B5EF4-FFF2-40B4-BE49-F238E27FC236}">
                  <a16:creationId xmlns:a16="http://schemas.microsoft.com/office/drawing/2014/main" id="{E0A31A5B-F39A-4B55-9B04-6D0A1888C8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80" y="1209"/>
              <a:ext cx="48" cy="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09" name="Rectangle 267">
              <a:extLst>
                <a:ext uri="{FF2B5EF4-FFF2-40B4-BE49-F238E27FC236}">
                  <a16:creationId xmlns:a16="http://schemas.microsoft.com/office/drawing/2014/main" id="{3F5CEB72-4EB9-4B2A-9585-EE4B87B3DB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09" y="1711"/>
              <a:ext cx="49" cy="5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0" name="Rectangle 268">
              <a:extLst>
                <a:ext uri="{FF2B5EF4-FFF2-40B4-BE49-F238E27FC236}">
                  <a16:creationId xmlns:a16="http://schemas.microsoft.com/office/drawing/2014/main" id="{43A561B3-2EC0-4A94-9211-A59827ACCC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6" y="1544"/>
              <a:ext cx="49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1" name="Rectangle 269">
              <a:extLst>
                <a:ext uri="{FF2B5EF4-FFF2-40B4-BE49-F238E27FC236}">
                  <a16:creationId xmlns:a16="http://schemas.microsoft.com/office/drawing/2014/main" id="{CDFEE75E-22EE-4F22-8343-F0034C37C1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08" y="1711"/>
              <a:ext cx="49" cy="5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2" name="Rectangle 270">
              <a:extLst>
                <a:ext uri="{FF2B5EF4-FFF2-40B4-BE49-F238E27FC236}">
                  <a16:creationId xmlns:a16="http://schemas.microsoft.com/office/drawing/2014/main" id="{95DE45C6-C55B-493B-BAB1-12FEE79C5F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4" y="1377"/>
              <a:ext cx="49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3" name="Rectangle 271">
              <a:extLst>
                <a:ext uri="{FF2B5EF4-FFF2-40B4-BE49-F238E27FC236}">
                  <a16:creationId xmlns:a16="http://schemas.microsoft.com/office/drawing/2014/main" id="{8BDA7E74-29DC-4635-9244-4FC427E8A1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4" y="1711"/>
              <a:ext cx="49" cy="5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4" name="Rectangle 272">
              <a:extLst>
                <a:ext uri="{FF2B5EF4-FFF2-40B4-BE49-F238E27FC236}">
                  <a16:creationId xmlns:a16="http://schemas.microsoft.com/office/drawing/2014/main" id="{797E319A-6E82-4BB2-BFB6-2C716B6C99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01" y="1711"/>
              <a:ext cx="51" cy="5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5" name="Rectangle 273">
              <a:extLst>
                <a:ext uri="{FF2B5EF4-FFF2-40B4-BE49-F238E27FC236}">
                  <a16:creationId xmlns:a16="http://schemas.microsoft.com/office/drawing/2014/main" id="{B8C84117-0787-4653-9745-309F16D148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7" y="1544"/>
              <a:ext cx="48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6" name="Rectangle 274">
              <a:extLst>
                <a:ext uri="{FF2B5EF4-FFF2-40B4-BE49-F238E27FC236}">
                  <a16:creationId xmlns:a16="http://schemas.microsoft.com/office/drawing/2014/main" id="{AF701485-6BFA-478E-B36F-6CBF8E323B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0" y="1377"/>
              <a:ext cx="48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7" name="Rectangle 275">
              <a:extLst>
                <a:ext uri="{FF2B5EF4-FFF2-40B4-BE49-F238E27FC236}">
                  <a16:creationId xmlns:a16="http://schemas.microsoft.com/office/drawing/2014/main" id="{51AE7F70-3AB5-4324-B7E7-979B902062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0" y="1711"/>
              <a:ext cx="48" cy="5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8" name="Rectangle 276">
              <a:extLst>
                <a:ext uri="{FF2B5EF4-FFF2-40B4-BE49-F238E27FC236}">
                  <a16:creationId xmlns:a16="http://schemas.microsoft.com/office/drawing/2014/main" id="{A342679D-2105-4683-905F-BCA207A938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29" y="1544"/>
              <a:ext cx="48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9" name="Rectangle 277">
              <a:extLst>
                <a:ext uri="{FF2B5EF4-FFF2-40B4-BE49-F238E27FC236}">
                  <a16:creationId xmlns:a16="http://schemas.microsoft.com/office/drawing/2014/main" id="{712DE163-1F61-449D-A5B7-D46E7790A5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96" y="1544"/>
              <a:ext cx="48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20" name="Rectangle 278">
              <a:extLst>
                <a:ext uri="{FF2B5EF4-FFF2-40B4-BE49-F238E27FC236}">
                  <a16:creationId xmlns:a16="http://schemas.microsoft.com/office/drawing/2014/main" id="{0E575B6E-0473-4624-A77B-CF7C63BF19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29" y="1711"/>
              <a:ext cx="48" cy="5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21" name="Rectangle 279">
              <a:extLst>
                <a:ext uri="{FF2B5EF4-FFF2-40B4-BE49-F238E27FC236}">
                  <a16:creationId xmlns:a16="http://schemas.microsoft.com/office/drawing/2014/main" id="{B9EE7B96-E534-48FC-B960-4B3C78B3B7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59" y="1881"/>
              <a:ext cx="51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22" name="Rectangle 280">
              <a:extLst>
                <a:ext uri="{FF2B5EF4-FFF2-40B4-BE49-F238E27FC236}">
                  <a16:creationId xmlns:a16="http://schemas.microsoft.com/office/drawing/2014/main" id="{FF07FB3D-7E7B-46A1-95AC-88910F286A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29" y="2048"/>
              <a:ext cx="48" cy="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23" name="Rectangle 281">
              <a:extLst>
                <a:ext uri="{FF2B5EF4-FFF2-40B4-BE49-F238E27FC236}">
                  <a16:creationId xmlns:a16="http://schemas.microsoft.com/office/drawing/2014/main" id="{939BE75E-0AEE-4A56-B698-85CF862AD8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96" y="2048"/>
              <a:ext cx="48" cy="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24" name="Rectangle 282">
              <a:extLst>
                <a:ext uri="{FF2B5EF4-FFF2-40B4-BE49-F238E27FC236}">
                  <a16:creationId xmlns:a16="http://schemas.microsoft.com/office/drawing/2014/main" id="{AF313576-C657-4183-94F7-893A7331F2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2" y="2048"/>
              <a:ext cx="49" cy="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25" name="Rectangle 283">
              <a:extLst>
                <a:ext uri="{FF2B5EF4-FFF2-40B4-BE49-F238E27FC236}">
                  <a16:creationId xmlns:a16="http://schemas.microsoft.com/office/drawing/2014/main" id="{BC2C6CB9-2366-45AE-9A46-18A10AA47E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59" y="2048"/>
              <a:ext cx="51" cy="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26" name="Rectangle 284">
              <a:extLst>
                <a:ext uri="{FF2B5EF4-FFF2-40B4-BE49-F238E27FC236}">
                  <a16:creationId xmlns:a16="http://schemas.microsoft.com/office/drawing/2014/main" id="{8547E1C5-D959-4B08-9ECA-2D3E742B31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59" y="2215"/>
              <a:ext cx="51" cy="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27" name="Rectangle 285">
              <a:extLst>
                <a:ext uri="{FF2B5EF4-FFF2-40B4-BE49-F238E27FC236}">
                  <a16:creationId xmlns:a16="http://schemas.microsoft.com/office/drawing/2014/main" id="{D5123267-CB88-4A8D-9B0F-8A515B3ED3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59" y="2383"/>
              <a:ext cx="51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28" name="Rectangle 286">
              <a:extLst>
                <a:ext uri="{FF2B5EF4-FFF2-40B4-BE49-F238E27FC236}">
                  <a16:creationId xmlns:a16="http://schemas.microsoft.com/office/drawing/2014/main" id="{1A19C438-635D-4D8E-9D99-BAC16F69C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5" y="2383"/>
              <a:ext cx="49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29" name="Rectangle 287">
              <a:extLst>
                <a:ext uri="{FF2B5EF4-FFF2-40B4-BE49-F238E27FC236}">
                  <a16:creationId xmlns:a16="http://schemas.microsoft.com/office/drawing/2014/main" id="{AC0D60F3-E7C6-42EB-95E8-2A93D1F5D1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1" y="2048"/>
              <a:ext cx="49" cy="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30" name="Rectangle 288">
              <a:extLst>
                <a:ext uri="{FF2B5EF4-FFF2-40B4-BE49-F238E27FC236}">
                  <a16:creationId xmlns:a16="http://schemas.microsoft.com/office/drawing/2014/main" id="{C7C13C80-6AD2-44C0-8054-20EE7E2726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58" y="2215"/>
              <a:ext cx="49" cy="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31" name="Rectangle 289">
              <a:extLst>
                <a:ext uri="{FF2B5EF4-FFF2-40B4-BE49-F238E27FC236}">
                  <a16:creationId xmlns:a16="http://schemas.microsoft.com/office/drawing/2014/main" id="{FF0058DB-7633-44F0-81AF-B8CFFEC1AF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1" y="2215"/>
              <a:ext cx="49" cy="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32" name="Rectangle 290">
              <a:extLst>
                <a:ext uri="{FF2B5EF4-FFF2-40B4-BE49-F238E27FC236}">
                  <a16:creationId xmlns:a16="http://schemas.microsoft.com/office/drawing/2014/main" id="{C589C13D-7183-4E13-9E9E-E9EBC31348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1" y="2383"/>
              <a:ext cx="49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33" name="Rectangle 291">
              <a:extLst>
                <a:ext uri="{FF2B5EF4-FFF2-40B4-BE49-F238E27FC236}">
                  <a16:creationId xmlns:a16="http://schemas.microsoft.com/office/drawing/2014/main" id="{FF5E55BD-A624-4B1F-8C1C-F7AD391C01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29" y="2215"/>
              <a:ext cx="48" cy="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34" name="Rectangle 292">
              <a:extLst>
                <a:ext uri="{FF2B5EF4-FFF2-40B4-BE49-F238E27FC236}">
                  <a16:creationId xmlns:a16="http://schemas.microsoft.com/office/drawing/2014/main" id="{E84496D7-A58E-454B-836E-49788F17E5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96" y="3388"/>
              <a:ext cx="48" cy="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35" name="Rectangle 293">
              <a:extLst>
                <a:ext uri="{FF2B5EF4-FFF2-40B4-BE49-F238E27FC236}">
                  <a16:creationId xmlns:a16="http://schemas.microsoft.com/office/drawing/2014/main" id="{EF8E515D-0F1E-4689-A101-C92AF015C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5" y="1711"/>
              <a:ext cx="48" cy="5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36" name="Rectangle 294">
              <a:extLst>
                <a:ext uri="{FF2B5EF4-FFF2-40B4-BE49-F238E27FC236}">
                  <a16:creationId xmlns:a16="http://schemas.microsoft.com/office/drawing/2014/main" id="{5075243B-9F44-4B86-9C28-399CDEB5D0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7" y="1360"/>
              <a:ext cx="86" cy="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37" name="Rectangle 295">
              <a:extLst>
                <a:ext uri="{FF2B5EF4-FFF2-40B4-BE49-F238E27FC236}">
                  <a16:creationId xmlns:a16="http://schemas.microsoft.com/office/drawing/2014/main" id="{51A31D00-D3F9-4629-822D-385344903E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3" y="2534"/>
              <a:ext cx="83" cy="8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38" name="Rectangle 296">
              <a:extLst>
                <a:ext uri="{FF2B5EF4-FFF2-40B4-BE49-F238E27FC236}">
                  <a16:creationId xmlns:a16="http://schemas.microsoft.com/office/drawing/2014/main" id="{BE9868F6-1030-47B5-ADCB-7292A4879D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2" y="2701"/>
              <a:ext cx="83" cy="8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39" name="Rectangle 297">
              <a:extLst>
                <a:ext uri="{FF2B5EF4-FFF2-40B4-BE49-F238E27FC236}">
                  <a16:creationId xmlns:a16="http://schemas.microsoft.com/office/drawing/2014/main" id="{06EFB574-BFA6-44B3-B7A3-5815893097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2" y="2383"/>
              <a:ext cx="51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40" name="Rectangle 298">
              <a:extLst>
                <a:ext uri="{FF2B5EF4-FFF2-40B4-BE49-F238E27FC236}">
                  <a16:creationId xmlns:a16="http://schemas.microsoft.com/office/drawing/2014/main" id="{56422A85-7D92-42EC-A6A4-8800723C75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5" y="2383"/>
              <a:ext cx="48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41" name="Rectangle 299">
              <a:extLst>
                <a:ext uri="{FF2B5EF4-FFF2-40B4-BE49-F238E27FC236}">
                  <a16:creationId xmlns:a16="http://schemas.microsoft.com/office/drawing/2014/main" id="{3CD16B5D-D5B6-4044-8F03-251EAA1800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" y="1862"/>
              <a:ext cx="86" cy="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42" name="Rectangle 300">
              <a:extLst>
                <a:ext uri="{FF2B5EF4-FFF2-40B4-BE49-F238E27FC236}">
                  <a16:creationId xmlns:a16="http://schemas.microsoft.com/office/drawing/2014/main" id="{7905209B-F3FD-4052-B13A-C7784F0C47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0" y="3038"/>
              <a:ext cx="83" cy="8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43" name="Rectangle 301">
              <a:extLst>
                <a:ext uri="{FF2B5EF4-FFF2-40B4-BE49-F238E27FC236}">
                  <a16:creationId xmlns:a16="http://schemas.microsoft.com/office/drawing/2014/main" id="{008A81BD-0FF4-4888-8114-7EDD2E5867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9" y="3038"/>
              <a:ext cx="84" cy="8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44" name="Rectangle 302">
              <a:extLst>
                <a:ext uri="{FF2B5EF4-FFF2-40B4-BE49-F238E27FC236}">
                  <a16:creationId xmlns:a16="http://schemas.microsoft.com/office/drawing/2014/main" id="{14788CBA-2A20-4987-B719-B0D0C52204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6" y="2534"/>
              <a:ext cx="84" cy="8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45" name="Rectangle 303">
              <a:extLst>
                <a:ext uri="{FF2B5EF4-FFF2-40B4-BE49-F238E27FC236}">
                  <a16:creationId xmlns:a16="http://schemas.microsoft.com/office/drawing/2014/main" id="{7D2E515E-7054-45A5-B909-04DBEE49A6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8" y="2701"/>
              <a:ext cx="83" cy="8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46" name="Rectangle 304">
              <a:extLst>
                <a:ext uri="{FF2B5EF4-FFF2-40B4-BE49-F238E27FC236}">
                  <a16:creationId xmlns:a16="http://schemas.microsoft.com/office/drawing/2014/main" id="{992C8298-8B24-490A-B4B8-E5575781B6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0" y="2701"/>
              <a:ext cx="83" cy="8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47" name="Rectangle 305">
              <a:extLst>
                <a:ext uri="{FF2B5EF4-FFF2-40B4-BE49-F238E27FC236}">
                  <a16:creationId xmlns:a16="http://schemas.microsoft.com/office/drawing/2014/main" id="{F843B17B-6240-4DAB-90E2-B1A32B453A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3" y="3205"/>
              <a:ext cx="84" cy="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48" name="Rectangle 306">
              <a:extLst>
                <a:ext uri="{FF2B5EF4-FFF2-40B4-BE49-F238E27FC236}">
                  <a16:creationId xmlns:a16="http://schemas.microsoft.com/office/drawing/2014/main" id="{D162CBCA-3505-4E16-ABA2-7FCCC20FBA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1" y="2534"/>
              <a:ext cx="83" cy="8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49" name="Rectangle 307">
              <a:extLst>
                <a:ext uri="{FF2B5EF4-FFF2-40B4-BE49-F238E27FC236}">
                  <a16:creationId xmlns:a16="http://schemas.microsoft.com/office/drawing/2014/main" id="{F3E11125-D7A3-48C4-8151-E84DA2E6A2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7" y="2534"/>
              <a:ext cx="84" cy="8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50" name="Rectangle 308">
              <a:extLst>
                <a:ext uri="{FF2B5EF4-FFF2-40B4-BE49-F238E27FC236}">
                  <a16:creationId xmlns:a16="http://schemas.microsoft.com/office/drawing/2014/main" id="{3019982E-510E-4F5C-B58B-649A2EBAF6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61" y="3205"/>
              <a:ext cx="86" cy="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51" name="Rectangle 309">
              <a:extLst>
                <a:ext uri="{FF2B5EF4-FFF2-40B4-BE49-F238E27FC236}">
                  <a16:creationId xmlns:a16="http://schemas.microsoft.com/office/drawing/2014/main" id="{6C9C5FF5-BAA9-4FA5-8CB1-7785573E76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9" y="2199"/>
              <a:ext cx="83" cy="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52" name="Rectangle 310">
              <a:extLst>
                <a:ext uri="{FF2B5EF4-FFF2-40B4-BE49-F238E27FC236}">
                  <a16:creationId xmlns:a16="http://schemas.microsoft.com/office/drawing/2014/main" id="{A09D91E4-93BA-4B35-8F7E-2431177F74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8" y="2029"/>
              <a:ext cx="83" cy="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53" name="Rectangle 311">
              <a:extLst>
                <a:ext uri="{FF2B5EF4-FFF2-40B4-BE49-F238E27FC236}">
                  <a16:creationId xmlns:a16="http://schemas.microsoft.com/office/drawing/2014/main" id="{FAE71DE9-8D1D-4B82-B23C-481082E066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94" y="2029"/>
              <a:ext cx="84" cy="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54" name="Rectangle 312">
              <a:extLst>
                <a:ext uri="{FF2B5EF4-FFF2-40B4-BE49-F238E27FC236}">
                  <a16:creationId xmlns:a16="http://schemas.microsoft.com/office/drawing/2014/main" id="{B094B2F6-CD27-4979-BEA0-083BDB8AE1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3" y="1528"/>
              <a:ext cx="84" cy="8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55" name="Rectangle 313">
              <a:extLst>
                <a:ext uri="{FF2B5EF4-FFF2-40B4-BE49-F238E27FC236}">
                  <a16:creationId xmlns:a16="http://schemas.microsoft.com/office/drawing/2014/main" id="{49E14054-99A4-4DA5-998A-296ADEAC12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0" y="1528"/>
              <a:ext cx="83" cy="8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56" name="Rectangle 314">
              <a:extLst>
                <a:ext uri="{FF2B5EF4-FFF2-40B4-BE49-F238E27FC236}">
                  <a16:creationId xmlns:a16="http://schemas.microsoft.com/office/drawing/2014/main" id="{EBD65BC7-7F1D-4500-B4E8-14BFB117C0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6" y="1190"/>
              <a:ext cx="84" cy="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57" name="Rectangle 315">
              <a:extLst>
                <a:ext uri="{FF2B5EF4-FFF2-40B4-BE49-F238E27FC236}">
                  <a16:creationId xmlns:a16="http://schemas.microsoft.com/office/drawing/2014/main" id="{0BA557B7-93E8-47BA-882F-66B450E395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10" y="1190"/>
              <a:ext cx="84" cy="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58" name="Rectangle 316">
              <a:extLst>
                <a:ext uri="{FF2B5EF4-FFF2-40B4-BE49-F238E27FC236}">
                  <a16:creationId xmlns:a16="http://schemas.microsoft.com/office/drawing/2014/main" id="{2AE1FCA5-F5CC-448A-8179-3D89A0524A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9" y="1862"/>
              <a:ext cx="84" cy="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59" name="Rectangle 317">
              <a:extLst>
                <a:ext uri="{FF2B5EF4-FFF2-40B4-BE49-F238E27FC236}">
                  <a16:creationId xmlns:a16="http://schemas.microsoft.com/office/drawing/2014/main" id="{93372E7D-6690-4DCD-B031-A773CF1BB1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6" y="2199"/>
              <a:ext cx="84" cy="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60" name="Rectangle 318">
              <a:extLst>
                <a:ext uri="{FF2B5EF4-FFF2-40B4-BE49-F238E27FC236}">
                  <a16:creationId xmlns:a16="http://schemas.microsoft.com/office/drawing/2014/main" id="{FF43E11C-DB8D-4F9B-AAC8-507FB35ADD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1" y="1528"/>
              <a:ext cx="84" cy="8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61" name="Rectangle 319">
              <a:extLst>
                <a:ext uri="{FF2B5EF4-FFF2-40B4-BE49-F238E27FC236}">
                  <a16:creationId xmlns:a16="http://schemas.microsoft.com/office/drawing/2014/main" id="{DADC1073-9D00-43D9-9DE9-27D94AB03E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2" y="1528"/>
              <a:ext cx="84" cy="8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62" name="Rectangle 320">
              <a:extLst>
                <a:ext uri="{FF2B5EF4-FFF2-40B4-BE49-F238E27FC236}">
                  <a16:creationId xmlns:a16="http://schemas.microsoft.com/office/drawing/2014/main" id="{67A7BE57-118A-4501-8F7D-257E60ABE0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3" y="1190"/>
              <a:ext cx="84" cy="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63" name="Rectangle 321">
              <a:extLst>
                <a:ext uri="{FF2B5EF4-FFF2-40B4-BE49-F238E27FC236}">
                  <a16:creationId xmlns:a16="http://schemas.microsoft.com/office/drawing/2014/main" id="{BC6A7BC1-C562-4F7E-8DC9-2CEF08B1D3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94" y="1190"/>
              <a:ext cx="84" cy="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64" name="Rectangle 322">
              <a:extLst>
                <a:ext uri="{FF2B5EF4-FFF2-40B4-BE49-F238E27FC236}">
                  <a16:creationId xmlns:a16="http://schemas.microsoft.com/office/drawing/2014/main" id="{082FECB9-265C-4E77-B680-E8A5916A01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1" y="1528"/>
              <a:ext cx="83" cy="8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65" name="Rectangle 323">
              <a:extLst>
                <a:ext uri="{FF2B5EF4-FFF2-40B4-BE49-F238E27FC236}">
                  <a16:creationId xmlns:a16="http://schemas.microsoft.com/office/drawing/2014/main" id="{F50720CA-C588-4CD6-946C-418BA62191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8" y="1528"/>
              <a:ext cx="83" cy="8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66" name="Rectangle 324">
              <a:extLst>
                <a:ext uri="{FF2B5EF4-FFF2-40B4-BE49-F238E27FC236}">
                  <a16:creationId xmlns:a16="http://schemas.microsoft.com/office/drawing/2014/main" id="{C18DFD59-A9C5-4763-AB58-F64115CD0A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24" y="2029"/>
              <a:ext cx="86" cy="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67" name="Rectangle 325">
              <a:extLst>
                <a:ext uri="{FF2B5EF4-FFF2-40B4-BE49-F238E27FC236}">
                  <a16:creationId xmlns:a16="http://schemas.microsoft.com/office/drawing/2014/main" id="{5704BB36-C7B5-4A9D-8C8A-686768932B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1" y="1544"/>
              <a:ext cx="49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68" name="Rectangle 326">
              <a:extLst>
                <a:ext uri="{FF2B5EF4-FFF2-40B4-BE49-F238E27FC236}">
                  <a16:creationId xmlns:a16="http://schemas.microsoft.com/office/drawing/2014/main" id="{2B111360-7DE9-4233-AC29-37C0E96D46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2" y="1544"/>
              <a:ext cx="51" cy="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69" name="Freeform 327">
              <a:extLst>
                <a:ext uri="{FF2B5EF4-FFF2-40B4-BE49-F238E27FC236}">
                  <a16:creationId xmlns:a16="http://schemas.microsoft.com/office/drawing/2014/main" id="{37A6A232-6130-4C8D-BD3C-262952E418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3" y="1190"/>
              <a:ext cx="83" cy="84"/>
            </a:xfrm>
            <a:custGeom>
              <a:avLst/>
              <a:gdLst>
                <a:gd name="T0" fmla="*/ 0 w 83"/>
                <a:gd name="T1" fmla="*/ 0 h 84"/>
                <a:gd name="T2" fmla="*/ 0 w 83"/>
                <a:gd name="T3" fmla="*/ 84 h 84"/>
                <a:gd name="T4" fmla="*/ 83 w 83"/>
                <a:gd name="T5" fmla="*/ 84 h 84"/>
                <a:gd name="T6" fmla="*/ 83 w 83"/>
                <a:gd name="T7" fmla="*/ 0 h 84"/>
                <a:gd name="T8" fmla="*/ 0 w 83"/>
                <a:gd name="T9" fmla="*/ 0 h 84"/>
                <a:gd name="T10" fmla="*/ 64 w 83"/>
                <a:gd name="T11" fmla="*/ 68 h 84"/>
                <a:gd name="T12" fmla="*/ 16 w 83"/>
                <a:gd name="T13" fmla="*/ 68 h 84"/>
                <a:gd name="T14" fmla="*/ 16 w 83"/>
                <a:gd name="T15" fmla="*/ 19 h 84"/>
                <a:gd name="T16" fmla="*/ 64 w 83"/>
                <a:gd name="T17" fmla="*/ 19 h 84"/>
                <a:gd name="T18" fmla="*/ 64 w 83"/>
                <a:gd name="T19" fmla="*/ 6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0" y="0"/>
                  </a:moveTo>
                  <a:lnTo>
                    <a:pt x="0" y="84"/>
                  </a:lnTo>
                  <a:lnTo>
                    <a:pt x="83" y="84"/>
                  </a:lnTo>
                  <a:lnTo>
                    <a:pt x="83" y="0"/>
                  </a:lnTo>
                  <a:lnTo>
                    <a:pt x="0" y="0"/>
                  </a:lnTo>
                  <a:close/>
                  <a:moveTo>
                    <a:pt x="64" y="68"/>
                  </a:moveTo>
                  <a:lnTo>
                    <a:pt x="16" y="68"/>
                  </a:lnTo>
                  <a:lnTo>
                    <a:pt x="16" y="19"/>
                  </a:lnTo>
                  <a:lnTo>
                    <a:pt x="64" y="19"/>
                  </a:lnTo>
                  <a:lnTo>
                    <a:pt x="64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70" name="Freeform 328">
              <a:extLst>
                <a:ext uri="{FF2B5EF4-FFF2-40B4-BE49-F238E27FC236}">
                  <a16:creationId xmlns:a16="http://schemas.microsoft.com/office/drawing/2014/main" id="{E3D33D08-9414-4E9C-9F74-BC7F80D631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3" y="1190"/>
              <a:ext cx="83" cy="87"/>
            </a:xfrm>
            <a:custGeom>
              <a:avLst/>
              <a:gdLst>
                <a:gd name="T0" fmla="*/ 0 w 83"/>
                <a:gd name="T1" fmla="*/ 0 h 87"/>
                <a:gd name="T2" fmla="*/ 0 w 83"/>
                <a:gd name="T3" fmla="*/ 87 h 87"/>
                <a:gd name="T4" fmla="*/ 83 w 83"/>
                <a:gd name="T5" fmla="*/ 87 h 87"/>
                <a:gd name="T6" fmla="*/ 83 w 83"/>
                <a:gd name="T7" fmla="*/ 0 h 87"/>
                <a:gd name="T8" fmla="*/ 0 w 83"/>
                <a:gd name="T9" fmla="*/ 0 h 87"/>
                <a:gd name="T10" fmla="*/ 67 w 83"/>
                <a:gd name="T11" fmla="*/ 68 h 87"/>
                <a:gd name="T12" fmla="*/ 18 w 83"/>
                <a:gd name="T13" fmla="*/ 68 h 87"/>
                <a:gd name="T14" fmla="*/ 18 w 83"/>
                <a:gd name="T15" fmla="*/ 19 h 87"/>
                <a:gd name="T16" fmla="*/ 67 w 83"/>
                <a:gd name="T17" fmla="*/ 19 h 87"/>
                <a:gd name="T18" fmla="*/ 67 w 83"/>
                <a:gd name="T19" fmla="*/ 68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7">
                  <a:moveTo>
                    <a:pt x="0" y="0"/>
                  </a:moveTo>
                  <a:lnTo>
                    <a:pt x="0" y="87"/>
                  </a:lnTo>
                  <a:lnTo>
                    <a:pt x="83" y="87"/>
                  </a:lnTo>
                  <a:lnTo>
                    <a:pt x="83" y="0"/>
                  </a:lnTo>
                  <a:lnTo>
                    <a:pt x="0" y="0"/>
                  </a:lnTo>
                  <a:close/>
                  <a:moveTo>
                    <a:pt x="67" y="68"/>
                  </a:moveTo>
                  <a:lnTo>
                    <a:pt x="18" y="68"/>
                  </a:lnTo>
                  <a:lnTo>
                    <a:pt x="18" y="19"/>
                  </a:lnTo>
                  <a:lnTo>
                    <a:pt x="67" y="19"/>
                  </a:lnTo>
                  <a:lnTo>
                    <a:pt x="67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71" name="Freeform 329">
              <a:extLst>
                <a:ext uri="{FF2B5EF4-FFF2-40B4-BE49-F238E27FC236}">
                  <a16:creationId xmlns:a16="http://schemas.microsoft.com/office/drawing/2014/main" id="{E99B1EDF-C2C1-4DD1-B027-FAD4DD74D4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9" y="1528"/>
              <a:ext cx="83" cy="83"/>
            </a:xfrm>
            <a:custGeom>
              <a:avLst/>
              <a:gdLst>
                <a:gd name="T0" fmla="*/ 0 w 83"/>
                <a:gd name="T1" fmla="*/ 0 h 83"/>
                <a:gd name="T2" fmla="*/ 0 w 83"/>
                <a:gd name="T3" fmla="*/ 83 h 83"/>
                <a:gd name="T4" fmla="*/ 83 w 83"/>
                <a:gd name="T5" fmla="*/ 83 h 83"/>
                <a:gd name="T6" fmla="*/ 83 w 83"/>
                <a:gd name="T7" fmla="*/ 0 h 83"/>
                <a:gd name="T8" fmla="*/ 0 w 83"/>
                <a:gd name="T9" fmla="*/ 0 h 83"/>
                <a:gd name="T10" fmla="*/ 64 w 83"/>
                <a:gd name="T11" fmla="*/ 64 h 83"/>
                <a:gd name="T12" fmla="*/ 16 w 83"/>
                <a:gd name="T13" fmla="*/ 64 h 83"/>
                <a:gd name="T14" fmla="*/ 16 w 83"/>
                <a:gd name="T15" fmla="*/ 16 h 83"/>
                <a:gd name="T16" fmla="*/ 64 w 83"/>
                <a:gd name="T17" fmla="*/ 16 h 83"/>
                <a:gd name="T18" fmla="*/ 64 w 83"/>
                <a:gd name="T19" fmla="*/ 64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3">
                  <a:moveTo>
                    <a:pt x="0" y="0"/>
                  </a:moveTo>
                  <a:lnTo>
                    <a:pt x="0" y="83"/>
                  </a:lnTo>
                  <a:lnTo>
                    <a:pt x="83" y="83"/>
                  </a:lnTo>
                  <a:lnTo>
                    <a:pt x="83" y="0"/>
                  </a:lnTo>
                  <a:lnTo>
                    <a:pt x="0" y="0"/>
                  </a:lnTo>
                  <a:close/>
                  <a:moveTo>
                    <a:pt x="64" y="64"/>
                  </a:moveTo>
                  <a:lnTo>
                    <a:pt x="16" y="64"/>
                  </a:lnTo>
                  <a:lnTo>
                    <a:pt x="16" y="16"/>
                  </a:lnTo>
                  <a:lnTo>
                    <a:pt x="64" y="16"/>
                  </a:lnTo>
                  <a:lnTo>
                    <a:pt x="64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72" name="Freeform 330">
              <a:extLst>
                <a:ext uri="{FF2B5EF4-FFF2-40B4-BE49-F238E27FC236}">
                  <a16:creationId xmlns:a16="http://schemas.microsoft.com/office/drawing/2014/main" id="{9004FFEA-982C-4708-9508-85AB9607E4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0" y="2029"/>
              <a:ext cx="83" cy="84"/>
            </a:xfrm>
            <a:custGeom>
              <a:avLst/>
              <a:gdLst>
                <a:gd name="T0" fmla="*/ 0 w 83"/>
                <a:gd name="T1" fmla="*/ 0 h 84"/>
                <a:gd name="T2" fmla="*/ 0 w 83"/>
                <a:gd name="T3" fmla="*/ 84 h 84"/>
                <a:gd name="T4" fmla="*/ 83 w 83"/>
                <a:gd name="T5" fmla="*/ 84 h 84"/>
                <a:gd name="T6" fmla="*/ 83 w 83"/>
                <a:gd name="T7" fmla="*/ 0 h 84"/>
                <a:gd name="T8" fmla="*/ 0 w 83"/>
                <a:gd name="T9" fmla="*/ 0 h 84"/>
                <a:gd name="T10" fmla="*/ 67 w 83"/>
                <a:gd name="T11" fmla="*/ 68 h 84"/>
                <a:gd name="T12" fmla="*/ 18 w 83"/>
                <a:gd name="T13" fmla="*/ 68 h 84"/>
                <a:gd name="T14" fmla="*/ 18 w 83"/>
                <a:gd name="T15" fmla="*/ 19 h 84"/>
                <a:gd name="T16" fmla="*/ 67 w 83"/>
                <a:gd name="T17" fmla="*/ 19 h 84"/>
                <a:gd name="T18" fmla="*/ 67 w 83"/>
                <a:gd name="T19" fmla="*/ 6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0" y="0"/>
                  </a:moveTo>
                  <a:lnTo>
                    <a:pt x="0" y="84"/>
                  </a:lnTo>
                  <a:lnTo>
                    <a:pt x="83" y="84"/>
                  </a:lnTo>
                  <a:lnTo>
                    <a:pt x="83" y="0"/>
                  </a:lnTo>
                  <a:lnTo>
                    <a:pt x="0" y="0"/>
                  </a:lnTo>
                  <a:close/>
                  <a:moveTo>
                    <a:pt x="67" y="68"/>
                  </a:moveTo>
                  <a:lnTo>
                    <a:pt x="18" y="68"/>
                  </a:lnTo>
                  <a:lnTo>
                    <a:pt x="18" y="19"/>
                  </a:lnTo>
                  <a:lnTo>
                    <a:pt x="67" y="19"/>
                  </a:lnTo>
                  <a:lnTo>
                    <a:pt x="67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73" name="Freeform 331">
              <a:extLst>
                <a:ext uri="{FF2B5EF4-FFF2-40B4-BE49-F238E27FC236}">
                  <a16:creationId xmlns:a16="http://schemas.microsoft.com/office/drawing/2014/main" id="{D947E8AB-4629-4AA2-AB82-9DF0ED0B56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3" y="1695"/>
              <a:ext cx="84" cy="83"/>
            </a:xfrm>
            <a:custGeom>
              <a:avLst/>
              <a:gdLst>
                <a:gd name="T0" fmla="*/ 0 w 84"/>
                <a:gd name="T1" fmla="*/ 0 h 83"/>
                <a:gd name="T2" fmla="*/ 0 w 84"/>
                <a:gd name="T3" fmla="*/ 83 h 83"/>
                <a:gd name="T4" fmla="*/ 84 w 84"/>
                <a:gd name="T5" fmla="*/ 83 h 83"/>
                <a:gd name="T6" fmla="*/ 84 w 84"/>
                <a:gd name="T7" fmla="*/ 0 h 83"/>
                <a:gd name="T8" fmla="*/ 0 w 84"/>
                <a:gd name="T9" fmla="*/ 0 h 83"/>
                <a:gd name="T10" fmla="*/ 67 w 84"/>
                <a:gd name="T11" fmla="*/ 67 h 83"/>
                <a:gd name="T12" fmla="*/ 16 w 84"/>
                <a:gd name="T13" fmla="*/ 67 h 83"/>
                <a:gd name="T14" fmla="*/ 16 w 84"/>
                <a:gd name="T15" fmla="*/ 16 h 83"/>
                <a:gd name="T16" fmla="*/ 67 w 84"/>
                <a:gd name="T17" fmla="*/ 16 h 83"/>
                <a:gd name="T18" fmla="*/ 67 w 84"/>
                <a:gd name="T19" fmla="*/ 67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3">
                  <a:moveTo>
                    <a:pt x="0" y="0"/>
                  </a:moveTo>
                  <a:lnTo>
                    <a:pt x="0" y="83"/>
                  </a:lnTo>
                  <a:lnTo>
                    <a:pt x="84" y="83"/>
                  </a:lnTo>
                  <a:lnTo>
                    <a:pt x="84" y="0"/>
                  </a:lnTo>
                  <a:lnTo>
                    <a:pt x="0" y="0"/>
                  </a:lnTo>
                  <a:close/>
                  <a:moveTo>
                    <a:pt x="67" y="67"/>
                  </a:moveTo>
                  <a:lnTo>
                    <a:pt x="16" y="67"/>
                  </a:lnTo>
                  <a:lnTo>
                    <a:pt x="16" y="16"/>
                  </a:lnTo>
                  <a:lnTo>
                    <a:pt x="67" y="16"/>
                  </a:lnTo>
                  <a:lnTo>
                    <a:pt x="67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74" name="Freeform 332">
              <a:extLst>
                <a:ext uri="{FF2B5EF4-FFF2-40B4-BE49-F238E27FC236}">
                  <a16:creationId xmlns:a16="http://schemas.microsoft.com/office/drawing/2014/main" id="{C701708E-56D2-40E0-98F5-B5864F541E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06" y="2868"/>
              <a:ext cx="83" cy="84"/>
            </a:xfrm>
            <a:custGeom>
              <a:avLst/>
              <a:gdLst>
                <a:gd name="T0" fmla="*/ 0 w 83"/>
                <a:gd name="T1" fmla="*/ 0 h 84"/>
                <a:gd name="T2" fmla="*/ 0 w 83"/>
                <a:gd name="T3" fmla="*/ 84 h 84"/>
                <a:gd name="T4" fmla="*/ 83 w 83"/>
                <a:gd name="T5" fmla="*/ 84 h 84"/>
                <a:gd name="T6" fmla="*/ 83 w 83"/>
                <a:gd name="T7" fmla="*/ 0 h 84"/>
                <a:gd name="T8" fmla="*/ 0 w 83"/>
                <a:gd name="T9" fmla="*/ 0 h 84"/>
                <a:gd name="T10" fmla="*/ 67 w 83"/>
                <a:gd name="T11" fmla="*/ 67 h 84"/>
                <a:gd name="T12" fmla="*/ 16 w 83"/>
                <a:gd name="T13" fmla="*/ 67 h 84"/>
                <a:gd name="T14" fmla="*/ 16 w 83"/>
                <a:gd name="T15" fmla="*/ 19 h 84"/>
                <a:gd name="T16" fmla="*/ 67 w 83"/>
                <a:gd name="T17" fmla="*/ 19 h 84"/>
                <a:gd name="T18" fmla="*/ 67 w 83"/>
                <a:gd name="T19" fmla="*/ 67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0" y="0"/>
                  </a:moveTo>
                  <a:lnTo>
                    <a:pt x="0" y="84"/>
                  </a:lnTo>
                  <a:lnTo>
                    <a:pt x="83" y="84"/>
                  </a:lnTo>
                  <a:lnTo>
                    <a:pt x="83" y="0"/>
                  </a:lnTo>
                  <a:lnTo>
                    <a:pt x="0" y="0"/>
                  </a:lnTo>
                  <a:close/>
                  <a:moveTo>
                    <a:pt x="67" y="67"/>
                  </a:moveTo>
                  <a:lnTo>
                    <a:pt x="16" y="67"/>
                  </a:lnTo>
                  <a:lnTo>
                    <a:pt x="16" y="19"/>
                  </a:lnTo>
                  <a:lnTo>
                    <a:pt x="67" y="19"/>
                  </a:lnTo>
                  <a:lnTo>
                    <a:pt x="67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75" name="Freeform 333">
              <a:extLst>
                <a:ext uri="{FF2B5EF4-FFF2-40B4-BE49-F238E27FC236}">
                  <a16:creationId xmlns:a16="http://schemas.microsoft.com/office/drawing/2014/main" id="{284D3EE0-F766-429A-BC77-089144B3D8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" y="2701"/>
              <a:ext cx="84" cy="83"/>
            </a:xfrm>
            <a:custGeom>
              <a:avLst/>
              <a:gdLst>
                <a:gd name="T0" fmla="*/ 0 w 84"/>
                <a:gd name="T1" fmla="*/ 0 h 83"/>
                <a:gd name="T2" fmla="*/ 0 w 84"/>
                <a:gd name="T3" fmla="*/ 83 h 83"/>
                <a:gd name="T4" fmla="*/ 84 w 84"/>
                <a:gd name="T5" fmla="*/ 83 h 83"/>
                <a:gd name="T6" fmla="*/ 84 w 84"/>
                <a:gd name="T7" fmla="*/ 0 h 83"/>
                <a:gd name="T8" fmla="*/ 0 w 84"/>
                <a:gd name="T9" fmla="*/ 0 h 83"/>
                <a:gd name="T10" fmla="*/ 65 w 84"/>
                <a:gd name="T11" fmla="*/ 67 h 83"/>
                <a:gd name="T12" fmla="*/ 16 w 84"/>
                <a:gd name="T13" fmla="*/ 67 h 83"/>
                <a:gd name="T14" fmla="*/ 16 w 84"/>
                <a:gd name="T15" fmla="*/ 19 h 83"/>
                <a:gd name="T16" fmla="*/ 65 w 84"/>
                <a:gd name="T17" fmla="*/ 19 h 83"/>
                <a:gd name="T18" fmla="*/ 65 w 84"/>
                <a:gd name="T19" fmla="*/ 67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3">
                  <a:moveTo>
                    <a:pt x="0" y="0"/>
                  </a:moveTo>
                  <a:lnTo>
                    <a:pt x="0" y="83"/>
                  </a:lnTo>
                  <a:lnTo>
                    <a:pt x="84" y="83"/>
                  </a:lnTo>
                  <a:lnTo>
                    <a:pt x="84" y="0"/>
                  </a:lnTo>
                  <a:lnTo>
                    <a:pt x="0" y="0"/>
                  </a:lnTo>
                  <a:close/>
                  <a:moveTo>
                    <a:pt x="65" y="67"/>
                  </a:moveTo>
                  <a:lnTo>
                    <a:pt x="16" y="67"/>
                  </a:lnTo>
                  <a:lnTo>
                    <a:pt x="16" y="19"/>
                  </a:lnTo>
                  <a:lnTo>
                    <a:pt x="65" y="19"/>
                  </a:lnTo>
                  <a:lnTo>
                    <a:pt x="65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76" name="Freeform 334">
              <a:extLst>
                <a:ext uri="{FF2B5EF4-FFF2-40B4-BE49-F238E27FC236}">
                  <a16:creationId xmlns:a16="http://schemas.microsoft.com/office/drawing/2014/main" id="{EEDADA89-BD93-4EE0-938D-678C0769EB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3" y="3038"/>
              <a:ext cx="84" cy="83"/>
            </a:xfrm>
            <a:custGeom>
              <a:avLst/>
              <a:gdLst>
                <a:gd name="T0" fmla="*/ 0 w 84"/>
                <a:gd name="T1" fmla="*/ 0 h 83"/>
                <a:gd name="T2" fmla="*/ 0 w 84"/>
                <a:gd name="T3" fmla="*/ 83 h 83"/>
                <a:gd name="T4" fmla="*/ 84 w 84"/>
                <a:gd name="T5" fmla="*/ 83 h 83"/>
                <a:gd name="T6" fmla="*/ 84 w 84"/>
                <a:gd name="T7" fmla="*/ 0 h 83"/>
                <a:gd name="T8" fmla="*/ 0 w 84"/>
                <a:gd name="T9" fmla="*/ 0 h 83"/>
                <a:gd name="T10" fmla="*/ 67 w 84"/>
                <a:gd name="T11" fmla="*/ 65 h 83"/>
                <a:gd name="T12" fmla="*/ 16 w 84"/>
                <a:gd name="T13" fmla="*/ 65 h 83"/>
                <a:gd name="T14" fmla="*/ 16 w 84"/>
                <a:gd name="T15" fmla="*/ 16 h 83"/>
                <a:gd name="T16" fmla="*/ 67 w 84"/>
                <a:gd name="T17" fmla="*/ 16 h 83"/>
                <a:gd name="T18" fmla="*/ 67 w 84"/>
                <a:gd name="T19" fmla="*/ 6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3">
                  <a:moveTo>
                    <a:pt x="0" y="0"/>
                  </a:moveTo>
                  <a:lnTo>
                    <a:pt x="0" y="83"/>
                  </a:lnTo>
                  <a:lnTo>
                    <a:pt x="84" y="83"/>
                  </a:lnTo>
                  <a:lnTo>
                    <a:pt x="84" y="0"/>
                  </a:lnTo>
                  <a:lnTo>
                    <a:pt x="0" y="0"/>
                  </a:lnTo>
                  <a:close/>
                  <a:moveTo>
                    <a:pt x="67" y="65"/>
                  </a:moveTo>
                  <a:lnTo>
                    <a:pt x="16" y="65"/>
                  </a:lnTo>
                  <a:lnTo>
                    <a:pt x="16" y="16"/>
                  </a:lnTo>
                  <a:lnTo>
                    <a:pt x="67" y="16"/>
                  </a:lnTo>
                  <a:lnTo>
                    <a:pt x="67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77" name="Freeform 335">
              <a:extLst>
                <a:ext uri="{FF2B5EF4-FFF2-40B4-BE49-F238E27FC236}">
                  <a16:creationId xmlns:a16="http://schemas.microsoft.com/office/drawing/2014/main" id="{44708EC5-DF17-4957-A25F-66E3E80F9C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77" y="2701"/>
              <a:ext cx="84" cy="83"/>
            </a:xfrm>
            <a:custGeom>
              <a:avLst/>
              <a:gdLst>
                <a:gd name="T0" fmla="*/ 0 w 84"/>
                <a:gd name="T1" fmla="*/ 0 h 83"/>
                <a:gd name="T2" fmla="*/ 0 w 84"/>
                <a:gd name="T3" fmla="*/ 83 h 83"/>
                <a:gd name="T4" fmla="*/ 84 w 84"/>
                <a:gd name="T5" fmla="*/ 83 h 83"/>
                <a:gd name="T6" fmla="*/ 84 w 84"/>
                <a:gd name="T7" fmla="*/ 0 h 83"/>
                <a:gd name="T8" fmla="*/ 0 w 84"/>
                <a:gd name="T9" fmla="*/ 0 h 83"/>
                <a:gd name="T10" fmla="*/ 67 w 84"/>
                <a:gd name="T11" fmla="*/ 67 h 83"/>
                <a:gd name="T12" fmla="*/ 19 w 84"/>
                <a:gd name="T13" fmla="*/ 67 h 83"/>
                <a:gd name="T14" fmla="*/ 19 w 84"/>
                <a:gd name="T15" fmla="*/ 19 h 83"/>
                <a:gd name="T16" fmla="*/ 67 w 84"/>
                <a:gd name="T17" fmla="*/ 19 h 83"/>
                <a:gd name="T18" fmla="*/ 67 w 84"/>
                <a:gd name="T19" fmla="*/ 67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3">
                  <a:moveTo>
                    <a:pt x="0" y="0"/>
                  </a:moveTo>
                  <a:lnTo>
                    <a:pt x="0" y="83"/>
                  </a:lnTo>
                  <a:lnTo>
                    <a:pt x="84" y="83"/>
                  </a:lnTo>
                  <a:lnTo>
                    <a:pt x="84" y="0"/>
                  </a:lnTo>
                  <a:lnTo>
                    <a:pt x="0" y="0"/>
                  </a:lnTo>
                  <a:close/>
                  <a:moveTo>
                    <a:pt x="67" y="67"/>
                  </a:moveTo>
                  <a:lnTo>
                    <a:pt x="19" y="67"/>
                  </a:lnTo>
                  <a:lnTo>
                    <a:pt x="19" y="19"/>
                  </a:lnTo>
                  <a:lnTo>
                    <a:pt x="67" y="19"/>
                  </a:lnTo>
                  <a:lnTo>
                    <a:pt x="67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78" name="Freeform 336">
              <a:extLst>
                <a:ext uri="{FF2B5EF4-FFF2-40B4-BE49-F238E27FC236}">
                  <a16:creationId xmlns:a16="http://schemas.microsoft.com/office/drawing/2014/main" id="{305FC3A3-197B-476E-B124-F76E155CF2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52" y="2701"/>
              <a:ext cx="84" cy="83"/>
            </a:xfrm>
            <a:custGeom>
              <a:avLst/>
              <a:gdLst>
                <a:gd name="T0" fmla="*/ 0 w 84"/>
                <a:gd name="T1" fmla="*/ 0 h 83"/>
                <a:gd name="T2" fmla="*/ 0 w 84"/>
                <a:gd name="T3" fmla="*/ 83 h 83"/>
                <a:gd name="T4" fmla="*/ 84 w 84"/>
                <a:gd name="T5" fmla="*/ 83 h 83"/>
                <a:gd name="T6" fmla="*/ 84 w 84"/>
                <a:gd name="T7" fmla="*/ 0 h 83"/>
                <a:gd name="T8" fmla="*/ 0 w 84"/>
                <a:gd name="T9" fmla="*/ 0 h 83"/>
                <a:gd name="T10" fmla="*/ 67 w 84"/>
                <a:gd name="T11" fmla="*/ 67 h 83"/>
                <a:gd name="T12" fmla="*/ 19 w 84"/>
                <a:gd name="T13" fmla="*/ 67 h 83"/>
                <a:gd name="T14" fmla="*/ 19 w 84"/>
                <a:gd name="T15" fmla="*/ 19 h 83"/>
                <a:gd name="T16" fmla="*/ 67 w 84"/>
                <a:gd name="T17" fmla="*/ 19 h 83"/>
                <a:gd name="T18" fmla="*/ 67 w 84"/>
                <a:gd name="T19" fmla="*/ 67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3">
                  <a:moveTo>
                    <a:pt x="0" y="0"/>
                  </a:moveTo>
                  <a:lnTo>
                    <a:pt x="0" y="83"/>
                  </a:lnTo>
                  <a:lnTo>
                    <a:pt x="84" y="83"/>
                  </a:lnTo>
                  <a:lnTo>
                    <a:pt x="84" y="0"/>
                  </a:lnTo>
                  <a:lnTo>
                    <a:pt x="0" y="0"/>
                  </a:lnTo>
                  <a:close/>
                  <a:moveTo>
                    <a:pt x="67" y="67"/>
                  </a:moveTo>
                  <a:lnTo>
                    <a:pt x="19" y="67"/>
                  </a:lnTo>
                  <a:lnTo>
                    <a:pt x="19" y="19"/>
                  </a:lnTo>
                  <a:lnTo>
                    <a:pt x="67" y="19"/>
                  </a:lnTo>
                  <a:lnTo>
                    <a:pt x="67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79" name="Freeform 337">
              <a:extLst>
                <a:ext uri="{FF2B5EF4-FFF2-40B4-BE49-F238E27FC236}">
                  <a16:creationId xmlns:a16="http://schemas.microsoft.com/office/drawing/2014/main" id="{6FE0557C-8570-4C05-9E04-ACA86921FC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57" y="2868"/>
              <a:ext cx="83" cy="84"/>
            </a:xfrm>
            <a:custGeom>
              <a:avLst/>
              <a:gdLst>
                <a:gd name="T0" fmla="*/ 0 w 83"/>
                <a:gd name="T1" fmla="*/ 0 h 84"/>
                <a:gd name="T2" fmla="*/ 0 w 83"/>
                <a:gd name="T3" fmla="*/ 84 h 84"/>
                <a:gd name="T4" fmla="*/ 83 w 83"/>
                <a:gd name="T5" fmla="*/ 84 h 84"/>
                <a:gd name="T6" fmla="*/ 83 w 83"/>
                <a:gd name="T7" fmla="*/ 0 h 84"/>
                <a:gd name="T8" fmla="*/ 0 w 83"/>
                <a:gd name="T9" fmla="*/ 0 h 84"/>
                <a:gd name="T10" fmla="*/ 67 w 83"/>
                <a:gd name="T11" fmla="*/ 67 h 84"/>
                <a:gd name="T12" fmla="*/ 18 w 83"/>
                <a:gd name="T13" fmla="*/ 67 h 84"/>
                <a:gd name="T14" fmla="*/ 18 w 83"/>
                <a:gd name="T15" fmla="*/ 19 h 84"/>
                <a:gd name="T16" fmla="*/ 67 w 83"/>
                <a:gd name="T17" fmla="*/ 19 h 84"/>
                <a:gd name="T18" fmla="*/ 67 w 83"/>
                <a:gd name="T19" fmla="*/ 67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0" y="0"/>
                  </a:moveTo>
                  <a:lnTo>
                    <a:pt x="0" y="84"/>
                  </a:lnTo>
                  <a:lnTo>
                    <a:pt x="83" y="84"/>
                  </a:lnTo>
                  <a:lnTo>
                    <a:pt x="83" y="0"/>
                  </a:lnTo>
                  <a:lnTo>
                    <a:pt x="0" y="0"/>
                  </a:lnTo>
                  <a:close/>
                  <a:moveTo>
                    <a:pt x="67" y="67"/>
                  </a:moveTo>
                  <a:lnTo>
                    <a:pt x="18" y="67"/>
                  </a:lnTo>
                  <a:lnTo>
                    <a:pt x="18" y="19"/>
                  </a:lnTo>
                  <a:lnTo>
                    <a:pt x="67" y="19"/>
                  </a:lnTo>
                  <a:lnTo>
                    <a:pt x="67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80" name="Freeform 338">
              <a:extLst>
                <a:ext uri="{FF2B5EF4-FFF2-40B4-BE49-F238E27FC236}">
                  <a16:creationId xmlns:a16="http://schemas.microsoft.com/office/drawing/2014/main" id="{1542C158-4E4A-43C1-A313-477122E4D3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61" y="2868"/>
              <a:ext cx="86" cy="84"/>
            </a:xfrm>
            <a:custGeom>
              <a:avLst/>
              <a:gdLst>
                <a:gd name="T0" fmla="*/ 0 w 86"/>
                <a:gd name="T1" fmla="*/ 0 h 84"/>
                <a:gd name="T2" fmla="*/ 0 w 86"/>
                <a:gd name="T3" fmla="*/ 84 h 84"/>
                <a:gd name="T4" fmla="*/ 86 w 86"/>
                <a:gd name="T5" fmla="*/ 84 h 84"/>
                <a:gd name="T6" fmla="*/ 86 w 86"/>
                <a:gd name="T7" fmla="*/ 0 h 84"/>
                <a:gd name="T8" fmla="*/ 0 w 86"/>
                <a:gd name="T9" fmla="*/ 0 h 84"/>
                <a:gd name="T10" fmla="*/ 67 w 86"/>
                <a:gd name="T11" fmla="*/ 67 h 84"/>
                <a:gd name="T12" fmla="*/ 19 w 86"/>
                <a:gd name="T13" fmla="*/ 67 h 84"/>
                <a:gd name="T14" fmla="*/ 19 w 86"/>
                <a:gd name="T15" fmla="*/ 19 h 84"/>
                <a:gd name="T16" fmla="*/ 67 w 86"/>
                <a:gd name="T17" fmla="*/ 19 h 84"/>
                <a:gd name="T18" fmla="*/ 67 w 86"/>
                <a:gd name="T19" fmla="*/ 67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6" h="84">
                  <a:moveTo>
                    <a:pt x="0" y="0"/>
                  </a:moveTo>
                  <a:lnTo>
                    <a:pt x="0" y="84"/>
                  </a:lnTo>
                  <a:lnTo>
                    <a:pt x="86" y="84"/>
                  </a:lnTo>
                  <a:lnTo>
                    <a:pt x="86" y="0"/>
                  </a:lnTo>
                  <a:lnTo>
                    <a:pt x="0" y="0"/>
                  </a:lnTo>
                  <a:close/>
                  <a:moveTo>
                    <a:pt x="67" y="67"/>
                  </a:moveTo>
                  <a:lnTo>
                    <a:pt x="19" y="67"/>
                  </a:lnTo>
                  <a:lnTo>
                    <a:pt x="19" y="19"/>
                  </a:lnTo>
                  <a:lnTo>
                    <a:pt x="67" y="19"/>
                  </a:lnTo>
                  <a:lnTo>
                    <a:pt x="67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81" name="Freeform 339">
              <a:extLst>
                <a:ext uri="{FF2B5EF4-FFF2-40B4-BE49-F238E27FC236}">
                  <a16:creationId xmlns:a16="http://schemas.microsoft.com/office/drawing/2014/main" id="{1FFCE179-694F-4B64-A7E4-7B23A2AB57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1" y="2029"/>
              <a:ext cx="83" cy="84"/>
            </a:xfrm>
            <a:custGeom>
              <a:avLst/>
              <a:gdLst>
                <a:gd name="T0" fmla="*/ 0 w 83"/>
                <a:gd name="T1" fmla="*/ 0 h 84"/>
                <a:gd name="T2" fmla="*/ 0 w 83"/>
                <a:gd name="T3" fmla="*/ 84 h 84"/>
                <a:gd name="T4" fmla="*/ 83 w 83"/>
                <a:gd name="T5" fmla="*/ 84 h 84"/>
                <a:gd name="T6" fmla="*/ 83 w 83"/>
                <a:gd name="T7" fmla="*/ 0 h 84"/>
                <a:gd name="T8" fmla="*/ 0 w 83"/>
                <a:gd name="T9" fmla="*/ 0 h 84"/>
                <a:gd name="T10" fmla="*/ 64 w 83"/>
                <a:gd name="T11" fmla="*/ 68 h 84"/>
                <a:gd name="T12" fmla="*/ 16 w 83"/>
                <a:gd name="T13" fmla="*/ 68 h 84"/>
                <a:gd name="T14" fmla="*/ 16 w 83"/>
                <a:gd name="T15" fmla="*/ 19 h 84"/>
                <a:gd name="T16" fmla="*/ 64 w 83"/>
                <a:gd name="T17" fmla="*/ 19 h 84"/>
                <a:gd name="T18" fmla="*/ 64 w 83"/>
                <a:gd name="T19" fmla="*/ 6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0" y="0"/>
                  </a:moveTo>
                  <a:lnTo>
                    <a:pt x="0" y="84"/>
                  </a:lnTo>
                  <a:lnTo>
                    <a:pt x="83" y="84"/>
                  </a:lnTo>
                  <a:lnTo>
                    <a:pt x="83" y="0"/>
                  </a:lnTo>
                  <a:lnTo>
                    <a:pt x="0" y="0"/>
                  </a:lnTo>
                  <a:close/>
                  <a:moveTo>
                    <a:pt x="64" y="68"/>
                  </a:moveTo>
                  <a:lnTo>
                    <a:pt x="16" y="68"/>
                  </a:lnTo>
                  <a:lnTo>
                    <a:pt x="16" y="19"/>
                  </a:lnTo>
                  <a:lnTo>
                    <a:pt x="64" y="19"/>
                  </a:lnTo>
                  <a:lnTo>
                    <a:pt x="64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82" name="Freeform 340">
              <a:extLst>
                <a:ext uri="{FF2B5EF4-FFF2-40B4-BE49-F238E27FC236}">
                  <a16:creationId xmlns:a16="http://schemas.microsoft.com/office/drawing/2014/main" id="{234D8436-DD8A-4345-BFA3-6DA7662E92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65" y="2199"/>
              <a:ext cx="83" cy="84"/>
            </a:xfrm>
            <a:custGeom>
              <a:avLst/>
              <a:gdLst>
                <a:gd name="T0" fmla="*/ 0 w 83"/>
                <a:gd name="T1" fmla="*/ 0 h 84"/>
                <a:gd name="T2" fmla="*/ 0 w 83"/>
                <a:gd name="T3" fmla="*/ 84 h 84"/>
                <a:gd name="T4" fmla="*/ 83 w 83"/>
                <a:gd name="T5" fmla="*/ 84 h 84"/>
                <a:gd name="T6" fmla="*/ 83 w 83"/>
                <a:gd name="T7" fmla="*/ 0 h 84"/>
                <a:gd name="T8" fmla="*/ 0 w 83"/>
                <a:gd name="T9" fmla="*/ 0 h 84"/>
                <a:gd name="T10" fmla="*/ 67 w 83"/>
                <a:gd name="T11" fmla="*/ 65 h 84"/>
                <a:gd name="T12" fmla="*/ 16 w 83"/>
                <a:gd name="T13" fmla="*/ 65 h 84"/>
                <a:gd name="T14" fmla="*/ 16 w 83"/>
                <a:gd name="T15" fmla="*/ 16 h 84"/>
                <a:gd name="T16" fmla="*/ 67 w 83"/>
                <a:gd name="T17" fmla="*/ 16 h 84"/>
                <a:gd name="T18" fmla="*/ 67 w 83"/>
                <a:gd name="T19" fmla="*/ 6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0" y="0"/>
                  </a:moveTo>
                  <a:lnTo>
                    <a:pt x="0" y="84"/>
                  </a:lnTo>
                  <a:lnTo>
                    <a:pt x="83" y="84"/>
                  </a:lnTo>
                  <a:lnTo>
                    <a:pt x="83" y="0"/>
                  </a:lnTo>
                  <a:lnTo>
                    <a:pt x="0" y="0"/>
                  </a:lnTo>
                  <a:close/>
                  <a:moveTo>
                    <a:pt x="67" y="65"/>
                  </a:moveTo>
                  <a:lnTo>
                    <a:pt x="16" y="65"/>
                  </a:lnTo>
                  <a:lnTo>
                    <a:pt x="16" y="16"/>
                  </a:lnTo>
                  <a:lnTo>
                    <a:pt x="67" y="16"/>
                  </a:lnTo>
                  <a:lnTo>
                    <a:pt x="67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83" name="Freeform 341">
              <a:extLst>
                <a:ext uri="{FF2B5EF4-FFF2-40B4-BE49-F238E27FC236}">
                  <a16:creationId xmlns:a16="http://schemas.microsoft.com/office/drawing/2014/main" id="{C589ABCB-8344-49B3-AD54-F21AAC307A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98" y="3038"/>
              <a:ext cx="83" cy="83"/>
            </a:xfrm>
            <a:custGeom>
              <a:avLst/>
              <a:gdLst>
                <a:gd name="T0" fmla="*/ 0 w 83"/>
                <a:gd name="T1" fmla="*/ 0 h 83"/>
                <a:gd name="T2" fmla="*/ 0 w 83"/>
                <a:gd name="T3" fmla="*/ 83 h 83"/>
                <a:gd name="T4" fmla="*/ 83 w 83"/>
                <a:gd name="T5" fmla="*/ 83 h 83"/>
                <a:gd name="T6" fmla="*/ 83 w 83"/>
                <a:gd name="T7" fmla="*/ 0 h 83"/>
                <a:gd name="T8" fmla="*/ 0 w 83"/>
                <a:gd name="T9" fmla="*/ 0 h 83"/>
                <a:gd name="T10" fmla="*/ 64 w 83"/>
                <a:gd name="T11" fmla="*/ 65 h 83"/>
                <a:gd name="T12" fmla="*/ 16 w 83"/>
                <a:gd name="T13" fmla="*/ 65 h 83"/>
                <a:gd name="T14" fmla="*/ 16 w 83"/>
                <a:gd name="T15" fmla="*/ 16 h 83"/>
                <a:gd name="T16" fmla="*/ 64 w 83"/>
                <a:gd name="T17" fmla="*/ 16 h 83"/>
                <a:gd name="T18" fmla="*/ 64 w 83"/>
                <a:gd name="T19" fmla="*/ 6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3">
                  <a:moveTo>
                    <a:pt x="0" y="0"/>
                  </a:moveTo>
                  <a:lnTo>
                    <a:pt x="0" y="83"/>
                  </a:lnTo>
                  <a:lnTo>
                    <a:pt x="83" y="83"/>
                  </a:lnTo>
                  <a:lnTo>
                    <a:pt x="83" y="0"/>
                  </a:lnTo>
                  <a:lnTo>
                    <a:pt x="0" y="0"/>
                  </a:lnTo>
                  <a:close/>
                  <a:moveTo>
                    <a:pt x="64" y="65"/>
                  </a:moveTo>
                  <a:lnTo>
                    <a:pt x="16" y="65"/>
                  </a:lnTo>
                  <a:lnTo>
                    <a:pt x="16" y="16"/>
                  </a:lnTo>
                  <a:lnTo>
                    <a:pt x="64" y="16"/>
                  </a:lnTo>
                  <a:lnTo>
                    <a:pt x="64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84" name="Freeform 342">
              <a:extLst>
                <a:ext uri="{FF2B5EF4-FFF2-40B4-BE49-F238E27FC236}">
                  <a16:creationId xmlns:a16="http://schemas.microsoft.com/office/drawing/2014/main" id="{5285BD46-8C92-4F22-AE7C-B5F01604A3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61" y="1360"/>
              <a:ext cx="86" cy="84"/>
            </a:xfrm>
            <a:custGeom>
              <a:avLst/>
              <a:gdLst>
                <a:gd name="T0" fmla="*/ 0 w 86"/>
                <a:gd name="T1" fmla="*/ 0 h 84"/>
                <a:gd name="T2" fmla="*/ 0 w 86"/>
                <a:gd name="T3" fmla="*/ 84 h 84"/>
                <a:gd name="T4" fmla="*/ 86 w 86"/>
                <a:gd name="T5" fmla="*/ 84 h 84"/>
                <a:gd name="T6" fmla="*/ 86 w 86"/>
                <a:gd name="T7" fmla="*/ 0 h 84"/>
                <a:gd name="T8" fmla="*/ 0 w 86"/>
                <a:gd name="T9" fmla="*/ 0 h 84"/>
                <a:gd name="T10" fmla="*/ 67 w 86"/>
                <a:gd name="T11" fmla="*/ 65 h 84"/>
                <a:gd name="T12" fmla="*/ 19 w 86"/>
                <a:gd name="T13" fmla="*/ 65 h 84"/>
                <a:gd name="T14" fmla="*/ 19 w 86"/>
                <a:gd name="T15" fmla="*/ 17 h 84"/>
                <a:gd name="T16" fmla="*/ 67 w 86"/>
                <a:gd name="T17" fmla="*/ 17 h 84"/>
                <a:gd name="T18" fmla="*/ 67 w 86"/>
                <a:gd name="T19" fmla="*/ 6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6" h="84">
                  <a:moveTo>
                    <a:pt x="0" y="0"/>
                  </a:moveTo>
                  <a:lnTo>
                    <a:pt x="0" y="84"/>
                  </a:lnTo>
                  <a:lnTo>
                    <a:pt x="86" y="84"/>
                  </a:lnTo>
                  <a:lnTo>
                    <a:pt x="86" y="0"/>
                  </a:lnTo>
                  <a:lnTo>
                    <a:pt x="0" y="0"/>
                  </a:lnTo>
                  <a:close/>
                  <a:moveTo>
                    <a:pt x="67" y="65"/>
                  </a:moveTo>
                  <a:lnTo>
                    <a:pt x="19" y="65"/>
                  </a:lnTo>
                  <a:lnTo>
                    <a:pt x="19" y="17"/>
                  </a:lnTo>
                  <a:lnTo>
                    <a:pt x="67" y="17"/>
                  </a:lnTo>
                  <a:lnTo>
                    <a:pt x="67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85" name="Freeform 343">
              <a:extLst>
                <a:ext uri="{FF2B5EF4-FFF2-40B4-BE49-F238E27FC236}">
                  <a16:creationId xmlns:a16="http://schemas.microsoft.com/office/drawing/2014/main" id="{6F6D1E4D-564D-47A3-AF0A-A98F0C1162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27" y="1695"/>
              <a:ext cx="84" cy="83"/>
            </a:xfrm>
            <a:custGeom>
              <a:avLst/>
              <a:gdLst>
                <a:gd name="T0" fmla="*/ 0 w 84"/>
                <a:gd name="T1" fmla="*/ 0 h 83"/>
                <a:gd name="T2" fmla="*/ 0 w 84"/>
                <a:gd name="T3" fmla="*/ 83 h 83"/>
                <a:gd name="T4" fmla="*/ 84 w 84"/>
                <a:gd name="T5" fmla="*/ 83 h 83"/>
                <a:gd name="T6" fmla="*/ 84 w 84"/>
                <a:gd name="T7" fmla="*/ 0 h 83"/>
                <a:gd name="T8" fmla="*/ 0 w 84"/>
                <a:gd name="T9" fmla="*/ 0 h 83"/>
                <a:gd name="T10" fmla="*/ 67 w 84"/>
                <a:gd name="T11" fmla="*/ 67 h 83"/>
                <a:gd name="T12" fmla="*/ 19 w 84"/>
                <a:gd name="T13" fmla="*/ 67 h 83"/>
                <a:gd name="T14" fmla="*/ 19 w 84"/>
                <a:gd name="T15" fmla="*/ 16 h 83"/>
                <a:gd name="T16" fmla="*/ 67 w 84"/>
                <a:gd name="T17" fmla="*/ 16 h 83"/>
                <a:gd name="T18" fmla="*/ 67 w 84"/>
                <a:gd name="T19" fmla="*/ 67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3">
                  <a:moveTo>
                    <a:pt x="0" y="0"/>
                  </a:moveTo>
                  <a:lnTo>
                    <a:pt x="0" y="83"/>
                  </a:lnTo>
                  <a:lnTo>
                    <a:pt x="84" y="83"/>
                  </a:lnTo>
                  <a:lnTo>
                    <a:pt x="84" y="0"/>
                  </a:lnTo>
                  <a:lnTo>
                    <a:pt x="0" y="0"/>
                  </a:lnTo>
                  <a:close/>
                  <a:moveTo>
                    <a:pt x="67" y="67"/>
                  </a:moveTo>
                  <a:lnTo>
                    <a:pt x="19" y="67"/>
                  </a:lnTo>
                  <a:lnTo>
                    <a:pt x="19" y="16"/>
                  </a:lnTo>
                  <a:lnTo>
                    <a:pt x="67" y="16"/>
                  </a:lnTo>
                  <a:lnTo>
                    <a:pt x="67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86" name="Freeform 344">
              <a:extLst>
                <a:ext uri="{FF2B5EF4-FFF2-40B4-BE49-F238E27FC236}">
                  <a16:creationId xmlns:a16="http://schemas.microsoft.com/office/drawing/2014/main" id="{3BCA6C3A-2E9F-49CA-B874-127F68C976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57" y="1695"/>
              <a:ext cx="83" cy="83"/>
            </a:xfrm>
            <a:custGeom>
              <a:avLst/>
              <a:gdLst>
                <a:gd name="T0" fmla="*/ 0 w 83"/>
                <a:gd name="T1" fmla="*/ 0 h 83"/>
                <a:gd name="T2" fmla="*/ 0 w 83"/>
                <a:gd name="T3" fmla="*/ 83 h 83"/>
                <a:gd name="T4" fmla="*/ 83 w 83"/>
                <a:gd name="T5" fmla="*/ 83 h 83"/>
                <a:gd name="T6" fmla="*/ 83 w 83"/>
                <a:gd name="T7" fmla="*/ 0 h 83"/>
                <a:gd name="T8" fmla="*/ 0 w 83"/>
                <a:gd name="T9" fmla="*/ 0 h 83"/>
                <a:gd name="T10" fmla="*/ 67 w 83"/>
                <a:gd name="T11" fmla="*/ 67 h 83"/>
                <a:gd name="T12" fmla="*/ 18 w 83"/>
                <a:gd name="T13" fmla="*/ 67 h 83"/>
                <a:gd name="T14" fmla="*/ 18 w 83"/>
                <a:gd name="T15" fmla="*/ 16 h 83"/>
                <a:gd name="T16" fmla="*/ 67 w 83"/>
                <a:gd name="T17" fmla="*/ 16 h 83"/>
                <a:gd name="T18" fmla="*/ 67 w 83"/>
                <a:gd name="T19" fmla="*/ 67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3">
                  <a:moveTo>
                    <a:pt x="0" y="0"/>
                  </a:moveTo>
                  <a:lnTo>
                    <a:pt x="0" y="83"/>
                  </a:lnTo>
                  <a:lnTo>
                    <a:pt x="83" y="83"/>
                  </a:lnTo>
                  <a:lnTo>
                    <a:pt x="83" y="0"/>
                  </a:lnTo>
                  <a:lnTo>
                    <a:pt x="0" y="0"/>
                  </a:lnTo>
                  <a:close/>
                  <a:moveTo>
                    <a:pt x="67" y="67"/>
                  </a:moveTo>
                  <a:lnTo>
                    <a:pt x="18" y="67"/>
                  </a:lnTo>
                  <a:lnTo>
                    <a:pt x="18" y="16"/>
                  </a:lnTo>
                  <a:lnTo>
                    <a:pt x="67" y="16"/>
                  </a:lnTo>
                  <a:lnTo>
                    <a:pt x="67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87" name="Freeform 345">
              <a:extLst>
                <a:ext uri="{FF2B5EF4-FFF2-40B4-BE49-F238E27FC236}">
                  <a16:creationId xmlns:a16="http://schemas.microsoft.com/office/drawing/2014/main" id="{BBAC0F0F-1FB3-4BF1-BD26-D949199E4D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8" y="1528"/>
              <a:ext cx="83" cy="83"/>
            </a:xfrm>
            <a:custGeom>
              <a:avLst/>
              <a:gdLst>
                <a:gd name="T0" fmla="*/ 0 w 83"/>
                <a:gd name="T1" fmla="*/ 0 h 83"/>
                <a:gd name="T2" fmla="*/ 0 w 83"/>
                <a:gd name="T3" fmla="*/ 83 h 83"/>
                <a:gd name="T4" fmla="*/ 83 w 83"/>
                <a:gd name="T5" fmla="*/ 83 h 83"/>
                <a:gd name="T6" fmla="*/ 83 w 83"/>
                <a:gd name="T7" fmla="*/ 0 h 83"/>
                <a:gd name="T8" fmla="*/ 0 w 83"/>
                <a:gd name="T9" fmla="*/ 0 h 83"/>
                <a:gd name="T10" fmla="*/ 67 w 83"/>
                <a:gd name="T11" fmla="*/ 64 h 83"/>
                <a:gd name="T12" fmla="*/ 18 w 83"/>
                <a:gd name="T13" fmla="*/ 64 h 83"/>
                <a:gd name="T14" fmla="*/ 18 w 83"/>
                <a:gd name="T15" fmla="*/ 16 h 83"/>
                <a:gd name="T16" fmla="*/ 67 w 83"/>
                <a:gd name="T17" fmla="*/ 16 h 83"/>
                <a:gd name="T18" fmla="*/ 67 w 83"/>
                <a:gd name="T19" fmla="*/ 64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3">
                  <a:moveTo>
                    <a:pt x="0" y="0"/>
                  </a:moveTo>
                  <a:lnTo>
                    <a:pt x="0" y="83"/>
                  </a:lnTo>
                  <a:lnTo>
                    <a:pt x="83" y="83"/>
                  </a:lnTo>
                  <a:lnTo>
                    <a:pt x="83" y="0"/>
                  </a:lnTo>
                  <a:lnTo>
                    <a:pt x="0" y="0"/>
                  </a:lnTo>
                  <a:close/>
                  <a:moveTo>
                    <a:pt x="67" y="64"/>
                  </a:moveTo>
                  <a:lnTo>
                    <a:pt x="18" y="64"/>
                  </a:lnTo>
                  <a:lnTo>
                    <a:pt x="18" y="16"/>
                  </a:lnTo>
                  <a:lnTo>
                    <a:pt x="67" y="16"/>
                  </a:lnTo>
                  <a:lnTo>
                    <a:pt x="67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88" name="Freeform 346">
              <a:extLst>
                <a:ext uri="{FF2B5EF4-FFF2-40B4-BE49-F238E27FC236}">
                  <a16:creationId xmlns:a16="http://schemas.microsoft.com/office/drawing/2014/main" id="{4BC85062-6F87-4A84-B3AF-E4F934F14F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7" y="1190"/>
              <a:ext cx="83" cy="87"/>
            </a:xfrm>
            <a:custGeom>
              <a:avLst/>
              <a:gdLst>
                <a:gd name="T0" fmla="*/ 0 w 83"/>
                <a:gd name="T1" fmla="*/ 0 h 87"/>
                <a:gd name="T2" fmla="*/ 0 w 83"/>
                <a:gd name="T3" fmla="*/ 87 h 87"/>
                <a:gd name="T4" fmla="*/ 83 w 83"/>
                <a:gd name="T5" fmla="*/ 87 h 87"/>
                <a:gd name="T6" fmla="*/ 83 w 83"/>
                <a:gd name="T7" fmla="*/ 0 h 87"/>
                <a:gd name="T8" fmla="*/ 0 w 83"/>
                <a:gd name="T9" fmla="*/ 0 h 87"/>
                <a:gd name="T10" fmla="*/ 64 w 83"/>
                <a:gd name="T11" fmla="*/ 68 h 87"/>
                <a:gd name="T12" fmla="*/ 16 w 83"/>
                <a:gd name="T13" fmla="*/ 68 h 87"/>
                <a:gd name="T14" fmla="*/ 16 w 83"/>
                <a:gd name="T15" fmla="*/ 19 h 87"/>
                <a:gd name="T16" fmla="*/ 64 w 83"/>
                <a:gd name="T17" fmla="*/ 19 h 87"/>
                <a:gd name="T18" fmla="*/ 64 w 83"/>
                <a:gd name="T19" fmla="*/ 68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7">
                  <a:moveTo>
                    <a:pt x="0" y="0"/>
                  </a:moveTo>
                  <a:lnTo>
                    <a:pt x="0" y="87"/>
                  </a:lnTo>
                  <a:lnTo>
                    <a:pt x="83" y="87"/>
                  </a:lnTo>
                  <a:lnTo>
                    <a:pt x="83" y="0"/>
                  </a:lnTo>
                  <a:lnTo>
                    <a:pt x="0" y="0"/>
                  </a:lnTo>
                  <a:close/>
                  <a:moveTo>
                    <a:pt x="64" y="68"/>
                  </a:moveTo>
                  <a:lnTo>
                    <a:pt x="16" y="68"/>
                  </a:lnTo>
                  <a:lnTo>
                    <a:pt x="16" y="19"/>
                  </a:lnTo>
                  <a:lnTo>
                    <a:pt x="64" y="19"/>
                  </a:lnTo>
                  <a:lnTo>
                    <a:pt x="64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89" name="Rectangle 347">
              <a:extLst>
                <a:ext uri="{FF2B5EF4-FFF2-40B4-BE49-F238E27FC236}">
                  <a16:creationId xmlns:a16="http://schemas.microsoft.com/office/drawing/2014/main" id="{4B6A68DA-0692-47B5-9D17-D3165AE765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58" y="2550"/>
              <a:ext cx="49" cy="5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90" name="Freeform 348">
              <a:extLst>
                <a:ext uri="{FF2B5EF4-FFF2-40B4-BE49-F238E27FC236}">
                  <a16:creationId xmlns:a16="http://schemas.microsoft.com/office/drawing/2014/main" id="{AB4F35AD-AAB9-491E-831F-DAD0FC759E5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7" y="2043"/>
              <a:ext cx="296" cy="280"/>
            </a:xfrm>
            <a:custGeom>
              <a:avLst/>
              <a:gdLst>
                <a:gd name="T0" fmla="*/ 0 w 110"/>
                <a:gd name="T1" fmla="*/ 0 h 104"/>
                <a:gd name="T2" fmla="*/ 26 w 110"/>
                <a:gd name="T3" fmla="*/ 0 h 104"/>
                <a:gd name="T4" fmla="*/ 50 w 110"/>
                <a:gd name="T5" fmla="*/ 66 h 104"/>
                <a:gd name="T6" fmla="*/ 55 w 110"/>
                <a:gd name="T7" fmla="*/ 84 h 104"/>
                <a:gd name="T8" fmla="*/ 61 w 110"/>
                <a:gd name="T9" fmla="*/ 66 h 104"/>
                <a:gd name="T10" fmla="*/ 84 w 110"/>
                <a:gd name="T11" fmla="*/ 0 h 104"/>
                <a:gd name="T12" fmla="*/ 110 w 110"/>
                <a:gd name="T13" fmla="*/ 0 h 104"/>
                <a:gd name="T14" fmla="*/ 110 w 110"/>
                <a:gd name="T15" fmla="*/ 104 h 104"/>
                <a:gd name="T16" fmla="*/ 92 w 110"/>
                <a:gd name="T17" fmla="*/ 104 h 104"/>
                <a:gd name="T18" fmla="*/ 92 w 110"/>
                <a:gd name="T19" fmla="*/ 19 h 104"/>
                <a:gd name="T20" fmla="*/ 85 w 110"/>
                <a:gd name="T21" fmla="*/ 42 h 104"/>
                <a:gd name="T22" fmla="*/ 63 w 110"/>
                <a:gd name="T23" fmla="*/ 104 h 104"/>
                <a:gd name="T24" fmla="*/ 46 w 110"/>
                <a:gd name="T25" fmla="*/ 104 h 104"/>
                <a:gd name="T26" fmla="*/ 25 w 110"/>
                <a:gd name="T27" fmla="*/ 43 h 104"/>
                <a:gd name="T28" fmla="*/ 17 w 110"/>
                <a:gd name="T29" fmla="*/ 19 h 104"/>
                <a:gd name="T30" fmla="*/ 17 w 110"/>
                <a:gd name="T31" fmla="*/ 104 h 104"/>
                <a:gd name="T32" fmla="*/ 0 w 110"/>
                <a:gd name="T33" fmla="*/ 104 h 104"/>
                <a:gd name="T34" fmla="*/ 0 w 110"/>
                <a:gd name="T35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104">
                  <a:moveTo>
                    <a:pt x="0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2" y="73"/>
                    <a:pt x="53" y="78"/>
                    <a:pt x="55" y="84"/>
                  </a:cubicBezTo>
                  <a:cubicBezTo>
                    <a:pt x="57" y="78"/>
                    <a:pt x="59" y="73"/>
                    <a:pt x="61" y="66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0" y="104"/>
                    <a:pt x="110" y="104"/>
                    <a:pt x="110" y="104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92" y="19"/>
                    <a:pt x="92" y="19"/>
                    <a:pt x="92" y="19"/>
                  </a:cubicBezTo>
                  <a:cubicBezTo>
                    <a:pt x="90" y="28"/>
                    <a:pt x="89" y="31"/>
                    <a:pt x="85" y="42"/>
                  </a:cubicBezTo>
                  <a:cubicBezTo>
                    <a:pt x="63" y="104"/>
                    <a:pt x="63" y="104"/>
                    <a:pt x="63" y="104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1" y="32"/>
                    <a:pt x="21" y="32"/>
                    <a:pt x="17" y="19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91" name="Freeform 349">
              <a:extLst>
                <a:ext uri="{FF2B5EF4-FFF2-40B4-BE49-F238E27FC236}">
                  <a16:creationId xmlns:a16="http://schemas.microsoft.com/office/drawing/2014/main" id="{8514DF3C-B490-4CDB-B317-353C36FDCB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5" y="2021"/>
              <a:ext cx="57" cy="302"/>
            </a:xfrm>
            <a:custGeom>
              <a:avLst/>
              <a:gdLst>
                <a:gd name="T0" fmla="*/ 2 w 21"/>
                <a:gd name="T1" fmla="*/ 35 h 112"/>
                <a:gd name="T2" fmla="*/ 19 w 21"/>
                <a:gd name="T3" fmla="*/ 35 h 112"/>
                <a:gd name="T4" fmla="*/ 19 w 21"/>
                <a:gd name="T5" fmla="*/ 112 h 112"/>
                <a:gd name="T6" fmla="*/ 2 w 21"/>
                <a:gd name="T7" fmla="*/ 112 h 112"/>
                <a:gd name="T8" fmla="*/ 2 w 21"/>
                <a:gd name="T9" fmla="*/ 35 h 112"/>
                <a:gd name="T10" fmla="*/ 21 w 21"/>
                <a:gd name="T11" fmla="*/ 11 h 112"/>
                <a:gd name="T12" fmla="*/ 10 w 21"/>
                <a:gd name="T13" fmla="*/ 22 h 112"/>
                <a:gd name="T14" fmla="*/ 0 w 21"/>
                <a:gd name="T15" fmla="*/ 10 h 112"/>
                <a:gd name="T16" fmla="*/ 10 w 21"/>
                <a:gd name="T17" fmla="*/ 0 h 112"/>
                <a:gd name="T18" fmla="*/ 21 w 21"/>
                <a:gd name="T19" fmla="*/ 11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12">
                  <a:moveTo>
                    <a:pt x="2" y="35"/>
                  </a:moveTo>
                  <a:cubicBezTo>
                    <a:pt x="19" y="35"/>
                    <a:pt x="19" y="35"/>
                    <a:pt x="19" y="35"/>
                  </a:cubicBezTo>
                  <a:cubicBezTo>
                    <a:pt x="19" y="112"/>
                    <a:pt x="19" y="112"/>
                    <a:pt x="19" y="112"/>
                  </a:cubicBezTo>
                  <a:cubicBezTo>
                    <a:pt x="2" y="112"/>
                    <a:pt x="2" y="112"/>
                    <a:pt x="2" y="112"/>
                  </a:cubicBezTo>
                  <a:lnTo>
                    <a:pt x="2" y="35"/>
                  </a:lnTo>
                  <a:close/>
                  <a:moveTo>
                    <a:pt x="21" y="11"/>
                  </a:moveTo>
                  <a:cubicBezTo>
                    <a:pt x="21" y="17"/>
                    <a:pt x="17" y="22"/>
                    <a:pt x="10" y="22"/>
                  </a:cubicBezTo>
                  <a:cubicBezTo>
                    <a:pt x="4" y="22"/>
                    <a:pt x="0" y="17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7" y="0"/>
                    <a:pt x="21" y="4"/>
                    <a:pt x="21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92" name="Freeform 350">
              <a:extLst>
                <a:ext uri="{FF2B5EF4-FFF2-40B4-BE49-F238E27FC236}">
                  <a16:creationId xmlns:a16="http://schemas.microsoft.com/office/drawing/2014/main" id="{19FD0BAF-B977-4AE0-B754-C1A73788C2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1" y="2113"/>
              <a:ext cx="186" cy="210"/>
            </a:xfrm>
            <a:custGeom>
              <a:avLst/>
              <a:gdLst>
                <a:gd name="T0" fmla="*/ 1 w 69"/>
                <a:gd name="T1" fmla="*/ 28 h 78"/>
                <a:gd name="T2" fmla="*/ 0 w 69"/>
                <a:gd name="T3" fmla="*/ 1 h 78"/>
                <a:gd name="T4" fmla="*/ 17 w 69"/>
                <a:gd name="T5" fmla="*/ 1 h 78"/>
                <a:gd name="T6" fmla="*/ 17 w 69"/>
                <a:gd name="T7" fmla="*/ 13 h 78"/>
                <a:gd name="T8" fmla="*/ 44 w 69"/>
                <a:gd name="T9" fmla="*/ 0 h 78"/>
                <a:gd name="T10" fmla="*/ 65 w 69"/>
                <a:gd name="T11" fmla="*/ 11 h 78"/>
                <a:gd name="T12" fmla="*/ 69 w 69"/>
                <a:gd name="T13" fmla="*/ 32 h 78"/>
                <a:gd name="T14" fmla="*/ 69 w 69"/>
                <a:gd name="T15" fmla="*/ 78 h 78"/>
                <a:gd name="T16" fmla="*/ 51 w 69"/>
                <a:gd name="T17" fmla="*/ 78 h 78"/>
                <a:gd name="T18" fmla="*/ 51 w 69"/>
                <a:gd name="T19" fmla="*/ 33 h 78"/>
                <a:gd name="T20" fmla="*/ 50 w 69"/>
                <a:gd name="T21" fmla="*/ 20 h 78"/>
                <a:gd name="T22" fmla="*/ 39 w 69"/>
                <a:gd name="T23" fmla="*/ 13 h 78"/>
                <a:gd name="T24" fmla="*/ 19 w 69"/>
                <a:gd name="T25" fmla="*/ 26 h 78"/>
                <a:gd name="T26" fmla="*/ 19 w 69"/>
                <a:gd name="T27" fmla="*/ 78 h 78"/>
                <a:gd name="T28" fmla="*/ 1 w 69"/>
                <a:gd name="T29" fmla="*/ 78 h 78"/>
                <a:gd name="T30" fmla="*/ 1 w 69"/>
                <a:gd name="T31" fmla="*/ 2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9" h="78">
                  <a:moveTo>
                    <a:pt x="1" y="28"/>
                  </a:moveTo>
                  <a:cubicBezTo>
                    <a:pt x="1" y="14"/>
                    <a:pt x="1" y="13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27" y="3"/>
                    <a:pt x="34" y="0"/>
                    <a:pt x="44" y="0"/>
                  </a:cubicBezTo>
                  <a:cubicBezTo>
                    <a:pt x="54" y="0"/>
                    <a:pt x="62" y="3"/>
                    <a:pt x="65" y="11"/>
                  </a:cubicBezTo>
                  <a:cubicBezTo>
                    <a:pt x="68" y="15"/>
                    <a:pt x="69" y="21"/>
                    <a:pt x="69" y="32"/>
                  </a:cubicBezTo>
                  <a:cubicBezTo>
                    <a:pt x="69" y="78"/>
                    <a:pt x="69" y="78"/>
                    <a:pt x="69" y="78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26"/>
                    <a:pt x="51" y="23"/>
                    <a:pt x="50" y="20"/>
                  </a:cubicBezTo>
                  <a:cubicBezTo>
                    <a:pt x="48" y="16"/>
                    <a:pt x="44" y="13"/>
                    <a:pt x="39" y="13"/>
                  </a:cubicBezTo>
                  <a:cubicBezTo>
                    <a:pt x="32" y="13"/>
                    <a:pt x="25" y="18"/>
                    <a:pt x="19" y="26"/>
                  </a:cubicBezTo>
                  <a:cubicBezTo>
                    <a:pt x="19" y="78"/>
                    <a:pt x="19" y="78"/>
                    <a:pt x="19" y="78"/>
                  </a:cubicBezTo>
                  <a:cubicBezTo>
                    <a:pt x="1" y="78"/>
                    <a:pt x="1" y="78"/>
                    <a:pt x="1" y="78"/>
                  </a:cubicBezTo>
                  <a:lnTo>
                    <a:pt x="1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93" name="Freeform 351">
              <a:extLst>
                <a:ext uri="{FF2B5EF4-FFF2-40B4-BE49-F238E27FC236}">
                  <a16:creationId xmlns:a16="http://schemas.microsoft.com/office/drawing/2014/main" id="{80DFCB09-14EF-4C36-A260-2D4DB6E5D4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3" y="2027"/>
              <a:ext cx="194" cy="302"/>
            </a:xfrm>
            <a:custGeom>
              <a:avLst/>
              <a:gdLst>
                <a:gd name="T0" fmla="*/ 54 w 72"/>
                <a:gd name="T1" fmla="*/ 58 h 112"/>
                <a:gd name="T2" fmla="*/ 36 w 72"/>
                <a:gd name="T3" fmla="*/ 45 h 112"/>
                <a:gd name="T4" fmla="*/ 18 w 72"/>
                <a:gd name="T5" fmla="*/ 71 h 112"/>
                <a:gd name="T6" fmla="*/ 35 w 72"/>
                <a:gd name="T7" fmla="*/ 98 h 112"/>
                <a:gd name="T8" fmla="*/ 54 w 72"/>
                <a:gd name="T9" fmla="*/ 85 h 112"/>
                <a:gd name="T10" fmla="*/ 54 w 72"/>
                <a:gd name="T11" fmla="*/ 58 h 112"/>
                <a:gd name="T12" fmla="*/ 71 w 72"/>
                <a:gd name="T13" fmla="*/ 0 h 112"/>
                <a:gd name="T14" fmla="*/ 71 w 72"/>
                <a:gd name="T15" fmla="*/ 83 h 112"/>
                <a:gd name="T16" fmla="*/ 72 w 72"/>
                <a:gd name="T17" fmla="*/ 110 h 112"/>
                <a:gd name="T18" fmla="*/ 55 w 72"/>
                <a:gd name="T19" fmla="*/ 110 h 112"/>
                <a:gd name="T20" fmla="*/ 54 w 72"/>
                <a:gd name="T21" fmla="*/ 99 h 112"/>
                <a:gd name="T22" fmla="*/ 31 w 72"/>
                <a:gd name="T23" fmla="*/ 112 h 112"/>
                <a:gd name="T24" fmla="*/ 8 w 72"/>
                <a:gd name="T25" fmla="*/ 100 h 112"/>
                <a:gd name="T26" fmla="*/ 0 w 72"/>
                <a:gd name="T27" fmla="*/ 72 h 112"/>
                <a:gd name="T28" fmla="*/ 31 w 72"/>
                <a:gd name="T29" fmla="*/ 32 h 112"/>
                <a:gd name="T30" fmla="*/ 54 w 72"/>
                <a:gd name="T31" fmla="*/ 43 h 112"/>
                <a:gd name="T32" fmla="*/ 54 w 72"/>
                <a:gd name="T33" fmla="*/ 0 h 112"/>
                <a:gd name="T34" fmla="*/ 71 w 72"/>
                <a:gd name="T35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112">
                  <a:moveTo>
                    <a:pt x="54" y="58"/>
                  </a:moveTo>
                  <a:cubicBezTo>
                    <a:pt x="49" y="50"/>
                    <a:pt x="43" y="45"/>
                    <a:pt x="36" y="45"/>
                  </a:cubicBezTo>
                  <a:cubicBezTo>
                    <a:pt x="25" y="45"/>
                    <a:pt x="18" y="55"/>
                    <a:pt x="18" y="71"/>
                  </a:cubicBezTo>
                  <a:cubicBezTo>
                    <a:pt x="18" y="88"/>
                    <a:pt x="25" y="98"/>
                    <a:pt x="35" y="98"/>
                  </a:cubicBezTo>
                  <a:cubicBezTo>
                    <a:pt x="42" y="98"/>
                    <a:pt x="48" y="94"/>
                    <a:pt x="54" y="85"/>
                  </a:cubicBezTo>
                  <a:lnTo>
                    <a:pt x="54" y="58"/>
                  </a:lnTo>
                  <a:close/>
                  <a:moveTo>
                    <a:pt x="71" y="0"/>
                  </a:moveTo>
                  <a:cubicBezTo>
                    <a:pt x="71" y="83"/>
                    <a:pt x="71" y="83"/>
                    <a:pt x="71" y="83"/>
                  </a:cubicBezTo>
                  <a:cubicBezTo>
                    <a:pt x="71" y="95"/>
                    <a:pt x="71" y="103"/>
                    <a:pt x="72" y="110"/>
                  </a:cubicBezTo>
                  <a:cubicBezTo>
                    <a:pt x="55" y="110"/>
                    <a:pt x="55" y="110"/>
                    <a:pt x="55" y="110"/>
                  </a:cubicBezTo>
                  <a:cubicBezTo>
                    <a:pt x="54" y="99"/>
                    <a:pt x="54" y="99"/>
                    <a:pt x="54" y="99"/>
                  </a:cubicBezTo>
                  <a:cubicBezTo>
                    <a:pt x="48" y="108"/>
                    <a:pt x="41" y="112"/>
                    <a:pt x="31" y="112"/>
                  </a:cubicBezTo>
                  <a:cubicBezTo>
                    <a:pt x="21" y="112"/>
                    <a:pt x="14" y="108"/>
                    <a:pt x="8" y="100"/>
                  </a:cubicBezTo>
                  <a:cubicBezTo>
                    <a:pt x="3" y="93"/>
                    <a:pt x="0" y="83"/>
                    <a:pt x="0" y="72"/>
                  </a:cubicBezTo>
                  <a:cubicBezTo>
                    <a:pt x="0" y="48"/>
                    <a:pt x="12" y="32"/>
                    <a:pt x="31" y="32"/>
                  </a:cubicBezTo>
                  <a:cubicBezTo>
                    <a:pt x="40" y="32"/>
                    <a:pt x="47" y="35"/>
                    <a:pt x="54" y="43"/>
                  </a:cubicBezTo>
                  <a:cubicBezTo>
                    <a:pt x="54" y="0"/>
                    <a:pt x="54" y="0"/>
                    <a:pt x="54" y="0"/>
                  </a:cubicBezTo>
                  <a:lnTo>
                    <a:pt x="7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94" name="Freeform 352">
              <a:extLst>
                <a:ext uri="{FF2B5EF4-FFF2-40B4-BE49-F238E27FC236}">
                  <a16:creationId xmlns:a16="http://schemas.microsoft.com/office/drawing/2014/main" id="{395B9572-9798-4CC2-AE6F-128D727D6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8" y="2037"/>
              <a:ext cx="186" cy="292"/>
            </a:xfrm>
            <a:custGeom>
              <a:avLst/>
              <a:gdLst>
                <a:gd name="T0" fmla="*/ 3 w 69"/>
                <a:gd name="T1" fmla="*/ 87 h 108"/>
                <a:gd name="T2" fmla="*/ 31 w 69"/>
                <a:gd name="T3" fmla="*/ 93 h 108"/>
                <a:gd name="T4" fmla="*/ 49 w 69"/>
                <a:gd name="T5" fmla="*/ 78 h 108"/>
                <a:gd name="T6" fmla="*/ 29 w 69"/>
                <a:gd name="T7" fmla="*/ 60 h 108"/>
                <a:gd name="T8" fmla="*/ 9 w 69"/>
                <a:gd name="T9" fmla="*/ 50 h 108"/>
                <a:gd name="T10" fmla="*/ 0 w 69"/>
                <a:gd name="T11" fmla="*/ 31 h 108"/>
                <a:gd name="T12" fmla="*/ 35 w 69"/>
                <a:gd name="T13" fmla="*/ 0 h 108"/>
                <a:gd name="T14" fmla="*/ 64 w 69"/>
                <a:gd name="T15" fmla="*/ 6 h 108"/>
                <a:gd name="T16" fmla="*/ 61 w 69"/>
                <a:gd name="T17" fmla="*/ 21 h 108"/>
                <a:gd name="T18" fmla="*/ 36 w 69"/>
                <a:gd name="T19" fmla="*/ 15 h 108"/>
                <a:gd name="T20" fmla="*/ 19 w 69"/>
                <a:gd name="T21" fmla="*/ 28 h 108"/>
                <a:gd name="T22" fmla="*/ 38 w 69"/>
                <a:gd name="T23" fmla="*/ 45 h 108"/>
                <a:gd name="T24" fmla="*/ 60 w 69"/>
                <a:gd name="T25" fmla="*/ 56 h 108"/>
                <a:gd name="T26" fmla="*/ 69 w 69"/>
                <a:gd name="T27" fmla="*/ 77 h 108"/>
                <a:gd name="T28" fmla="*/ 32 w 69"/>
                <a:gd name="T29" fmla="*/ 108 h 108"/>
                <a:gd name="T30" fmla="*/ 1 w 69"/>
                <a:gd name="T31" fmla="*/ 103 h 108"/>
                <a:gd name="T32" fmla="*/ 3 w 69"/>
                <a:gd name="T33" fmla="*/ 8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9" h="108">
                  <a:moveTo>
                    <a:pt x="3" y="87"/>
                  </a:moveTo>
                  <a:cubicBezTo>
                    <a:pt x="16" y="91"/>
                    <a:pt x="23" y="93"/>
                    <a:pt x="31" y="93"/>
                  </a:cubicBezTo>
                  <a:cubicBezTo>
                    <a:pt x="42" y="93"/>
                    <a:pt x="49" y="87"/>
                    <a:pt x="49" y="78"/>
                  </a:cubicBezTo>
                  <a:cubicBezTo>
                    <a:pt x="49" y="70"/>
                    <a:pt x="46" y="68"/>
                    <a:pt x="29" y="60"/>
                  </a:cubicBezTo>
                  <a:cubicBezTo>
                    <a:pt x="17" y="55"/>
                    <a:pt x="13" y="53"/>
                    <a:pt x="9" y="50"/>
                  </a:cubicBezTo>
                  <a:cubicBezTo>
                    <a:pt x="3" y="45"/>
                    <a:pt x="0" y="39"/>
                    <a:pt x="0" y="31"/>
                  </a:cubicBezTo>
                  <a:cubicBezTo>
                    <a:pt x="0" y="12"/>
                    <a:pt x="14" y="0"/>
                    <a:pt x="35" y="0"/>
                  </a:cubicBezTo>
                  <a:cubicBezTo>
                    <a:pt x="44" y="0"/>
                    <a:pt x="53" y="2"/>
                    <a:pt x="64" y="6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51" y="17"/>
                    <a:pt x="43" y="15"/>
                    <a:pt x="36" y="15"/>
                  </a:cubicBezTo>
                  <a:cubicBezTo>
                    <a:pt x="26" y="15"/>
                    <a:pt x="19" y="20"/>
                    <a:pt x="19" y="28"/>
                  </a:cubicBezTo>
                  <a:cubicBezTo>
                    <a:pt x="19" y="35"/>
                    <a:pt x="23" y="38"/>
                    <a:pt x="38" y="45"/>
                  </a:cubicBezTo>
                  <a:cubicBezTo>
                    <a:pt x="51" y="50"/>
                    <a:pt x="56" y="52"/>
                    <a:pt x="60" y="56"/>
                  </a:cubicBezTo>
                  <a:cubicBezTo>
                    <a:pt x="66" y="61"/>
                    <a:pt x="69" y="68"/>
                    <a:pt x="69" y="77"/>
                  </a:cubicBezTo>
                  <a:cubicBezTo>
                    <a:pt x="69" y="96"/>
                    <a:pt x="55" y="108"/>
                    <a:pt x="32" y="108"/>
                  </a:cubicBezTo>
                  <a:cubicBezTo>
                    <a:pt x="21" y="108"/>
                    <a:pt x="12" y="106"/>
                    <a:pt x="1" y="103"/>
                  </a:cubicBezTo>
                  <a:lnTo>
                    <a:pt x="3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95" name="Freeform 353">
              <a:extLst>
                <a:ext uri="{FF2B5EF4-FFF2-40B4-BE49-F238E27FC236}">
                  <a16:creationId xmlns:a16="http://schemas.microsoft.com/office/drawing/2014/main" id="{5B4532F2-F41E-4531-8140-DF2CB01D4B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7" y="2113"/>
              <a:ext cx="191" cy="299"/>
            </a:xfrm>
            <a:custGeom>
              <a:avLst/>
              <a:gdLst>
                <a:gd name="T0" fmla="*/ 18 w 71"/>
                <a:gd name="T1" fmla="*/ 53 h 111"/>
                <a:gd name="T2" fmla="*/ 36 w 71"/>
                <a:gd name="T3" fmla="*/ 66 h 111"/>
                <a:gd name="T4" fmla="*/ 53 w 71"/>
                <a:gd name="T5" fmla="*/ 39 h 111"/>
                <a:gd name="T6" fmla="*/ 36 w 71"/>
                <a:gd name="T7" fmla="*/ 13 h 111"/>
                <a:gd name="T8" fmla="*/ 18 w 71"/>
                <a:gd name="T9" fmla="*/ 26 h 111"/>
                <a:gd name="T10" fmla="*/ 18 w 71"/>
                <a:gd name="T11" fmla="*/ 53 h 111"/>
                <a:gd name="T12" fmla="*/ 0 w 71"/>
                <a:gd name="T13" fmla="*/ 32 h 111"/>
                <a:gd name="T14" fmla="*/ 0 w 71"/>
                <a:gd name="T15" fmla="*/ 1 h 111"/>
                <a:gd name="T16" fmla="*/ 16 w 71"/>
                <a:gd name="T17" fmla="*/ 1 h 111"/>
                <a:gd name="T18" fmla="*/ 17 w 71"/>
                <a:gd name="T19" fmla="*/ 12 h 111"/>
                <a:gd name="T20" fmla="*/ 40 w 71"/>
                <a:gd name="T21" fmla="*/ 0 h 111"/>
                <a:gd name="T22" fmla="*/ 71 w 71"/>
                <a:gd name="T23" fmla="*/ 40 h 111"/>
                <a:gd name="T24" fmla="*/ 62 w 71"/>
                <a:gd name="T25" fmla="*/ 70 h 111"/>
                <a:gd name="T26" fmla="*/ 40 w 71"/>
                <a:gd name="T27" fmla="*/ 80 h 111"/>
                <a:gd name="T28" fmla="*/ 18 w 71"/>
                <a:gd name="T29" fmla="*/ 68 h 111"/>
                <a:gd name="T30" fmla="*/ 18 w 71"/>
                <a:gd name="T31" fmla="*/ 111 h 111"/>
                <a:gd name="T32" fmla="*/ 0 w 71"/>
                <a:gd name="T33" fmla="*/ 111 h 111"/>
                <a:gd name="T34" fmla="*/ 0 w 71"/>
                <a:gd name="T35" fmla="*/ 32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1" h="111">
                  <a:moveTo>
                    <a:pt x="18" y="53"/>
                  </a:moveTo>
                  <a:cubicBezTo>
                    <a:pt x="24" y="62"/>
                    <a:pt x="29" y="66"/>
                    <a:pt x="36" y="66"/>
                  </a:cubicBezTo>
                  <a:cubicBezTo>
                    <a:pt x="46" y="66"/>
                    <a:pt x="53" y="56"/>
                    <a:pt x="53" y="39"/>
                  </a:cubicBezTo>
                  <a:cubicBezTo>
                    <a:pt x="53" y="23"/>
                    <a:pt x="46" y="13"/>
                    <a:pt x="36" y="13"/>
                  </a:cubicBezTo>
                  <a:cubicBezTo>
                    <a:pt x="29" y="13"/>
                    <a:pt x="23" y="17"/>
                    <a:pt x="18" y="26"/>
                  </a:cubicBezTo>
                  <a:lnTo>
                    <a:pt x="18" y="53"/>
                  </a:lnTo>
                  <a:close/>
                  <a:moveTo>
                    <a:pt x="0" y="32"/>
                  </a:moveTo>
                  <a:cubicBezTo>
                    <a:pt x="0" y="17"/>
                    <a:pt x="0" y="10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24" y="3"/>
                    <a:pt x="31" y="0"/>
                    <a:pt x="40" y="0"/>
                  </a:cubicBezTo>
                  <a:cubicBezTo>
                    <a:pt x="59" y="0"/>
                    <a:pt x="71" y="16"/>
                    <a:pt x="71" y="40"/>
                  </a:cubicBezTo>
                  <a:cubicBezTo>
                    <a:pt x="71" y="52"/>
                    <a:pt x="68" y="62"/>
                    <a:pt x="62" y="70"/>
                  </a:cubicBezTo>
                  <a:cubicBezTo>
                    <a:pt x="56" y="77"/>
                    <a:pt x="50" y="80"/>
                    <a:pt x="40" y="80"/>
                  </a:cubicBezTo>
                  <a:cubicBezTo>
                    <a:pt x="31" y="80"/>
                    <a:pt x="24" y="77"/>
                    <a:pt x="18" y="68"/>
                  </a:cubicBezTo>
                  <a:cubicBezTo>
                    <a:pt x="18" y="111"/>
                    <a:pt x="18" y="111"/>
                    <a:pt x="18" y="111"/>
                  </a:cubicBezTo>
                  <a:cubicBezTo>
                    <a:pt x="0" y="111"/>
                    <a:pt x="0" y="111"/>
                    <a:pt x="0" y="111"/>
                  </a:cubicBezTo>
                  <a:lnTo>
                    <a:pt x="0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96" name="Freeform 354">
              <a:extLst>
                <a:ext uri="{FF2B5EF4-FFF2-40B4-BE49-F238E27FC236}">
                  <a16:creationId xmlns:a16="http://schemas.microsoft.com/office/drawing/2014/main" id="{0ACECFAA-C197-47DA-81C6-0D29D49ED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6" y="2027"/>
              <a:ext cx="183" cy="296"/>
            </a:xfrm>
            <a:custGeom>
              <a:avLst/>
              <a:gdLst>
                <a:gd name="T0" fmla="*/ 0 w 68"/>
                <a:gd name="T1" fmla="*/ 0 h 110"/>
                <a:gd name="T2" fmla="*/ 18 w 68"/>
                <a:gd name="T3" fmla="*/ 0 h 110"/>
                <a:gd name="T4" fmla="*/ 18 w 68"/>
                <a:gd name="T5" fmla="*/ 44 h 110"/>
                <a:gd name="T6" fmla="*/ 44 w 68"/>
                <a:gd name="T7" fmla="*/ 32 h 110"/>
                <a:gd name="T8" fmla="*/ 65 w 68"/>
                <a:gd name="T9" fmla="*/ 43 h 110"/>
                <a:gd name="T10" fmla="*/ 68 w 68"/>
                <a:gd name="T11" fmla="*/ 64 h 110"/>
                <a:gd name="T12" fmla="*/ 68 w 68"/>
                <a:gd name="T13" fmla="*/ 110 h 110"/>
                <a:gd name="T14" fmla="*/ 51 w 68"/>
                <a:gd name="T15" fmla="*/ 110 h 110"/>
                <a:gd name="T16" fmla="*/ 51 w 68"/>
                <a:gd name="T17" fmla="*/ 65 h 110"/>
                <a:gd name="T18" fmla="*/ 49 w 68"/>
                <a:gd name="T19" fmla="*/ 52 h 110"/>
                <a:gd name="T20" fmla="*/ 38 w 68"/>
                <a:gd name="T21" fmla="*/ 45 h 110"/>
                <a:gd name="T22" fmla="*/ 18 w 68"/>
                <a:gd name="T23" fmla="*/ 58 h 110"/>
                <a:gd name="T24" fmla="*/ 18 w 68"/>
                <a:gd name="T25" fmla="*/ 110 h 110"/>
                <a:gd name="T26" fmla="*/ 0 w 68"/>
                <a:gd name="T27" fmla="*/ 110 h 110"/>
                <a:gd name="T28" fmla="*/ 0 w 68"/>
                <a:gd name="T29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8" h="110">
                  <a:moveTo>
                    <a:pt x="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25" y="36"/>
                    <a:pt x="34" y="32"/>
                    <a:pt x="44" y="32"/>
                  </a:cubicBezTo>
                  <a:cubicBezTo>
                    <a:pt x="54" y="32"/>
                    <a:pt x="61" y="35"/>
                    <a:pt x="65" y="43"/>
                  </a:cubicBezTo>
                  <a:cubicBezTo>
                    <a:pt x="67" y="47"/>
                    <a:pt x="68" y="53"/>
                    <a:pt x="68" y="64"/>
                  </a:cubicBezTo>
                  <a:cubicBezTo>
                    <a:pt x="68" y="110"/>
                    <a:pt x="68" y="110"/>
                    <a:pt x="68" y="110"/>
                  </a:cubicBezTo>
                  <a:cubicBezTo>
                    <a:pt x="51" y="110"/>
                    <a:pt x="51" y="110"/>
                    <a:pt x="51" y="110"/>
                  </a:cubicBezTo>
                  <a:cubicBezTo>
                    <a:pt x="51" y="65"/>
                    <a:pt x="51" y="65"/>
                    <a:pt x="51" y="65"/>
                  </a:cubicBezTo>
                  <a:cubicBezTo>
                    <a:pt x="51" y="58"/>
                    <a:pt x="50" y="55"/>
                    <a:pt x="49" y="52"/>
                  </a:cubicBezTo>
                  <a:cubicBezTo>
                    <a:pt x="47" y="48"/>
                    <a:pt x="43" y="45"/>
                    <a:pt x="38" y="45"/>
                  </a:cubicBezTo>
                  <a:cubicBezTo>
                    <a:pt x="31" y="45"/>
                    <a:pt x="24" y="50"/>
                    <a:pt x="18" y="58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0" y="110"/>
                    <a:pt x="0" y="110"/>
                    <a:pt x="0" y="11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97" name="Freeform 355">
              <a:extLst>
                <a:ext uri="{FF2B5EF4-FFF2-40B4-BE49-F238E27FC236}">
                  <a16:creationId xmlns:a16="http://schemas.microsoft.com/office/drawing/2014/main" id="{A9CC8982-5345-41D1-A1CC-CDB7252E2A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78" y="2113"/>
              <a:ext cx="194" cy="216"/>
            </a:xfrm>
            <a:custGeom>
              <a:avLst/>
              <a:gdLst>
                <a:gd name="T0" fmla="*/ 54 w 72"/>
                <a:gd name="T1" fmla="*/ 33 h 80"/>
                <a:gd name="T2" fmla="*/ 37 w 72"/>
                <a:gd name="T3" fmla="*/ 13 h 80"/>
                <a:gd name="T4" fmla="*/ 18 w 72"/>
                <a:gd name="T5" fmla="*/ 33 h 80"/>
                <a:gd name="T6" fmla="*/ 54 w 72"/>
                <a:gd name="T7" fmla="*/ 33 h 80"/>
                <a:gd name="T8" fmla="*/ 18 w 72"/>
                <a:gd name="T9" fmla="*/ 45 h 80"/>
                <a:gd name="T10" fmla="*/ 41 w 72"/>
                <a:gd name="T11" fmla="*/ 67 h 80"/>
                <a:gd name="T12" fmla="*/ 63 w 72"/>
                <a:gd name="T13" fmla="*/ 59 h 80"/>
                <a:gd name="T14" fmla="*/ 70 w 72"/>
                <a:gd name="T15" fmla="*/ 72 h 80"/>
                <a:gd name="T16" fmla="*/ 40 w 72"/>
                <a:gd name="T17" fmla="*/ 80 h 80"/>
                <a:gd name="T18" fmla="*/ 0 w 72"/>
                <a:gd name="T19" fmla="*/ 40 h 80"/>
                <a:gd name="T20" fmla="*/ 37 w 72"/>
                <a:gd name="T21" fmla="*/ 0 h 80"/>
                <a:gd name="T22" fmla="*/ 68 w 72"/>
                <a:gd name="T23" fmla="*/ 19 h 80"/>
                <a:gd name="T24" fmla="*/ 72 w 72"/>
                <a:gd name="T25" fmla="*/ 45 h 80"/>
                <a:gd name="T26" fmla="*/ 18 w 72"/>
                <a:gd name="T27" fmla="*/ 4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80">
                  <a:moveTo>
                    <a:pt x="54" y="33"/>
                  </a:moveTo>
                  <a:cubicBezTo>
                    <a:pt x="54" y="20"/>
                    <a:pt x="47" y="13"/>
                    <a:pt x="37" y="13"/>
                  </a:cubicBezTo>
                  <a:cubicBezTo>
                    <a:pt x="26" y="13"/>
                    <a:pt x="19" y="20"/>
                    <a:pt x="18" y="33"/>
                  </a:cubicBezTo>
                  <a:lnTo>
                    <a:pt x="54" y="33"/>
                  </a:lnTo>
                  <a:close/>
                  <a:moveTo>
                    <a:pt x="18" y="45"/>
                  </a:moveTo>
                  <a:cubicBezTo>
                    <a:pt x="20" y="60"/>
                    <a:pt x="27" y="67"/>
                    <a:pt x="41" y="67"/>
                  </a:cubicBezTo>
                  <a:cubicBezTo>
                    <a:pt x="48" y="67"/>
                    <a:pt x="56" y="64"/>
                    <a:pt x="63" y="59"/>
                  </a:cubicBezTo>
                  <a:cubicBezTo>
                    <a:pt x="70" y="72"/>
                    <a:pt x="70" y="72"/>
                    <a:pt x="70" y="72"/>
                  </a:cubicBezTo>
                  <a:cubicBezTo>
                    <a:pt x="60" y="77"/>
                    <a:pt x="51" y="80"/>
                    <a:pt x="40" y="80"/>
                  </a:cubicBezTo>
                  <a:cubicBezTo>
                    <a:pt x="14" y="80"/>
                    <a:pt x="0" y="66"/>
                    <a:pt x="0" y="40"/>
                  </a:cubicBezTo>
                  <a:cubicBezTo>
                    <a:pt x="0" y="15"/>
                    <a:pt x="14" y="0"/>
                    <a:pt x="37" y="0"/>
                  </a:cubicBezTo>
                  <a:cubicBezTo>
                    <a:pt x="53" y="0"/>
                    <a:pt x="64" y="6"/>
                    <a:pt x="68" y="19"/>
                  </a:cubicBezTo>
                  <a:cubicBezTo>
                    <a:pt x="71" y="26"/>
                    <a:pt x="72" y="32"/>
                    <a:pt x="72" y="45"/>
                  </a:cubicBezTo>
                  <a:lnTo>
                    <a:pt x="18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98" name="Freeform 356">
              <a:extLst>
                <a:ext uri="{FF2B5EF4-FFF2-40B4-BE49-F238E27FC236}">
                  <a16:creationId xmlns:a16="http://schemas.microsoft.com/office/drawing/2014/main" id="{6310DB14-4923-4A2F-BE3C-CE2C93205C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0" y="2113"/>
              <a:ext cx="119" cy="210"/>
            </a:xfrm>
            <a:custGeom>
              <a:avLst/>
              <a:gdLst>
                <a:gd name="T0" fmla="*/ 1 w 44"/>
                <a:gd name="T1" fmla="*/ 30 h 78"/>
                <a:gd name="T2" fmla="*/ 0 w 44"/>
                <a:gd name="T3" fmla="*/ 5 h 78"/>
                <a:gd name="T4" fmla="*/ 0 w 44"/>
                <a:gd name="T5" fmla="*/ 1 h 78"/>
                <a:gd name="T6" fmla="*/ 17 w 44"/>
                <a:gd name="T7" fmla="*/ 1 h 78"/>
                <a:gd name="T8" fmla="*/ 17 w 44"/>
                <a:gd name="T9" fmla="*/ 16 h 78"/>
                <a:gd name="T10" fmla="*/ 38 w 44"/>
                <a:gd name="T11" fmla="*/ 0 h 78"/>
                <a:gd name="T12" fmla="*/ 44 w 44"/>
                <a:gd name="T13" fmla="*/ 1 h 78"/>
                <a:gd name="T14" fmla="*/ 43 w 44"/>
                <a:gd name="T15" fmla="*/ 17 h 78"/>
                <a:gd name="T16" fmla="*/ 37 w 44"/>
                <a:gd name="T17" fmla="*/ 16 h 78"/>
                <a:gd name="T18" fmla="*/ 18 w 44"/>
                <a:gd name="T19" fmla="*/ 34 h 78"/>
                <a:gd name="T20" fmla="*/ 18 w 44"/>
                <a:gd name="T21" fmla="*/ 78 h 78"/>
                <a:gd name="T22" fmla="*/ 1 w 44"/>
                <a:gd name="T23" fmla="*/ 78 h 78"/>
                <a:gd name="T24" fmla="*/ 1 w 44"/>
                <a:gd name="T25" fmla="*/ 3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1" y="30"/>
                  </a:moveTo>
                  <a:cubicBezTo>
                    <a:pt x="1" y="21"/>
                    <a:pt x="1" y="17"/>
                    <a:pt x="0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22" y="5"/>
                    <a:pt x="29" y="0"/>
                    <a:pt x="38" y="0"/>
                  </a:cubicBezTo>
                  <a:cubicBezTo>
                    <a:pt x="40" y="0"/>
                    <a:pt x="42" y="0"/>
                    <a:pt x="44" y="1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1" y="16"/>
                    <a:pt x="39" y="16"/>
                    <a:pt x="37" y="16"/>
                  </a:cubicBezTo>
                  <a:cubicBezTo>
                    <a:pt x="29" y="16"/>
                    <a:pt x="22" y="22"/>
                    <a:pt x="18" y="34"/>
                  </a:cubicBezTo>
                  <a:cubicBezTo>
                    <a:pt x="18" y="78"/>
                    <a:pt x="18" y="78"/>
                    <a:pt x="18" y="78"/>
                  </a:cubicBezTo>
                  <a:cubicBezTo>
                    <a:pt x="1" y="78"/>
                    <a:pt x="1" y="78"/>
                    <a:pt x="1" y="78"/>
                  </a:cubicBezTo>
                  <a:lnTo>
                    <a:pt x="1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99" name="Freeform 357">
              <a:extLst>
                <a:ext uri="{FF2B5EF4-FFF2-40B4-BE49-F238E27FC236}">
                  <a16:creationId xmlns:a16="http://schemas.microsoft.com/office/drawing/2014/main" id="{F1EBD8DB-7CB5-4BB1-8EF1-3154666EE0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58" y="2113"/>
              <a:ext cx="194" cy="216"/>
            </a:xfrm>
            <a:custGeom>
              <a:avLst/>
              <a:gdLst>
                <a:gd name="T0" fmla="*/ 54 w 72"/>
                <a:gd name="T1" fmla="*/ 33 h 80"/>
                <a:gd name="T2" fmla="*/ 37 w 72"/>
                <a:gd name="T3" fmla="*/ 13 h 80"/>
                <a:gd name="T4" fmla="*/ 19 w 72"/>
                <a:gd name="T5" fmla="*/ 33 h 80"/>
                <a:gd name="T6" fmla="*/ 54 w 72"/>
                <a:gd name="T7" fmla="*/ 33 h 80"/>
                <a:gd name="T8" fmla="*/ 19 w 72"/>
                <a:gd name="T9" fmla="*/ 45 h 80"/>
                <a:gd name="T10" fmla="*/ 41 w 72"/>
                <a:gd name="T11" fmla="*/ 67 h 80"/>
                <a:gd name="T12" fmla="*/ 64 w 72"/>
                <a:gd name="T13" fmla="*/ 59 h 80"/>
                <a:gd name="T14" fmla="*/ 70 w 72"/>
                <a:gd name="T15" fmla="*/ 72 h 80"/>
                <a:gd name="T16" fmla="*/ 40 w 72"/>
                <a:gd name="T17" fmla="*/ 80 h 80"/>
                <a:gd name="T18" fmla="*/ 0 w 72"/>
                <a:gd name="T19" fmla="*/ 40 h 80"/>
                <a:gd name="T20" fmla="*/ 37 w 72"/>
                <a:gd name="T21" fmla="*/ 0 h 80"/>
                <a:gd name="T22" fmla="*/ 69 w 72"/>
                <a:gd name="T23" fmla="*/ 19 h 80"/>
                <a:gd name="T24" fmla="*/ 72 w 72"/>
                <a:gd name="T25" fmla="*/ 45 h 80"/>
                <a:gd name="T26" fmla="*/ 19 w 72"/>
                <a:gd name="T27" fmla="*/ 4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80">
                  <a:moveTo>
                    <a:pt x="54" y="33"/>
                  </a:moveTo>
                  <a:cubicBezTo>
                    <a:pt x="54" y="20"/>
                    <a:pt x="48" y="13"/>
                    <a:pt x="37" y="13"/>
                  </a:cubicBezTo>
                  <a:cubicBezTo>
                    <a:pt x="26" y="13"/>
                    <a:pt x="19" y="20"/>
                    <a:pt x="19" y="33"/>
                  </a:cubicBezTo>
                  <a:lnTo>
                    <a:pt x="54" y="33"/>
                  </a:lnTo>
                  <a:close/>
                  <a:moveTo>
                    <a:pt x="19" y="45"/>
                  </a:moveTo>
                  <a:cubicBezTo>
                    <a:pt x="20" y="60"/>
                    <a:pt x="27" y="67"/>
                    <a:pt x="41" y="67"/>
                  </a:cubicBezTo>
                  <a:cubicBezTo>
                    <a:pt x="49" y="67"/>
                    <a:pt x="56" y="64"/>
                    <a:pt x="64" y="59"/>
                  </a:cubicBezTo>
                  <a:cubicBezTo>
                    <a:pt x="70" y="72"/>
                    <a:pt x="70" y="72"/>
                    <a:pt x="70" y="72"/>
                  </a:cubicBezTo>
                  <a:cubicBezTo>
                    <a:pt x="61" y="77"/>
                    <a:pt x="52" y="80"/>
                    <a:pt x="40" y="80"/>
                  </a:cubicBezTo>
                  <a:cubicBezTo>
                    <a:pt x="15" y="80"/>
                    <a:pt x="0" y="66"/>
                    <a:pt x="0" y="40"/>
                  </a:cubicBezTo>
                  <a:cubicBezTo>
                    <a:pt x="0" y="15"/>
                    <a:pt x="14" y="0"/>
                    <a:pt x="37" y="0"/>
                  </a:cubicBezTo>
                  <a:cubicBezTo>
                    <a:pt x="53" y="0"/>
                    <a:pt x="64" y="6"/>
                    <a:pt x="69" y="19"/>
                  </a:cubicBezTo>
                  <a:cubicBezTo>
                    <a:pt x="71" y="26"/>
                    <a:pt x="72" y="32"/>
                    <a:pt x="72" y="45"/>
                  </a:cubicBezTo>
                  <a:lnTo>
                    <a:pt x="19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51981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25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75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25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750"/>
                            </p:stCondLst>
                            <p:childTnLst>
                              <p:par>
                                <p:cTn id="2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25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750"/>
                            </p:stCondLst>
                            <p:childTnLst>
                              <p:par>
                                <p:cTn id="3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250"/>
                            </p:stCondLst>
                            <p:childTnLst>
                              <p:par>
                                <p:cTn id="3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75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250"/>
                            </p:stCondLst>
                            <p:childTnLst>
                              <p:par>
                                <p:cTn id="4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750"/>
                            </p:stCondLst>
                            <p:childTnLst>
                              <p:par>
                                <p:cTn id="4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250"/>
                            </p:stCondLst>
                            <p:childTnLst>
                              <p:par>
                                <p:cTn id="5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750"/>
                            </p:stCondLst>
                            <p:childTnLst>
                              <p:par>
                                <p:cTn id="5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250"/>
                            </p:stCondLst>
                            <p:childTnLst>
                              <p:par>
                                <p:cTn id="6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  <p:bldP spid="9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BBC4740-4FC1-45D9-8C24-90D9B8384A3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6118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0" name="think-cell Folie" r:id="rId6" imgW="380" imgH="380" progId="TCLayout.ActiveDocument.1">
                  <p:embed/>
                </p:oleObj>
              </mc:Choice>
              <mc:Fallback>
                <p:oleObj name="think-cell Folie" r:id="rId6" imgW="380" imgH="3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DF1A345E-759C-463E-9BE5-9167A8560A7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2200" b="1" dirty="0">
              <a:solidFill>
                <a:schemeClr val="tx1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0" name="Gruppieren 2">
            <a:extLst>
              <a:ext uri="{FF2B5EF4-FFF2-40B4-BE49-F238E27FC236}">
                <a16:creationId xmlns:a16="http://schemas.microsoft.com/office/drawing/2014/main" id="{76F1012F-78CB-4AC0-B337-4F83C9591C6C}"/>
              </a:ext>
            </a:extLst>
          </p:cNvPr>
          <p:cNvGrpSpPr>
            <a:grpSpLocks noChangeAspect="1"/>
          </p:cNvGrpSpPr>
          <p:nvPr/>
        </p:nvGrpSpPr>
        <p:grpSpPr>
          <a:xfrm>
            <a:off x="482550" y="1124744"/>
            <a:ext cx="11534503" cy="5071269"/>
            <a:chOff x="704850" y="809624"/>
            <a:chExt cx="7742238" cy="4967289"/>
          </a:xfrm>
          <a:solidFill>
            <a:srgbClr val="FFFFFF">
              <a:alpha val="56000"/>
            </a:srgbClr>
          </a:solidFill>
        </p:grpSpPr>
        <p:sp>
          <p:nvSpPr>
            <p:cNvPr id="214" name="Freeform 680">
              <a:extLst>
                <a:ext uri="{FF2B5EF4-FFF2-40B4-BE49-F238E27FC236}">
                  <a16:creationId xmlns:a16="http://schemas.microsoft.com/office/drawing/2014/main" id="{CDB07177-6BCA-48FB-B72D-2F9B32A68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2413" y="2892425"/>
              <a:ext cx="879475" cy="481013"/>
            </a:xfrm>
            <a:custGeom>
              <a:avLst/>
              <a:gdLst/>
              <a:ahLst/>
              <a:cxnLst>
                <a:cxn ang="0">
                  <a:pos x="114" y="277"/>
                </a:cxn>
                <a:cxn ang="0">
                  <a:pos x="130" y="226"/>
                </a:cxn>
                <a:cxn ang="0">
                  <a:pos x="156" y="214"/>
                </a:cxn>
                <a:cxn ang="0">
                  <a:pos x="210" y="250"/>
                </a:cxn>
                <a:cxn ang="0">
                  <a:pos x="244" y="250"/>
                </a:cxn>
                <a:cxn ang="0">
                  <a:pos x="266" y="262"/>
                </a:cxn>
                <a:cxn ang="0">
                  <a:pos x="272" y="281"/>
                </a:cxn>
                <a:cxn ang="0">
                  <a:pos x="292" y="293"/>
                </a:cxn>
                <a:cxn ang="0">
                  <a:pos x="300" y="299"/>
                </a:cxn>
                <a:cxn ang="0">
                  <a:pos x="338" y="264"/>
                </a:cxn>
                <a:cxn ang="0">
                  <a:pos x="366" y="270"/>
                </a:cxn>
                <a:cxn ang="0">
                  <a:pos x="402" y="262"/>
                </a:cxn>
                <a:cxn ang="0">
                  <a:pos x="446" y="268"/>
                </a:cxn>
                <a:cxn ang="0">
                  <a:pos x="464" y="262"/>
                </a:cxn>
                <a:cxn ang="0">
                  <a:pos x="462" y="240"/>
                </a:cxn>
                <a:cxn ang="0">
                  <a:pos x="462" y="220"/>
                </a:cxn>
                <a:cxn ang="0">
                  <a:pos x="492" y="218"/>
                </a:cxn>
                <a:cxn ang="0">
                  <a:pos x="500" y="180"/>
                </a:cxn>
                <a:cxn ang="0">
                  <a:pos x="534" y="156"/>
                </a:cxn>
                <a:cxn ang="0">
                  <a:pos x="550" y="136"/>
                </a:cxn>
                <a:cxn ang="0">
                  <a:pos x="526" y="130"/>
                </a:cxn>
                <a:cxn ang="0">
                  <a:pos x="496" y="102"/>
                </a:cxn>
                <a:cxn ang="0">
                  <a:pos x="470" y="102"/>
                </a:cxn>
                <a:cxn ang="0">
                  <a:pos x="462" y="96"/>
                </a:cxn>
                <a:cxn ang="0">
                  <a:pos x="454" y="100"/>
                </a:cxn>
                <a:cxn ang="0">
                  <a:pos x="444" y="78"/>
                </a:cxn>
                <a:cxn ang="0">
                  <a:pos x="434" y="62"/>
                </a:cxn>
                <a:cxn ang="0">
                  <a:pos x="410" y="34"/>
                </a:cxn>
                <a:cxn ang="0">
                  <a:pos x="394" y="34"/>
                </a:cxn>
                <a:cxn ang="0">
                  <a:pos x="372" y="42"/>
                </a:cxn>
                <a:cxn ang="0">
                  <a:pos x="364" y="42"/>
                </a:cxn>
                <a:cxn ang="0">
                  <a:pos x="346" y="30"/>
                </a:cxn>
                <a:cxn ang="0">
                  <a:pos x="332" y="12"/>
                </a:cxn>
                <a:cxn ang="0">
                  <a:pos x="326" y="4"/>
                </a:cxn>
                <a:cxn ang="0">
                  <a:pos x="296" y="6"/>
                </a:cxn>
                <a:cxn ang="0">
                  <a:pos x="262" y="18"/>
                </a:cxn>
                <a:cxn ang="0">
                  <a:pos x="252" y="24"/>
                </a:cxn>
                <a:cxn ang="0">
                  <a:pos x="224" y="32"/>
                </a:cxn>
                <a:cxn ang="0">
                  <a:pos x="214" y="34"/>
                </a:cxn>
                <a:cxn ang="0">
                  <a:pos x="204" y="32"/>
                </a:cxn>
                <a:cxn ang="0">
                  <a:pos x="206" y="52"/>
                </a:cxn>
                <a:cxn ang="0">
                  <a:pos x="200" y="56"/>
                </a:cxn>
                <a:cxn ang="0">
                  <a:pos x="188" y="78"/>
                </a:cxn>
                <a:cxn ang="0">
                  <a:pos x="204" y="92"/>
                </a:cxn>
                <a:cxn ang="0">
                  <a:pos x="190" y="108"/>
                </a:cxn>
                <a:cxn ang="0">
                  <a:pos x="160" y="98"/>
                </a:cxn>
                <a:cxn ang="0">
                  <a:pos x="130" y="106"/>
                </a:cxn>
                <a:cxn ang="0">
                  <a:pos x="106" y="102"/>
                </a:cxn>
                <a:cxn ang="0">
                  <a:pos x="100" y="96"/>
                </a:cxn>
                <a:cxn ang="0">
                  <a:pos x="94" y="90"/>
                </a:cxn>
                <a:cxn ang="0">
                  <a:pos x="72" y="88"/>
                </a:cxn>
                <a:cxn ang="0">
                  <a:pos x="52" y="92"/>
                </a:cxn>
                <a:cxn ang="0">
                  <a:pos x="28" y="110"/>
                </a:cxn>
                <a:cxn ang="0">
                  <a:pos x="16" y="114"/>
                </a:cxn>
                <a:cxn ang="0">
                  <a:pos x="4" y="134"/>
                </a:cxn>
                <a:cxn ang="0">
                  <a:pos x="6" y="158"/>
                </a:cxn>
                <a:cxn ang="0">
                  <a:pos x="20" y="168"/>
                </a:cxn>
                <a:cxn ang="0">
                  <a:pos x="28" y="188"/>
                </a:cxn>
                <a:cxn ang="0">
                  <a:pos x="32" y="224"/>
                </a:cxn>
                <a:cxn ang="0">
                  <a:pos x="36" y="250"/>
                </a:cxn>
              </a:cxnLst>
              <a:rect l="0" t="0" r="r" b="b"/>
              <a:pathLst>
                <a:path w="554" h="303">
                  <a:moveTo>
                    <a:pt x="80" y="283"/>
                  </a:moveTo>
                  <a:lnTo>
                    <a:pt x="84" y="279"/>
                  </a:lnTo>
                  <a:lnTo>
                    <a:pt x="88" y="275"/>
                  </a:lnTo>
                  <a:lnTo>
                    <a:pt x="102" y="272"/>
                  </a:lnTo>
                  <a:lnTo>
                    <a:pt x="114" y="277"/>
                  </a:lnTo>
                  <a:lnTo>
                    <a:pt x="116" y="281"/>
                  </a:lnTo>
                  <a:lnTo>
                    <a:pt x="116" y="283"/>
                  </a:lnTo>
                  <a:lnTo>
                    <a:pt x="120" y="291"/>
                  </a:lnTo>
                  <a:lnTo>
                    <a:pt x="130" y="291"/>
                  </a:lnTo>
                  <a:lnTo>
                    <a:pt x="130" y="226"/>
                  </a:lnTo>
                  <a:lnTo>
                    <a:pt x="130" y="222"/>
                  </a:lnTo>
                  <a:lnTo>
                    <a:pt x="130" y="222"/>
                  </a:lnTo>
                  <a:lnTo>
                    <a:pt x="130" y="222"/>
                  </a:lnTo>
                  <a:lnTo>
                    <a:pt x="142" y="218"/>
                  </a:lnTo>
                  <a:lnTo>
                    <a:pt x="156" y="214"/>
                  </a:lnTo>
                  <a:lnTo>
                    <a:pt x="164" y="212"/>
                  </a:lnTo>
                  <a:lnTo>
                    <a:pt x="170" y="216"/>
                  </a:lnTo>
                  <a:lnTo>
                    <a:pt x="184" y="226"/>
                  </a:lnTo>
                  <a:lnTo>
                    <a:pt x="202" y="242"/>
                  </a:lnTo>
                  <a:lnTo>
                    <a:pt x="210" y="250"/>
                  </a:lnTo>
                  <a:lnTo>
                    <a:pt x="216" y="250"/>
                  </a:lnTo>
                  <a:lnTo>
                    <a:pt x="224" y="250"/>
                  </a:lnTo>
                  <a:lnTo>
                    <a:pt x="230" y="248"/>
                  </a:lnTo>
                  <a:lnTo>
                    <a:pt x="238" y="248"/>
                  </a:lnTo>
                  <a:lnTo>
                    <a:pt x="244" y="250"/>
                  </a:lnTo>
                  <a:lnTo>
                    <a:pt x="252" y="246"/>
                  </a:lnTo>
                  <a:lnTo>
                    <a:pt x="258" y="250"/>
                  </a:lnTo>
                  <a:lnTo>
                    <a:pt x="260" y="254"/>
                  </a:lnTo>
                  <a:lnTo>
                    <a:pt x="262" y="260"/>
                  </a:lnTo>
                  <a:lnTo>
                    <a:pt x="266" y="262"/>
                  </a:lnTo>
                  <a:lnTo>
                    <a:pt x="266" y="268"/>
                  </a:lnTo>
                  <a:lnTo>
                    <a:pt x="266" y="272"/>
                  </a:lnTo>
                  <a:lnTo>
                    <a:pt x="266" y="279"/>
                  </a:lnTo>
                  <a:lnTo>
                    <a:pt x="270" y="279"/>
                  </a:lnTo>
                  <a:lnTo>
                    <a:pt x="272" y="281"/>
                  </a:lnTo>
                  <a:lnTo>
                    <a:pt x="272" y="283"/>
                  </a:lnTo>
                  <a:lnTo>
                    <a:pt x="274" y="291"/>
                  </a:lnTo>
                  <a:lnTo>
                    <a:pt x="278" y="291"/>
                  </a:lnTo>
                  <a:lnTo>
                    <a:pt x="288" y="293"/>
                  </a:lnTo>
                  <a:lnTo>
                    <a:pt x="292" y="293"/>
                  </a:lnTo>
                  <a:lnTo>
                    <a:pt x="294" y="295"/>
                  </a:lnTo>
                  <a:lnTo>
                    <a:pt x="292" y="299"/>
                  </a:lnTo>
                  <a:lnTo>
                    <a:pt x="300" y="303"/>
                  </a:lnTo>
                  <a:lnTo>
                    <a:pt x="302" y="303"/>
                  </a:lnTo>
                  <a:lnTo>
                    <a:pt x="300" y="299"/>
                  </a:lnTo>
                  <a:lnTo>
                    <a:pt x="304" y="293"/>
                  </a:lnTo>
                  <a:lnTo>
                    <a:pt x="320" y="281"/>
                  </a:lnTo>
                  <a:lnTo>
                    <a:pt x="332" y="274"/>
                  </a:lnTo>
                  <a:lnTo>
                    <a:pt x="336" y="264"/>
                  </a:lnTo>
                  <a:lnTo>
                    <a:pt x="338" y="264"/>
                  </a:lnTo>
                  <a:lnTo>
                    <a:pt x="356" y="266"/>
                  </a:lnTo>
                  <a:lnTo>
                    <a:pt x="358" y="268"/>
                  </a:lnTo>
                  <a:lnTo>
                    <a:pt x="362" y="270"/>
                  </a:lnTo>
                  <a:lnTo>
                    <a:pt x="366" y="272"/>
                  </a:lnTo>
                  <a:lnTo>
                    <a:pt x="366" y="270"/>
                  </a:lnTo>
                  <a:lnTo>
                    <a:pt x="366" y="262"/>
                  </a:lnTo>
                  <a:lnTo>
                    <a:pt x="378" y="256"/>
                  </a:lnTo>
                  <a:lnTo>
                    <a:pt x="386" y="262"/>
                  </a:lnTo>
                  <a:lnTo>
                    <a:pt x="398" y="264"/>
                  </a:lnTo>
                  <a:lnTo>
                    <a:pt x="402" y="262"/>
                  </a:lnTo>
                  <a:lnTo>
                    <a:pt x="414" y="260"/>
                  </a:lnTo>
                  <a:lnTo>
                    <a:pt x="428" y="262"/>
                  </a:lnTo>
                  <a:lnTo>
                    <a:pt x="428" y="262"/>
                  </a:lnTo>
                  <a:lnTo>
                    <a:pt x="444" y="266"/>
                  </a:lnTo>
                  <a:lnTo>
                    <a:pt x="446" y="268"/>
                  </a:lnTo>
                  <a:lnTo>
                    <a:pt x="456" y="272"/>
                  </a:lnTo>
                  <a:lnTo>
                    <a:pt x="458" y="275"/>
                  </a:lnTo>
                  <a:lnTo>
                    <a:pt x="458" y="270"/>
                  </a:lnTo>
                  <a:lnTo>
                    <a:pt x="460" y="264"/>
                  </a:lnTo>
                  <a:lnTo>
                    <a:pt x="464" y="262"/>
                  </a:lnTo>
                  <a:lnTo>
                    <a:pt x="460" y="260"/>
                  </a:lnTo>
                  <a:lnTo>
                    <a:pt x="464" y="258"/>
                  </a:lnTo>
                  <a:lnTo>
                    <a:pt x="466" y="256"/>
                  </a:lnTo>
                  <a:lnTo>
                    <a:pt x="462" y="246"/>
                  </a:lnTo>
                  <a:lnTo>
                    <a:pt x="462" y="240"/>
                  </a:lnTo>
                  <a:lnTo>
                    <a:pt x="460" y="236"/>
                  </a:lnTo>
                  <a:lnTo>
                    <a:pt x="460" y="230"/>
                  </a:lnTo>
                  <a:lnTo>
                    <a:pt x="456" y="226"/>
                  </a:lnTo>
                  <a:lnTo>
                    <a:pt x="456" y="222"/>
                  </a:lnTo>
                  <a:lnTo>
                    <a:pt x="462" y="220"/>
                  </a:lnTo>
                  <a:lnTo>
                    <a:pt x="474" y="218"/>
                  </a:lnTo>
                  <a:lnTo>
                    <a:pt x="480" y="216"/>
                  </a:lnTo>
                  <a:lnTo>
                    <a:pt x="482" y="218"/>
                  </a:lnTo>
                  <a:lnTo>
                    <a:pt x="488" y="220"/>
                  </a:lnTo>
                  <a:lnTo>
                    <a:pt x="492" y="218"/>
                  </a:lnTo>
                  <a:lnTo>
                    <a:pt x="488" y="214"/>
                  </a:lnTo>
                  <a:lnTo>
                    <a:pt x="488" y="208"/>
                  </a:lnTo>
                  <a:lnTo>
                    <a:pt x="492" y="196"/>
                  </a:lnTo>
                  <a:lnTo>
                    <a:pt x="496" y="184"/>
                  </a:lnTo>
                  <a:lnTo>
                    <a:pt x="500" y="180"/>
                  </a:lnTo>
                  <a:lnTo>
                    <a:pt x="508" y="184"/>
                  </a:lnTo>
                  <a:lnTo>
                    <a:pt x="520" y="186"/>
                  </a:lnTo>
                  <a:lnTo>
                    <a:pt x="534" y="176"/>
                  </a:lnTo>
                  <a:lnTo>
                    <a:pt x="532" y="164"/>
                  </a:lnTo>
                  <a:lnTo>
                    <a:pt x="534" y="156"/>
                  </a:lnTo>
                  <a:lnTo>
                    <a:pt x="540" y="156"/>
                  </a:lnTo>
                  <a:lnTo>
                    <a:pt x="548" y="150"/>
                  </a:lnTo>
                  <a:lnTo>
                    <a:pt x="548" y="144"/>
                  </a:lnTo>
                  <a:lnTo>
                    <a:pt x="554" y="140"/>
                  </a:lnTo>
                  <a:lnTo>
                    <a:pt x="550" y="136"/>
                  </a:lnTo>
                  <a:lnTo>
                    <a:pt x="548" y="130"/>
                  </a:lnTo>
                  <a:lnTo>
                    <a:pt x="546" y="126"/>
                  </a:lnTo>
                  <a:lnTo>
                    <a:pt x="542" y="130"/>
                  </a:lnTo>
                  <a:lnTo>
                    <a:pt x="536" y="132"/>
                  </a:lnTo>
                  <a:lnTo>
                    <a:pt x="526" y="130"/>
                  </a:lnTo>
                  <a:lnTo>
                    <a:pt x="516" y="116"/>
                  </a:lnTo>
                  <a:lnTo>
                    <a:pt x="510" y="106"/>
                  </a:lnTo>
                  <a:lnTo>
                    <a:pt x="504" y="102"/>
                  </a:lnTo>
                  <a:lnTo>
                    <a:pt x="500" y="100"/>
                  </a:lnTo>
                  <a:lnTo>
                    <a:pt x="496" y="102"/>
                  </a:lnTo>
                  <a:lnTo>
                    <a:pt x="492" y="104"/>
                  </a:lnTo>
                  <a:lnTo>
                    <a:pt x="492" y="106"/>
                  </a:lnTo>
                  <a:lnTo>
                    <a:pt x="482" y="106"/>
                  </a:lnTo>
                  <a:lnTo>
                    <a:pt x="474" y="106"/>
                  </a:lnTo>
                  <a:lnTo>
                    <a:pt x="470" y="102"/>
                  </a:lnTo>
                  <a:lnTo>
                    <a:pt x="472" y="98"/>
                  </a:lnTo>
                  <a:lnTo>
                    <a:pt x="470" y="96"/>
                  </a:lnTo>
                  <a:lnTo>
                    <a:pt x="470" y="98"/>
                  </a:lnTo>
                  <a:lnTo>
                    <a:pt x="464" y="94"/>
                  </a:lnTo>
                  <a:lnTo>
                    <a:pt x="462" y="96"/>
                  </a:lnTo>
                  <a:lnTo>
                    <a:pt x="460" y="102"/>
                  </a:lnTo>
                  <a:lnTo>
                    <a:pt x="456" y="106"/>
                  </a:lnTo>
                  <a:lnTo>
                    <a:pt x="456" y="106"/>
                  </a:lnTo>
                  <a:lnTo>
                    <a:pt x="456" y="104"/>
                  </a:lnTo>
                  <a:lnTo>
                    <a:pt x="454" y="100"/>
                  </a:lnTo>
                  <a:lnTo>
                    <a:pt x="452" y="98"/>
                  </a:lnTo>
                  <a:lnTo>
                    <a:pt x="450" y="94"/>
                  </a:lnTo>
                  <a:lnTo>
                    <a:pt x="450" y="90"/>
                  </a:lnTo>
                  <a:lnTo>
                    <a:pt x="446" y="84"/>
                  </a:lnTo>
                  <a:lnTo>
                    <a:pt x="444" y="78"/>
                  </a:lnTo>
                  <a:lnTo>
                    <a:pt x="442" y="76"/>
                  </a:lnTo>
                  <a:lnTo>
                    <a:pt x="440" y="74"/>
                  </a:lnTo>
                  <a:lnTo>
                    <a:pt x="438" y="70"/>
                  </a:lnTo>
                  <a:lnTo>
                    <a:pt x="436" y="68"/>
                  </a:lnTo>
                  <a:lnTo>
                    <a:pt x="434" y="62"/>
                  </a:lnTo>
                  <a:lnTo>
                    <a:pt x="430" y="56"/>
                  </a:lnTo>
                  <a:lnTo>
                    <a:pt x="430" y="54"/>
                  </a:lnTo>
                  <a:lnTo>
                    <a:pt x="422" y="44"/>
                  </a:lnTo>
                  <a:lnTo>
                    <a:pt x="414" y="40"/>
                  </a:lnTo>
                  <a:lnTo>
                    <a:pt x="410" y="34"/>
                  </a:lnTo>
                  <a:lnTo>
                    <a:pt x="408" y="30"/>
                  </a:lnTo>
                  <a:lnTo>
                    <a:pt x="408" y="26"/>
                  </a:lnTo>
                  <a:lnTo>
                    <a:pt x="404" y="28"/>
                  </a:lnTo>
                  <a:lnTo>
                    <a:pt x="400" y="30"/>
                  </a:lnTo>
                  <a:lnTo>
                    <a:pt x="394" y="34"/>
                  </a:lnTo>
                  <a:lnTo>
                    <a:pt x="390" y="38"/>
                  </a:lnTo>
                  <a:lnTo>
                    <a:pt x="388" y="38"/>
                  </a:lnTo>
                  <a:lnTo>
                    <a:pt x="382" y="40"/>
                  </a:lnTo>
                  <a:lnTo>
                    <a:pt x="376" y="44"/>
                  </a:lnTo>
                  <a:lnTo>
                    <a:pt x="372" y="42"/>
                  </a:lnTo>
                  <a:lnTo>
                    <a:pt x="370" y="42"/>
                  </a:lnTo>
                  <a:lnTo>
                    <a:pt x="370" y="44"/>
                  </a:lnTo>
                  <a:lnTo>
                    <a:pt x="366" y="46"/>
                  </a:lnTo>
                  <a:lnTo>
                    <a:pt x="364" y="42"/>
                  </a:lnTo>
                  <a:lnTo>
                    <a:pt x="364" y="42"/>
                  </a:lnTo>
                  <a:lnTo>
                    <a:pt x="366" y="38"/>
                  </a:lnTo>
                  <a:lnTo>
                    <a:pt x="364" y="34"/>
                  </a:lnTo>
                  <a:lnTo>
                    <a:pt x="358" y="30"/>
                  </a:lnTo>
                  <a:lnTo>
                    <a:pt x="350" y="26"/>
                  </a:lnTo>
                  <a:lnTo>
                    <a:pt x="346" y="30"/>
                  </a:lnTo>
                  <a:lnTo>
                    <a:pt x="338" y="32"/>
                  </a:lnTo>
                  <a:lnTo>
                    <a:pt x="336" y="32"/>
                  </a:lnTo>
                  <a:lnTo>
                    <a:pt x="334" y="28"/>
                  </a:lnTo>
                  <a:lnTo>
                    <a:pt x="336" y="24"/>
                  </a:lnTo>
                  <a:lnTo>
                    <a:pt x="332" y="12"/>
                  </a:lnTo>
                  <a:lnTo>
                    <a:pt x="334" y="12"/>
                  </a:lnTo>
                  <a:lnTo>
                    <a:pt x="334" y="10"/>
                  </a:lnTo>
                  <a:lnTo>
                    <a:pt x="332" y="6"/>
                  </a:lnTo>
                  <a:lnTo>
                    <a:pt x="328" y="4"/>
                  </a:lnTo>
                  <a:lnTo>
                    <a:pt x="326" y="4"/>
                  </a:lnTo>
                  <a:lnTo>
                    <a:pt x="320" y="6"/>
                  </a:lnTo>
                  <a:lnTo>
                    <a:pt x="306" y="0"/>
                  </a:lnTo>
                  <a:lnTo>
                    <a:pt x="302" y="2"/>
                  </a:lnTo>
                  <a:lnTo>
                    <a:pt x="300" y="6"/>
                  </a:lnTo>
                  <a:lnTo>
                    <a:pt x="296" y="6"/>
                  </a:lnTo>
                  <a:lnTo>
                    <a:pt x="296" y="10"/>
                  </a:lnTo>
                  <a:lnTo>
                    <a:pt x="290" y="14"/>
                  </a:lnTo>
                  <a:lnTo>
                    <a:pt x="286" y="14"/>
                  </a:lnTo>
                  <a:lnTo>
                    <a:pt x="272" y="18"/>
                  </a:lnTo>
                  <a:lnTo>
                    <a:pt x="262" y="18"/>
                  </a:lnTo>
                  <a:lnTo>
                    <a:pt x="258" y="20"/>
                  </a:lnTo>
                  <a:lnTo>
                    <a:pt x="254" y="22"/>
                  </a:lnTo>
                  <a:lnTo>
                    <a:pt x="254" y="24"/>
                  </a:lnTo>
                  <a:lnTo>
                    <a:pt x="254" y="26"/>
                  </a:lnTo>
                  <a:lnTo>
                    <a:pt x="252" y="24"/>
                  </a:lnTo>
                  <a:lnTo>
                    <a:pt x="248" y="24"/>
                  </a:lnTo>
                  <a:lnTo>
                    <a:pt x="238" y="28"/>
                  </a:lnTo>
                  <a:lnTo>
                    <a:pt x="232" y="30"/>
                  </a:lnTo>
                  <a:lnTo>
                    <a:pt x="226" y="30"/>
                  </a:lnTo>
                  <a:lnTo>
                    <a:pt x="224" y="32"/>
                  </a:lnTo>
                  <a:lnTo>
                    <a:pt x="222" y="32"/>
                  </a:lnTo>
                  <a:lnTo>
                    <a:pt x="220" y="34"/>
                  </a:lnTo>
                  <a:lnTo>
                    <a:pt x="218" y="34"/>
                  </a:lnTo>
                  <a:lnTo>
                    <a:pt x="216" y="32"/>
                  </a:lnTo>
                  <a:lnTo>
                    <a:pt x="214" y="34"/>
                  </a:lnTo>
                  <a:lnTo>
                    <a:pt x="212" y="32"/>
                  </a:lnTo>
                  <a:lnTo>
                    <a:pt x="210" y="34"/>
                  </a:lnTo>
                  <a:lnTo>
                    <a:pt x="208" y="34"/>
                  </a:lnTo>
                  <a:lnTo>
                    <a:pt x="206" y="34"/>
                  </a:lnTo>
                  <a:lnTo>
                    <a:pt x="204" y="32"/>
                  </a:lnTo>
                  <a:lnTo>
                    <a:pt x="200" y="32"/>
                  </a:lnTo>
                  <a:lnTo>
                    <a:pt x="200" y="44"/>
                  </a:lnTo>
                  <a:lnTo>
                    <a:pt x="202" y="44"/>
                  </a:lnTo>
                  <a:lnTo>
                    <a:pt x="202" y="46"/>
                  </a:lnTo>
                  <a:lnTo>
                    <a:pt x="206" y="52"/>
                  </a:lnTo>
                  <a:lnTo>
                    <a:pt x="212" y="54"/>
                  </a:lnTo>
                  <a:lnTo>
                    <a:pt x="210" y="56"/>
                  </a:lnTo>
                  <a:lnTo>
                    <a:pt x="208" y="56"/>
                  </a:lnTo>
                  <a:lnTo>
                    <a:pt x="206" y="56"/>
                  </a:lnTo>
                  <a:lnTo>
                    <a:pt x="200" y="56"/>
                  </a:lnTo>
                  <a:lnTo>
                    <a:pt x="198" y="58"/>
                  </a:lnTo>
                  <a:lnTo>
                    <a:pt x="198" y="58"/>
                  </a:lnTo>
                  <a:lnTo>
                    <a:pt x="198" y="72"/>
                  </a:lnTo>
                  <a:lnTo>
                    <a:pt x="192" y="76"/>
                  </a:lnTo>
                  <a:lnTo>
                    <a:pt x="188" y="78"/>
                  </a:lnTo>
                  <a:lnTo>
                    <a:pt x="186" y="82"/>
                  </a:lnTo>
                  <a:lnTo>
                    <a:pt x="188" y="84"/>
                  </a:lnTo>
                  <a:lnTo>
                    <a:pt x="196" y="88"/>
                  </a:lnTo>
                  <a:lnTo>
                    <a:pt x="200" y="90"/>
                  </a:lnTo>
                  <a:lnTo>
                    <a:pt x="204" y="92"/>
                  </a:lnTo>
                  <a:lnTo>
                    <a:pt x="204" y="92"/>
                  </a:lnTo>
                  <a:lnTo>
                    <a:pt x="204" y="96"/>
                  </a:lnTo>
                  <a:lnTo>
                    <a:pt x="204" y="104"/>
                  </a:lnTo>
                  <a:lnTo>
                    <a:pt x="198" y="108"/>
                  </a:lnTo>
                  <a:lnTo>
                    <a:pt x="190" y="108"/>
                  </a:lnTo>
                  <a:lnTo>
                    <a:pt x="184" y="104"/>
                  </a:lnTo>
                  <a:lnTo>
                    <a:pt x="180" y="110"/>
                  </a:lnTo>
                  <a:lnTo>
                    <a:pt x="172" y="108"/>
                  </a:lnTo>
                  <a:lnTo>
                    <a:pt x="166" y="106"/>
                  </a:lnTo>
                  <a:lnTo>
                    <a:pt x="160" y="98"/>
                  </a:lnTo>
                  <a:lnTo>
                    <a:pt x="154" y="98"/>
                  </a:lnTo>
                  <a:lnTo>
                    <a:pt x="146" y="100"/>
                  </a:lnTo>
                  <a:lnTo>
                    <a:pt x="138" y="100"/>
                  </a:lnTo>
                  <a:lnTo>
                    <a:pt x="134" y="102"/>
                  </a:lnTo>
                  <a:lnTo>
                    <a:pt x="130" y="106"/>
                  </a:lnTo>
                  <a:lnTo>
                    <a:pt x="124" y="110"/>
                  </a:lnTo>
                  <a:lnTo>
                    <a:pt x="116" y="102"/>
                  </a:lnTo>
                  <a:lnTo>
                    <a:pt x="116" y="104"/>
                  </a:lnTo>
                  <a:lnTo>
                    <a:pt x="114" y="104"/>
                  </a:lnTo>
                  <a:lnTo>
                    <a:pt x="106" y="102"/>
                  </a:lnTo>
                  <a:lnTo>
                    <a:pt x="104" y="100"/>
                  </a:lnTo>
                  <a:lnTo>
                    <a:pt x="102" y="98"/>
                  </a:lnTo>
                  <a:lnTo>
                    <a:pt x="102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98" y="96"/>
                  </a:lnTo>
                  <a:lnTo>
                    <a:pt x="96" y="94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4" y="90"/>
                  </a:lnTo>
                  <a:lnTo>
                    <a:pt x="94" y="90"/>
                  </a:lnTo>
                  <a:lnTo>
                    <a:pt x="82" y="92"/>
                  </a:lnTo>
                  <a:lnTo>
                    <a:pt x="80" y="88"/>
                  </a:lnTo>
                  <a:lnTo>
                    <a:pt x="74" y="86"/>
                  </a:lnTo>
                  <a:lnTo>
                    <a:pt x="72" y="88"/>
                  </a:lnTo>
                  <a:lnTo>
                    <a:pt x="66" y="86"/>
                  </a:lnTo>
                  <a:lnTo>
                    <a:pt x="62" y="86"/>
                  </a:lnTo>
                  <a:lnTo>
                    <a:pt x="60" y="86"/>
                  </a:lnTo>
                  <a:lnTo>
                    <a:pt x="58" y="84"/>
                  </a:lnTo>
                  <a:lnTo>
                    <a:pt x="52" y="92"/>
                  </a:lnTo>
                  <a:lnTo>
                    <a:pt x="48" y="96"/>
                  </a:lnTo>
                  <a:lnTo>
                    <a:pt x="46" y="96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28" y="110"/>
                  </a:lnTo>
                  <a:lnTo>
                    <a:pt x="28" y="112"/>
                  </a:lnTo>
                  <a:lnTo>
                    <a:pt x="32" y="122"/>
                  </a:lnTo>
                  <a:lnTo>
                    <a:pt x="26" y="126"/>
                  </a:lnTo>
                  <a:lnTo>
                    <a:pt x="22" y="122"/>
                  </a:lnTo>
                  <a:lnTo>
                    <a:pt x="16" y="114"/>
                  </a:lnTo>
                  <a:lnTo>
                    <a:pt x="14" y="112"/>
                  </a:lnTo>
                  <a:lnTo>
                    <a:pt x="10" y="116"/>
                  </a:lnTo>
                  <a:lnTo>
                    <a:pt x="10" y="122"/>
                  </a:lnTo>
                  <a:lnTo>
                    <a:pt x="8" y="124"/>
                  </a:lnTo>
                  <a:lnTo>
                    <a:pt x="4" y="134"/>
                  </a:lnTo>
                  <a:lnTo>
                    <a:pt x="8" y="140"/>
                  </a:lnTo>
                  <a:lnTo>
                    <a:pt x="2" y="146"/>
                  </a:lnTo>
                  <a:lnTo>
                    <a:pt x="0" y="156"/>
                  </a:lnTo>
                  <a:lnTo>
                    <a:pt x="4" y="156"/>
                  </a:lnTo>
                  <a:lnTo>
                    <a:pt x="6" y="158"/>
                  </a:lnTo>
                  <a:lnTo>
                    <a:pt x="6" y="164"/>
                  </a:lnTo>
                  <a:lnTo>
                    <a:pt x="8" y="166"/>
                  </a:lnTo>
                  <a:lnTo>
                    <a:pt x="8" y="168"/>
                  </a:lnTo>
                  <a:lnTo>
                    <a:pt x="12" y="168"/>
                  </a:lnTo>
                  <a:lnTo>
                    <a:pt x="20" y="168"/>
                  </a:lnTo>
                  <a:lnTo>
                    <a:pt x="24" y="172"/>
                  </a:lnTo>
                  <a:lnTo>
                    <a:pt x="28" y="176"/>
                  </a:lnTo>
                  <a:lnTo>
                    <a:pt x="34" y="188"/>
                  </a:lnTo>
                  <a:lnTo>
                    <a:pt x="30" y="190"/>
                  </a:lnTo>
                  <a:lnTo>
                    <a:pt x="28" y="188"/>
                  </a:lnTo>
                  <a:lnTo>
                    <a:pt x="28" y="190"/>
                  </a:lnTo>
                  <a:lnTo>
                    <a:pt x="36" y="196"/>
                  </a:lnTo>
                  <a:lnTo>
                    <a:pt x="48" y="206"/>
                  </a:lnTo>
                  <a:lnTo>
                    <a:pt x="38" y="216"/>
                  </a:lnTo>
                  <a:lnTo>
                    <a:pt x="32" y="224"/>
                  </a:lnTo>
                  <a:lnTo>
                    <a:pt x="30" y="228"/>
                  </a:lnTo>
                  <a:lnTo>
                    <a:pt x="32" y="232"/>
                  </a:lnTo>
                  <a:lnTo>
                    <a:pt x="34" y="242"/>
                  </a:lnTo>
                  <a:lnTo>
                    <a:pt x="34" y="246"/>
                  </a:lnTo>
                  <a:lnTo>
                    <a:pt x="36" y="250"/>
                  </a:lnTo>
                  <a:lnTo>
                    <a:pt x="40" y="258"/>
                  </a:lnTo>
                  <a:lnTo>
                    <a:pt x="44" y="266"/>
                  </a:lnTo>
                  <a:lnTo>
                    <a:pt x="64" y="291"/>
                  </a:lnTo>
                  <a:lnTo>
                    <a:pt x="80" y="283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1" name="Freeform 851">
              <a:extLst>
                <a:ext uri="{FF2B5EF4-FFF2-40B4-BE49-F238E27FC236}">
                  <a16:creationId xmlns:a16="http://schemas.microsoft.com/office/drawing/2014/main" id="{7C4C8E4E-414D-417D-92CD-B02E3A4E4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4713" y="4818063"/>
              <a:ext cx="355600" cy="307975"/>
            </a:xfrm>
            <a:custGeom>
              <a:avLst/>
              <a:gdLst/>
              <a:ahLst/>
              <a:cxnLst/>
              <a:rect l="l" t="t" r="r" b="b"/>
              <a:pathLst>
                <a:path w="355600" h="307975">
                  <a:moveTo>
                    <a:pt x="254000" y="152400"/>
                  </a:moveTo>
                  <a:lnTo>
                    <a:pt x="244475" y="158750"/>
                  </a:lnTo>
                  <a:lnTo>
                    <a:pt x="238125" y="168275"/>
                  </a:lnTo>
                  <a:lnTo>
                    <a:pt x="225425" y="177800"/>
                  </a:lnTo>
                  <a:lnTo>
                    <a:pt x="234950" y="193675"/>
                  </a:lnTo>
                  <a:lnTo>
                    <a:pt x="238125" y="196850"/>
                  </a:lnTo>
                  <a:lnTo>
                    <a:pt x="244475" y="200025"/>
                  </a:lnTo>
                  <a:lnTo>
                    <a:pt x="250825" y="200025"/>
                  </a:lnTo>
                  <a:lnTo>
                    <a:pt x="254000" y="193675"/>
                  </a:lnTo>
                  <a:lnTo>
                    <a:pt x="260350" y="190500"/>
                  </a:lnTo>
                  <a:lnTo>
                    <a:pt x="269875" y="187325"/>
                  </a:lnTo>
                  <a:lnTo>
                    <a:pt x="273050" y="184150"/>
                  </a:lnTo>
                  <a:lnTo>
                    <a:pt x="276225" y="177800"/>
                  </a:lnTo>
                  <a:lnTo>
                    <a:pt x="279400" y="165100"/>
                  </a:lnTo>
                  <a:lnTo>
                    <a:pt x="276225" y="161925"/>
                  </a:lnTo>
                  <a:lnTo>
                    <a:pt x="269875" y="158750"/>
                  </a:lnTo>
                  <a:lnTo>
                    <a:pt x="263525" y="152400"/>
                  </a:lnTo>
                  <a:close/>
                  <a:moveTo>
                    <a:pt x="279400" y="0"/>
                  </a:moveTo>
                  <a:lnTo>
                    <a:pt x="288925" y="0"/>
                  </a:lnTo>
                  <a:lnTo>
                    <a:pt x="304800" y="3175"/>
                  </a:lnTo>
                  <a:lnTo>
                    <a:pt x="320675" y="3175"/>
                  </a:lnTo>
                  <a:lnTo>
                    <a:pt x="323850" y="15875"/>
                  </a:lnTo>
                  <a:lnTo>
                    <a:pt x="323850" y="25400"/>
                  </a:lnTo>
                  <a:lnTo>
                    <a:pt x="327025" y="34925"/>
                  </a:lnTo>
                  <a:lnTo>
                    <a:pt x="333375" y="41275"/>
                  </a:lnTo>
                  <a:lnTo>
                    <a:pt x="333375" y="88900"/>
                  </a:lnTo>
                  <a:lnTo>
                    <a:pt x="327025" y="85725"/>
                  </a:lnTo>
                  <a:lnTo>
                    <a:pt x="320675" y="82550"/>
                  </a:lnTo>
                  <a:lnTo>
                    <a:pt x="314325" y="88900"/>
                  </a:lnTo>
                  <a:lnTo>
                    <a:pt x="307975" y="101600"/>
                  </a:lnTo>
                  <a:lnTo>
                    <a:pt x="307975" y="107950"/>
                  </a:lnTo>
                  <a:lnTo>
                    <a:pt x="317500" y="117475"/>
                  </a:lnTo>
                  <a:lnTo>
                    <a:pt x="333375" y="120650"/>
                  </a:lnTo>
                  <a:lnTo>
                    <a:pt x="336550" y="107950"/>
                  </a:lnTo>
                  <a:lnTo>
                    <a:pt x="342900" y="107950"/>
                  </a:lnTo>
                  <a:lnTo>
                    <a:pt x="355600" y="107950"/>
                  </a:lnTo>
                  <a:lnTo>
                    <a:pt x="349250" y="127000"/>
                  </a:lnTo>
                  <a:lnTo>
                    <a:pt x="346075" y="142875"/>
                  </a:lnTo>
                  <a:lnTo>
                    <a:pt x="342900" y="152400"/>
                  </a:lnTo>
                  <a:lnTo>
                    <a:pt x="336550" y="155575"/>
                  </a:lnTo>
                  <a:lnTo>
                    <a:pt x="323850" y="165100"/>
                  </a:lnTo>
                  <a:lnTo>
                    <a:pt x="317500" y="177800"/>
                  </a:lnTo>
                  <a:lnTo>
                    <a:pt x="314325" y="184150"/>
                  </a:lnTo>
                  <a:lnTo>
                    <a:pt x="298450" y="209550"/>
                  </a:lnTo>
                  <a:lnTo>
                    <a:pt x="288925" y="219075"/>
                  </a:lnTo>
                  <a:lnTo>
                    <a:pt x="279400" y="228600"/>
                  </a:lnTo>
                  <a:lnTo>
                    <a:pt x="260350" y="250825"/>
                  </a:lnTo>
                  <a:lnTo>
                    <a:pt x="234950" y="269875"/>
                  </a:lnTo>
                  <a:lnTo>
                    <a:pt x="209550" y="279400"/>
                  </a:lnTo>
                  <a:lnTo>
                    <a:pt x="200025" y="279400"/>
                  </a:lnTo>
                  <a:lnTo>
                    <a:pt x="200025" y="288925"/>
                  </a:lnTo>
                  <a:lnTo>
                    <a:pt x="187325" y="285750"/>
                  </a:lnTo>
                  <a:lnTo>
                    <a:pt x="180975" y="288925"/>
                  </a:lnTo>
                  <a:lnTo>
                    <a:pt x="174625" y="292100"/>
                  </a:lnTo>
                  <a:lnTo>
                    <a:pt x="168275" y="288925"/>
                  </a:lnTo>
                  <a:lnTo>
                    <a:pt x="158750" y="288925"/>
                  </a:lnTo>
                  <a:lnTo>
                    <a:pt x="149225" y="288925"/>
                  </a:lnTo>
                  <a:lnTo>
                    <a:pt x="130175" y="288925"/>
                  </a:lnTo>
                  <a:lnTo>
                    <a:pt x="117475" y="295275"/>
                  </a:lnTo>
                  <a:lnTo>
                    <a:pt x="111125" y="298450"/>
                  </a:lnTo>
                  <a:lnTo>
                    <a:pt x="104775" y="298450"/>
                  </a:lnTo>
                  <a:lnTo>
                    <a:pt x="92075" y="298450"/>
                  </a:lnTo>
                  <a:lnTo>
                    <a:pt x="85725" y="301625"/>
                  </a:lnTo>
                  <a:lnTo>
                    <a:pt x="76200" y="307975"/>
                  </a:lnTo>
                  <a:lnTo>
                    <a:pt x="60325" y="301625"/>
                  </a:lnTo>
                  <a:lnTo>
                    <a:pt x="53975" y="295275"/>
                  </a:lnTo>
                  <a:lnTo>
                    <a:pt x="50800" y="288925"/>
                  </a:lnTo>
                  <a:lnTo>
                    <a:pt x="44450" y="288925"/>
                  </a:lnTo>
                  <a:lnTo>
                    <a:pt x="41275" y="285750"/>
                  </a:lnTo>
                  <a:lnTo>
                    <a:pt x="41275" y="276225"/>
                  </a:lnTo>
                  <a:lnTo>
                    <a:pt x="34925" y="263525"/>
                  </a:lnTo>
                  <a:lnTo>
                    <a:pt x="28575" y="257175"/>
                  </a:lnTo>
                  <a:lnTo>
                    <a:pt x="34925" y="257175"/>
                  </a:lnTo>
                  <a:lnTo>
                    <a:pt x="41275" y="244475"/>
                  </a:lnTo>
                  <a:lnTo>
                    <a:pt x="38100" y="228600"/>
                  </a:lnTo>
                  <a:lnTo>
                    <a:pt x="22225" y="206375"/>
                  </a:lnTo>
                  <a:lnTo>
                    <a:pt x="15875" y="190500"/>
                  </a:lnTo>
                  <a:lnTo>
                    <a:pt x="12700" y="177800"/>
                  </a:lnTo>
                  <a:lnTo>
                    <a:pt x="0" y="149225"/>
                  </a:lnTo>
                  <a:lnTo>
                    <a:pt x="3175" y="146050"/>
                  </a:lnTo>
                  <a:lnTo>
                    <a:pt x="9525" y="139700"/>
                  </a:lnTo>
                  <a:lnTo>
                    <a:pt x="15875" y="139700"/>
                  </a:lnTo>
                  <a:lnTo>
                    <a:pt x="19050" y="146050"/>
                  </a:lnTo>
                  <a:lnTo>
                    <a:pt x="19050" y="149225"/>
                  </a:lnTo>
                  <a:lnTo>
                    <a:pt x="22225" y="155575"/>
                  </a:lnTo>
                  <a:lnTo>
                    <a:pt x="28575" y="155575"/>
                  </a:lnTo>
                  <a:lnTo>
                    <a:pt x="41275" y="158750"/>
                  </a:lnTo>
                  <a:lnTo>
                    <a:pt x="50800" y="158750"/>
                  </a:lnTo>
                  <a:lnTo>
                    <a:pt x="53975" y="158750"/>
                  </a:lnTo>
                  <a:lnTo>
                    <a:pt x="60325" y="155575"/>
                  </a:lnTo>
                  <a:lnTo>
                    <a:pt x="66675" y="149225"/>
                  </a:lnTo>
                  <a:lnTo>
                    <a:pt x="76200" y="146050"/>
                  </a:lnTo>
                  <a:lnTo>
                    <a:pt x="76200" y="60325"/>
                  </a:lnTo>
                  <a:lnTo>
                    <a:pt x="85725" y="69850"/>
                  </a:lnTo>
                  <a:lnTo>
                    <a:pt x="92075" y="85725"/>
                  </a:lnTo>
                  <a:lnTo>
                    <a:pt x="92075" y="92075"/>
                  </a:lnTo>
                  <a:lnTo>
                    <a:pt x="88900" y="98425"/>
                  </a:lnTo>
                  <a:lnTo>
                    <a:pt x="92075" y="111125"/>
                  </a:lnTo>
                  <a:lnTo>
                    <a:pt x="101600" y="107950"/>
                  </a:lnTo>
                  <a:lnTo>
                    <a:pt x="114300" y="107950"/>
                  </a:lnTo>
                  <a:lnTo>
                    <a:pt x="130175" y="92075"/>
                  </a:lnTo>
                  <a:lnTo>
                    <a:pt x="136525" y="82550"/>
                  </a:lnTo>
                  <a:lnTo>
                    <a:pt x="139700" y="73025"/>
                  </a:lnTo>
                  <a:lnTo>
                    <a:pt x="149225" y="73025"/>
                  </a:lnTo>
                  <a:lnTo>
                    <a:pt x="158750" y="79375"/>
                  </a:lnTo>
                  <a:lnTo>
                    <a:pt x="168275" y="82550"/>
                  </a:lnTo>
                  <a:lnTo>
                    <a:pt x="180975" y="85725"/>
                  </a:lnTo>
                  <a:lnTo>
                    <a:pt x="196850" y="79375"/>
                  </a:lnTo>
                  <a:lnTo>
                    <a:pt x="203200" y="66675"/>
                  </a:lnTo>
                  <a:lnTo>
                    <a:pt x="203200" y="57150"/>
                  </a:lnTo>
                  <a:lnTo>
                    <a:pt x="212725" y="57150"/>
                  </a:lnTo>
                  <a:lnTo>
                    <a:pt x="225425" y="44450"/>
                  </a:lnTo>
                  <a:lnTo>
                    <a:pt x="225425" y="34925"/>
                  </a:lnTo>
                  <a:lnTo>
                    <a:pt x="234950" y="25400"/>
                  </a:lnTo>
                  <a:lnTo>
                    <a:pt x="247650" y="15875"/>
                  </a:lnTo>
                  <a:lnTo>
                    <a:pt x="257175" y="9525"/>
                  </a:lnTo>
                  <a:lnTo>
                    <a:pt x="263525" y="6350"/>
                  </a:lnTo>
                  <a:lnTo>
                    <a:pt x="266700" y="635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2" name="Freeform 42">
              <a:extLst>
                <a:ext uri="{FF2B5EF4-FFF2-40B4-BE49-F238E27FC236}">
                  <a16:creationId xmlns:a16="http://schemas.microsoft.com/office/drawing/2014/main" id="{63498EBA-6ADA-40C8-A75D-734D7D846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850" y="2111375"/>
              <a:ext cx="815975" cy="1801813"/>
            </a:xfrm>
            <a:custGeom>
              <a:avLst/>
              <a:gdLst/>
              <a:ahLst/>
              <a:cxnLst/>
              <a:rect l="l" t="t" r="r" b="b"/>
              <a:pathLst>
                <a:path w="815975" h="1801813">
                  <a:moveTo>
                    <a:pt x="263525" y="1773238"/>
                  </a:moveTo>
                  <a:lnTo>
                    <a:pt x="269875" y="1776413"/>
                  </a:lnTo>
                  <a:lnTo>
                    <a:pt x="276225" y="1782763"/>
                  </a:lnTo>
                  <a:lnTo>
                    <a:pt x="282575" y="1792288"/>
                  </a:lnTo>
                  <a:lnTo>
                    <a:pt x="276225" y="1798638"/>
                  </a:lnTo>
                  <a:lnTo>
                    <a:pt x="263525" y="1801813"/>
                  </a:lnTo>
                  <a:lnTo>
                    <a:pt x="260350" y="1792288"/>
                  </a:lnTo>
                  <a:close/>
                  <a:moveTo>
                    <a:pt x="244475" y="1757363"/>
                  </a:moveTo>
                  <a:lnTo>
                    <a:pt x="250825" y="1757363"/>
                  </a:lnTo>
                  <a:lnTo>
                    <a:pt x="257175" y="1763713"/>
                  </a:lnTo>
                  <a:lnTo>
                    <a:pt x="250825" y="1766888"/>
                  </a:lnTo>
                  <a:close/>
                  <a:moveTo>
                    <a:pt x="231775" y="1751013"/>
                  </a:moveTo>
                  <a:lnTo>
                    <a:pt x="241300" y="1754188"/>
                  </a:lnTo>
                  <a:lnTo>
                    <a:pt x="234950" y="1754188"/>
                  </a:lnTo>
                  <a:lnTo>
                    <a:pt x="228600" y="1754188"/>
                  </a:lnTo>
                  <a:close/>
                  <a:moveTo>
                    <a:pt x="209550" y="1741488"/>
                  </a:moveTo>
                  <a:lnTo>
                    <a:pt x="215900" y="1741488"/>
                  </a:lnTo>
                  <a:lnTo>
                    <a:pt x="222250" y="1747838"/>
                  </a:lnTo>
                  <a:lnTo>
                    <a:pt x="219075" y="1751013"/>
                  </a:lnTo>
                  <a:lnTo>
                    <a:pt x="212725" y="1747838"/>
                  </a:lnTo>
                  <a:lnTo>
                    <a:pt x="209550" y="1744663"/>
                  </a:lnTo>
                  <a:close/>
                  <a:moveTo>
                    <a:pt x="187325" y="1728788"/>
                  </a:moveTo>
                  <a:lnTo>
                    <a:pt x="187325" y="1731963"/>
                  </a:lnTo>
                  <a:lnTo>
                    <a:pt x="187325" y="1735138"/>
                  </a:lnTo>
                  <a:lnTo>
                    <a:pt x="177800" y="1735138"/>
                  </a:lnTo>
                  <a:close/>
                  <a:moveTo>
                    <a:pt x="28575" y="835025"/>
                  </a:moveTo>
                  <a:lnTo>
                    <a:pt x="38100" y="838200"/>
                  </a:lnTo>
                  <a:lnTo>
                    <a:pt x="34925" y="844550"/>
                  </a:lnTo>
                  <a:lnTo>
                    <a:pt x="28575" y="854075"/>
                  </a:lnTo>
                  <a:lnTo>
                    <a:pt x="15875" y="857250"/>
                  </a:lnTo>
                  <a:lnTo>
                    <a:pt x="3175" y="860425"/>
                  </a:lnTo>
                  <a:lnTo>
                    <a:pt x="9525" y="857250"/>
                  </a:lnTo>
                  <a:lnTo>
                    <a:pt x="12700" y="857250"/>
                  </a:lnTo>
                  <a:lnTo>
                    <a:pt x="15875" y="854075"/>
                  </a:lnTo>
                  <a:lnTo>
                    <a:pt x="19050" y="850900"/>
                  </a:lnTo>
                  <a:lnTo>
                    <a:pt x="19050" y="838200"/>
                  </a:lnTo>
                  <a:close/>
                  <a:moveTo>
                    <a:pt x="95250" y="800100"/>
                  </a:moveTo>
                  <a:lnTo>
                    <a:pt x="101600" y="806450"/>
                  </a:lnTo>
                  <a:lnTo>
                    <a:pt x="82550" y="812800"/>
                  </a:lnTo>
                  <a:lnTo>
                    <a:pt x="79375" y="815975"/>
                  </a:lnTo>
                  <a:lnTo>
                    <a:pt x="76200" y="819150"/>
                  </a:lnTo>
                  <a:lnTo>
                    <a:pt x="69850" y="822325"/>
                  </a:lnTo>
                  <a:lnTo>
                    <a:pt x="63500" y="812800"/>
                  </a:lnTo>
                  <a:lnTo>
                    <a:pt x="69850" y="806450"/>
                  </a:lnTo>
                  <a:lnTo>
                    <a:pt x="73025" y="803275"/>
                  </a:lnTo>
                  <a:close/>
                  <a:moveTo>
                    <a:pt x="177800" y="793750"/>
                  </a:moveTo>
                  <a:lnTo>
                    <a:pt x="180975" y="793750"/>
                  </a:lnTo>
                  <a:lnTo>
                    <a:pt x="180975" y="796925"/>
                  </a:lnTo>
                  <a:close/>
                  <a:moveTo>
                    <a:pt x="752475" y="787400"/>
                  </a:moveTo>
                  <a:lnTo>
                    <a:pt x="758825" y="806450"/>
                  </a:lnTo>
                  <a:lnTo>
                    <a:pt x="755650" y="806450"/>
                  </a:lnTo>
                  <a:lnTo>
                    <a:pt x="749300" y="793750"/>
                  </a:lnTo>
                  <a:lnTo>
                    <a:pt x="752475" y="790575"/>
                  </a:lnTo>
                  <a:lnTo>
                    <a:pt x="749300" y="790575"/>
                  </a:lnTo>
                  <a:close/>
                  <a:moveTo>
                    <a:pt x="787400" y="765175"/>
                  </a:moveTo>
                  <a:lnTo>
                    <a:pt x="793750" y="765175"/>
                  </a:lnTo>
                  <a:lnTo>
                    <a:pt x="796925" y="774700"/>
                  </a:lnTo>
                  <a:lnTo>
                    <a:pt x="796925" y="787400"/>
                  </a:lnTo>
                  <a:lnTo>
                    <a:pt x="784225" y="787400"/>
                  </a:lnTo>
                  <a:lnTo>
                    <a:pt x="777875" y="781050"/>
                  </a:lnTo>
                  <a:lnTo>
                    <a:pt x="784225" y="771525"/>
                  </a:lnTo>
                  <a:close/>
                  <a:moveTo>
                    <a:pt x="742950" y="755650"/>
                  </a:moveTo>
                  <a:lnTo>
                    <a:pt x="749300" y="755650"/>
                  </a:lnTo>
                  <a:lnTo>
                    <a:pt x="742950" y="765175"/>
                  </a:lnTo>
                  <a:lnTo>
                    <a:pt x="736600" y="765175"/>
                  </a:lnTo>
                  <a:close/>
                  <a:moveTo>
                    <a:pt x="768350" y="746125"/>
                  </a:moveTo>
                  <a:lnTo>
                    <a:pt x="771525" y="755650"/>
                  </a:lnTo>
                  <a:lnTo>
                    <a:pt x="774700" y="762000"/>
                  </a:lnTo>
                  <a:lnTo>
                    <a:pt x="765175" y="762000"/>
                  </a:lnTo>
                  <a:lnTo>
                    <a:pt x="762000" y="749300"/>
                  </a:lnTo>
                  <a:close/>
                  <a:moveTo>
                    <a:pt x="742950" y="746125"/>
                  </a:moveTo>
                  <a:lnTo>
                    <a:pt x="752475" y="749300"/>
                  </a:lnTo>
                  <a:lnTo>
                    <a:pt x="758825" y="758825"/>
                  </a:lnTo>
                  <a:lnTo>
                    <a:pt x="771525" y="777875"/>
                  </a:lnTo>
                  <a:lnTo>
                    <a:pt x="774700" y="787400"/>
                  </a:lnTo>
                  <a:lnTo>
                    <a:pt x="777875" y="803275"/>
                  </a:lnTo>
                  <a:lnTo>
                    <a:pt x="771525" y="809625"/>
                  </a:lnTo>
                  <a:lnTo>
                    <a:pt x="765175" y="800100"/>
                  </a:lnTo>
                  <a:lnTo>
                    <a:pt x="765175" y="793750"/>
                  </a:lnTo>
                  <a:lnTo>
                    <a:pt x="755650" y="787400"/>
                  </a:lnTo>
                  <a:lnTo>
                    <a:pt x="752475" y="787400"/>
                  </a:lnTo>
                  <a:lnTo>
                    <a:pt x="752475" y="781050"/>
                  </a:lnTo>
                  <a:lnTo>
                    <a:pt x="752475" y="765175"/>
                  </a:lnTo>
                  <a:lnTo>
                    <a:pt x="749300" y="752475"/>
                  </a:lnTo>
                  <a:lnTo>
                    <a:pt x="742950" y="752475"/>
                  </a:lnTo>
                  <a:close/>
                  <a:moveTo>
                    <a:pt x="758825" y="730250"/>
                  </a:moveTo>
                  <a:lnTo>
                    <a:pt x="765175" y="739775"/>
                  </a:lnTo>
                  <a:lnTo>
                    <a:pt x="758825" y="742950"/>
                  </a:lnTo>
                  <a:lnTo>
                    <a:pt x="755650" y="736600"/>
                  </a:lnTo>
                  <a:close/>
                  <a:moveTo>
                    <a:pt x="727075" y="730250"/>
                  </a:moveTo>
                  <a:lnTo>
                    <a:pt x="736600" y="739775"/>
                  </a:lnTo>
                  <a:lnTo>
                    <a:pt x="730250" y="742950"/>
                  </a:lnTo>
                  <a:lnTo>
                    <a:pt x="733425" y="752475"/>
                  </a:lnTo>
                  <a:lnTo>
                    <a:pt x="730250" y="762000"/>
                  </a:lnTo>
                  <a:lnTo>
                    <a:pt x="727075" y="768350"/>
                  </a:lnTo>
                  <a:lnTo>
                    <a:pt x="723900" y="758825"/>
                  </a:lnTo>
                  <a:lnTo>
                    <a:pt x="720725" y="736600"/>
                  </a:lnTo>
                  <a:close/>
                  <a:moveTo>
                    <a:pt x="733425" y="717550"/>
                  </a:moveTo>
                  <a:lnTo>
                    <a:pt x="752475" y="723900"/>
                  </a:lnTo>
                  <a:lnTo>
                    <a:pt x="749300" y="742950"/>
                  </a:lnTo>
                  <a:lnTo>
                    <a:pt x="742950" y="742950"/>
                  </a:lnTo>
                  <a:lnTo>
                    <a:pt x="739775" y="739775"/>
                  </a:lnTo>
                  <a:lnTo>
                    <a:pt x="730250" y="723900"/>
                  </a:lnTo>
                  <a:close/>
                  <a:moveTo>
                    <a:pt x="695325" y="714375"/>
                  </a:moveTo>
                  <a:lnTo>
                    <a:pt x="695325" y="727075"/>
                  </a:lnTo>
                  <a:lnTo>
                    <a:pt x="692150" y="717550"/>
                  </a:lnTo>
                  <a:close/>
                  <a:moveTo>
                    <a:pt x="701675" y="701675"/>
                  </a:moveTo>
                  <a:lnTo>
                    <a:pt x="708025" y="704850"/>
                  </a:lnTo>
                  <a:lnTo>
                    <a:pt x="711200" y="708025"/>
                  </a:lnTo>
                  <a:lnTo>
                    <a:pt x="714375" y="714375"/>
                  </a:lnTo>
                  <a:lnTo>
                    <a:pt x="717550" y="752475"/>
                  </a:lnTo>
                  <a:lnTo>
                    <a:pt x="717550" y="755650"/>
                  </a:lnTo>
                  <a:lnTo>
                    <a:pt x="714375" y="749300"/>
                  </a:lnTo>
                  <a:lnTo>
                    <a:pt x="704850" y="733425"/>
                  </a:lnTo>
                  <a:lnTo>
                    <a:pt x="698500" y="714375"/>
                  </a:lnTo>
                  <a:lnTo>
                    <a:pt x="698500" y="708025"/>
                  </a:lnTo>
                  <a:close/>
                  <a:moveTo>
                    <a:pt x="330200" y="685800"/>
                  </a:moveTo>
                  <a:lnTo>
                    <a:pt x="333375" y="685800"/>
                  </a:lnTo>
                  <a:lnTo>
                    <a:pt x="339725" y="695325"/>
                  </a:lnTo>
                  <a:lnTo>
                    <a:pt x="339725" y="698500"/>
                  </a:lnTo>
                  <a:lnTo>
                    <a:pt x="336550" y="704850"/>
                  </a:lnTo>
                  <a:lnTo>
                    <a:pt x="330200" y="711200"/>
                  </a:lnTo>
                  <a:lnTo>
                    <a:pt x="327025" y="711200"/>
                  </a:lnTo>
                  <a:lnTo>
                    <a:pt x="323850" y="708025"/>
                  </a:lnTo>
                  <a:lnTo>
                    <a:pt x="317500" y="711200"/>
                  </a:lnTo>
                  <a:lnTo>
                    <a:pt x="311150" y="714375"/>
                  </a:lnTo>
                  <a:lnTo>
                    <a:pt x="307975" y="727075"/>
                  </a:lnTo>
                  <a:lnTo>
                    <a:pt x="298450" y="730250"/>
                  </a:lnTo>
                  <a:lnTo>
                    <a:pt x="285750" y="711200"/>
                  </a:lnTo>
                  <a:lnTo>
                    <a:pt x="285750" y="708025"/>
                  </a:lnTo>
                  <a:lnTo>
                    <a:pt x="288925" y="701675"/>
                  </a:lnTo>
                  <a:lnTo>
                    <a:pt x="295275" y="695325"/>
                  </a:lnTo>
                  <a:lnTo>
                    <a:pt x="304800" y="695325"/>
                  </a:lnTo>
                  <a:lnTo>
                    <a:pt x="311150" y="695325"/>
                  </a:lnTo>
                  <a:lnTo>
                    <a:pt x="320675" y="688975"/>
                  </a:lnTo>
                  <a:close/>
                  <a:moveTo>
                    <a:pt x="692150" y="669925"/>
                  </a:moveTo>
                  <a:lnTo>
                    <a:pt x="695325" y="669925"/>
                  </a:lnTo>
                  <a:lnTo>
                    <a:pt x="708025" y="676275"/>
                  </a:lnTo>
                  <a:lnTo>
                    <a:pt x="714375" y="682625"/>
                  </a:lnTo>
                  <a:lnTo>
                    <a:pt x="714375" y="692150"/>
                  </a:lnTo>
                  <a:lnTo>
                    <a:pt x="711200" y="701675"/>
                  </a:lnTo>
                  <a:lnTo>
                    <a:pt x="704850" y="698500"/>
                  </a:lnTo>
                  <a:lnTo>
                    <a:pt x="698500" y="698500"/>
                  </a:lnTo>
                  <a:lnTo>
                    <a:pt x="698500" y="704850"/>
                  </a:lnTo>
                  <a:lnTo>
                    <a:pt x="692150" y="704850"/>
                  </a:lnTo>
                  <a:lnTo>
                    <a:pt x="682625" y="688975"/>
                  </a:lnTo>
                  <a:lnTo>
                    <a:pt x="682625" y="673100"/>
                  </a:lnTo>
                  <a:close/>
                  <a:moveTo>
                    <a:pt x="714375" y="666750"/>
                  </a:moveTo>
                  <a:lnTo>
                    <a:pt x="717550" y="673100"/>
                  </a:lnTo>
                  <a:lnTo>
                    <a:pt x="723900" y="673100"/>
                  </a:lnTo>
                  <a:lnTo>
                    <a:pt x="733425" y="685800"/>
                  </a:lnTo>
                  <a:lnTo>
                    <a:pt x="736600" y="704850"/>
                  </a:lnTo>
                  <a:lnTo>
                    <a:pt x="727075" y="714375"/>
                  </a:lnTo>
                  <a:lnTo>
                    <a:pt x="723900" y="720725"/>
                  </a:lnTo>
                  <a:lnTo>
                    <a:pt x="720725" y="714375"/>
                  </a:lnTo>
                  <a:lnTo>
                    <a:pt x="720725" y="704850"/>
                  </a:lnTo>
                  <a:lnTo>
                    <a:pt x="720725" y="695325"/>
                  </a:lnTo>
                  <a:lnTo>
                    <a:pt x="714375" y="673100"/>
                  </a:lnTo>
                  <a:close/>
                  <a:moveTo>
                    <a:pt x="333375" y="663575"/>
                  </a:moveTo>
                  <a:lnTo>
                    <a:pt x="342900" y="666750"/>
                  </a:lnTo>
                  <a:lnTo>
                    <a:pt x="339725" y="676275"/>
                  </a:lnTo>
                  <a:lnTo>
                    <a:pt x="323850" y="679450"/>
                  </a:lnTo>
                  <a:lnTo>
                    <a:pt x="317500" y="673100"/>
                  </a:lnTo>
                  <a:lnTo>
                    <a:pt x="323850" y="666750"/>
                  </a:lnTo>
                  <a:close/>
                  <a:moveTo>
                    <a:pt x="450850" y="581025"/>
                  </a:moveTo>
                  <a:lnTo>
                    <a:pt x="454025" y="584200"/>
                  </a:lnTo>
                  <a:lnTo>
                    <a:pt x="441325" y="600075"/>
                  </a:lnTo>
                  <a:lnTo>
                    <a:pt x="441325" y="603250"/>
                  </a:lnTo>
                  <a:lnTo>
                    <a:pt x="434975" y="606425"/>
                  </a:lnTo>
                  <a:lnTo>
                    <a:pt x="431800" y="606425"/>
                  </a:lnTo>
                  <a:lnTo>
                    <a:pt x="444500" y="584200"/>
                  </a:lnTo>
                  <a:close/>
                  <a:moveTo>
                    <a:pt x="463550" y="577850"/>
                  </a:moveTo>
                  <a:lnTo>
                    <a:pt x="473075" y="581025"/>
                  </a:lnTo>
                  <a:lnTo>
                    <a:pt x="463550" y="584200"/>
                  </a:lnTo>
                  <a:lnTo>
                    <a:pt x="460375" y="584200"/>
                  </a:lnTo>
                  <a:lnTo>
                    <a:pt x="457200" y="581025"/>
                  </a:lnTo>
                  <a:close/>
                  <a:moveTo>
                    <a:pt x="41275" y="577850"/>
                  </a:moveTo>
                  <a:lnTo>
                    <a:pt x="47625" y="584200"/>
                  </a:lnTo>
                  <a:lnTo>
                    <a:pt x="50800" y="596900"/>
                  </a:lnTo>
                  <a:lnTo>
                    <a:pt x="47625" y="600075"/>
                  </a:lnTo>
                  <a:lnTo>
                    <a:pt x="34925" y="606425"/>
                  </a:lnTo>
                  <a:lnTo>
                    <a:pt x="25400" y="600075"/>
                  </a:lnTo>
                  <a:lnTo>
                    <a:pt x="12700" y="593725"/>
                  </a:lnTo>
                  <a:lnTo>
                    <a:pt x="15875" y="587375"/>
                  </a:lnTo>
                  <a:close/>
                  <a:moveTo>
                    <a:pt x="241300" y="0"/>
                  </a:moveTo>
                  <a:lnTo>
                    <a:pt x="266700" y="6350"/>
                  </a:lnTo>
                  <a:lnTo>
                    <a:pt x="276225" y="9525"/>
                  </a:lnTo>
                  <a:lnTo>
                    <a:pt x="279400" y="6350"/>
                  </a:lnTo>
                  <a:lnTo>
                    <a:pt x="285750" y="12700"/>
                  </a:lnTo>
                  <a:lnTo>
                    <a:pt x="285750" y="19050"/>
                  </a:lnTo>
                  <a:lnTo>
                    <a:pt x="298450" y="28575"/>
                  </a:lnTo>
                  <a:lnTo>
                    <a:pt x="304800" y="22225"/>
                  </a:lnTo>
                  <a:lnTo>
                    <a:pt x="311150" y="22225"/>
                  </a:lnTo>
                  <a:lnTo>
                    <a:pt x="327025" y="22225"/>
                  </a:lnTo>
                  <a:lnTo>
                    <a:pt x="339725" y="28575"/>
                  </a:lnTo>
                  <a:lnTo>
                    <a:pt x="330200" y="44450"/>
                  </a:lnTo>
                  <a:lnTo>
                    <a:pt x="336550" y="47625"/>
                  </a:lnTo>
                  <a:lnTo>
                    <a:pt x="346075" y="50800"/>
                  </a:lnTo>
                  <a:lnTo>
                    <a:pt x="358775" y="53975"/>
                  </a:lnTo>
                  <a:lnTo>
                    <a:pt x="371475" y="50800"/>
                  </a:lnTo>
                  <a:lnTo>
                    <a:pt x="384175" y="47625"/>
                  </a:lnTo>
                  <a:lnTo>
                    <a:pt x="400050" y="47625"/>
                  </a:lnTo>
                  <a:lnTo>
                    <a:pt x="425450" y="57150"/>
                  </a:lnTo>
                  <a:lnTo>
                    <a:pt x="431800" y="60325"/>
                  </a:lnTo>
                  <a:lnTo>
                    <a:pt x="438150" y="66675"/>
                  </a:lnTo>
                  <a:lnTo>
                    <a:pt x="450850" y="69850"/>
                  </a:lnTo>
                  <a:lnTo>
                    <a:pt x="463550" y="66675"/>
                  </a:lnTo>
                  <a:lnTo>
                    <a:pt x="479425" y="73025"/>
                  </a:lnTo>
                  <a:lnTo>
                    <a:pt x="501650" y="82550"/>
                  </a:lnTo>
                  <a:lnTo>
                    <a:pt x="511175" y="76200"/>
                  </a:lnTo>
                  <a:lnTo>
                    <a:pt x="527050" y="73025"/>
                  </a:lnTo>
                  <a:lnTo>
                    <a:pt x="542925" y="76200"/>
                  </a:lnTo>
                  <a:lnTo>
                    <a:pt x="552450" y="88900"/>
                  </a:lnTo>
                  <a:lnTo>
                    <a:pt x="558800" y="95250"/>
                  </a:lnTo>
                  <a:lnTo>
                    <a:pt x="561975" y="92075"/>
                  </a:lnTo>
                  <a:lnTo>
                    <a:pt x="565150" y="95250"/>
                  </a:lnTo>
                  <a:lnTo>
                    <a:pt x="581025" y="101600"/>
                  </a:lnTo>
                  <a:lnTo>
                    <a:pt x="581025" y="374650"/>
                  </a:lnTo>
                  <a:lnTo>
                    <a:pt x="581025" y="495300"/>
                  </a:lnTo>
                  <a:lnTo>
                    <a:pt x="581025" y="555625"/>
                  </a:lnTo>
                  <a:lnTo>
                    <a:pt x="581025" y="584200"/>
                  </a:lnTo>
                  <a:lnTo>
                    <a:pt x="596900" y="587375"/>
                  </a:lnTo>
                  <a:lnTo>
                    <a:pt x="603250" y="590550"/>
                  </a:lnTo>
                  <a:lnTo>
                    <a:pt x="609600" y="584200"/>
                  </a:lnTo>
                  <a:lnTo>
                    <a:pt x="622300" y="581025"/>
                  </a:lnTo>
                  <a:lnTo>
                    <a:pt x="622300" y="590550"/>
                  </a:lnTo>
                  <a:lnTo>
                    <a:pt x="625475" y="600075"/>
                  </a:lnTo>
                  <a:lnTo>
                    <a:pt x="638175" y="609600"/>
                  </a:lnTo>
                  <a:lnTo>
                    <a:pt x="654050" y="628650"/>
                  </a:lnTo>
                  <a:lnTo>
                    <a:pt x="657225" y="631825"/>
                  </a:lnTo>
                  <a:lnTo>
                    <a:pt x="660400" y="641350"/>
                  </a:lnTo>
                  <a:lnTo>
                    <a:pt x="669925" y="635000"/>
                  </a:lnTo>
                  <a:lnTo>
                    <a:pt x="673100" y="631825"/>
                  </a:lnTo>
                  <a:lnTo>
                    <a:pt x="679450" y="619125"/>
                  </a:lnTo>
                  <a:lnTo>
                    <a:pt x="685800" y="619125"/>
                  </a:lnTo>
                  <a:lnTo>
                    <a:pt x="688975" y="612775"/>
                  </a:lnTo>
                  <a:lnTo>
                    <a:pt x="698500" y="606425"/>
                  </a:lnTo>
                  <a:lnTo>
                    <a:pt x="708025" y="612775"/>
                  </a:lnTo>
                  <a:lnTo>
                    <a:pt x="717550" y="625475"/>
                  </a:lnTo>
                  <a:lnTo>
                    <a:pt x="733425" y="650875"/>
                  </a:lnTo>
                  <a:lnTo>
                    <a:pt x="746125" y="663575"/>
                  </a:lnTo>
                  <a:lnTo>
                    <a:pt x="746125" y="669925"/>
                  </a:lnTo>
                  <a:lnTo>
                    <a:pt x="749300" y="673100"/>
                  </a:lnTo>
                  <a:lnTo>
                    <a:pt x="771525" y="714375"/>
                  </a:lnTo>
                  <a:lnTo>
                    <a:pt x="790575" y="739775"/>
                  </a:lnTo>
                  <a:lnTo>
                    <a:pt x="806450" y="752475"/>
                  </a:lnTo>
                  <a:lnTo>
                    <a:pt x="812800" y="755650"/>
                  </a:lnTo>
                  <a:lnTo>
                    <a:pt x="815975" y="755650"/>
                  </a:lnTo>
                  <a:lnTo>
                    <a:pt x="815975" y="771525"/>
                  </a:lnTo>
                  <a:lnTo>
                    <a:pt x="815975" y="784225"/>
                  </a:lnTo>
                  <a:lnTo>
                    <a:pt x="815975" y="793750"/>
                  </a:lnTo>
                  <a:lnTo>
                    <a:pt x="806450" y="806450"/>
                  </a:lnTo>
                  <a:lnTo>
                    <a:pt x="796925" y="800100"/>
                  </a:lnTo>
                  <a:lnTo>
                    <a:pt x="796925" y="790575"/>
                  </a:lnTo>
                  <a:lnTo>
                    <a:pt x="800100" y="787400"/>
                  </a:lnTo>
                  <a:lnTo>
                    <a:pt x="800100" y="774700"/>
                  </a:lnTo>
                  <a:lnTo>
                    <a:pt x="796925" y="765175"/>
                  </a:lnTo>
                  <a:lnTo>
                    <a:pt x="790575" y="762000"/>
                  </a:lnTo>
                  <a:lnTo>
                    <a:pt x="784225" y="762000"/>
                  </a:lnTo>
                  <a:lnTo>
                    <a:pt x="777875" y="777875"/>
                  </a:lnTo>
                  <a:lnTo>
                    <a:pt x="771525" y="771525"/>
                  </a:lnTo>
                  <a:lnTo>
                    <a:pt x="774700" y="765175"/>
                  </a:lnTo>
                  <a:lnTo>
                    <a:pt x="777875" y="752475"/>
                  </a:lnTo>
                  <a:lnTo>
                    <a:pt x="768350" y="739775"/>
                  </a:lnTo>
                  <a:lnTo>
                    <a:pt x="765175" y="736600"/>
                  </a:lnTo>
                  <a:lnTo>
                    <a:pt x="762000" y="733425"/>
                  </a:lnTo>
                  <a:lnTo>
                    <a:pt x="749300" y="717550"/>
                  </a:lnTo>
                  <a:lnTo>
                    <a:pt x="746125" y="711200"/>
                  </a:lnTo>
                  <a:lnTo>
                    <a:pt x="742950" y="698500"/>
                  </a:lnTo>
                  <a:lnTo>
                    <a:pt x="733425" y="679450"/>
                  </a:lnTo>
                  <a:lnTo>
                    <a:pt x="730250" y="673100"/>
                  </a:lnTo>
                  <a:lnTo>
                    <a:pt x="727075" y="673100"/>
                  </a:lnTo>
                  <a:lnTo>
                    <a:pt x="714375" y="660400"/>
                  </a:lnTo>
                  <a:lnTo>
                    <a:pt x="708025" y="635000"/>
                  </a:lnTo>
                  <a:lnTo>
                    <a:pt x="704850" y="622300"/>
                  </a:lnTo>
                  <a:lnTo>
                    <a:pt x="698500" y="631825"/>
                  </a:lnTo>
                  <a:lnTo>
                    <a:pt x="704850" y="644525"/>
                  </a:lnTo>
                  <a:lnTo>
                    <a:pt x="708025" y="654050"/>
                  </a:lnTo>
                  <a:lnTo>
                    <a:pt x="711200" y="669925"/>
                  </a:lnTo>
                  <a:lnTo>
                    <a:pt x="698500" y="666750"/>
                  </a:lnTo>
                  <a:lnTo>
                    <a:pt x="692150" y="660400"/>
                  </a:lnTo>
                  <a:lnTo>
                    <a:pt x="688975" y="647700"/>
                  </a:lnTo>
                  <a:lnTo>
                    <a:pt x="682625" y="650875"/>
                  </a:lnTo>
                  <a:lnTo>
                    <a:pt x="688975" y="657225"/>
                  </a:lnTo>
                  <a:lnTo>
                    <a:pt x="688975" y="666750"/>
                  </a:lnTo>
                  <a:lnTo>
                    <a:pt x="682625" y="669925"/>
                  </a:lnTo>
                  <a:lnTo>
                    <a:pt x="676275" y="669925"/>
                  </a:lnTo>
                  <a:lnTo>
                    <a:pt x="654050" y="654050"/>
                  </a:lnTo>
                  <a:lnTo>
                    <a:pt x="641350" y="638175"/>
                  </a:lnTo>
                  <a:lnTo>
                    <a:pt x="638175" y="631825"/>
                  </a:lnTo>
                  <a:lnTo>
                    <a:pt x="631825" y="631825"/>
                  </a:lnTo>
                  <a:lnTo>
                    <a:pt x="606425" y="615950"/>
                  </a:lnTo>
                  <a:lnTo>
                    <a:pt x="619125" y="612775"/>
                  </a:lnTo>
                  <a:lnTo>
                    <a:pt x="619125" y="603250"/>
                  </a:lnTo>
                  <a:lnTo>
                    <a:pt x="612775" y="593725"/>
                  </a:lnTo>
                  <a:lnTo>
                    <a:pt x="606425" y="606425"/>
                  </a:lnTo>
                  <a:lnTo>
                    <a:pt x="593725" y="609600"/>
                  </a:lnTo>
                  <a:lnTo>
                    <a:pt x="581025" y="606425"/>
                  </a:lnTo>
                  <a:lnTo>
                    <a:pt x="568325" y="600075"/>
                  </a:lnTo>
                  <a:lnTo>
                    <a:pt x="555625" y="593725"/>
                  </a:lnTo>
                  <a:lnTo>
                    <a:pt x="542925" y="593725"/>
                  </a:lnTo>
                  <a:lnTo>
                    <a:pt x="530225" y="593725"/>
                  </a:lnTo>
                  <a:lnTo>
                    <a:pt x="514350" y="596900"/>
                  </a:lnTo>
                  <a:lnTo>
                    <a:pt x="488950" y="581025"/>
                  </a:lnTo>
                  <a:lnTo>
                    <a:pt x="482600" y="577850"/>
                  </a:lnTo>
                  <a:lnTo>
                    <a:pt x="479425" y="571500"/>
                  </a:lnTo>
                  <a:lnTo>
                    <a:pt x="466725" y="568325"/>
                  </a:lnTo>
                  <a:lnTo>
                    <a:pt x="460375" y="568325"/>
                  </a:lnTo>
                  <a:lnTo>
                    <a:pt x="457200" y="555625"/>
                  </a:lnTo>
                  <a:lnTo>
                    <a:pt x="454025" y="552450"/>
                  </a:lnTo>
                  <a:lnTo>
                    <a:pt x="444500" y="558800"/>
                  </a:lnTo>
                  <a:lnTo>
                    <a:pt x="428625" y="555625"/>
                  </a:lnTo>
                  <a:lnTo>
                    <a:pt x="428625" y="571500"/>
                  </a:lnTo>
                  <a:lnTo>
                    <a:pt x="431800" y="574675"/>
                  </a:lnTo>
                  <a:lnTo>
                    <a:pt x="431800" y="577850"/>
                  </a:lnTo>
                  <a:lnTo>
                    <a:pt x="425450" y="590550"/>
                  </a:lnTo>
                  <a:lnTo>
                    <a:pt x="419100" y="600075"/>
                  </a:lnTo>
                  <a:lnTo>
                    <a:pt x="403225" y="600075"/>
                  </a:lnTo>
                  <a:lnTo>
                    <a:pt x="387350" y="612775"/>
                  </a:lnTo>
                  <a:lnTo>
                    <a:pt x="374650" y="622300"/>
                  </a:lnTo>
                  <a:lnTo>
                    <a:pt x="361950" y="631825"/>
                  </a:lnTo>
                  <a:lnTo>
                    <a:pt x="349250" y="631825"/>
                  </a:lnTo>
                  <a:lnTo>
                    <a:pt x="346075" y="628650"/>
                  </a:lnTo>
                  <a:lnTo>
                    <a:pt x="346075" y="622300"/>
                  </a:lnTo>
                  <a:lnTo>
                    <a:pt x="349250" y="596900"/>
                  </a:lnTo>
                  <a:lnTo>
                    <a:pt x="355600" y="587375"/>
                  </a:lnTo>
                  <a:lnTo>
                    <a:pt x="358775" y="574675"/>
                  </a:lnTo>
                  <a:lnTo>
                    <a:pt x="355600" y="568325"/>
                  </a:lnTo>
                  <a:lnTo>
                    <a:pt x="368300" y="558800"/>
                  </a:lnTo>
                  <a:lnTo>
                    <a:pt x="381000" y="552450"/>
                  </a:lnTo>
                  <a:lnTo>
                    <a:pt x="381000" y="546100"/>
                  </a:lnTo>
                  <a:lnTo>
                    <a:pt x="377825" y="542925"/>
                  </a:lnTo>
                  <a:lnTo>
                    <a:pt x="374650" y="539750"/>
                  </a:lnTo>
                  <a:lnTo>
                    <a:pt x="368300" y="546100"/>
                  </a:lnTo>
                  <a:lnTo>
                    <a:pt x="361950" y="552450"/>
                  </a:lnTo>
                  <a:lnTo>
                    <a:pt x="349250" y="561975"/>
                  </a:lnTo>
                  <a:lnTo>
                    <a:pt x="339725" y="577850"/>
                  </a:lnTo>
                  <a:lnTo>
                    <a:pt x="333375" y="593725"/>
                  </a:lnTo>
                  <a:lnTo>
                    <a:pt x="323850" y="606425"/>
                  </a:lnTo>
                  <a:lnTo>
                    <a:pt x="320675" y="609600"/>
                  </a:lnTo>
                  <a:lnTo>
                    <a:pt x="320675" y="612775"/>
                  </a:lnTo>
                  <a:lnTo>
                    <a:pt x="314325" y="615950"/>
                  </a:lnTo>
                  <a:lnTo>
                    <a:pt x="298450" y="625475"/>
                  </a:lnTo>
                  <a:lnTo>
                    <a:pt x="298450" y="638175"/>
                  </a:lnTo>
                  <a:lnTo>
                    <a:pt x="301625" y="638175"/>
                  </a:lnTo>
                  <a:lnTo>
                    <a:pt x="317500" y="644525"/>
                  </a:lnTo>
                  <a:lnTo>
                    <a:pt x="295275" y="676275"/>
                  </a:lnTo>
                  <a:lnTo>
                    <a:pt x="276225" y="682625"/>
                  </a:lnTo>
                  <a:lnTo>
                    <a:pt x="276225" y="685800"/>
                  </a:lnTo>
                  <a:lnTo>
                    <a:pt x="273050" y="688975"/>
                  </a:lnTo>
                  <a:lnTo>
                    <a:pt x="269875" y="692150"/>
                  </a:lnTo>
                  <a:lnTo>
                    <a:pt x="266700" y="692150"/>
                  </a:lnTo>
                  <a:lnTo>
                    <a:pt x="263525" y="695325"/>
                  </a:lnTo>
                  <a:lnTo>
                    <a:pt x="263525" y="698500"/>
                  </a:lnTo>
                  <a:lnTo>
                    <a:pt x="257175" y="701675"/>
                  </a:lnTo>
                  <a:lnTo>
                    <a:pt x="247650" y="708025"/>
                  </a:lnTo>
                  <a:lnTo>
                    <a:pt x="250825" y="714375"/>
                  </a:lnTo>
                  <a:lnTo>
                    <a:pt x="244475" y="720725"/>
                  </a:lnTo>
                  <a:lnTo>
                    <a:pt x="228600" y="727075"/>
                  </a:lnTo>
                  <a:lnTo>
                    <a:pt x="219075" y="733425"/>
                  </a:lnTo>
                  <a:lnTo>
                    <a:pt x="206375" y="742950"/>
                  </a:lnTo>
                  <a:lnTo>
                    <a:pt x="209550" y="749300"/>
                  </a:lnTo>
                  <a:lnTo>
                    <a:pt x="212725" y="752475"/>
                  </a:lnTo>
                  <a:lnTo>
                    <a:pt x="203200" y="758825"/>
                  </a:lnTo>
                  <a:lnTo>
                    <a:pt x="187325" y="765175"/>
                  </a:lnTo>
                  <a:lnTo>
                    <a:pt x="180975" y="765175"/>
                  </a:lnTo>
                  <a:lnTo>
                    <a:pt x="177800" y="765175"/>
                  </a:lnTo>
                  <a:lnTo>
                    <a:pt x="165100" y="771525"/>
                  </a:lnTo>
                  <a:lnTo>
                    <a:pt x="161925" y="777875"/>
                  </a:lnTo>
                  <a:lnTo>
                    <a:pt x="155575" y="781050"/>
                  </a:lnTo>
                  <a:lnTo>
                    <a:pt x="142875" y="784225"/>
                  </a:lnTo>
                  <a:lnTo>
                    <a:pt x="136525" y="784225"/>
                  </a:lnTo>
                  <a:lnTo>
                    <a:pt x="133350" y="781050"/>
                  </a:lnTo>
                  <a:lnTo>
                    <a:pt x="130175" y="790575"/>
                  </a:lnTo>
                  <a:lnTo>
                    <a:pt x="127000" y="793750"/>
                  </a:lnTo>
                  <a:lnTo>
                    <a:pt x="114300" y="800100"/>
                  </a:lnTo>
                  <a:lnTo>
                    <a:pt x="104775" y="800100"/>
                  </a:lnTo>
                  <a:lnTo>
                    <a:pt x="101600" y="793750"/>
                  </a:lnTo>
                  <a:lnTo>
                    <a:pt x="114300" y="784225"/>
                  </a:lnTo>
                  <a:lnTo>
                    <a:pt x="117475" y="781050"/>
                  </a:lnTo>
                  <a:lnTo>
                    <a:pt x="123825" y="771525"/>
                  </a:lnTo>
                  <a:lnTo>
                    <a:pt x="146050" y="762000"/>
                  </a:lnTo>
                  <a:lnTo>
                    <a:pt x="152400" y="762000"/>
                  </a:lnTo>
                  <a:lnTo>
                    <a:pt x="158750" y="758825"/>
                  </a:lnTo>
                  <a:lnTo>
                    <a:pt x="168275" y="746125"/>
                  </a:lnTo>
                  <a:lnTo>
                    <a:pt x="180975" y="736600"/>
                  </a:lnTo>
                  <a:lnTo>
                    <a:pt x="193675" y="727075"/>
                  </a:lnTo>
                  <a:lnTo>
                    <a:pt x="200025" y="720725"/>
                  </a:lnTo>
                  <a:lnTo>
                    <a:pt x="206375" y="711200"/>
                  </a:lnTo>
                  <a:lnTo>
                    <a:pt x="212725" y="704850"/>
                  </a:lnTo>
                  <a:lnTo>
                    <a:pt x="222250" y="695325"/>
                  </a:lnTo>
                  <a:lnTo>
                    <a:pt x="222250" y="692150"/>
                  </a:lnTo>
                  <a:lnTo>
                    <a:pt x="222250" y="682625"/>
                  </a:lnTo>
                  <a:lnTo>
                    <a:pt x="225425" y="673100"/>
                  </a:lnTo>
                  <a:lnTo>
                    <a:pt x="225425" y="666750"/>
                  </a:lnTo>
                  <a:lnTo>
                    <a:pt x="238125" y="650875"/>
                  </a:lnTo>
                  <a:lnTo>
                    <a:pt x="234950" y="644525"/>
                  </a:lnTo>
                  <a:lnTo>
                    <a:pt x="231775" y="644525"/>
                  </a:lnTo>
                  <a:lnTo>
                    <a:pt x="228600" y="647700"/>
                  </a:lnTo>
                  <a:lnTo>
                    <a:pt x="212725" y="654050"/>
                  </a:lnTo>
                  <a:lnTo>
                    <a:pt x="209550" y="654050"/>
                  </a:lnTo>
                  <a:lnTo>
                    <a:pt x="203200" y="657225"/>
                  </a:lnTo>
                  <a:lnTo>
                    <a:pt x="200025" y="660400"/>
                  </a:lnTo>
                  <a:lnTo>
                    <a:pt x="190500" y="657225"/>
                  </a:lnTo>
                  <a:lnTo>
                    <a:pt x="177800" y="644525"/>
                  </a:lnTo>
                  <a:lnTo>
                    <a:pt x="171450" y="641350"/>
                  </a:lnTo>
                  <a:lnTo>
                    <a:pt x="165100" y="641350"/>
                  </a:lnTo>
                  <a:lnTo>
                    <a:pt x="152400" y="644525"/>
                  </a:lnTo>
                  <a:lnTo>
                    <a:pt x="142875" y="647700"/>
                  </a:lnTo>
                  <a:lnTo>
                    <a:pt x="142875" y="654050"/>
                  </a:lnTo>
                  <a:lnTo>
                    <a:pt x="139700" y="654050"/>
                  </a:lnTo>
                  <a:lnTo>
                    <a:pt x="130175" y="654050"/>
                  </a:lnTo>
                  <a:lnTo>
                    <a:pt x="133350" y="647700"/>
                  </a:lnTo>
                  <a:lnTo>
                    <a:pt x="136525" y="638175"/>
                  </a:lnTo>
                  <a:lnTo>
                    <a:pt x="130175" y="635000"/>
                  </a:lnTo>
                  <a:lnTo>
                    <a:pt x="130175" y="625475"/>
                  </a:lnTo>
                  <a:lnTo>
                    <a:pt x="133350" y="619125"/>
                  </a:lnTo>
                  <a:lnTo>
                    <a:pt x="133350" y="612775"/>
                  </a:lnTo>
                  <a:lnTo>
                    <a:pt x="123825" y="593725"/>
                  </a:lnTo>
                  <a:lnTo>
                    <a:pt x="111125" y="600075"/>
                  </a:lnTo>
                  <a:lnTo>
                    <a:pt x="92075" y="606425"/>
                  </a:lnTo>
                  <a:lnTo>
                    <a:pt x="82550" y="603250"/>
                  </a:lnTo>
                  <a:lnTo>
                    <a:pt x="69850" y="584200"/>
                  </a:lnTo>
                  <a:lnTo>
                    <a:pt x="60325" y="577850"/>
                  </a:lnTo>
                  <a:lnTo>
                    <a:pt x="57150" y="574675"/>
                  </a:lnTo>
                  <a:lnTo>
                    <a:pt x="60325" y="568325"/>
                  </a:lnTo>
                  <a:lnTo>
                    <a:pt x="66675" y="558800"/>
                  </a:lnTo>
                  <a:lnTo>
                    <a:pt x="57150" y="549275"/>
                  </a:lnTo>
                  <a:lnTo>
                    <a:pt x="50800" y="549275"/>
                  </a:lnTo>
                  <a:lnTo>
                    <a:pt x="41275" y="533400"/>
                  </a:lnTo>
                  <a:lnTo>
                    <a:pt x="41275" y="517525"/>
                  </a:lnTo>
                  <a:lnTo>
                    <a:pt x="47625" y="501650"/>
                  </a:lnTo>
                  <a:lnTo>
                    <a:pt x="57150" y="488950"/>
                  </a:lnTo>
                  <a:lnTo>
                    <a:pt x="63500" y="482600"/>
                  </a:lnTo>
                  <a:lnTo>
                    <a:pt x="76200" y="473075"/>
                  </a:lnTo>
                  <a:lnTo>
                    <a:pt x="69850" y="473075"/>
                  </a:lnTo>
                  <a:lnTo>
                    <a:pt x="79375" y="460375"/>
                  </a:lnTo>
                  <a:lnTo>
                    <a:pt x="73025" y="454025"/>
                  </a:lnTo>
                  <a:lnTo>
                    <a:pt x="79375" y="450850"/>
                  </a:lnTo>
                  <a:lnTo>
                    <a:pt x="88900" y="450850"/>
                  </a:lnTo>
                  <a:lnTo>
                    <a:pt x="92075" y="450850"/>
                  </a:lnTo>
                  <a:lnTo>
                    <a:pt x="88900" y="463550"/>
                  </a:lnTo>
                  <a:lnTo>
                    <a:pt x="98425" y="457200"/>
                  </a:lnTo>
                  <a:lnTo>
                    <a:pt x="111125" y="454025"/>
                  </a:lnTo>
                  <a:lnTo>
                    <a:pt x="111125" y="450850"/>
                  </a:lnTo>
                  <a:lnTo>
                    <a:pt x="114300" y="450850"/>
                  </a:lnTo>
                  <a:lnTo>
                    <a:pt x="117475" y="444500"/>
                  </a:lnTo>
                  <a:lnTo>
                    <a:pt x="123825" y="438150"/>
                  </a:lnTo>
                  <a:lnTo>
                    <a:pt x="130175" y="441325"/>
                  </a:lnTo>
                  <a:lnTo>
                    <a:pt x="142875" y="438150"/>
                  </a:lnTo>
                  <a:lnTo>
                    <a:pt x="152400" y="428625"/>
                  </a:lnTo>
                  <a:lnTo>
                    <a:pt x="152400" y="409575"/>
                  </a:lnTo>
                  <a:lnTo>
                    <a:pt x="149225" y="396875"/>
                  </a:lnTo>
                  <a:lnTo>
                    <a:pt x="149225" y="381000"/>
                  </a:lnTo>
                  <a:lnTo>
                    <a:pt x="146050" y="365125"/>
                  </a:lnTo>
                  <a:lnTo>
                    <a:pt x="130175" y="374650"/>
                  </a:lnTo>
                  <a:lnTo>
                    <a:pt x="117475" y="387350"/>
                  </a:lnTo>
                  <a:lnTo>
                    <a:pt x="111125" y="384175"/>
                  </a:lnTo>
                  <a:lnTo>
                    <a:pt x="104775" y="381000"/>
                  </a:lnTo>
                  <a:lnTo>
                    <a:pt x="92075" y="384175"/>
                  </a:lnTo>
                  <a:lnTo>
                    <a:pt x="79375" y="384175"/>
                  </a:lnTo>
                  <a:lnTo>
                    <a:pt x="66675" y="390525"/>
                  </a:lnTo>
                  <a:lnTo>
                    <a:pt x="53975" y="387350"/>
                  </a:lnTo>
                  <a:lnTo>
                    <a:pt x="31750" y="374650"/>
                  </a:lnTo>
                  <a:lnTo>
                    <a:pt x="28575" y="365125"/>
                  </a:lnTo>
                  <a:lnTo>
                    <a:pt x="22225" y="358775"/>
                  </a:lnTo>
                  <a:lnTo>
                    <a:pt x="12700" y="342900"/>
                  </a:lnTo>
                  <a:lnTo>
                    <a:pt x="0" y="333375"/>
                  </a:lnTo>
                  <a:lnTo>
                    <a:pt x="0" y="323850"/>
                  </a:lnTo>
                  <a:lnTo>
                    <a:pt x="25400" y="307975"/>
                  </a:lnTo>
                  <a:lnTo>
                    <a:pt x="57150" y="288925"/>
                  </a:lnTo>
                  <a:lnTo>
                    <a:pt x="76200" y="279400"/>
                  </a:lnTo>
                  <a:lnTo>
                    <a:pt x="95250" y="282575"/>
                  </a:lnTo>
                  <a:lnTo>
                    <a:pt x="82550" y="301625"/>
                  </a:lnTo>
                  <a:lnTo>
                    <a:pt x="114300" y="311150"/>
                  </a:lnTo>
                  <a:lnTo>
                    <a:pt x="133350" y="307975"/>
                  </a:lnTo>
                  <a:lnTo>
                    <a:pt x="139700" y="298450"/>
                  </a:lnTo>
                  <a:lnTo>
                    <a:pt x="146050" y="298450"/>
                  </a:lnTo>
                  <a:lnTo>
                    <a:pt x="142875" y="292100"/>
                  </a:lnTo>
                  <a:lnTo>
                    <a:pt x="139700" y="288925"/>
                  </a:lnTo>
                  <a:lnTo>
                    <a:pt x="127000" y="276225"/>
                  </a:lnTo>
                  <a:lnTo>
                    <a:pt x="111125" y="260350"/>
                  </a:lnTo>
                  <a:lnTo>
                    <a:pt x="101600" y="254000"/>
                  </a:lnTo>
                  <a:lnTo>
                    <a:pt x="95250" y="254000"/>
                  </a:lnTo>
                  <a:lnTo>
                    <a:pt x="92075" y="250825"/>
                  </a:lnTo>
                  <a:lnTo>
                    <a:pt x="88900" y="234950"/>
                  </a:lnTo>
                  <a:lnTo>
                    <a:pt x="69850" y="209550"/>
                  </a:lnTo>
                  <a:lnTo>
                    <a:pt x="69850" y="212725"/>
                  </a:lnTo>
                  <a:lnTo>
                    <a:pt x="28575" y="180975"/>
                  </a:lnTo>
                  <a:lnTo>
                    <a:pt x="31750" y="177800"/>
                  </a:lnTo>
                  <a:lnTo>
                    <a:pt x="38100" y="168275"/>
                  </a:lnTo>
                  <a:lnTo>
                    <a:pt x="38100" y="155575"/>
                  </a:lnTo>
                  <a:lnTo>
                    <a:pt x="44450" y="152400"/>
                  </a:lnTo>
                  <a:lnTo>
                    <a:pt x="73025" y="146050"/>
                  </a:lnTo>
                  <a:lnTo>
                    <a:pt x="98425" y="130175"/>
                  </a:lnTo>
                  <a:lnTo>
                    <a:pt x="104775" y="107950"/>
                  </a:lnTo>
                  <a:lnTo>
                    <a:pt x="111125" y="88900"/>
                  </a:lnTo>
                  <a:lnTo>
                    <a:pt x="127000" y="66675"/>
                  </a:lnTo>
                  <a:lnTo>
                    <a:pt x="130175" y="60325"/>
                  </a:lnTo>
                  <a:lnTo>
                    <a:pt x="136525" y="63500"/>
                  </a:lnTo>
                  <a:lnTo>
                    <a:pt x="142875" y="63500"/>
                  </a:lnTo>
                  <a:lnTo>
                    <a:pt x="152400" y="57150"/>
                  </a:lnTo>
                  <a:lnTo>
                    <a:pt x="190500" y="22225"/>
                  </a:lnTo>
                  <a:lnTo>
                    <a:pt x="190500" y="31750"/>
                  </a:lnTo>
                  <a:lnTo>
                    <a:pt x="215900" y="2540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4" name="Freeform 989">
              <a:extLst>
                <a:ext uri="{FF2B5EF4-FFF2-40B4-BE49-F238E27FC236}">
                  <a16:creationId xmlns:a16="http://schemas.microsoft.com/office/drawing/2014/main" id="{061B9E9E-6303-441A-8930-10D0BBC68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5875" y="863599"/>
              <a:ext cx="1908175" cy="2478088"/>
            </a:xfrm>
            <a:custGeom>
              <a:avLst/>
              <a:gdLst/>
              <a:ahLst/>
              <a:cxnLst/>
              <a:rect l="l" t="t" r="r" b="b"/>
              <a:pathLst>
                <a:path w="1908175" h="2478088">
                  <a:moveTo>
                    <a:pt x="1663700" y="2320925"/>
                  </a:moveTo>
                  <a:lnTo>
                    <a:pt x="1663700" y="2327275"/>
                  </a:lnTo>
                  <a:lnTo>
                    <a:pt x="1666875" y="2336800"/>
                  </a:lnTo>
                  <a:lnTo>
                    <a:pt x="1670050" y="2336800"/>
                  </a:lnTo>
                  <a:lnTo>
                    <a:pt x="1676400" y="2336800"/>
                  </a:lnTo>
                  <a:lnTo>
                    <a:pt x="1695450" y="2336800"/>
                  </a:lnTo>
                  <a:lnTo>
                    <a:pt x="1708150" y="2336800"/>
                  </a:lnTo>
                  <a:lnTo>
                    <a:pt x="1698625" y="2343150"/>
                  </a:lnTo>
                  <a:lnTo>
                    <a:pt x="1695450" y="2349500"/>
                  </a:lnTo>
                  <a:lnTo>
                    <a:pt x="1695450" y="2352675"/>
                  </a:lnTo>
                  <a:lnTo>
                    <a:pt x="1676400" y="2346325"/>
                  </a:lnTo>
                  <a:lnTo>
                    <a:pt x="1657350" y="2333625"/>
                  </a:lnTo>
                  <a:lnTo>
                    <a:pt x="1657350" y="2324100"/>
                  </a:lnTo>
                  <a:close/>
                  <a:moveTo>
                    <a:pt x="1828800" y="2317750"/>
                  </a:moveTo>
                  <a:lnTo>
                    <a:pt x="1831975" y="2324100"/>
                  </a:lnTo>
                  <a:lnTo>
                    <a:pt x="1825625" y="2327275"/>
                  </a:lnTo>
                  <a:close/>
                  <a:moveTo>
                    <a:pt x="1739900" y="2317750"/>
                  </a:moveTo>
                  <a:lnTo>
                    <a:pt x="1743075" y="2324100"/>
                  </a:lnTo>
                  <a:lnTo>
                    <a:pt x="1743075" y="2339975"/>
                  </a:lnTo>
                  <a:lnTo>
                    <a:pt x="1752600" y="2343150"/>
                  </a:lnTo>
                  <a:lnTo>
                    <a:pt x="1752600" y="2349500"/>
                  </a:lnTo>
                  <a:lnTo>
                    <a:pt x="1743075" y="2359025"/>
                  </a:lnTo>
                  <a:lnTo>
                    <a:pt x="1730375" y="2362200"/>
                  </a:lnTo>
                  <a:lnTo>
                    <a:pt x="1720850" y="2359025"/>
                  </a:lnTo>
                  <a:lnTo>
                    <a:pt x="1717675" y="2349500"/>
                  </a:lnTo>
                  <a:lnTo>
                    <a:pt x="1727200" y="2336800"/>
                  </a:lnTo>
                  <a:lnTo>
                    <a:pt x="1730375" y="2327275"/>
                  </a:lnTo>
                  <a:lnTo>
                    <a:pt x="1733550" y="2320925"/>
                  </a:lnTo>
                  <a:close/>
                  <a:moveTo>
                    <a:pt x="1714500" y="2301875"/>
                  </a:moveTo>
                  <a:lnTo>
                    <a:pt x="1711325" y="2308225"/>
                  </a:lnTo>
                  <a:lnTo>
                    <a:pt x="1708150" y="2311400"/>
                  </a:lnTo>
                  <a:lnTo>
                    <a:pt x="1711325" y="2314575"/>
                  </a:lnTo>
                  <a:lnTo>
                    <a:pt x="1704975" y="2314575"/>
                  </a:lnTo>
                  <a:lnTo>
                    <a:pt x="1708150" y="2308225"/>
                  </a:lnTo>
                  <a:close/>
                  <a:moveTo>
                    <a:pt x="396875" y="2276475"/>
                  </a:moveTo>
                  <a:lnTo>
                    <a:pt x="396875" y="2282825"/>
                  </a:lnTo>
                  <a:lnTo>
                    <a:pt x="403225" y="2286000"/>
                  </a:lnTo>
                  <a:lnTo>
                    <a:pt x="403225" y="2292350"/>
                  </a:lnTo>
                  <a:lnTo>
                    <a:pt x="393700" y="2282825"/>
                  </a:lnTo>
                  <a:close/>
                  <a:moveTo>
                    <a:pt x="1660525" y="2225675"/>
                  </a:moveTo>
                  <a:lnTo>
                    <a:pt x="1673225" y="2228850"/>
                  </a:lnTo>
                  <a:lnTo>
                    <a:pt x="1704975" y="2244725"/>
                  </a:lnTo>
                  <a:lnTo>
                    <a:pt x="1711325" y="2251075"/>
                  </a:lnTo>
                  <a:lnTo>
                    <a:pt x="1704975" y="2254250"/>
                  </a:lnTo>
                  <a:lnTo>
                    <a:pt x="1701800" y="2254250"/>
                  </a:lnTo>
                  <a:lnTo>
                    <a:pt x="1673225" y="2244725"/>
                  </a:lnTo>
                  <a:lnTo>
                    <a:pt x="1651000" y="2228850"/>
                  </a:lnTo>
                  <a:close/>
                  <a:moveTo>
                    <a:pt x="1835150" y="2168525"/>
                  </a:moveTo>
                  <a:lnTo>
                    <a:pt x="1847850" y="2168525"/>
                  </a:lnTo>
                  <a:lnTo>
                    <a:pt x="1847850" y="2171700"/>
                  </a:lnTo>
                  <a:lnTo>
                    <a:pt x="1844675" y="2178050"/>
                  </a:lnTo>
                  <a:lnTo>
                    <a:pt x="1838325" y="2190750"/>
                  </a:lnTo>
                  <a:lnTo>
                    <a:pt x="1822450" y="2216150"/>
                  </a:lnTo>
                  <a:lnTo>
                    <a:pt x="1819275" y="2228850"/>
                  </a:lnTo>
                  <a:lnTo>
                    <a:pt x="1819275" y="2232025"/>
                  </a:lnTo>
                  <a:lnTo>
                    <a:pt x="1825625" y="2228850"/>
                  </a:lnTo>
                  <a:lnTo>
                    <a:pt x="1831975" y="2216150"/>
                  </a:lnTo>
                  <a:lnTo>
                    <a:pt x="1841500" y="2225675"/>
                  </a:lnTo>
                  <a:lnTo>
                    <a:pt x="1838325" y="2232025"/>
                  </a:lnTo>
                  <a:lnTo>
                    <a:pt x="1841500" y="2241550"/>
                  </a:lnTo>
                  <a:lnTo>
                    <a:pt x="1844675" y="2241550"/>
                  </a:lnTo>
                  <a:lnTo>
                    <a:pt x="1851025" y="2238375"/>
                  </a:lnTo>
                  <a:lnTo>
                    <a:pt x="1854200" y="2241550"/>
                  </a:lnTo>
                  <a:lnTo>
                    <a:pt x="1857375" y="2247900"/>
                  </a:lnTo>
                  <a:lnTo>
                    <a:pt x="1863725" y="2241550"/>
                  </a:lnTo>
                  <a:lnTo>
                    <a:pt x="1866900" y="2238375"/>
                  </a:lnTo>
                  <a:lnTo>
                    <a:pt x="1873250" y="2241550"/>
                  </a:lnTo>
                  <a:lnTo>
                    <a:pt x="1879600" y="2241550"/>
                  </a:lnTo>
                  <a:lnTo>
                    <a:pt x="1885950" y="2244725"/>
                  </a:lnTo>
                  <a:lnTo>
                    <a:pt x="1889125" y="2247900"/>
                  </a:lnTo>
                  <a:lnTo>
                    <a:pt x="1889125" y="2251075"/>
                  </a:lnTo>
                  <a:lnTo>
                    <a:pt x="1882775" y="2257425"/>
                  </a:lnTo>
                  <a:lnTo>
                    <a:pt x="1879600" y="2260600"/>
                  </a:lnTo>
                  <a:lnTo>
                    <a:pt x="1882775" y="2263775"/>
                  </a:lnTo>
                  <a:lnTo>
                    <a:pt x="1882775" y="2273300"/>
                  </a:lnTo>
                  <a:lnTo>
                    <a:pt x="1895475" y="2266950"/>
                  </a:lnTo>
                  <a:lnTo>
                    <a:pt x="1898650" y="2266950"/>
                  </a:lnTo>
                  <a:lnTo>
                    <a:pt x="1898650" y="2273300"/>
                  </a:lnTo>
                  <a:lnTo>
                    <a:pt x="1889125" y="2279650"/>
                  </a:lnTo>
                  <a:lnTo>
                    <a:pt x="1885950" y="2282825"/>
                  </a:lnTo>
                  <a:lnTo>
                    <a:pt x="1882775" y="2282825"/>
                  </a:lnTo>
                  <a:lnTo>
                    <a:pt x="1879600" y="2282825"/>
                  </a:lnTo>
                  <a:lnTo>
                    <a:pt x="1879600" y="2292350"/>
                  </a:lnTo>
                  <a:lnTo>
                    <a:pt x="1889125" y="2301875"/>
                  </a:lnTo>
                  <a:lnTo>
                    <a:pt x="1889125" y="2298700"/>
                  </a:lnTo>
                  <a:lnTo>
                    <a:pt x="1892300" y="2289175"/>
                  </a:lnTo>
                  <a:lnTo>
                    <a:pt x="1898650" y="2286000"/>
                  </a:lnTo>
                  <a:lnTo>
                    <a:pt x="1901825" y="2286000"/>
                  </a:lnTo>
                  <a:lnTo>
                    <a:pt x="1898650" y="2292350"/>
                  </a:lnTo>
                  <a:lnTo>
                    <a:pt x="1895475" y="2298700"/>
                  </a:lnTo>
                  <a:lnTo>
                    <a:pt x="1895475" y="2305050"/>
                  </a:lnTo>
                  <a:lnTo>
                    <a:pt x="1901825" y="2305050"/>
                  </a:lnTo>
                  <a:lnTo>
                    <a:pt x="1905000" y="2298700"/>
                  </a:lnTo>
                  <a:lnTo>
                    <a:pt x="1905000" y="2295525"/>
                  </a:lnTo>
                  <a:lnTo>
                    <a:pt x="1908175" y="2308225"/>
                  </a:lnTo>
                  <a:lnTo>
                    <a:pt x="1905000" y="2320925"/>
                  </a:lnTo>
                  <a:lnTo>
                    <a:pt x="1901825" y="2327275"/>
                  </a:lnTo>
                  <a:lnTo>
                    <a:pt x="1895475" y="2333625"/>
                  </a:lnTo>
                  <a:lnTo>
                    <a:pt x="1889125" y="2333625"/>
                  </a:lnTo>
                  <a:lnTo>
                    <a:pt x="1876425" y="2327275"/>
                  </a:lnTo>
                  <a:lnTo>
                    <a:pt x="1879600" y="2314575"/>
                  </a:lnTo>
                  <a:lnTo>
                    <a:pt x="1879600" y="2298700"/>
                  </a:lnTo>
                  <a:lnTo>
                    <a:pt x="1876425" y="2292350"/>
                  </a:lnTo>
                  <a:lnTo>
                    <a:pt x="1870075" y="2301875"/>
                  </a:lnTo>
                  <a:lnTo>
                    <a:pt x="1860550" y="2311400"/>
                  </a:lnTo>
                  <a:lnTo>
                    <a:pt x="1854200" y="2317750"/>
                  </a:lnTo>
                  <a:lnTo>
                    <a:pt x="1851025" y="2324100"/>
                  </a:lnTo>
                  <a:lnTo>
                    <a:pt x="1841500" y="2324100"/>
                  </a:lnTo>
                  <a:lnTo>
                    <a:pt x="1838325" y="2317750"/>
                  </a:lnTo>
                  <a:lnTo>
                    <a:pt x="1847850" y="2317750"/>
                  </a:lnTo>
                  <a:lnTo>
                    <a:pt x="1860550" y="2301875"/>
                  </a:lnTo>
                  <a:lnTo>
                    <a:pt x="1857375" y="2301875"/>
                  </a:lnTo>
                  <a:lnTo>
                    <a:pt x="1847850" y="2298700"/>
                  </a:lnTo>
                  <a:lnTo>
                    <a:pt x="1847850" y="2305050"/>
                  </a:lnTo>
                  <a:lnTo>
                    <a:pt x="1844675" y="2305050"/>
                  </a:lnTo>
                  <a:lnTo>
                    <a:pt x="1841500" y="2301875"/>
                  </a:lnTo>
                  <a:lnTo>
                    <a:pt x="1838325" y="2295525"/>
                  </a:lnTo>
                  <a:lnTo>
                    <a:pt x="1831975" y="2301875"/>
                  </a:lnTo>
                  <a:lnTo>
                    <a:pt x="1825625" y="2301875"/>
                  </a:lnTo>
                  <a:lnTo>
                    <a:pt x="1816100" y="2305050"/>
                  </a:lnTo>
                  <a:lnTo>
                    <a:pt x="1809750" y="2301875"/>
                  </a:lnTo>
                  <a:lnTo>
                    <a:pt x="1806575" y="2298700"/>
                  </a:lnTo>
                  <a:lnTo>
                    <a:pt x="1784350" y="2301875"/>
                  </a:lnTo>
                  <a:lnTo>
                    <a:pt x="1765300" y="2301875"/>
                  </a:lnTo>
                  <a:lnTo>
                    <a:pt x="1762125" y="2292350"/>
                  </a:lnTo>
                  <a:lnTo>
                    <a:pt x="1771650" y="2282825"/>
                  </a:lnTo>
                  <a:lnTo>
                    <a:pt x="1781175" y="2276475"/>
                  </a:lnTo>
                  <a:lnTo>
                    <a:pt x="1778000" y="2270125"/>
                  </a:lnTo>
                  <a:lnTo>
                    <a:pt x="1784350" y="2251075"/>
                  </a:lnTo>
                  <a:lnTo>
                    <a:pt x="1787525" y="2247900"/>
                  </a:lnTo>
                  <a:lnTo>
                    <a:pt x="1787525" y="2241550"/>
                  </a:lnTo>
                  <a:lnTo>
                    <a:pt x="1793875" y="2235200"/>
                  </a:lnTo>
                  <a:lnTo>
                    <a:pt x="1797050" y="2225675"/>
                  </a:lnTo>
                  <a:lnTo>
                    <a:pt x="1803400" y="2206625"/>
                  </a:lnTo>
                  <a:lnTo>
                    <a:pt x="1812925" y="2190750"/>
                  </a:lnTo>
                  <a:lnTo>
                    <a:pt x="1822450" y="2178050"/>
                  </a:lnTo>
                  <a:close/>
                  <a:moveTo>
                    <a:pt x="279400" y="2149475"/>
                  </a:moveTo>
                  <a:lnTo>
                    <a:pt x="282575" y="2149475"/>
                  </a:lnTo>
                  <a:lnTo>
                    <a:pt x="279400" y="2152650"/>
                  </a:lnTo>
                  <a:close/>
                  <a:moveTo>
                    <a:pt x="196850" y="2114550"/>
                  </a:moveTo>
                  <a:lnTo>
                    <a:pt x="203200" y="2117725"/>
                  </a:lnTo>
                  <a:lnTo>
                    <a:pt x="209550" y="2146300"/>
                  </a:lnTo>
                  <a:lnTo>
                    <a:pt x="212725" y="2146300"/>
                  </a:lnTo>
                  <a:lnTo>
                    <a:pt x="215900" y="2149475"/>
                  </a:lnTo>
                  <a:lnTo>
                    <a:pt x="209550" y="2152650"/>
                  </a:lnTo>
                  <a:lnTo>
                    <a:pt x="193675" y="2130425"/>
                  </a:lnTo>
                  <a:lnTo>
                    <a:pt x="187325" y="2117725"/>
                  </a:lnTo>
                  <a:close/>
                  <a:moveTo>
                    <a:pt x="1276350" y="2111375"/>
                  </a:moveTo>
                  <a:lnTo>
                    <a:pt x="1295400" y="2111375"/>
                  </a:lnTo>
                  <a:lnTo>
                    <a:pt x="1301750" y="2130425"/>
                  </a:lnTo>
                  <a:lnTo>
                    <a:pt x="1292225" y="2127250"/>
                  </a:lnTo>
                  <a:lnTo>
                    <a:pt x="1279525" y="2120900"/>
                  </a:lnTo>
                  <a:lnTo>
                    <a:pt x="1273175" y="2117725"/>
                  </a:lnTo>
                  <a:close/>
                  <a:moveTo>
                    <a:pt x="257175" y="2111375"/>
                  </a:moveTo>
                  <a:lnTo>
                    <a:pt x="260350" y="2111375"/>
                  </a:lnTo>
                  <a:lnTo>
                    <a:pt x="266700" y="2127250"/>
                  </a:lnTo>
                  <a:lnTo>
                    <a:pt x="266700" y="2136775"/>
                  </a:lnTo>
                  <a:lnTo>
                    <a:pt x="260350" y="2136775"/>
                  </a:lnTo>
                  <a:lnTo>
                    <a:pt x="254000" y="2124075"/>
                  </a:lnTo>
                  <a:close/>
                  <a:moveTo>
                    <a:pt x="225425" y="2098675"/>
                  </a:moveTo>
                  <a:lnTo>
                    <a:pt x="228600" y="2098675"/>
                  </a:lnTo>
                  <a:lnTo>
                    <a:pt x="238125" y="2105025"/>
                  </a:lnTo>
                  <a:lnTo>
                    <a:pt x="241300" y="2114550"/>
                  </a:lnTo>
                  <a:lnTo>
                    <a:pt x="228600" y="2105025"/>
                  </a:lnTo>
                  <a:close/>
                  <a:moveTo>
                    <a:pt x="257175" y="2095500"/>
                  </a:moveTo>
                  <a:lnTo>
                    <a:pt x="263525" y="2095500"/>
                  </a:lnTo>
                  <a:lnTo>
                    <a:pt x="257175" y="2105025"/>
                  </a:lnTo>
                  <a:close/>
                  <a:moveTo>
                    <a:pt x="231775" y="2089150"/>
                  </a:moveTo>
                  <a:lnTo>
                    <a:pt x="234950" y="2089150"/>
                  </a:lnTo>
                  <a:lnTo>
                    <a:pt x="244475" y="2098675"/>
                  </a:lnTo>
                  <a:lnTo>
                    <a:pt x="250825" y="2108200"/>
                  </a:lnTo>
                  <a:lnTo>
                    <a:pt x="247650" y="2114550"/>
                  </a:lnTo>
                  <a:lnTo>
                    <a:pt x="241300" y="2108200"/>
                  </a:lnTo>
                  <a:lnTo>
                    <a:pt x="234950" y="2098675"/>
                  </a:lnTo>
                  <a:close/>
                  <a:moveTo>
                    <a:pt x="171450" y="2076450"/>
                  </a:moveTo>
                  <a:lnTo>
                    <a:pt x="174625" y="2076450"/>
                  </a:lnTo>
                  <a:lnTo>
                    <a:pt x="190500" y="2079625"/>
                  </a:lnTo>
                  <a:lnTo>
                    <a:pt x="196850" y="2082800"/>
                  </a:lnTo>
                  <a:lnTo>
                    <a:pt x="203200" y="2079625"/>
                  </a:lnTo>
                  <a:lnTo>
                    <a:pt x="200025" y="2095500"/>
                  </a:lnTo>
                  <a:lnTo>
                    <a:pt x="193675" y="2111375"/>
                  </a:lnTo>
                  <a:lnTo>
                    <a:pt x="177800" y="2108200"/>
                  </a:lnTo>
                  <a:lnTo>
                    <a:pt x="171450" y="2089150"/>
                  </a:lnTo>
                  <a:close/>
                  <a:moveTo>
                    <a:pt x="1336675" y="1987550"/>
                  </a:moveTo>
                  <a:lnTo>
                    <a:pt x="1336675" y="1993900"/>
                  </a:lnTo>
                  <a:lnTo>
                    <a:pt x="1330325" y="2000250"/>
                  </a:lnTo>
                  <a:lnTo>
                    <a:pt x="1320800" y="2012950"/>
                  </a:lnTo>
                  <a:lnTo>
                    <a:pt x="1320800" y="2006600"/>
                  </a:lnTo>
                  <a:lnTo>
                    <a:pt x="1323975" y="2000250"/>
                  </a:lnTo>
                  <a:close/>
                  <a:moveTo>
                    <a:pt x="1327150" y="1987550"/>
                  </a:moveTo>
                  <a:lnTo>
                    <a:pt x="1323975" y="1997075"/>
                  </a:lnTo>
                  <a:lnTo>
                    <a:pt x="1314450" y="2000250"/>
                  </a:lnTo>
                  <a:lnTo>
                    <a:pt x="1320800" y="1993900"/>
                  </a:lnTo>
                  <a:close/>
                  <a:moveTo>
                    <a:pt x="1577975" y="1822450"/>
                  </a:moveTo>
                  <a:lnTo>
                    <a:pt x="1577975" y="1828800"/>
                  </a:lnTo>
                  <a:lnTo>
                    <a:pt x="1568450" y="1835150"/>
                  </a:lnTo>
                  <a:lnTo>
                    <a:pt x="1568450" y="1825625"/>
                  </a:lnTo>
                  <a:close/>
                  <a:moveTo>
                    <a:pt x="1631950" y="1771650"/>
                  </a:moveTo>
                  <a:lnTo>
                    <a:pt x="1635125" y="1771650"/>
                  </a:lnTo>
                  <a:lnTo>
                    <a:pt x="1647825" y="1771650"/>
                  </a:lnTo>
                  <a:lnTo>
                    <a:pt x="1647825" y="1781175"/>
                  </a:lnTo>
                  <a:lnTo>
                    <a:pt x="1644650" y="1787525"/>
                  </a:lnTo>
                  <a:lnTo>
                    <a:pt x="1631950" y="1774825"/>
                  </a:lnTo>
                  <a:close/>
                  <a:moveTo>
                    <a:pt x="1327150" y="1736725"/>
                  </a:moveTo>
                  <a:lnTo>
                    <a:pt x="1333500" y="1746250"/>
                  </a:lnTo>
                  <a:lnTo>
                    <a:pt x="1327150" y="1765300"/>
                  </a:lnTo>
                  <a:lnTo>
                    <a:pt x="1320800" y="1768475"/>
                  </a:lnTo>
                  <a:lnTo>
                    <a:pt x="1314450" y="1762125"/>
                  </a:lnTo>
                  <a:lnTo>
                    <a:pt x="1314450" y="1749425"/>
                  </a:lnTo>
                  <a:lnTo>
                    <a:pt x="1320800" y="1739900"/>
                  </a:lnTo>
                  <a:close/>
                  <a:moveTo>
                    <a:pt x="1647825" y="1730375"/>
                  </a:moveTo>
                  <a:lnTo>
                    <a:pt x="1654175" y="1730375"/>
                  </a:lnTo>
                  <a:lnTo>
                    <a:pt x="1644650" y="1736725"/>
                  </a:lnTo>
                  <a:lnTo>
                    <a:pt x="1641475" y="1736725"/>
                  </a:lnTo>
                  <a:lnTo>
                    <a:pt x="1644650" y="1733550"/>
                  </a:lnTo>
                  <a:close/>
                  <a:moveTo>
                    <a:pt x="1508125" y="1714500"/>
                  </a:moveTo>
                  <a:lnTo>
                    <a:pt x="1520825" y="1720850"/>
                  </a:lnTo>
                  <a:lnTo>
                    <a:pt x="1527175" y="1730375"/>
                  </a:lnTo>
                  <a:lnTo>
                    <a:pt x="1517650" y="1730375"/>
                  </a:lnTo>
                  <a:lnTo>
                    <a:pt x="1508125" y="1720850"/>
                  </a:lnTo>
                  <a:close/>
                  <a:moveTo>
                    <a:pt x="1273175" y="1711325"/>
                  </a:moveTo>
                  <a:lnTo>
                    <a:pt x="1276350" y="1714500"/>
                  </a:lnTo>
                  <a:lnTo>
                    <a:pt x="1276350" y="1724025"/>
                  </a:lnTo>
                  <a:lnTo>
                    <a:pt x="1266825" y="1730375"/>
                  </a:lnTo>
                  <a:lnTo>
                    <a:pt x="1257300" y="1743075"/>
                  </a:lnTo>
                  <a:lnTo>
                    <a:pt x="1241425" y="1749425"/>
                  </a:lnTo>
                  <a:lnTo>
                    <a:pt x="1238250" y="1746250"/>
                  </a:lnTo>
                  <a:lnTo>
                    <a:pt x="1231900" y="1736725"/>
                  </a:lnTo>
                  <a:lnTo>
                    <a:pt x="1238250" y="1727200"/>
                  </a:lnTo>
                  <a:lnTo>
                    <a:pt x="1241425" y="1717675"/>
                  </a:lnTo>
                  <a:lnTo>
                    <a:pt x="1250950" y="1717675"/>
                  </a:lnTo>
                  <a:lnTo>
                    <a:pt x="1260475" y="1714500"/>
                  </a:lnTo>
                  <a:close/>
                  <a:moveTo>
                    <a:pt x="1349375" y="1689100"/>
                  </a:moveTo>
                  <a:lnTo>
                    <a:pt x="1371600" y="1698625"/>
                  </a:lnTo>
                  <a:lnTo>
                    <a:pt x="1358900" y="1704975"/>
                  </a:lnTo>
                  <a:lnTo>
                    <a:pt x="1352550" y="1695450"/>
                  </a:lnTo>
                  <a:close/>
                  <a:moveTo>
                    <a:pt x="1654175" y="1679575"/>
                  </a:moveTo>
                  <a:lnTo>
                    <a:pt x="1657350" y="1679575"/>
                  </a:lnTo>
                  <a:lnTo>
                    <a:pt x="1663700" y="1695450"/>
                  </a:lnTo>
                  <a:lnTo>
                    <a:pt x="1654175" y="1685925"/>
                  </a:lnTo>
                  <a:close/>
                  <a:moveTo>
                    <a:pt x="1371600" y="1679575"/>
                  </a:moveTo>
                  <a:lnTo>
                    <a:pt x="1390650" y="1685925"/>
                  </a:lnTo>
                  <a:lnTo>
                    <a:pt x="1390650" y="1689100"/>
                  </a:lnTo>
                  <a:lnTo>
                    <a:pt x="1381125" y="1689100"/>
                  </a:lnTo>
                  <a:close/>
                  <a:moveTo>
                    <a:pt x="1196975" y="1562100"/>
                  </a:moveTo>
                  <a:lnTo>
                    <a:pt x="1203325" y="1568450"/>
                  </a:lnTo>
                  <a:lnTo>
                    <a:pt x="1209675" y="1577975"/>
                  </a:lnTo>
                  <a:lnTo>
                    <a:pt x="1212850" y="1584325"/>
                  </a:lnTo>
                  <a:lnTo>
                    <a:pt x="1222375" y="1593850"/>
                  </a:lnTo>
                  <a:lnTo>
                    <a:pt x="1247775" y="1612900"/>
                  </a:lnTo>
                  <a:lnTo>
                    <a:pt x="1257300" y="1622425"/>
                  </a:lnTo>
                  <a:lnTo>
                    <a:pt x="1270000" y="1625600"/>
                  </a:lnTo>
                  <a:lnTo>
                    <a:pt x="1279525" y="1638300"/>
                  </a:lnTo>
                  <a:lnTo>
                    <a:pt x="1282700" y="1651000"/>
                  </a:lnTo>
                  <a:lnTo>
                    <a:pt x="1279525" y="1657350"/>
                  </a:lnTo>
                  <a:lnTo>
                    <a:pt x="1276350" y="1657350"/>
                  </a:lnTo>
                  <a:lnTo>
                    <a:pt x="1276350" y="1660525"/>
                  </a:lnTo>
                  <a:lnTo>
                    <a:pt x="1295400" y="1657350"/>
                  </a:lnTo>
                  <a:lnTo>
                    <a:pt x="1295400" y="1654175"/>
                  </a:lnTo>
                  <a:lnTo>
                    <a:pt x="1301750" y="1657350"/>
                  </a:lnTo>
                  <a:lnTo>
                    <a:pt x="1314450" y="1670050"/>
                  </a:lnTo>
                  <a:lnTo>
                    <a:pt x="1295400" y="1685925"/>
                  </a:lnTo>
                  <a:lnTo>
                    <a:pt x="1282700" y="1682750"/>
                  </a:lnTo>
                  <a:lnTo>
                    <a:pt x="1270000" y="1676400"/>
                  </a:lnTo>
                  <a:lnTo>
                    <a:pt x="1263650" y="1676400"/>
                  </a:lnTo>
                  <a:lnTo>
                    <a:pt x="1263650" y="1670050"/>
                  </a:lnTo>
                  <a:lnTo>
                    <a:pt x="1260475" y="1660525"/>
                  </a:lnTo>
                  <a:lnTo>
                    <a:pt x="1254125" y="1654175"/>
                  </a:lnTo>
                  <a:lnTo>
                    <a:pt x="1241425" y="1654175"/>
                  </a:lnTo>
                  <a:lnTo>
                    <a:pt x="1238250" y="1657350"/>
                  </a:lnTo>
                  <a:lnTo>
                    <a:pt x="1238250" y="1663700"/>
                  </a:lnTo>
                  <a:lnTo>
                    <a:pt x="1238250" y="1673225"/>
                  </a:lnTo>
                  <a:lnTo>
                    <a:pt x="1228725" y="1682750"/>
                  </a:lnTo>
                  <a:lnTo>
                    <a:pt x="1206500" y="1701800"/>
                  </a:lnTo>
                  <a:lnTo>
                    <a:pt x="1196975" y="1701800"/>
                  </a:lnTo>
                  <a:lnTo>
                    <a:pt x="1193800" y="1673225"/>
                  </a:lnTo>
                  <a:lnTo>
                    <a:pt x="1181100" y="1679575"/>
                  </a:lnTo>
                  <a:lnTo>
                    <a:pt x="1162050" y="1682750"/>
                  </a:lnTo>
                  <a:lnTo>
                    <a:pt x="1168400" y="1666875"/>
                  </a:lnTo>
                  <a:lnTo>
                    <a:pt x="1171575" y="1660525"/>
                  </a:lnTo>
                  <a:lnTo>
                    <a:pt x="1181100" y="1651000"/>
                  </a:lnTo>
                  <a:lnTo>
                    <a:pt x="1181100" y="1638300"/>
                  </a:lnTo>
                  <a:lnTo>
                    <a:pt x="1181100" y="1622425"/>
                  </a:lnTo>
                  <a:lnTo>
                    <a:pt x="1184275" y="1609725"/>
                  </a:lnTo>
                  <a:lnTo>
                    <a:pt x="1184275" y="1597025"/>
                  </a:lnTo>
                  <a:close/>
                  <a:moveTo>
                    <a:pt x="1212850" y="1558925"/>
                  </a:moveTo>
                  <a:lnTo>
                    <a:pt x="1219200" y="1574800"/>
                  </a:lnTo>
                  <a:lnTo>
                    <a:pt x="1212850" y="1581150"/>
                  </a:lnTo>
                  <a:lnTo>
                    <a:pt x="1206500" y="1565275"/>
                  </a:lnTo>
                  <a:close/>
                  <a:moveTo>
                    <a:pt x="1222375" y="1552575"/>
                  </a:moveTo>
                  <a:lnTo>
                    <a:pt x="1231900" y="1558925"/>
                  </a:lnTo>
                  <a:lnTo>
                    <a:pt x="1244600" y="1571625"/>
                  </a:lnTo>
                  <a:lnTo>
                    <a:pt x="1241425" y="1577975"/>
                  </a:lnTo>
                  <a:lnTo>
                    <a:pt x="1235075" y="1577975"/>
                  </a:lnTo>
                  <a:lnTo>
                    <a:pt x="1238250" y="1571625"/>
                  </a:lnTo>
                  <a:lnTo>
                    <a:pt x="1231900" y="1568450"/>
                  </a:lnTo>
                  <a:lnTo>
                    <a:pt x="1228725" y="1565275"/>
                  </a:lnTo>
                  <a:lnTo>
                    <a:pt x="1222375" y="1558925"/>
                  </a:lnTo>
                  <a:close/>
                  <a:moveTo>
                    <a:pt x="1441450" y="1441450"/>
                  </a:moveTo>
                  <a:lnTo>
                    <a:pt x="1454150" y="1447800"/>
                  </a:lnTo>
                  <a:lnTo>
                    <a:pt x="1460500" y="1450975"/>
                  </a:lnTo>
                  <a:lnTo>
                    <a:pt x="1460500" y="1463675"/>
                  </a:lnTo>
                  <a:lnTo>
                    <a:pt x="1447800" y="1460500"/>
                  </a:lnTo>
                  <a:lnTo>
                    <a:pt x="1431925" y="1454150"/>
                  </a:lnTo>
                  <a:close/>
                  <a:moveTo>
                    <a:pt x="1171575" y="1431925"/>
                  </a:moveTo>
                  <a:lnTo>
                    <a:pt x="1177925" y="1438275"/>
                  </a:lnTo>
                  <a:lnTo>
                    <a:pt x="1177925" y="1460500"/>
                  </a:lnTo>
                  <a:lnTo>
                    <a:pt x="1168400" y="1454150"/>
                  </a:lnTo>
                  <a:close/>
                  <a:moveTo>
                    <a:pt x="1406525" y="1428750"/>
                  </a:moveTo>
                  <a:lnTo>
                    <a:pt x="1419225" y="1431925"/>
                  </a:lnTo>
                  <a:lnTo>
                    <a:pt x="1425575" y="1441450"/>
                  </a:lnTo>
                  <a:lnTo>
                    <a:pt x="1422400" y="1457325"/>
                  </a:lnTo>
                  <a:lnTo>
                    <a:pt x="1425575" y="1476375"/>
                  </a:lnTo>
                  <a:lnTo>
                    <a:pt x="1412875" y="1485900"/>
                  </a:lnTo>
                  <a:lnTo>
                    <a:pt x="1397000" y="1492250"/>
                  </a:lnTo>
                  <a:lnTo>
                    <a:pt x="1384300" y="1492250"/>
                  </a:lnTo>
                  <a:lnTo>
                    <a:pt x="1381125" y="1489075"/>
                  </a:lnTo>
                  <a:lnTo>
                    <a:pt x="1377950" y="1479550"/>
                  </a:lnTo>
                  <a:lnTo>
                    <a:pt x="1374775" y="1466850"/>
                  </a:lnTo>
                  <a:lnTo>
                    <a:pt x="1377950" y="1457325"/>
                  </a:lnTo>
                  <a:lnTo>
                    <a:pt x="1387475" y="1435100"/>
                  </a:lnTo>
                  <a:close/>
                  <a:moveTo>
                    <a:pt x="777875" y="1416050"/>
                  </a:moveTo>
                  <a:lnTo>
                    <a:pt x="784225" y="1416050"/>
                  </a:lnTo>
                  <a:lnTo>
                    <a:pt x="787400" y="1425575"/>
                  </a:lnTo>
                  <a:close/>
                  <a:moveTo>
                    <a:pt x="1343025" y="1409700"/>
                  </a:moveTo>
                  <a:lnTo>
                    <a:pt x="1349375" y="1412875"/>
                  </a:lnTo>
                  <a:lnTo>
                    <a:pt x="1346200" y="1419225"/>
                  </a:lnTo>
                  <a:lnTo>
                    <a:pt x="1343025" y="1422400"/>
                  </a:lnTo>
                  <a:lnTo>
                    <a:pt x="1339850" y="1419225"/>
                  </a:lnTo>
                  <a:close/>
                  <a:moveTo>
                    <a:pt x="1419225" y="1406525"/>
                  </a:moveTo>
                  <a:lnTo>
                    <a:pt x="1428750" y="1419225"/>
                  </a:lnTo>
                  <a:lnTo>
                    <a:pt x="1428750" y="1428750"/>
                  </a:lnTo>
                  <a:lnTo>
                    <a:pt x="1425575" y="1428750"/>
                  </a:lnTo>
                  <a:lnTo>
                    <a:pt x="1416050" y="1419225"/>
                  </a:lnTo>
                  <a:close/>
                  <a:moveTo>
                    <a:pt x="841375" y="1400175"/>
                  </a:moveTo>
                  <a:lnTo>
                    <a:pt x="847725" y="1403350"/>
                  </a:lnTo>
                  <a:lnTo>
                    <a:pt x="835025" y="1409700"/>
                  </a:lnTo>
                  <a:close/>
                  <a:moveTo>
                    <a:pt x="873125" y="1387475"/>
                  </a:moveTo>
                  <a:lnTo>
                    <a:pt x="879475" y="1390650"/>
                  </a:lnTo>
                  <a:lnTo>
                    <a:pt x="882650" y="1403350"/>
                  </a:lnTo>
                  <a:lnTo>
                    <a:pt x="873125" y="1403350"/>
                  </a:lnTo>
                  <a:close/>
                  <a:moveTo>
                    <a:pt x="1349375" y="1365250"/>
                  </a:moveTo>
                  <a:lnTo>
                    <a:pt x="1355725" y="1371600"/>
                  </a:lnTo>
                  <a:lnTo>
                    <a:pt x="1349375" y="1387475"/>
                  </a:lnTo>
                  <a:lnTo>
                    <a:pt x="1333500" y="1400175"/>
                  </a:lnTo>
                  <a:lnTo>
                    <a:pt x="1330325" y="1393825"/>
                  </a:lnTo>
                  <a:lnTo>
                    <a:pt x="1336675" y="1384300"/>
                  </a:lnTo>
                  <a:close/>
                  <a:moveTo>
                    <a:pt x="1381125" y="1362075"/>
                  </a:moveTo>
                  <a:lnTo>
                    <a:pt x="1387475" y="1365250"/>
                  </a:lnTo>
                  <a:lnTo>
                    <a:pt x="1387475" y="1374775"/>
                  </a:lnTo>
                  <a:lnTo>
                    <a:pt x="1377950" y="1381125"/>
                  </a:lnTo>
                  <a:lnTo>
                    <a:pt x="1374775" y="1371600"/>
                  </a:lnTo>
                  <a:close/>
                  <a:moveTo>
                    <a:pt x="974725" y="1358900"/>
                  </a:moveTo>
                  <a:lnTo>
                    <a:pt x="977900" y="1362075"/>
                  </a:lnTo>
                  <a:lnTo>
                    <a:pt x="974725" y="1365250"/>
                  </a:lnTo>
                  <a:close/>
                  <a:moveTo>
                    <a:pt x="955675" y="1355725"/>
                  </a:moveTo>
                  <a:lnTo>
                    <a:pt x="965200" y="1355725"/>
                  </a:lnTo>
                  <a:lnTo>
                    <a:pt x="968375" y="1355725"/>
                  </a:lnTo>
                  <a:lnTo>
                    <a:pt x="968375" y="1368425"/>
                  </a:lnTo>
                  <a:lnTo>
                    <a:pt x="965200" y="1368425"/>
                  </a:lnTo>
                  <a:close/>
                  <a:moveTo>
                    <a:pt x="152400" y="1355725"/>
                  </a:moveTo>
                  <a:lnTo>
                    <a:pt x="155575" y="1355725"/>
                  </a:lnTo>
                  <a:lnTo>
                    <a:pt x="155575" y="1362075"/>
                  </a:lnTo>
                  <a:lnTo>
                    <a:pt x="146050" y="1374775"/>
                  </a:lnTo>
                  <a:lnTo>
                    <a:pt x="136525" y="1384300"/>
                  </a:lnTo>
                  <a:lnTo>
                    <a:pt x="120650" y="1390650"/>
                  </a:lnTo>
                  <a:lnTo>
                    <a:pt x="111125" y="1384300"/>
                  </a:lnTo>
                  <a:lnTo>
                    <a:pt x="111125" y="1374775"/>
                  </a:lnTo>
                  <a:lnTo>
                    <a:pt x="114300" y="1368425"/>
                  </a:lnTo>
                  <a:lnTo>
                    <a:pt x="130175" y="1362075"/>
                  </a:lnTo>
                  <a:lnTo>
                    <a:pt x="139700" y="1358900"/>
                  </a:lnTo>
                  <a:close/>
                  <a:moveTo>
                    <a:pt x="974725" y="1352550"/>
                  </a:moveTo>
                  <a:lnTo>
                    <a:pt x="984250" y="1355725"/>
                  </a:lnTo>
                  <a:lnTo>
                    <a:pt x="984250" y="1362075"/>
                  </a:lnTo>
                  <a:lnTo>
                    <a:pt x="981075" y="1371600"/>
                  </a:lnTo>
                  <a:lnTo>
                    <a:pt x="977900" y="1371600"/>
                  </a:lnTo>
                  <a:lnTo>
                    <a:pt x="981075" y="1365250"/>
                  </a:lnTo>
                  <a:lnTo>
                    <a:pt x="977900" y="1355725"/>
                  </a:lnTo>
                  <a:lnTo>
                    <a:pt x="974725" y="1358900"/>
                  </a:lnTo>
                  <a:close/>
                  <a:moveTo>
                    <a:pt x="1362075" y="1346200"/>
                  </a:moveTo>
                  <a:lnTo>
                    <a:pt x="1355725" y="1355725"/>
                  </a:lnTo>
                  <a:lnTo>
                    <a:pt x="1349375" y="1362075"/>
                  </a:lnTo>
                  <a:lnTo>
                    <a:pt x="1343025" y="1362075"/>
                  </a:lnTo>
                  <a:lnTo>
                    <a:pt x="1349375" y="1349375"/>
                  </a:lnTo>
                  <a:close/>
                  <a:moveTo>
                    <a:pt x="923925" y="1343025"/>
                  </a:moveTo>
                  <a:lnTo>
                    <a:pt x="939800" y="1343025"/>
                  </a:lnTo>
                  <a:lnTo>
                    <a:pt x="958850" y="1362075"/>
                  </a:lnTo>
                  <a:lnTo>
                    <a:pt x="974725" y="1384300"/>
                  </a:lnTo>
                  <a:lnTo>
                    <a:pt x="981075" y="1400175"/>
                  </a:lnTo>
                  <a:lnTo>
                    <a:pt x="990600" y="1400175"/>
                  </a:lnTo>
                  <a:lnTo>
                    <a:pt x="984250" y="1406525"/>
                  </a:lnTo>
                  <a:lnTo>
                    <a:pt x="981075" y="1403350"/>
                  </a:lnTo>
                  <a:lnTo>
                    <a:pt x="977900" y="1406525"/>
                  </a:lnTo>
                  <a:lnTo>
                    <a:pt x="965200" y="1419225"/>
                  </a:lnTo>
                  <a:lnTo>
                    <a:pt x="955675" y="1422400"/>
                  </a:lnTo>
                  <a:lnTo>
                    <a:pt x="939800" y="1416050"/>
                  </a:lnTo>
                  <a:lnTo>
                    <a:pt x="930275" y="1406525"/>
                  </a:lnTo>
                  <a:lnTo>
                    <a:pt x="914400" y="1400175"/>
                  </a:lnTo>
                  <a:lnTo>
                    <a:pt x="898525" y="1397000"/>
                  </a:lnTo>
                  <a:lnTo>
                    <a:pt x="895350" y="1390650"/>
                  </a:lnTo>
                  <a:lnTo>
                    <a:pt x="895350" y="1384300"/>
                  </a:lnTo>
                  <a:lnTo>
                    <a:pt x="908050" y="1381125"/>
                  </a:lnTo>
                  <a:lnTo>
                    <a:pt x="920750" y="1371600"/>
                  </a:lnTo>
                  <a:lnTo>
                    <a:pt x="917575" y="1355725"/>
                  </a:lnTo>
                  <a:close/>
                  <a:moveTo>
                    <a:pt x="1323975" y="1339850"/>
                  </a:moveTo>
                  <a:lnTo>
                    <a:pt x="1330325" y="1346200"/>
                  </a:lnTo>
                  <a:lnTo>
                    <a:pt x="1327150" y="1352550"/>
                  </a:lnTo>
                  <a:lnTo>
                    <a:pt x="1317625" y="1355725"/>
                  </a:lnTo>
                  <a:lnTo>
                    <a:pt x="1301750" y="1346200"/>
                  </a:lnTo>
                  <a:lnTo>
                    <a:pt x="1308100" y="1343025"/>
                  </a:lnTo>
                  <a:lnTo>
                    <a:pt x="1320800" y="1343025"/>
                  </a:lnTo>
                  <a:lnTo>
                    <a:pt x="1323975" y="1343025"/>
                  </a:lnTo>
                  <a:close/>
                  <a:moveTo>
                    <a:pt x="1158875" y="1320800"/>
                  </a:moveTo>
                  <a:lnTo>
                    <a:pt x="1162050" y="1320800"/>
                  </a:lnTo>
                  <a:lnTo>
                    <a:pt x="1177925" y="1327150"/>
                  </a:lnTo>
                  <a:lnTo>
                    <a:pt x="1168400" y="1330325"/>
                  </a:lnTo>
                  <a:close/>
                  <a:moveTo>
                    <a:pt x="1460500" y="1222375"/>
                  </a:moveTo>
                  <a:lnTo>
                    <a:pt x="1463675" y="1222375"/>
                  </a:lnTo>
                  <a:lnTo>
                    <a:pt x="1470025" y="1225550"/>
                  </a:lnTo>
                  <a:lnTo>
                    <a:pt x="1470025" y="1231900"/>
                  </a:lnTo>
                  <a:lnTo>
                    <a:pt x="1470025" y="1238250"/>
                  </a:lnTo>
                  <a:lnTo>
                    <a:pt x="1460500" y="1235075"/>
                  </a:lnTo>
                  <a:close/>
                  <a:moveTo>
                    <a:pt x="990600" y="1196975"/>
                  </a:moveTo>
                  <a:lnTo>
                    <a:pt x="1000125" y="1196975"/>
                  </a:lnTo>
                  <a:lnTo>
                    <a:pt x="1006475" y="1203325"/>
                  </a:lnTo>
                  <a:lnTo>
                    <a:pt x="1003300" y="1206500"/>
                  </a:lnTo>
                  <a:lnTo>
                    <a:pt x="1019175" y="1209675"/>
                  </a:lnTo>
                  <a:lnTo>
                    <a:pt x="1028700" y="1225550"/>
                  </a:lnTo>
                  <a:lnTo>
                    <a:pt x="1038225" y="1250950"/>
                  </a:lnTo>
                  <a:lnTo>
                    <a:pt x="1038225" y="1273175"/>
                  </a:lnTo>
                  <a:lnTo>
                    <a:pt x="1035050" y="1273175"/>
                  </a:lnTo>
                  <a:lnTo>
                    <a:pt x="1044575" y="1279525"/>
                  </a:lnTo>
                  <a:lnTo>
                    <a:pt x="1054100" y="1292225"/>
                  </a:lnTo>
                  <a:lnTo>
                    <a:pt x="1069975" y="1317625"/>
                  </a:lnTo>
                  <a:lnTo>
                    <a:pt x="1050925" y="1336675"/>
                  </a:lnTo>
                  <a:lnTo>
                    <a:pt x="1047750" y="1343025"/>
                  </a:lnTo>
                  <a:lnTo>
                    <a:pt x="1047750" y="1349375"/>
                  </a:lnTo>
                  <a:lnTo>
                    <a:pt x="1057275" y="1355725"/>
                  </a:lnTo>
                  <a:lnTo>
                    <a:pt x="1095375" y="1362075"/>
                  </a:lnTo>
                  <a:lnTo>
                    <a:pt x="1089025" y="1365250"/>
                  </a:lnTo>
                  <a:lnTo>
                    <a:pt x="1079500" y="1374775"/>
                  </a:lnTo>
                  <a:lnTo>
                    <a:pt x="1092200" y="1400175"/>
                  </a:lnTo>
                  <a:lnTo>
                    <a:pt x="1089025" y="1400175"/>
                  </a:lnTo>
                  <a:lnTo>
                    <a:pt x="1092200" y="1419225"/>
                  </a:lnTo>
                  <a:lnTo>
                    <a:pt x="1095375" y="1431925"/>
                  </a:lnTo>
                  <a:lnTo>
                    <a:pt x="1101725" y="1428750"/>
                  </a:lnTo>
                  <a:lnTo>
                    <a:pt x="1104900" y="1419225"/>
                  </a:lnTo>
                  <a:lnTo>
                    <a:pt x="1108075" y="1400175"/>
                  </a:lnTo>
                  <a:lnTo>
                    <a:pt x="1108075" y="1390650"/>
                  </a:lnTo>
                  <a:lnTo>
                    <a:pt x="1114425" y="1377950"/>
                  </a:lnTo>
                  <a:lnTo>
                    <a:pt x="1123950" y="1374775"/>
                  </a:lnTo>
                  <a:lnTo>
                    <a:pt x="1139825" y="1393825"/>
                  </a:lnTo>
                  <a:lnTo>
                    <a:pt x="1146175" y="1406525"/>
                  </a:lnTo>
                  <a:lnTo>
                    <a:pt x="1146175" y="1435100"/>
                  </a:lnTo>
                  <a:lnTo>
                    <a:pt x="1139825" y="1438275"/>
                  </a:lnTo>
                  <a:lnTo>
                    <a:pt x="1136650" y="1454150"/>
                  </a:lnTo>
                  <a:lnTo>
                    <a:pt x="1143000" y="1466850"/>
                  </a:lnTo>
                  <a:lnTo>
                    <a:pt x="1146175" y="1473200"/>
                  </a:lnTo>
                  <a:lnTo>
                    <a:pt x="1155700" y="1482725"/>
                  </a:lnTo>
                  <a:lnTo>
                    <a:pt x="1155700" y="1492250"/>
                  </a:lnTo>
                  <a:lnTo>
                    <a:pt x="1155700" y="1498600"/>
                  </a:lnTo>
                  <a:lnTo>
                    <a:pt x="1168400" y="1492250"/>
                  </a:lnTo>
                  <a:lnTo>
                    <a:pt x="1165225" y="1485900"/>
                  </a:lnTo>
                  <a:lnTo>
                    <a:pt x="1171575" y="1482725"/>
                  </a:lnTo>
                  <a:lnTo>
                    <a:pt x="1177925" y="1485900"/>
                  </a:lnTo>
                  <a:lnTo>
                    <a:pt x="1177925" y="1482725"/>
                  </a:lnTo>
                  <a:lnTo>
                    <a:pt x="1177925" y="1476375"/>
                  </a:lnTo>
                  <a:lnTo>
                    <a:pt x="1177925" y="1466850"/>
                  </a:lnTo>
                  <a:lnTo>
                    <a:pt x="1181100" y="1460500"/>
                  </a:lnTo>
                  <a:lnTo>
                    <a:pt x="1187450" y="1441450"/>
                  </a:lnTo>
                  <a:lnTo>
                    <a:pt x="1190625" y="1425575"/>
                  </a:lnTo>
                  <a:lnTo>
                    <a:pt x="1200150" y="1406525"/>
                  </a:lnTo>
                  <a:lnTo>
                    <a:pt x="1206500" y="1406525"/>
                  </a:lnTo>
                  <a:lnTo>
                    <a:pt x="1206500" y="1393825"/>
                  </a:lnTo>
                  <a:lnTo>
                    <a:pt x="1203325" y="1381125"/>
                  </a:lnTo>
                  <a:lnTo>
                    <a:pt x="1196975" y="1365250"/>
                  </a:lnTo>
                  <a:lnTo>
                    <a:pt x="1196975" y="1336675"/>
                  </a:lnTo>
                  <a:lnTo>
                    <a:pt x="1216025" y="1336675"/>
                  </a:lnTo>
                  <a:lnTo>
                    <a:pt x="1225550" y="1339850"/>
                  </a:lnTo>
                  <a:lnTo>
                    <a:pt x="1238250" y="1346200"/>
                  </a:lnTo>
                  <a:lnTo>
                    <a:pt x="1247775" y="1349375"/>
                  </a:lnTo>
                  <a:lnTo>
                    <a:pt x="1263650" y="1358900"/>
                  </a:lnTo>
                  <a:lnTo>
                    <a:pt x="1276350" y="1371600"/>
                  </a:lnTo>
                  <a:lnTo>
                    <a:pt x="1289050" y="1377950"/>
                  </a:lnTo>
                  <a:lnTo>
                    <a:pt x="1289050" y="1406525"/>
                  </a:lnTo>
                  <a:lnTo>
                    <a:pt x="1279525" y="1422400"/>
                  </a:lnTo>
                  <a:lnTo>
                    <a:pt x="1273175" y="1425575"/>
                  </a:lnTo>
                  <a:lnTo>
                    <a:pt x="1270000" y="1419225"/>
                  </a:lnTo>
                  <a:lnTo>
                    <a:pt x="1263650" y="1422400"/>
                  </a:lnTo>
                  <a:lnTo>
                    <a:pt x="1260475" y="1425575"/>
                  </a:lnTo>
                  <a:lnTo>
                    <a:pt x="1270000" y="1450975"/>
                  </a:lnTo>
                  <a:lnTo>
                    <a:pt x="1279525" y="1463675"/>
                  </a:lnTo>
                  <a:lnTo>
                    <a:pt x="1289050" y="1479550"/>
                  </a:lnTo>
                  <a:lnTo>
                    <a:pt x="1289050" y="1492250"/>
                  </a:lnTo>
                  <a:lnTo>
                    <a:pt x="1285875" y="1504950"/>
                  </a:lnTo>
                  <a:lnTo>
                    <a:pt x="1276350" y="1508125"/>
                  </a:lnTo>
                  <a:lnTo>
                    <a:pt x="1270000" y="1517650"/>
                  </a:lnTo>
                  <a:lnTo>
                    <a:pt x="1266825" y="1520825"/>
                  </a:lnTo>
                  <a:lnTo>
                    <a:pt x="1250950" y="1533525"/>
                  </a:lnTo>
                  <a:lnTo>
                    <a:pt x="1238250" y="1536700"/>
                  </a:lnTo>
                  <a:lnTo>
                    <a:pt x="1238250" y="1549400"/>
                  </a:lnTo>
                  <a:lnTo>
                    <a:pt x="1231900" y="1549400"/>
                  </a:lnTo>
                  <a:lnTo>
                    <a:pt x="1219200" y="1543050"/>
                  </a:lnTo>
                  <a:lnTo>
                    <a:pt x="1219200" y="1546225"/>
                  </a:lnTo>
                  <a:lnTo>
                    <a:pt x="1203325" y="1539875"/>
                  </a:lnTo>
                  <a:lnTo>
                    <a:pt x="1200150" y="1533525"/>
                  </a:lnTo>
                  <a:lnTo>
                    <a:pt x="1190625" y="1530350"/>
                  </a:lnTo>
                  <a:lnTo>
                    <a:pt x="1177925" y="1530350"/>
                  </a:lnTo>
                  <a:lnTo>
                    <a:pt x="1171575" y="1533525"/>
                  </a:lnTo>
                  <a:lnTo>
                    <a:pt x="1174750" y="1543050"/>
                  </a:lnTo>
                  <a:lnTo>
                    <a:pt x="1184275" y="1546225"/>
                  </a:lnTo>
                  <a:lnTo>
                    <a:pt x="1190625" y="1549400"/>
                  </a:lnTo>
                  <a:lnTo>
                    <a:pt x="1187450" y="1558925"/>
                  </a:lnTo>
                  <a:lnTo>
                    <a:pt x="1181100" y="1565275"/>
                  </a:lnTo>
                  <a:lnTo>
                    <a:pt x="1174750" y="1574800"/>
                  </a:lnTo>
                  <a:lnTo>
                    <a:pt x="1168400" y="1584325"/>
                  </a:lnTo>
                  <a:lnTo>
                    <a:pt x="1162050" y="1590675"/>
                  </a:lnTo>
                  <a:lnTo>
                    <a:pt x="1162050" y="1597025"/>
                  </a:lnTo>
                  <a:lnTo>
                    <a:pt x="1165225" y="1609725"/>
                  </a:lnTo>
                  <a:lnTo>
                    <a:pt x="1155700" y="1631950"/>
                  </a:lnTo>
                  <a:lnTo>
                    <a:pt x="1149350" y="1644650"/>
                  </a:lnTo>
                  <a:lnTo>
                    <a:pt x="1146175" y="1651000"/>
                  </a:lnTo>
                  <a:lnTo>
                    <a:pt x="1130300" y="1663700"/>
                  </a:lnTo>
                  <a:lnTo>
                    <a:pt x="1117600" y="1660525"/>
                  </a:lnTo>
                  <a:lnTo>
                    <a:pt x="1111250" y="1657350"/>
                  </a:lnTo>
                  <a:lnTo>
                    <a:pt x="1104900" y="1666875"/>
                  </a:lnTo>
                  <a:lnTo>
                    <a:pt x="1101725" y="1673225"/>
                  </a:lnTo>
                  <a:lnTo>
                    <a:pt x="1095375" y="1679575"/>
                  </a:lnTo>
                  <a:lnTo>
                    <a:pt x="1089025" y="1689100"/>
                  </a:lnTo>
                  <a:lnTo>
                    <a:pt x="1085850" y="1701800"/>
                  </a:lnTo>
                  <a:lnTo>
                    <a:pt x="1085850" y="1711325"/>
                  </a:lnTo>
                  <a:lnTo>
                    <a:pt x="1079500" y="1714500"/>
                  </a:lnTo>
                  <a:lnTo>
                    <a:pt x="1066800" y="1717675"/>
                  </a:lnTo>
                  <a:lnTo>
                    <a:pt x="1050925" y="1717675"/>
                  </a:lnTo>
                  <a:lnTo>
                    <a:pt x="1044575" y="1727200"/>
                  </a:lnTo>
                  <a:lnTo>
                    <a:pt x="1041400" y="1739900"/>
                  </a:lnTo>
                  <a:lnTo>
                    <a:pt x="1041400" y="1749425"/>
                  </a:lnTo>
                  <a:lnTo>
                    <a:pt x="1031875" y="1758950"/>
                  </a:lnTo>
                  <a:lnTo>
                    <a:pt x="1022350" y="1774825"/>
                  </a:lnTo>
                  <a:lnTo>
                    <a:pt x="1016000" y="1781175"/>
                  </a:lnTo>
                  <a:lnTo>
                    <a:pt x="1016000" y="1784350"/>
                  </a:lnTo>
                  <a:lnTo>
                    <a:pt x="1012825" y="1787525"/>
                  </a:lnTo>
                  <a:lnTo>
                    <a:pt x="1006475" y="1809750"/>
                  </a:lnTo>
                  <a:lnTo>
                    <a:pt x="1000125" y="1825625"/>
                  </a:lnTo>
                  <a:lnTo>
                    <a:pt x="1003300" y="1828800"/>
                  </a:lnTo>
                  <a:lnTo>
                    <a:pt x="1000125" y="1841500"/>
                  </a:lnTo>
                  <a:lnTo>
                    <a:pt x="996950" y="1854200"/>
                  </a:lnTo>
                  <a:lnTo>
                    <a:pt x="1000125" y="1876425"/>
                  </a:lnTo>
                  <a:lnTo>
                    <a:pt x="996950" y="1885950"/>
                  </a:lnTo>
                  <a:lnTo>
                    <a:pt x="1006475" y="1892300"/>
                  </a:lnTo>
                  <a:lnTo>
                    <a:pt x="1009650" y="1898650"/>
                  </a:lnTo>
                  <a:lnTo>
                    <a:pt x="1019175" y="1895475"/>
                  </a:lnTo>
                  <a:lnTo>
                    <a:pt x="1031875" y="1898650"/>
                  </a:lnTo>
                  <a:lnTo>
                    <a:pt x="1035050" y="1911350"/>
                  </a:lnTo>
                  <a:lnTo>
                    <a:pt x="1041400" y="1933575"/>
                  </a:lnTo>
                  <a:lnTo>
                    <a:pt x="1044575" y="1943100"/>
                  </a:lnTo>
                  <a:lnTo>
                    <a:pt x="1047750" y="1949450"/>
                  </a:lnTo>
                  <a:lnTo>
                    <a:pt x="1050925" y="1955800"/>
                  </a:lnTo>
                  <a:lnTo>
                    <a:pt x="1054100" y="1962150"/>
                  </a:lnTo>
                  <a:lnTo>
                    <a:pt x="1057275" y="1965325"/>
                  </a:lnTo>
                  <a:lnTo>
                    <a:pt x="1085850" y="1958975"/>
                  </a:lnTo>
                  <a:lnTo>
                    <a:pt x="1108075" y="1971675"/>
                  </a:lnTo>
                  <a:lnTo>
                    <a:pt x="1123950" y="1974850"/>
                  </a:lnTo>
                  <a:lnTo>
                    <a:pt x="1136650" y="1984375"/>
                  </a:lnTo>
                  <a:lnTo>
                    <a:pt x="1146175" y="1990725"/>
                  </a:lnTo>
                  <a:lnTo>
                    <a:pt x="1155700" y="2006600"/>
                  </a:lnTo>
                  <a:lnTo>
                    <a:pt x="1177925" y="2016125"/>
                  </a:lnTo>
                  <a:lnTo>
                    <a:pt x="1193800" y="2022475"/>
                  </a:lnTo>
                  <a:lnTo>
                    <a:pt x="1203325" y="2032000"/>
                  </a:lnTo>
                  <a:lnTo>
                    <a:pt x="1228725" y="2035175"/>
                  </a:lnTo>
                  <a:lnTo>
                    <a:pt x="1241425" y="2035175"/>
                  </a:lnTo>
                  <a:lnTo>
                    <a:pt x="1250950" y="2035175"/>
                  </a:lnTo>
                  <a:lnTo>
                    <a:pt x="1254125" y="2038350"/>
                  </a:lnTo>
                  <a:lnTo>
                    <a:pt x="1263650" y="2041525"/>
                  </a:lnTo>
                  <a:lnTo>
                    <a:pt x="1270000" y="2047875"/>
                  </a:lnTo>
                  <a:lnTo>
                    <a:pt x="1270000" y="2057400"/>
                  </a:lnTo>
                  <a:lnTo>
                    <a:pt x="1270000" y="2079625"/>
                  </a:lnTo>
                  <a:lnTo>
                    <a:pt x="1270000" y="2089150"/>
                  </a:lnTo>
                  <a:lnTo>
                    <a:pt x="1273175" y="2098675"/>
                  </a:lnTo>
                  <a:lnTo>
                    <a:pt x="1273175" y="2108200"/>
                  </a:lnTo>
                  <a:lnTo>
                    <a:pt x="1270000" y="2111375"/>
                  </a:lnTo>
                  <a:lnTo>
                    <a:pt x="1270000" y="2120900"/>
                  </a:lnTo>
                  <a:lnTo>
                    <a:pt x="1276350" y="2130425"/>
                  </a:lnTo>
                  <a:lnTo>
                    <a:pt x="1282700" y="2136775"/>
                  </a:lnTo>
                  <a:lnTo>
                    <a:pt x="1285875" y="2139950"/>
                  </a:lnTo>
                  <a:lnTo>
                    <a:pt x="1285875" y="2146300"/>
                  </a:lnTo>
                  <a:lnTo>
                    <a:pt x="1292225" y="2152650"/>
                  </a:lnTo>
                  <a:lnTo>
                    <a:pt x="1301750" y="2162175"/>
                  </a:lnTo>
                  <a:lnTo>
                    <a:pt x="1304925" y="2168525"/>
                  </a:lnTo>
                  <a:lnTo>
                    <a:pt x="1314450" y="2178050"/>
                  </a:lnTo>
                  <a:lnTo>
                    <a:pt x="1320800" y="2181225"/>
                  </a:lnTo>
                  <a:lnTo>
                    <a:pt x="1327150" y="2190750"/>
                  </a:lnTo>
                  <a:lnTo>
                    <a:pt x="1327150" y="2174875"/>
                  </a:lnTo>
                  <a:lnTo>
                    <a:pt x="1327150" y="2171700"/>
                  </a:lnTo>
                  <a:lnTo>
                    <a:pt x="1330325" y="2165350"/>
                  </a:lnTo>
                  <a:lnTo>
                    <a:pt x="1336675" y="2171700"/>
                  </a:lnTo>
                  <a:lnTo>
                    <a:pt x="1343025" y="2184400"/>
                  </a:lnTo>
                  <a:lnTo>
                    <a:pt x="1346200" y="2171700"/>
                  </a:lnTo>
                  <a:lnTo>
                    <a:pt x="1343025" y="2165350"/>
                  </a:lnTo>
                  <a:lnTo>
                    <a:pt x="1339850" y="2159000"/>
                  </a:lnTo>
                  <a:lnTo>
                    <a:pt x="1352550" y="2146300"/>
                  </a:lnTo>
                  <a:lnTo>
                    <a:pt x="1343025" y="2127250"/>
                  </a:lnTo>
                  <a:lnTo>
                    <a:pt x="1339850" y="2101850"/>
                  </a:lnTo>
                  <a:lnTo>
                    <a:pt x="1330325" y="2076450"/>
                  </a:lnTo>
                  <a:lnTo>
                    <a:pt x="1327150" y="2070100"/>
                  </a:lnTo>
                  <a:lnTo>
                    <a:pt x="1323975" y="2057400"/>
                  </a:lnTo>
                  <a:lnTo>
                    <a:pt x="1336675" y="2051050"/>
                  </a:lnTo>
                  <a:lnTo>
                    <a:pt x="1349375" y="2044700"/>
                  </a:lnTo>
                  <a:lnTo>
                    <a:pt x="1362075" y="2038350"/>
                  </a:lnTo>
                  <a:lnTo>
                    <a:pt x="1374775" y="2025650"/>
                  </a:lnTo>
                  <a:lnTo>
                    <a:pt x="1384300" y="2016125"/>
                  </a:lnTo>
                  <a:lnTo>
                    <a:pt x="1390650" y="2006600"/>
                  </a:lnTo>
                  <a:lnTo>
                    <a:pt x="1390650" y="2000250"/>
                  </a:lnTo>
                  <a:lnTo>
                    <a:pt x="1393825" y="1997075"/>
                  </a:lnTo>
                  <a:lnTo>
                    <a:pt x="1393825" y="1987550"/>
                  </a:lnTo>
                  <a:lnTo>
                    <a:pt x="1393825" y="1974850"/>
                  </a:lnTo>
                  <a:lnTo>
                    <a:pt x="1393825" y="1965325"/>
                  </a:lnTo>
                  <a:lnTo>
                    <a:pt x="1390650" y="1949450"/>
                  </a:lnTo>
                  <a:lnTo>
                    <a:pt x="1381125" y="1930400"/>
                  </a:lnTo>
                  <a:lnTo>
                    <a:pt x="1371600" y="1920875"/>
                  </a:lnTo>
                  <a:lnTo>
                    <a:pt x="1362075" y="1914525"/>
                  </a:lnTo>
                  <a:lnTo>
                    <a:pt x="1352550" y="1908175"/>
                  </a:lnTo>
                  <a:lnTo>
                    <a:pt x="1349375" y="1901825"/>
                  </a:lnTo>
                  <a:lnTo>
                    <a:pt x="1349375" y="1892300"/>
                  </a:lnTo>
                  <a:lnTo>
                    <a:pt x="1352550" y="1889125"/>
                  </a:lnTo>
                  <a:lnTo>
                    <a:pt x="1355725" y="1882775"/>
                  </a:lnTo>
                  <a:lnTo>
                    <a:pt x="1365250" y="1860550"/>
                  </a:lnTo>
                  <a:lnTo>
                    <a:pt x="1371600" y="1857375"/>
                  </a:lnTo>
                  <a:lnTo>
                    <a:pt x="1374775" y="1854200"/>
                  </a:lnTo>
                  <a:lnTo>
                    <a:pt x="1377950" y="1844675"/>
                  </a:lnTo>
                  <a:lnTo>
                    <a:pt x="1368425" y="1838325"/>
                  </a:lnTo>
                  <a:lnTo>
                    <a:pt x="1362075" y="1809750"/>
                  </a:lnTo>
                  <a:lnTo>
                    <a:pt x="1355725" y="1809750"/>
                  </a:lnTo>
                  <a:lnTo>
                    <a:pt x="1358900" y="1803400"/>
                  </a:lnTo>
                  <a:lnTo>
                    <a:pt x="1365250" y="1797050"/>
                  </a:lnTo>
                  <a:lnTo>
                    <a:pt x="1365250" y="1784350"/>
                  </a:lnTo>
                  <a:lnTo>
                    <a:pt x="1365250" y="1771650"/>
                  </a:lnTo>
                  <a:lnTo>
                    <a:pt x="1362075" y="1768475"/>
                  </a:lnTo>
                  <a:lnTo>
                    <a:pt x="1355725" y="1746250"/>
                  </a:lnTo>
                  <a:lnTo>
                    <a:pt x="1365250" y="1733550"/>
                  </a:lnTo>
                  <a:lnTo>
                    <a:pt x="1371600" y="1730375"/>
                  </a:lnTo>
                  <a:lnTo>
                    <a:pt x="1377950" y="1730375"/>
                  </a:lnTo>
                  <a:lnTo>
                    <a:pt x="1390650" y="1733550"/>
                  </a:lnTo>
                  <a:lnTo>
                    <a:pt x="1400175" y="1736725"/>
                  </a:lnTo>
                  <a:lnTo>
                    <a:pt x="1406525" y="1739900"/>
                  </a:lnTo>
                  <a:lnTo>
                    <a:pt x="1406525" y="1749425"/>
                  </a:lnTo>
                  <a:lnTo>
                    <a:pt x="1425575" y="1743075"/>
                  </a:lnTo>
                  <a:lnTo>
                    <a:pt x="1444625" y="1739900"/>
                  </a:lnTo>
                  <a:lnTo>
                    <a:pt x="1454150" y="1733550"/>
                  </a:lnTo>
                  <a:lnTo>
                    <a:pt x="1460500" y="1739900"/>
                  </a:lnTo>
                  <a:lnTo>
                    <a:pt x="1476375" y="1749425"/>
                  </a:lnTo>
                  <a:lnTo>
                    <a:pt x="1476375" y="1758950"/>
                  </a:lnTo>
                  <a:lnTo>
                    <a:pt x="1485900" y="1762125"/>
                  </a:lnTo>
                  <a:lnTo>
                    <a:pt x="1489075" y="1768475"/>
                  </a:lnTo>
                  <a:lnTo>
                    <a:pt x="1492250" y="1768475"/>
                  </a:lnTo>
                  <a:lnTo>
                    <a:pt x="1498600" y="1774825"/>
                  </a:lnTo>
                  <a:lnTo>
                    <a:pt x="1492250" y="1781175"/>
                  </a:lnTo>
                  <a:lnTo>
                    <a:pt x="1504950" y="1793875"/>
                  </a:lnTo>
                  <a:lnTo>
                    <a:pt x="1517650" y="1797050"/>
                  </a:lnTo>
                  <a:lnTo>
                    <a:pt x="1533525" y="1803400"/>
                  </a:lnTo>
                  <a:lnTo>
                    <a:pt x="1539875" y="1803400"/>
                  </a:lnTo>
                  <a:lnTo>
                    <a:pt x="1546225" y="1809750"/>
                  </a:lnTo>
                  <a:lnTo>
                    <a:pt x="1539875" y="1828800"/>
                  </a:lnTo>
                  <a:lnTo>
                    <a:pt x="1536700" y="1847850"/>
                  </a:lnTo>
                  <a:lnTo>
                    <a:pt x="1539875" y="1866900"/>
                  </a:lnTo>
                  <a:lnTo>
                    <a:pt x="1543050" y="1885950"/>
                  </a:lnTo>
                  <a:lnTo>
                    <a:pt x="1543050" y="1892300"/>
                  </a:lnTo>
                  <a:lnTo>
                    <a:pt x="1549400" y="1892300"/>
                  </a:lnTo>
                  <a:lnTo>
                    <a:pt x="1558925" y="1892300"/>
                  </a:lnTo>
                  <a:lnTo>
                    <a:pt x="1568450" y="1895475"/>
                  </a:lnTo>
                  <a:lnTo>
                    <a:pt x="1574800" y="1908175"/>
                  </a:lnTo>
                  <a:lnTo>
                    <a:pt x="1584325" y="1911350"/>
                  </a:lnTo>
                  <a:lnTo>
                    <a:pt x="1587500" y="1917700"/>
                  </a:lnTo>
                  <a:lnTo>
                    <a:pt x="1597025" y="1911350"/>
                  </a:lnTo>
                  <a:lnTo>
                    <a:pt x="1603375" y="1908175"/>
                  </a:lnTo>
                  <a:lnTo>
                    <a:pt x="1606550" y="1898650"/>
                  </a:lnTo>
                  <a:lnTo>
                    <a:pt x="1612900" y="1895475"/>
                  </a:lnTo>
                  <a:lnTo>
                    <a:pt x="1619250" y="1901825"/>
                  </a:lnTo>
                  <a:lnTo>
                    <a:pt x="1622425" y="1895475"/>
                  </a:lnTo>
                  <a:lnTo>
                    <a:pt x="1625600" y="1889125"/>
                  </a:lnTo>
                  <a:lnTo>
                    <a:pt x="1628775" y="1873250"/>
                  </a:lnTo>
                  <a:lnTo>
                    <a:pt x="1631950" y="1854200"/>
                  </a:lnTo>
                  <a:lnTo>
                    <a:pt x="1638300" y="1844675"/>
                  </a:lnTo>
                  <a:lnTo>
                    <a:pt x="1644650" y="1828800"/>
                  </a:lnTo>
                  <a:lnTo>
                    <a:pt x="1647825" y="1831975"/>
                  </a:lnTo>
                  <a:lnTo>
                    <a:pt x="1644650" y="1844675"/>
                  </a:lnTo>
                  <a:lnTo>
                    <a:pt x="1654175" y="1844675"/>
                  </a:lnTo>
                  <a:lnTo>
                    <a:pt x="1660525" y="1844675"/>
                  </a:lnTo>
                  <a:lnTo>
                    <a:pt x="1660525" y="1854200"/>
                  </a:lnTo>
                  <a:lnTo>
                    <a:pt x="1663700" y="1863725"/>
                  </a:lnTo>
                  <a:lnTo>
                    <a:pt x="1676400" y="1882775"/>
                  </a:lnTo>
                  <a:lnTo>
                    <a:pt x="1682750" y="1889125"/>
                  </a:lnTo>
                  <a:lnTo>
                    <a:pt x="1682750" y="1898650"/>
                  </a:lnTo>
                  <a:lnTo>
                    <a:pt x="1685925" y="1901825"/>
                  </a:lnTo>
                  <a:lnTo>
                    <a:pt x="1692275" y="1908175"/>
                  </a:lnTo>
                  <a:lnTo>
                    <a:pt x="1692275" y="1914525"/>
                  </a:lnTo>
                  <a:lnTo>
                    <a:pt x="1698625" y="1924050"/>
                  </a:lnTo>
                  <a:lnTo>
                    <a:pt x="1704975" y="1936750"/>
                  </a:lnTo>
                  <a:lnTo>
                    <a:pt x="1708150" y="1939925"/>
                  </a:lnTo>
                  <a:lnTo>
                    <a:pt x="1708150" y="1946275"/>
                  </a:lnTo>
                  <a:lnTo>
                    <a:pt x="1711325" y="1955800"/>
                  </a:lnTo>
                  <a:lnTo>
                    <a:pt x="1704975" y="1958975"/>
                  </a:lnTo>
                  <a:lnTo>
                    <a:pt x="1711325" y="1962150"/>
                  </a:lnTo>
                  <a:lnTo>
                    <a:pt x="1717675" y="1968500"/>
                  </a:lnTo>
                  <a:lnTo>
                    <a:pt x="1711325" y="1978025"/>
                  </a:lnTo>
                  <a:lnTo>
                    <a:pt x="1711325" y="1990725"/>
                  </a:lnTo>
                  <a:lnTo>
                    <a:pt x="1711325" y="1993900"/>
                  </a:lnTo>
                  <a:lnTo>
                    <a:pt x="1711325" y="1997075"/>
                  </a:lnTo>
                  <a:lnTo>
                    <a:pt x="1720850" y="2000250"/>
                  </a:lnTo>
                  <a:lnTo>
                    <a:pt x="1724025" y="2012950"/>
                  </a:lnTo>
                  <a:lnTo>
                    <a:pt x="1733550" y="2012950"/>
                  </a:lnTo>
                  <a:lnTo>
                    <a:pt x="1736725" y="2022475"/>
                  </a:lnTo>
                  <a:lnTo>
                    <a:pt x="1739900" y="2022475"/>
                  </a:lnTo>
                  <a:lnTo>
                    <a:pt x="1743075" y="2025650"/>
                  </a:lnTo>
                  <a:lnTo>
                    <a:pt x="1746250" y="2032000"/>
                  </a:lnTo>
                  <a:lnTo>
                    <a:pt x="1752600" y="2035175"/>
                  </a:lnTo>
                  <a:lnTo>
                    <a:pt x="1755775" y="2038350"/>
                  </a:lnTo>
                  <a:lnTo>
                    <a:pt x="1762125" y="2038350"/>
                  </a:lnTo>
                  <a:lnTo>
                    <a:pt x="1771650" y="2041525"/>
                  </a:lnTo>
                  <a:lnTo>
                    <a:pt x="1774825" y="2051050"/>
                  </a:lnTo>
                  <a:lnTo>
                    <a:pt x="1778000" y="2054225"/>
                  </a:lnTo>
                  <a:lnTo>
                    <a:pt x="1793875" y="2057400"/>
                  </a:lnTo>
                  <a:lnTo>
                    <a:pt x="1803400" y="2060575"/>
                  </a:lnTo>
                  <a:lnTo>
                    <a:pt x="1806575" y="2063750"/>
                  </a:lnTo>
                  <a:lnTo>
                    <a:pt x="1806575" y="2076450"/>
                  </a:lnTo>
                  <a:lnTo>
                    <a:pt x="1809750" y="2085975"/>
                  </a:lnTo>
                  <a:lnTo>
                    <a:pt x="1812925" y="2092325"/>
                  </a:lnTo>
                  <a:lnTo>
                    <a:pt x="1819275" y="2092325"/>
                  </a:lnTo>
                  <a:lnTo>
                    <a:pt x="1831975" y="2098675"/>
                  </a:lnTo>
                  <a:lnTo>
                    <a:pt x="1838325" y="2101850"/>
                  </a:lnTo>
                  <a:lnTo>
                    <a:pt x="1838325" y="2114550"/>
                  </a:lnTo>
                  <a:lnTo>
                    <a:pt x="1841500" y="2133600"/>
                  </a:lnTo>
                  <a:lnTo>
                    <a:pt x="1841500" y="2152650"/>
                  </a:lnTo>
                  <a:lnTo>
                    <a:pt x="1831975" y="2159000"/>
                  </a:lnTo>
                  <a:lnTo>
                    <a:pt x="1819275" y="2171700"/>
                  </a:lnTo>
                  <a:lnTo>
                    <a:pt x="1812925" y="2174875"/>
                  </a:lnTo>
                  <a:lnTo>
                    <a:pt x="1809750" y="2171700"/>
                  </a:lnTo>
                  <a:lnTo>
                    <a:pt x="1793875" y="2174875"/>
                  </a:lnTo>
                  <a:lnTo>
                    <a:pt x="1784350" y="2181225"/>
                  </a:lnTo>
                  <a:lnTo>
                    <a:pt x="1778000" y="2184400"/>
                  </a:lnTo>
                  <a:lnTo>
                    <a:pt x="1774825" y="2190750"/>
                  </a:lnTo>
                  <a:lnTo>
                    <a:pt x="1762125" y="2200276"/>
                  </a:lnTo>
                  <a:lnTo>
                    <a:pt x="1752600" y="2212976"/>
                  </a:lnTo>
                  <a:lnTo>
                    <a:pt x="1724025" y="2216151"/>
                  </a:lnTo>
                  <a:lnTo>
                    <a:pt x="1711325" y="2216151"/>
                  </a:lnTo>
                  <a:lnTo>
                    <a:pt x="1698625" y="2216151"/>
                  </a:lnTo>
                  <a:lnTo>
                    <a:pt x="1670050" y="2212976"/>
                  </a:lnTo>
                  <a:lnTo>
                    <a:pt x="1657350" y="2212976"/>
                  </a:lnTo>
                  <a:lnTo>
                    <a:pt x="1654175" y="2212976"/>
                  </a:lnTo>
                  <a:lnTo>
                    <a:pt x="1647825" y="2212976"/>
                  </a:lnTo>
                  <a:lnTo>
                    <a:pt x="1635125" y="2212976"/>
                  </a:lnTo>
                  <a:lnTo>
                    <a:pt x="1622425" y="2216151"/>
                  </a:lnTo>
                  <a:lnTo>
                    <a:pt x="1609725" y="2219326"/>
                  </a:lnTo>
                  <a:lnTo>
                    <a:pt x="1603375" y="2219326"/>
                  </a:lnTo>
                  <a:lnTo>
                    <a:pt x="1600200" y="2225676"/>
                  </a:lnTo>
                  <a:lnTo>
                    <a:pt x="1593850" y="2228851"/>
                  </a:lnTo>
                  <a:lnTo>
                    <a:pt x="1593850" y="2238376"/>
                  </a:lnTo>
                  <a:lnTo>
                    <a:pt x="1587500" y="2244726"/>
                  </a:lnTo>
                  <a:lnTo>
                    <a:pt x="1581150" y="2247901"/>
                  </a:lnTo>
                  <a:lnTo>
                    <a:pt x="1568450" y="2251076"/>
                  </a:lnTo>
                  <a:lnTo>
                    <a:pt x="1565275" y="2254251"/>
                  </a:lnTo>
                  <a:lnTo>
                    <a:pt x="1555750" y="2263776"/>
                  </a:lnTo>
                  <a:lnTo>
                    <a:pt x="1549400" y="2270126"/>
                  </a:lnTo>
                  <a:lnTo>
                    <a:pt x="1546225" y="2279651"/>
                  </a:lnTo>
                  <a:lnTo>
                    <a:pt x="1539875" y="2282826"/>
                  </a:lnTo>
                  <a:lnTo>
                    <a:pt x="1536700" y="2292351"/>
                  </a:lnTo>
                  <a:lnTo>
                    <a:pt x="1533525" y="2298701"/>
                  </a:lnTo>
                  <a:lnTo>
                    <a:pt x="1520825" y="2311401"/>
                  </a:lnTo>
                  <a:lnTo>
                    <a:pt x="1504950" y="2327276"/>
                  </a:lnTo>
                  <a:lnTo>
                    <a:pt x="1517650" y="2320926"/>
                  </a:lnTo>
                  <a:lnTo>
                    <a:pt x="1527175" y="2314576"/>
                  </a:lnTo>
                  <a:lnTo>
                    <a:pt x="1536700" y="2301876"/>
                  </a:lnTo>
                  <a:lnTo>
                    <a:pt x="1546225" y="2289176"/>
                  </a:lnTo>
                  <a:lnTo>
                    <a:pt x="1565275" y="2273301"/>
                  </a:lnTo>
                  <a:lnTo>
                    <a:pt x="1581150" y="2263776"/>
                  </a:lnTo>
                  <a:lnTo>
                    <a:pt x="1593850" y="2257426"/>
                  </a:lnTo>
                  <a:lnTo>
                    <a:pt x="1644650" y="2251076"/>
                  </a:lnTo>
                  <a:lnTo>
                    <a:pt x="1657350" y="2273301"/>
                  </a:lnTo>
                  <a:lnTo>
                    <a:pt x="1654175" y="2276476"/>
                  </a:lnTo>
                  <a:lnTo>
                    <a:pt x="1644650" y="2282826"/>
                  </a:lnTo>
                  <a:lnTo>
                    <a:pt x="1635125" y="2289176"/>
                  </a:lnTo>
                  <a:lnTo>
                    <a:pt x="1622425" y="2282826"/>
                  </a:lnTo>
                  <a:lnTo>
                    <a:pt x="1622425" y="2292351"/>
                  </a:lnTo>
                  <a:lnTo>
                    <a:pt x="1625600" y="2292351"/>
                  </a:lnTo>
                  <a:lnTo>
                    <a:pt x="1628775" y="2301876"/>
                  </a:lnTo>
                  <a:lnTo>
                    <a:pt x="1635125" y="2295526"/>
                  </a:lnTo>
                  <a:lnTo>
                    <a:pt x="1644650" y="2295526"/>
                  </a:lnTo>
                  <a:lnTo>
                    <a:pt x="1644650" y="2305051"/>
                  </a:lnTo>
                  <a:lnTo>
                    <a:pt x="1641475" y="2317751"/>
                  </a:lnTo>
                  <a:lnTo>
                    <a:pt x="1644650" y="2320926"/>
                  </a:lnTo>
                  <a:lnTo>
                    <a:pt x="1644650" y="2324101"/>
                  </a:lnTo>
                  <a:lnTo>
                    <a:pt x="1647825" y="2336801"/>
                  </a:lnTo>
                  <a:lnTo>
                    <a:pt x="1654175" y="2343151"/>
                  </a:lnTo>
                  <a:lnTo>
                    <a:pt x="1660525" y="2346326"/>
                  </a:lnTo>
                  <a:lnTo>
                    <a:pt x="1666875" y="2349501"/>
                  </a:lnTo>
                  <a:lnTo>
                    <a:pt x="1663700" y="2352676"/>
                  </a:lnTo>
                  <a:lnTo>
                    <a:pt x="1682750" y="2359026"/>
                  </a:lnTo>
                  <a:lnTo>
                    <a:pt x="1692275" y="2362201"/>
                  </a:lnTo>
                  <a:lnTo>
                    <a:pt x="1704975" y="2359026"/>
                  </a:lnTo>
                  <a:lnTo>
                    <a:pt x="1724025" y="2368551"/>
                  </a:lnTo>
                  <a:lnTo>
                    <a:pt x="1727200" y="2374901"/>
                  </a:lnTo>
                  <a:lnTo>
                    <a:pt x="1720850" y="2378076"/>
                  </a:lnTo>
                  <a:lnTo>
                    <a:pt x="1714500" y="2378076"/>
                  </a:lnTo>
                  <a:lnTo>
                    <a:pt x="1711325" y="2381251"/>
                  </a:lnTo>
                  <a:lnTo>
                    <a:pt x="1704975" y="2384426"/>
                  </a:lnTo>
                  <a:lnTo>
                    <a:pt x="1692275" y="2387601"/>
                  </a:lnTo>
                  <a:lnTo>
                    <a:pt x="1679575" y="2393951"/>
                  </a:lnTo>
                  <a:lnTo>
                    <a:pt x="1676400" y="2393951"/>
                  </a:lnTo>
                  <a:lnTo>
                    <a:pt x="1673225" y="2397126"/>
                  </a:lnTo>
                  <a:lnTo>
                    <a:pt x="1660525" y="2397126"/>
                  </a:lnTo>
                  <a:lnTo>
                    <a:pt x="1657350" y="2397126"/>
                  </a:lnTo>
                  <a:lnTo>
                    <a:pt x="1654175" y="2403476"/>
                  </a:lnTo>
                  <a:lnTo>
                    <a:pt x="1644650" y="2416176"/>
                  </a:lnTo>
                  <a:lnTo>
                    <a:pt x="1641475" y="2422526"/>
                  </a:lnTo>
                  <a:lnTo>
                    <a:pt x="1635125" y="2422526"/>
                  </a:lnTo>
                  <a:lnTo>
                    <a:pt x="1631950" y="2428876"/>
                  </a:lnTo>
                  <a:lnTo>
                    <a:pt x="1625600" y="2425701"/>
                  </a:lnTo>
                  <a:lnTo>
                    <a:pt x="1622425" y="2419351"/>
                  </a:lnTo>
                  <a:lnTo>
                    <a:pt x="1619250" y="2422526"/>
                  </a:lnTo>
                  <a:lnTo>
                    <a:pt x="1616075" y="2416176"/>
                  </a:lnTo>
                  <a:lnTo>
                    <a:pt x="1616075" y="2400301"/>
                  </a:lnTo>
                  <a:lnTo>
                    <a:pt x="1628775" y="2390776"/>
                  </a:lnTo>
                  <a:lnTo>
                    <a:pt x="1651000" y="2374901"/>
                  </a:lnTo>
                  <a:lnTo>
                    <a:pt x="1663700" y="2374901"/>
                  </a:lnTo>
                  <a:lnTo>
                    <a:pt x="1676400" y="2371726"/>
                  </a:lnTo>
                  <a:lnTo>
                    <a:pt x="1670050" y="2371726"/>
                  </a:lnTo>
                  <a:lnTo>
                    <a:pt x="1663700" y="2371726"/>
                  </a:lnTo>
                  <a:lnTo>
                    <a:pt x="1651000" y="2371726"/>
                  </a:lnTo>
                  <a:lnTo>
                    <a:pt x="1641475" y="2371726"/>
                  </a:lnTo>
                  <a:lnTo>
                    <a:pt x="1647825" y="2365376"/>
                  </a:lnTo>
                  <a:lnTo>
                    <a:pt x="1657350" y="2355851"/>
                  </a:lnTo>
                  <a:lnTo>
                    <a:pt x="1651000" y="2355851"/>
                  </a:lnTo>
                  <a:lnTo>
                    <a:pt x="1644650" y="2365376"/>
                  </a:lnTo>
                  <a:lnTo>
                    <a:pt x="1622425" y="2374901"/>
                  </a:lnTo>
                  <a:lnTo>
                    <a:pt x="1619250" y="2374901"/>
                  </a:lnTo>
                  <a:lnTo>
                    <a:pt x="1609725" y="2381251"/>
                  </a:lnTo>
                  <a:lnTo>
                    <a:pt x="1600200" y="2381251"/>
                  </a:lnTo>
                  <a:lnTo>
                    <a:pt x="1597025" y="2378076"/>
                  </a:lnTo>
                  <a:lnTo>
                    <a:pt x="1593850" y="2378076"/>
                  </a:lnTo>
                  <a:lnTo>
                    <a:pt x="1590675" y="2365376"/>
                  </a:lnTo>
                  <a:lnTo>
                    <a:pt x="1584325" y="2362201"/>
                  </a:lnTo>
                  <a:lnTo>
                    <a:pt x="1581150" y="2362201"/>
                  </a:lnTo>
                  <a:lnTo>
                    <a:pt x="1581150" y="2355851"/>
                  </a:lnTo>
                  <a:lnTo>
                    <a:pt x="1581150" y="2330451"/>
                  </a:lnTo>
                  <a:lnTo>
                    <a:pt x="1581150" y="2320926"/>
                  </a:lnTo>
                  <a:lnTo>
                    <a:pt x="1577975" y="2314576"/>
                  </a:lnTo>
                  <a:lnTo>
                    <a:pt x="1568450" y="2308226"/>
                  </a:lnTo>
                  <a:lnTo>
                    <a:pt x="1558925" y="2314576"/>
                  </a:lnTo>
                  <a:lnTo>
                    <a:pt x="1552575" y="2311401"/>
                  </a:lnTo>
                  <a:lnTo>
                    <a:pt x="1552575" y="2305051"/>
                  </a:lnTo>
                  <a:lnTo>
                    <a:pt x="1543050" y="2314576"/>
                  </a:lnTo>
                  <a:lnTo>
                    <a:pt x="1533525" y="2327276"/>
                  </a:lnTo>
                  <a:lnTo>
                    <a:pt x="1533525" y="2336801"/>
                  </a:lnTo>
                  <a:lnTo>
                    <a:pt x="1530350" y="2343151"/>
                  </a:lnTo>
                  <a:lnTo>
                    <a:pt x="1527175" y="2352676"/>
                  </a:lnTo>
                  <a:lnTo>
                    <a:pt x="1524000" y="2359026"/>
                  </a:lnTo>
                  <a:lnTo>
                    <a:pt x="1514475" y="2368551"/>
                  </a:lnTo>
                  <a:lnTo>
                    <a:pt x="1501775" y="2381251"/>
                  </a:lnTo>
                  <a:lnTo>
                    <a:pt x="1492250" y="2381251"/>
                  </a:lnTo>
                  <a:lnTo>
                    <a:pt x="1460500" y="2381251"/>
                  </a:lnTo>
                  <a:lnTo>
                    <a:pt x="1431925" y="2381251"/>
                  </a:lnTo>
                  <a:lnTo>
                    <a:pt x="1409700" y="2397126"/>
                  </a:lnTo>
                  <a:lnTo>
                    <a:pt x="1393825" y="2409826"/>
                  </a:lnTo>
                  <a:lnTo>
                    <a:pt x="1390650" y="2419351"/>
                  </a:lnTo>
                  <a:lnTo>
                    <a:pt x="1384300" y="2422526"/>
                  </a:lnTo>
                  <a:lnTo>
                    <a:pt x="1365250" y="2422526"/>
                  </a:lnTo>
                  <a:lnTo>
                    <a:pt x="1349375" y="2422526"/>
                  </a:lnTo>
                  <a:lnTo>
                    <a:pt x="1336675" y="2428876"/>
                  </a:lnTo>
                  <a:lnTo>
                    <a:pt x="1336675" y="2435226"/>
                  </a:lnTo>
                  <a:lnTo>
                    <a:pt x="1336675" y="2438401"/>
                  </a:lnTo>
                  <a:lnTo>
                    <a:pt x="1339850" y="2444751"/>
                  </a:lnTo>
                  <a:lnTo>
                    <a:pt x="1336675" y="2447926"/>
                  </a:lnTo>
                  <a:lnTo>
                    <a:pt x="1323975" y="2454276"/>
                  </a:lnTo>
                  <a:lnTo>
                    <a:pt x="1314450" y="2460626"/>
                  </a:lnTo>
                  <a:lnTo>
                    <a:pt x="1298575" y="2463801"/>
                  </a:lnTo>
                  <a:lnTo>
                    <a:pt x="1285875" y="2465388"/>
                  </a:lnTo>
                  <a:lnTo>
                    <a:pt x="1273175" y="2474913"/>
                  </a:lnTo>
                  <a:lnTo>
                    <a:pt x="1266825" y="2478088"/>
                  </a:lnTo>
                  <a:lnTo>
                    <a:pt x="1260475" y="2478088"/>
                  </a:lnTo>
                  <a:lnTo>
                    <a:pt x="1250950" y="2471738"/>
                  </a:lnTo>
                  <a:lnTo>
                    <a:pt x="1250950" y="2460626"/>
                  </a:lnTo>
                  <a:lnTo>
                    <a:pt x="1257300" y="2460626"/>
                  </a:lnTo>
                  <a:lnTo>
                    <a:pt x="1260475" y="2454276"/>
                  </a:lnTo>
                  <a:lnTo>
                    <a:pt x="1266825" y="2441576"/>
                  </a:lnTo>
                  <a:lnTo>
                    <a:pt x="1270000" y="2428876"/>
                  </a:lnTo>
                  <a:lnTo>
                    <a:pt x="1270000" y="2416176"/>
                  </a:lnTo>
                  <a:lnTo>
                    <a:pt x="1266825" y="2390776"/>
                  </a:lnTo>
                  <a:lnTo>
                    <a:pt x="1263650" y="2374901"/>
                  </a:lnTo>
                  <a:lnTo>
                    <a:pt x="1257300" y="2368551"/>
                  </a:lnTo>
                  <a:lnTo>
                    <a:pt x="1238250" y="2355851"/>
                  </a:lnTo>
                  <a:lnTo>
                    <a:pt x="1241425" y="2352676"/>
                  </a:lnTo>
                  <a:lnTo>
                    <a:pt x="1241425" y="2349501"/>
                  </a:lnTo>
                  <a:lnTo>
                    <a:pt x="1231900" y="2343151"/>
                  </a:lnTo>
                  <a:lnTo>
                    <a:pt x="1222375" y="2336801"/>
                  </a:lnTo>
                  <a:lnTo>
                    <a:pt x="1216025" y="2330451"/>
                  </a:lnTo>
                  <a:lnTo>
                    <a:pt x="1212850" y="2324101"/>
                  </a:lnTo>
                  <a:lnTo>
                    <a:pt x="1187450" y="2308226"/>
                  </a:lnTo>
                  <a:lnTo>
                    <a:pt x="1162050" y="2292351"/>
                  </a:lnTo>
                  <a:lnTo>
                    <a:pt x="1149350" y="2286001"/>
                  </a:lnTo>
                  <a:lnTo>
                    <a:pt x="1136650" y="2279651"/>
                  </a:lnTo>
                  <a:lnTo>
                    <a:pt x="1123950" y="2282826"/>
                  </a:lnTo>
                  <a:lnTo>
                    <a:pt x="1114425" y="2289176"/>
                  </a:lnTo>
                  <a:lnTo>
                    <a:pt x="1111250" y="2289176"/>
                  </a:lnTo>
                  <a:lnTo>
                    <a:pt x="1095375" y="2286001"/>
                  </a:lnTo>
                  <a:lnTo>
                    <a:pt x="1089025" y="2286001"/>
                  </a:lnTo>
                  <a:lnTo>
                    <a:pt x="1082675" y="2282826"/>
                  </a:lnTo>
                  <a:lnTo>
                    <a:pt x="1079500" y="2282826"/>
                  </a:lnTo>
                  <a:lnTo>
                    <a:pt x="1069975" y="2286001"/>
                  </a:lnTo>
                  <a:lnTo>
                    <a:pt x="1066800" y="2286001"/>
                  </a:lnTo>
                  <a:lnTo>
                    <a:pt x="1063625" y="2282826"/>
                  </a:lnTo>
                  <a:lnTo>
                    <a:pt x="1050925" y="2279651"/>
                  </a:lnTo>
                  <a:lnTo>
                    <a:pt x="1047750" y="2279651"/>
                  </a:lnTo>
                  <a:lnTo>
                    <a:pt x="1047750" y="2276476"/>
                  </a:lnTo>
                  <a:lnTo>
                    <a:pt x="1047750" y="2273301"/>
                  </a:lnTo>
                  <a:lnTo>
                    <a:pt x="1038225" y="2270126"/>
                  </a:lnTo>
                  <a:lnTo>
                    <a:pt x="1028700" y="2270126"/>
                  </a:lnTo>
                  <a:lnTo>
                    <a:pt x="1019175" y="2266951"/>
                  </a:lnTo>
                  <a:lnTo>
                    <a:pt x="1000125" y="2260601"/>
                  </a:lnTo>
                  <a:lnTo>
                    <a:pt x="996950" y="2247901"/>
                  </a:lnTo>
                  <a:lnTo>
                    <a:pt x="990600" y="2244726"/>
                  </a:lnTo>
                  <a:lnTo>
                    <a:pt x="990600" y="2257426"/>
                  </a:lnTo>
                  <a:lnTo>
                    <a:pt x="946150" y="2257426"/>
                  </a:lnTo>
                  <a:lnTo>
                    <a:pt x="857250" y="2257426"/>
                  </a:lnTo>
                  <a:lnTo>
                    <a:pt x="800100" y="2257426"/>
                  </a:lnTo>
                  <a:lnTo>
                    <a:pt x="669925" y="2257426"/>
                  </a:lnTo>
                  <a:lnTo>
                    <a:pt x="581025" y="2257426"/>
                  </a:lnTo>
                  <a:lnTo>
                    <a:pt x="539750" y="2257426"/>
                  </a:lnTo>
                  <a:lnTo>
                    <a:pt x="517525" y="2257426"/>
                  </a:lnTo>
                  <a:lnTo>
                    <a:pt x="393700" y="2257426"/>
                  </a:lnTo>
                  <a:lnTo>
                    <a:pt x="387350" y="2257426"/>
                  </a:lnTo>
                  <a:lnTo>
                    <a:pt x="387350" y="2251076"/>
                  </a:lnTo>
                  <a:lnTo>
                    <a:pt x="377825" y="2241551"/>
                  </a:lnTo>
                  <a:lnTo>
                    <a:pt x="374650" y="2238376"/>
                  </a:lnTo>
                  <a:lnTo>
                    <a:pt x="371475" y="2235201"/>
                  </a:lnTo>
                  <a:lnTo>
                    <a:pt x="368300" y="2235201"/>
                  </a:lnTo>
                  <a:lnTo>
                    <a:pt x="355600" y="2228851"/>
                  </a:lnTo>
                  <a:lnTo>
                    <a:pt x="349250" y="2222501"/>
                  </a:lnTo>
                  <a:lnTo>
                    <a:pt x="355600" y="2216151"/>
                  </a:lnTo>
                  <a:lnTo>
                    <a:pt x="355600" y="2206626"/>
                  </a:lnTo>
                  <a:lnTo>
                    <a:pt x="349250" y="2200276"/>
                  </a:lnTo>
                  <a:lnTo>
                    <a:pt x="342900" y="2209801"/>
                  </a:lnTo>
                  <a:lnTo>
                    <a:pt x="330200" y="2209801"/>
                  </a:lnTo>
                  <a:lnTo>
                    <a:pt x="320678" y="2206627"/>
                  </a:lnTo>
                  <a:lnTo>
                    <a:pt x="327025" y="2209800"/>
                  </a:lnTo>
                  <a:lnTo>
                    <a:pt x="336550" y="2212975"/>
                  </a:lnTo>
                  <a:lnTo>
                    <a:pt x="339725" y="2219325"/>
                  </a:lnTo>
                  <a:lnTo>
                    <a:pt x="342900" y="2225675"/>
                  </a:lnTo>
                  <a:lnTo>
                    <a:pt x="352425" y="2241550"/>
                  </a:lnTo>
                  <a:lnTo>
                    <a:pt x="374650" y="2257425"/>
                  </a:lnTo>
                  <a:lnTo>
                    <a:pt x="381000" y="2270125"/>
                  </a:lnTo>
                  <a:lnTo>
                    <a:pt x="377825" y="2279650"/>
                  </a:lnTo>
                  <a:lnTo>
                    <a:pt x="374650" y="2279650"/>
                  </a:lnTo>
                  <a:lnTo>
                    <a:pt x="346075" y="2266950"/>
                  </a:lnTo>
                  <a:lnTo>
                    <a:pt x="333375" y="2257425"/>
                  </a:lnTo>
                  <a:lnTo>
                    <a:pt x="330200" y="2254250"/>
                  </a:lnTo>
                  <a:lnTo>
                    <a:pt x="327025" y="2244725"/>
                  </a:lnTo>
                  <a:lnTo>
                    <a:pt x="323850" y="2241550"/>
                  </a:lnTo>
                  <a:lnTo>
                    <a:pt x="317500" y="2244725"/>
                  </a:lnTo>
                  <a:lnTo>
                    <a:pt x="311150" y="2244725"/>
                  </a:lnTo>
                  <a:lnTo>
                    <a:pt x="311150" y="2238375"/>
                  </a:lnTo>
                  <a:lnTo>
                    <a:pt x="298450" y="2225675"/>
                  </a:lnTo>
                  <a:lnTo>
                    <a:pt x="288925" y="2219325"/>
                  </a:lnTo>
                  <a:lnTo>
                    <a:pt x="285750" y="2219325"/>
                  </a:lnTo>
                  <a:lnTo>
                    <a:pt x="282575" y="2212975"/>
                  </a:lnTo>
                  <a:lnTo>
                    <a:pt x="276225" y="2206625"/>
                  </a:lnTo>
                  <a:lnTo>
                    <a:pt x="273050" y="2197100"/>
                  </a:lnTo>
                  <a:lnTo>
                    <a:pt x="279400" y="2193925"/>
                  </a:lnTo>
                  <a:lnTo>
                    <a:pt x="288925" y="2193925"/>
                  </a:lnTo>
                  <a:lnTo>
                    <a:pt x="295275" y="2200275"/>
                  </a:lnTo>
                  <a:lnTo>
                    <a:pt x="314325" y="2206625"/>
                  </a:lnTo>
                  <a:lnTo>
                    <a:pt x="320675" y="2206625"/>
                  </a:lnTo>
                  <a:lnTo>
                    <a:pt x="320675" y="2190750"/>
                  </a:lnTo>
                  <a:lnTo>
                    <a:pt x="311150" y="2193926"/>
                  </a:lnTo>
                  <a:lnTo>
                    <a:pt x="301625" y="2193926"/>
                  </a:lnTo>
                  <a:lnTo>
                    <a:pt x="285750" y="2184400"/>
                  </a:lnTo>
                  <a:lnTo>
                    <a:pt x="285750" y="2178050"/>
                  </a:lnTo>
                  <a:lnTo>
                    <a:pt x="285750" y="2171700"/>
                  </a:lnTo>
                  <a:lnTo>
                    <a:pt x="282575" y="2159000"/>
                  </a:lnTo>
                  <a:lnTo>
                    <a:pt x="285750" y="2146300"/>
                  </a:lnTo>
                  <a:lnTo>
                    <a:pt x="285750" y="2139950"/>
                  </a:lnTo>
                  <a:lnTo>
                    <a:pt x="279400" y="2130425"/>
                  </a:lnTo>
                  <a:lnTo>
                    <a:pt x="279400" y="2124075"/>
                  </a:lnTo>
                  <a:lnTo>
                    <a:pt x="276225" y="2127250"/>
                  </a:lnTo>
                  <a:lnTo>
                    <a:pt x="263525" y="2111375"/>
                  </a:lnTo>
                  <a:lnTo>
                    <a:pt x="260350" y="2105025"/>
                  </a:lnTo>
                  <a:lnTo>
                    <a:pt x="263525" y="2098675"/>
                  </a:lnTo>
                  <a:lnTo>
                    <a:pt x="263525" y="2095500"/>
                  </a:lnTo>
                  <a:lnTo>
                    <a:pt x="263525" y="2092325"/>
                  </a:lnTo>
                  <a:lnTo>
                    <a:pt x="266700" y="2089150"/>
                  </a:lnTo>
                  <a:lnTo>
                    <a:pt x="263525" y="2085975"/>
                  </a:lnTo>
                  <a:lnTo>
                    <a:pt x="257175" y="2095500"/>
                  </a:lnTo>
                  <a:lnTo>
                    <a:pt x="254000" y="2095500"/>
                  </a:lnTo>
                  <a:lnTo>
                    <a:pt x="254000" y="2105025"/>
                  </a:lnTo>
                  <a:lnTo>
                    <a:pt x="247650" y="2098675"/>
                  </a:lnTo>
                  <a:lnTo>
                    <a:pt x="238125" y="2085975"/>
                  </a:lnTo>
                  <a:lnTo>
                    <a:pt x="234950" y="2079625"/>
                  </a:lnTo>
                  <a:lnTo>
                    <a:pt x="234950" y="2076450"/>
                  </a:lnTo>
                  <a:lnTo>
                    <a:pt x="231775" y="2076450"/>
                  </a:lnTo>
                  <a:lnTo>
                    <a:pt x="231775" y="2073275"/>
                  </a:lnTo>
                  <a:lnTo>
                    <a:pt x="228600" y="2070100"/>
                  </a:lnTo>
                  <a:lnTo>
                    <a:pt x="231775" y="2057400"/>
                  </a:lnTo>
                  <a:lnTo>
                    <a:pt x="234950" y="2051050"/>
                  </a:lnTo>
                  <a:lnTo>
                    <a:pt x="234950" y="2041525"/>
                  </a:lnTo>
                  <a:lnTo>
                    <a:pt x="234950" y="2032000"/>
                  </a:lnTo>
                  <a:lnTo>
                    <a:pt x="234950" y="2019300"/>
                  </a:lnTo>
                  <a:lnTo>
                    <a:pt x="234950" y="2003425"/>
                  </a:lnTo>
                  <a:lnTo>
                    <a:pt x="231775" y="2003425"/>
                  </a:lnTo>
                  <a:lnTo>
                    <a:pt x="225425" y="2000250"/>
                  </a:lnTo>
                  <a:lnTo>
                    <a:pt x="209550" y="1987550"/>
                  </a:lnTo>
                  <a:lnTo>
                    <a:pt x="190500" y="1962150"/>
                  </a:lnTo>
                  <a:lnTo>
                    <a:pt x="168275" y="1920875"/>
                  </a:lnTo>
                  <a:lnTo>
                    <a:pt x="165100" y="1917700"/>
                  </a:lnTo>
                  <a:lnTo>
                    <a:pt x="165100" y="1911350"/>
                  </a:lnTo>
                  <a:lnTo>
                    <a:pt x="152400" y="1898650"/>
                  </a:lnTo>
                  <a:lnTo>
                    <a:pt x="136525" y="1873250"/>
                  </a:lnTo>
                  <a:lnTo>
                    <a:pt x="127000" y="1860550"/>
                  </a:lnTo>
                  <a:lnTo>
                    <a:pt x="117475" y="1854200"/>
                  </a:lnTo>
                  <a:lnTo>
                    <a:pt x="107950" y="1860550"/>
                  </a:lnTo>
                  <a:lnTo>
                    <a:pt x="104775" y="1866900"/>
                  </a:lnTo>
                  <a:lnTo>
                    <a:pt x="98425" y="1866900"/>
                  </a:lnTo>
                  <a:lnTo>
                    <a:pt x="92075" y="1879600"/>
                  </a:lnTo>
                  <a:lnTo>
                    <a:pt x="88900" y="1882775"/>
                  </a:lnTo>
                  <a:lnTo>
                    <a:pt x="79375" y="1889125"/>
                  </a:lnTo>
                  <a:lnTo>
                    <a:pt x="76200" y="1879600"/>
                  </a:lnTo>
                  <a:lnTo>
                    <a:pt x="73025" y="1876425"/>
                  </a:lnTo>
                  <a:lnTo>
                    <a:pt x="57150" y="1857375"/>
                  </a:lnTo>
                  <a:lnTo>
                    <a:pt x="44450" y="1847850"/>
                  </a:lnTo>
                  <a:lnTo>
                    <a:pt x="41275" y="1838325"/>
                  </a:lnTo>
                  <a:lnTo>
                    <a:pt x="41275" y="1828800"/>
                  </a:lnTo>
                  <a:lnTo>
                    <a:pt x="28575" y="1831975"/>
                  </a:lnTo>
                  <a:lnTo>
                    <a:pt x="22225" y="1838325"/>
                  </a:lnTo>
                  <a:lnTo>
                    <a:pt x="15875" y="1835150"/>
                  </a:lnTo>
                  <a:lnTo>
                    <a:pt x="0" y="1831975"/>
                  </a:lnTo>
                  <a:lnTo>
                    <a:pt x="0" y="1803400"/>
                  </a:lnTo>
                  <a:lnTo>
                    <a:pt x="0" y="1743075"/>
                  </a:lnTo>
                  <a:lnTo>
                    <a:pt x="0" y="1622425"/>
                  </a:lnTo>
                  <a:lnTo>
                    <a:pt x="0" y="1349375"/>
                  </a:lnTo>
                  <a:lnTo>
                    <a:pt x="28575" y="1352550"/>
                  </a:lnTo>
                  <a:lnTo>
                    <a:pt x="50800" y="1371600"/>
                  </a:lnTo>
                  <a:lnTo>
                    <a:pt x="57150" y="1374775"/>
                  </a:lnTo>
                  <a:lnTo>
                    <a:pt x="60325" y="1381125"/>
                  </a:lnTo>
                  <a:lnTo>
                    <a:pt x="73025" y="1387475"/>
                  </a:lnTo>
                  <a:lnTo>
                    <a:pt x="82550" y="1393825"/>
                  </a:lnTo>
                  <a:lnTo>
                    <a:pt x="92075" y="1397000"/>
                  </a:lnTo>
                  <a:lnTo>
                    <a:pt x="98425" y="1397000"/>
                  </a:lnTo>
                  <a:lnTo>
                    <a:pt x="111125" y="1397000"/>
                  </a:lnTo>
                  <a:lnTo>
                    <a:pt x="120650" y="1397000"/>
                  </a:lnTo>
                  <a:lnTo>
                    <a:pt x="133350" y="1387475"/>
                  </a:lnTo>
                  <a:lnTo>
                    <a:pt x="155575" y="1368425"/>
                  </a:lnTo>
                  <a:lnTo>
                    <a:pt x="168275" y="1365250"/>
                  </a:lnTo>
                  <a:lnTo>
                    <a:pt x="174625" y="1349375"/>
                  </a:lnTo>
                  <a:lnTo>
                    <a:pt x="200025" y="1339850"/>
                  </a:lnTo>
                  <a:lnTo>
                    <a:pt x="215900" y="1327150"/>
                  </a:lnTo>
                  <a:lnTo>
                    <a:pt x="225425" y="1317625"/>
                  </a:lnTo>
                  <a:lnTo>
                    <a:pt x="244475" y="1311275"/>
                  </a:lnTo>
                  <a:lnTo>
                    <a:pt x="254000" y="1323975"/>
                  </a:lnTo>
                  <a:lnTo>
                    <a:pt x="260350" y="1330325"/>
                  </a:lnTo>
                  <a:lnTo>
                    <a:pt x="266700" y="1327150"/>
                  </a:lnTo>
                  <a:lnTo>
                    <a:pt x="273050" y="1320800"/>
                  </a:lnTo>
                  <a:lnTo>
                    <a:pt x="276225" y="1301750"/>
                  </a:lnTo>
                  <a:lnTo>
                    <a:pt x="282575" y="1292225"/>
                  </a:lnTo>
                  <a:lnTo>
                    <a:pt x="292100" y="1301750"/>
                  </a:lnTo>
                  <a:lnTo>
                    <a:pt x="301625" y="1314450"/>
                  </a:lnTo>
                  <a:lnTo>
                    <a:pt x="304800" y="1323975"/>
                  </a:lnTo>
                  <a:lnTo>
                    <a:pt x="307975" y="1330325"/>
                  </a:lnTo>
                  <a:lnTo>
                    <a:pt x="307975" y="1333500"/>
                  </a:lnTo>
                  <a:lnTo>
                    <a:pt x="314325" y="1349375"/>
                  </a:lnTo>
                  <a:lnTo>
                    <a:pt x="323850" y="1365250"/>
                  </a:lnTo>
                  <a:lnTo>
                    <a:pt x="336550" y="1371600"/>
                  </a:lnTo>
                  <a:lnTo>
                    <a:pt x="342900" y="1362075"/>
                  </a:lnTo>
                  <a:lnTo>
                    <a:pt x="336550" y="1362075"/>
                  </a:lnTo>
                  <a:lnTo>
                    <a:pt x="339725" y="1343025"/>
                  </a:lnTo>
                  <a:lnTo>
                    <a:pt x="342900" y="1327150"/>
                  </a:lnTo>
                  <a:lnTo>
                    <a:pt x="355600" y="1317625"/>
                  </a:lnTo>
                  <a:lnTo>
                    <a:pt x="361950" y="1327150"/>
                  </a:lnTo>
                  <a:lnTo>
                    <a:pt x="365125" y="1346200"/>
                  </a:lnTo>
                  <a:lnTo>
                    <a:pt x="361950" y="1352550"/>
                  </a:lnTo>
                  <a:lnTo>
                    <a:pt x="355600" y="1365250"/>
                  </a:lnTo>
                  <a:lnTo>
                    <a:pt x="368300" y="1368425"/>
                  </a:lnTo>
                  <a:lnTo>
                    <a:pt x="381000" y="1365250"/>
                  </a:lnTo>
                  <a:lnTo>
                    <a:pt x="387350" y="1355725"/>
                  </a:lnTo>
                  <a:lnTo>
                    <a:pt x="387350" y="1343025"/>
                  </a:lnTo>
                  <a:lnTo>
                    <a:pt x="393700" y="1339850"/>
                  </a:lnTo>
                  <a:lnTo>
                    <a:pt x="400050" y="1339850"/>
                  </a:lnTo>
                  <a:lnTo>
                    <a:pt x="425450" y="1343025"/>
                  </a:lnTo>
                  <a:lnTo>
                    <a:pt x="438150" y="1355725"/>
                  </a:lnTo>
                  <a:lnTo>
                    <a:pt x="450850" y="1365250"/>
                  </a:lnTo>
                  <a:lnTo>
                    <a:pt x="469900" y="1371600"/>
                  </a:lnTo>
                  <a:lnTo>
                    <a:pt x="482600" y="1374775"/>
                  </a:lnTo>
                  <a:lnTo>
                    <a:pt x="488950" y="1384300"/>
                  </a:lnTo>
                  <a:lnTo>
                    <a:pt x="511175" y="1393825"/>
                  </a:lnTo>
                  <a:lnTo>
                    <a:pt x="523875" y="1397000"/>
                  </a:lnTo>
                  <a:lnTo>
                    <a:pt x="533400" y="1393825"/>
                  </a:lnTo>
                  <a:lnTo>
                    <a:pt x="542925" y="1390650"/>
                  </a:lnTo>
                  <a:lnTo>
                    <a:pt x="558800" y="1397000"/>
                  </a:lnTo>
                  <a:lnTo>
                    <a:pt x="584200" y="1422400"/>
                  </a:lnTo>
                  <a:lnTo>
                    <a:pt x="584200" y="1435100"/>
                  </a:lnTo>
                  <a:lnTo>
                    <a:pt x="577850" y="1435100"/>
                  </a:lnTo>
                  <a:lnTo>
                    <a:pt x="565150" y="1431925"/>
                  </a:lnTo>
                  <a:lnTo>
                    <a:pt x="552450" y="1450975"/>
                  </a:lnTo>
                  <a:lnTo>
                    <a:pt x="549275" y="1454150"/>
                  </a:lnTo>
                  <a:lnTo>
                    <a:pt x="558800" y="1457325"/>
                  </a:lnTo>
                  <a:lnTo>
                    <a:pt x="571500" y="1460500"/>
                  </a:lnTo>
                  <a:lnTo>
                    <a:pt x="577850" y="1463675"/>
                  </a:lnTo>
                  <a:lnTo>
                    <a:pt x="584200" y="1466850"/>
                  </a:lnTo>
                  <a:lnTo>
                    <a:pt x="612775" y="1466850"/>
                  </a:lnTo>
                  <a:lnTo>
                    <a:pt x="622300" y="1463675"/>
                  </a:lnTo>
                  <a:lnTo>
                    <a:pt x="638175" y="1463675"/>
                  </a:lnTo>
                  <a:lnTo>
                    <a:pt x="650875" y="1457325"/>
                  </a:lnTo>
                  <a:lnTo>
                    <a:pt x="663575" y="1450975"/>
                  </a:lnTo>
                  <a:lnTo>
                    <a:pt x="669925" y="1450975"/>
                  </a:lnTo>
                  <a:lnTo>
                    <a:pt x="673100" y="1457325"/>
                  </a:lnTo>
                  <a:lnTo>
                    <a:pt x="679450" y="1460500"/>
                  </a:lnTo>
                  <a:lnTo>
                    <a:pt x="688975" y="1466850"/>
                  </a:lnTo>
                  <a:lnTo>
                    <a:pt x="701675" y="1476375"/>
                  </a:lnTo>
                  <a:lnTo>
                    <a:pt x="711200" y="1489075"/>
                  </a:lnTo>
                  <a:lnTo>
                    <a:pt x="714375" y="1495425"/>
                  </a:lnTo>
                  <a:lnTo>
                    <a:pt x="720725" y="1511300"/>
                  </a:lnTo>
                  <a:lnTo>
                    <a:pt x="730250" y="1514475"/>
                  </a:lnTo>
                  <a:lnTo>
                    <a:pt x="727075" y="1498600"/>
                  </a:lnTo>
                  <a:lnTo>
                    <a:pt x="723900" y="1495425"/>
                  </a:lnTo>
                  <a:lnTo>
                    <a:pt x="714375" y="1466850"/>
                  </a:lnTo>
                  <a:lnTo>
                    <a:pt x="708025" y="1441450"/>
                  </a:lnTo>
                  <a:lnTo>
                    <a:pt x="701675" y="1435100"/>
                  </a:lnTo>
                  <a:lnTo>
                    <a:pt x="695325" y="1431925"/>
                  </a:lnTo>
                  <a:lnTo>
                    <a:pt x="704850" y="1412875"/>
                  </a:lnTo>
                  <a:lnTo>
                    <a:pt x="717550" y="1409700"/>
                  </a:lnTo>
                  <a:lnTo>
                    <a:pt x="742950" y="1400175"/>
                  </a:lnTo>
                  <a:lnTo>
                    <a:pt x="752475" y="1393825"/>
                  </a:lnTo>
                  <a:lnTo>
                    <a:pt x="765175" y="1403350"/>
                  </a:lnTo>
                  <a:lnTo>
                    <a:pt x="768350" y="1416050"/>
                  </a:lnTo>
                  <a:lnTo>
                    <a:pt x="771525" y="1425575"/>
                  </a:lnTo>
                  <a:lnTo>
                    <a:pt x="771525" y="1428750"/>
                  </a:lnTo>
                  <a:lnTo>
                    <a:pt x="774700" y="1431925"/>
                  </a:lnTo>
                  <a:lnTo>
                    <a:pt x="777875" y="1435100"/>
                  </a:lnTo>
                  <a:lnTo>
                    <a:pt x="777875" y="1431925"/>
                  </a:lnTo>
                  <a:lnTo>
                    <a:pt x="787400" y="1435100"/>
                  </a:lnTo>
                  <a:lnTo>
                    <a:pt x="787400" y="1438275"/>
                  </a:lnTo>
                  <a:lnTo>
                    <a:pt x="787400" y="1444625"/>
                  </a:lnTo>
                  <a:lnTo>
                    <a:pt x="800100" y="1447800"/>
                  </a:lnTo>
                  <a:lnTo>
                    <a:pt x="838200" y="1466850"/>
                  </a:lnTo>
                  <a:lnTo>
                    <a:pt x="847725" y="1466850"/>
                  </a:lnTo>
                  <a:lnTo>
                    <a:pt x="854075" y="1466850"/>
                  </a:lnTo>
                  <a:lnTo>
                    <a:pt x="866775" y="1463675"/>
                  </a:lnTo>
                  <a:lnTo>
                    <a:pt x="873125" y="1460500"/>
                  </a:lnTo>
                  <a:lnTo>
                    <a:pt x="876300" y="1457325"/>
                  </a:lnTo>
                  <a:lnTo>
                    <a:pt x="889000" y="1457325"/>
                  </a:lnTo>
                  <a:lnTo>
                    <a:pt x="898525" y="1460500"/>
                  </a:lnTo>
                  <a:lnTo>
                    <a:pt x="908050" y="1463675"/>
                  </a:lnTo>
                  <a:lnTo>
                    <a:pt x="920750" y="1460500"/>
                  </a:lnTo>
                  <a:lnTo>
                    <a:pt x="911225" y="1447800"/>
                  </a:lnTo>
                  <a:lnTo>
                    <a:pt x="914400" y="1425575"/>
                  </a:lnTo>
                  <a:lnTo>
                    <a:pt x="933450" y="1416050"/>
                  </a:lnTo>
                  <a:lnTo>
                    <a:pt x="946150" y="1422400"/>
                  </a:lnTo>
                  <a:lnTo>
                    <a:pt x="949325" y="1431925"/>
                  </a:lnTo>
                  <a:lnTo>
                    <a:pt x="952500" y="1431925"/>
                  </a:lnTo>
                  <a:lnTo>
                    <a:pt x="965200" y="1431925"/>
                  </a:lnTo>
                  <a:lnTo>
                    <a:pt x="974725" y="1431925"/>
                  </a:lnTo>
                  <a:lnTo>
                    <a:pt x="971550" y="1435100"/>
                  </a:lnTo>
                  <a:lnTo>
                    <a:pt x="971550" y="1447800"/>
                  </a:lnTo>
                  <a:lnTo>
                    <a:pt x="965200" y="1466850"/>
                  </a:lnTo>
                  <a:lnTo>
                    <a:pt x="965200" y="1479550"/>
                  </a:lnTo>
                  <a:lnTo>
                    <a:pt x="971550" y="1492250"/>
                  </a:lnTo>
                  <a:lnTo>
                    <a:pt x="981075" y="1482725"/>
                  </a:lnTo>
                  <a:lnTo>
                    <a:pt x="987425" y="1498600"/>
                  </a:lnTo>
                  <a:lnTo>
                    <a:pt x="984250" y="1460500"/>
                  </a:lnTo>
                  <a:lnTo>
                    <a:pt x="993775" y="1444625"/>
                  </a:lnTo>
                  <a:lnTo>
                    <a:pt x="1003300" y="1441450"/>
                  </a:lnTo>
                  <a:lnTo>
                    <a:pt x="1009650" y="1435100"/>
                  </a:lnTo>
                  <a:lnTo>
                    <a:pt x="1025525" y="1416050"/>
                  </a:lnTo>
                  <a:lnTo>
                    <a:pt x="1022350" y="1403350"/>
                  </a:lnTo>
                  <a:lnTo>
                    <a:pt x="1009650" y="1403350"/>
                  </a:lnTo>
                  <a:lnTo>
                    <a:pt x="1006475" y="1406525"/>
                  </a:lnTo>
                  <a:lnTo>
                    <a:pt x="1003300" y="1400175"/>
                  </a:lnTo>
                  <a:lnTo>
                    <a:pt x="1003300" y="1390650"/>
                  </a:lnTo>
                  <a:lnTo>
                    <a:pt x="1006475" y="1390650"/>
                  </a:lnTo>
                  <a:lnTo>
                    <a:pt x="1012825" y="1387475"/>
                  </a:lnTo>
                  <a:lnTo>
                    <a:pt x="1016000" y="1381125"/>
                  </a:lnTo>
                  <a:lnTo>
                    <a:pt x="1028700" y="1368425"/>
                  </a:lnTo>
                  <a:lnTo>
                    <a:pt x="1019175" y="1358900"/>
                  </a:lnTo>
                  <a:lnTo>
                    <a:pt x="1016000" y="1362075"/>
                  </a:lnTo>
                  <a:lnTo>
                    <a:pt x="1006475" y="1355725"/>
                  </a:lnTo>
                  <a:lnTo>
                    <a:pt x="993775" y="1352550"/>
                  </a:lnTo>
                  <a:lnTo>
                    <a:pt x="981075" y="1343025"/>
                  </a:lnTo>
                  <a:lnTo>
                    <a:pt x="968375" y="1330325"/>
                  </a:lnTo>
                  <a:lnTo>
                    <a:pt x="958850" y="1314450"/>
                  </a:lnTo>
                  <a:lnTo>
                    <a:pt x="965200" y="1292225"/>
                  </a:lnTo>
                  <a:lnTo>
                    <a:pt x="958850" y="1279525"/>
                  </a:lnTo>
                  <a:lnTo>
                    <a:pt x="958850" y="1270000"/>
                  </a:lnTo>
                  <a:lnTo>
                    <a:pt x="962025" y="1257300"/>
                  </a:lnTo>
                  <a:lnTo>
                    <a:pt x="958850" y="1254125"/>
                  </a:lnTo>
                  <a:lnTo>
                    <a:pt x="965200" y="1241425"/>
                  </a:lnTo>
                  <a:lnTo>
                    <a:pt x="981075" y="1216025"/>
                  </a:lnTo>
                  <a:close/>
                  <a:moveTo>
                    <a:pt x="955675" y="1111250"/>
                  </a:moveTo>
                  <a:lnTo>
                    <a:pt x="958850" y="1127125"/>
                  </a:lnTo>
                  <a:lnTo>
                    <a:pt x="949325" y="1127125"/>
                  </a:lnTo>
                  <a:close/>
                  <a:moveTo>
                    <a:pt x="571500" y="1095375"/>
                  </a:moveTo>
                  <a:lnTo>
                    <a:pt x="584200" y="1114425"/>
                  </a:lnTo>
                  <a:lnTo>
                    <a:pt x="603250" y="1123950"/>
                  </a:lnTo>
                  <a:lnTo>
                    <a:pt x="609600" y="1123950"/>
                  </a:lnTo>
                  <a:lnTo>
                    <a:pt x="619125" y="1127125"/>
                  </a:lnTo>
                  <a:lnTo>
                    <a:pt x="635000" y="1136650"/>
                  </a:lnTo>
                  <a:lnTo>
                    <a:pt x="641350" y="1143000"/>
                  </a:lnTo>
                  <a:lnTo>
                    <a:pt x="644525" y="1165225"/>
                  </a:lnTo>
                  <a:lnTo>
                    <a:pt x="650875" y="1162050"/>
                  </a:lnTo>
                  <a:lnTo>
                    <a:pt x="660400" y="1155700"/>
                  </a:lnTo>
                  <a:lnTo>
                    <a:pt x="666750" y="1158875"/>
                  </a:lnTo>
                  <a:lnTo>
                    <a:pt x="673100" y="1165225"/>
                  </a:lnTo>
                  <a:lnTo>
                    <a:pt x="673100" y="1162050"/>
                  </a:lnTo>
                  <a:lnTo>
                    <a:pt x="669925" y="1143000"/>
                  </a:lnTo>
                  <a:lnTo>
                    <a:pt x="657225" y="1133475"/>
                  </a:lnTo>
                  <a:lnTo>
                    <a:pt x="654050" y="1123950"/>
                  </a:lnTo>
                  <a:lnTo>
                    <a:pt x="657225" y="1123950"/>
                  </a:lnTo>
                  <a:lnTo>
                    <a:pt x="669925" y="1127125"/>
                  </a:lnTo>
                  <a:lnTo>
                    <a:pt x="698500" y="1158875"/>
                  </a:lnTo>
                  <a:lnTo>
                    <a:pt x="704850" y="1187450"/>
                  </a:lnTo>
                  <a:lnTo>
                    <a:pt x="708025" y="1209675"/>
                  </a:lnTo>
                  <a:lnTo>
                    <a:pt x="711200" y="1219200"/>
                  </a:lnTo>
                  <a:lnTo>
                    <a:pt x="717550" y="1222375"/>
                  </a:lnTo>
                  <a:lnTo>
                    <a:pt x="720725" y="1212850"/>
                  </a:lnTo>
                  <a:lnTo>
                    <a:pt x="720725" y="1193800"/>
                  </a:lnTo>
                  <a:lnTo>
                    <a:pt x="717550" y="1168400"/>
                  </a:lnTo>
                  <a:lnTo>
                    <a:pt x="708025" y="1130300"/>
                  </a:lnTo>
                  <a:lnTo>
                    <a:pt x="711200" y="1101725"/>
                  </a:lnTo>
                  <a:lnTo>
                    <a:pt x="720725" y="1098550"/>
                  </a:lnTo>
                  <a:lnTo>
                    <a:pt x="736600" y="1101725"/>
                  </a:lnTo>
                  <a:lnTo>
                    <a:pt x="742950" y="1104900"/>
                  </a:lnTo>
                  <a:lnTo>
                    <a:pt x="758825" y="1120775"/>
                  </a:lnTo>
                  <a:lnTo>
                    <a:pt x="765175" y="1133475"/>
                  </a:lnTo>
                  <a:lnTo>
                    <a:pt x="771525" y="1158875"/>
                  </a:lnTo>
                  <a:lnTo>
                    <a:pt x="781050" y="1187450"/>
                  </a:lnTo>
                  <a:lnTo>
                    <a:pt x="787400" y="1209675"/>
                  </a:lnTo>
                  <a:lnTo>
                    <a:pt x="793750" y="1235075"/>
                  </a:lnTo>
                  <a:lnTo>
                    <a:pt x="787400" y="1254125"/>
                  </a:lnTo>
                  <a:lnTo>
                    <a:pt x="796925" y="1273175"/>
                  </a:lnTo>
                  <a:lnTo>
                    <a:pt x="809625" y="1289050"/>
                  </a:lnTo>
                  <a:lnTo>
                    <a:pt x="815975" y="1292225"/>
                  </a:lnTo>
                  <a:lnTo>
                    <a:pt x="822325" y="1292225"/>
                  </a:lnTo>
                  <a:lnTo>
                    <a:pt x="835025" y="1301750"/>
                  </a:lnTo>
                  <a:lnTo>
                    <a:pt x="850900" y="1314450"/>
                  </a:lnTo>
                  <a:lnTo>
                    <a:pt x="863600" y="1314450"/>
                  </a:lnTo>
                  <a:lnTo>
                    <a:pt x="866775" y="1339850"/>
                  </a:lnTo>
                  <a:lnTo>
                    <a:pt x="857250" y="1349375"/>
                  </a:lnTo>
                  <a:lnTo>
                    <a:pt x="847725" y="1346200"/>
                  </a:lnTo>
                  <a:lnTo>
                    <a:pt x="835025" y="1346200"/>
                  </a:lnTo>
                  <a:lnTo>
                    <a:pt x="825500" y="1352550"/>
                  </a:lnTo>
                  <a:lnTo>
                    <a:pt x="822325" y="1355725"/>
                  </a:lnTo>
                  <a:lnTo>
                    <a:pt x="822325" y="1368425"/>
                  </a:lnTo>
                  <a:lnTo>
                    <a:pt x="835025" y="1358900"/>
                  </a:lnTo>
                  <a:lnTo>
                    <a:pt x="844550" y="1365250"/>
                  </a:lnTo>
                  <a:lnTo>
                    <a:pt x="844550" y="1390650"/>
                  </a:lnTo>
                  <a:lnTo>
                    <a:pt x="831850" y="1397000"/>
                  </a:lnTo>
                  <a:lnTo>
                    <a:pt x="806450" y="1400175"/>
                  </a:lnTo>
                  <a:lnTo>
                    <a:pt x="774700" y="1397000"/>
                  </a:lnTo>
                  <a:lnTo>
                    <a:pt x="765175" y="1381125"/>
                  </a:lnTo>
                  <a:lnTo>
                    <a:pt x="762000" y="1377950"/>
                  </a:lnTo>
                  <a:lnTo>
                    <a:pt x="752475" y="1374775"/>
                  </a:lnTo>
                  <a:lnTo>
                    <a:pt x="749300" y="1368425"/>
                  </a:lnTo>
                  <a:lnTo>
                    <a:pt x="746125" y="1358900"/>
                  </a:lnTo>
                  <a:lnTo>
                    <a:pt x="736600" y="1371600"/>
                  </a:lnTo>
                  <a:lnTo>
                    <a:pt x="720725" y="1390650"/>
                  </a:lnTo>
                  <a:lnTo>
                    <a:pt x="708025" y="1393825"/>
                  </a:lnTo>
                  <a:lnTo>
                    <a:pt x="701675" y="1393825"/>
                  </a:lnTo>
                  <a:lnTo>
                    <a:pt x="695325" y="1403350"/>
                  </a:lnTo>
                  <a:lnTo>
                    <a:pt x="682625" y="1409700"/>
                  </a:lnTo>
                  <a:lnTo>
                    <a:pt x="657225" y="1412875"/>
                  </a:lnTo>
                  <a:lnTo>
                    <a:pt x="625475" y="1419225"/>
                  </a:lnTo>
                  <a:lnTo>
                    <a:pt x="600075" y="1422400"/>
                  </a:lnTo>
                  <a:lnTo>
                    <a:pt x="590550" y="1400175"/>
                  </a:lnTo>
                  <a:lnTo>
                    <a:pt x="590550" y="1387475"/>
                  </a:lnTo>
                  <a:lnTo>
                    <a:pt x="587375" y="1374775"/>
                  </a:lnTo>
                  <a:lnTo>
                    <a:pt x="574675" y="1371600"/>
                  </a:lnTo>
                  <a:lnTo>
                    <a:pt x="565150" y="1374775"/>
                  </a:lnTo>
                  <a:lnTo>
                    <a:pt x="539750" y="1371600"/>
                  </a:lnTo>
                  <a:lnTo>
                    <a:pt x="523875" y="1358900"/>
                  </a:lnTo>
                  <a:lnTo>
                    <a:pt x="511175" y="1339850"/>
                  </a:lnTo>
                  <a:lnTo>
                    <a:pt x="508000" y="1327150"/>
                  </a:lnTo>
                  <a:lnTo>
                    <a:pt x="514350" y="1323975"/>
                  </a:lnTo>
                  <a:lnTo>
                    <a:pt x="527050" y="1317625"/>
                  </a:lnTo>
                  <a:lnTo>
                    <a:pt x="552450" y="1311275"/>
                  </a:lnTo>
                  <a:lnTo>
                    <a:pt x="609600" y="1314450"/>
                  </a:lnTo>
                  <a:lnTo>
                    <a:pt x="625475" y="1314450"/>
                  </a:lnTo>
                  <a:lnTo>
                    <a:pt x="638175" y="1308100"/>
                  </a:lnTo>
                  <a:lnTo>
                    <a:pt x="625475" y="1301750"/>
                  </a:lnTo>
                  <a:lnTo>
                    <a:pt x="615950" y="1295400"/>
                  </a:lnTo>
                  <a:lnTo>
                    <a:pt x="584200" y="1282700"/>
                  </a:lnTo>
                  <a:lnTo>
                    <a:pt x="571500" y="1289050"/>
                  </a:lnTo>
                  <a:lnTo>
                    <a:pt x="558800" y="1289050"/>
                  </a:lnTo>
                  <a:lnTo>
                    <a:pt x="527050" y="1289050"/>
                  </a:lnTo>
                  <a:lnTo>
                    <a:pt x="514350" y="1289050"/>
                  </a:lnTo>
                  <a:lnTo>
                    <a:pt x="508000" y="1289050"/>
                  </a:lnTo>
                  <a:lnTo>
                    <a:pt x="498475" y="1279525"/>
                  </a:lnTo>
                  <a:lnTo>
                    <a:pt x="488950" y="1266825"/>
                  </a:lnTo>
                  <a:lnTo>
                    <a:pt x="479425" y="1225550"/>
                  </a:lnTo>
                  <a:lnTo>
                    <a:pt x="473075" y="1209675"/>
                  </a:lnTo>
                  <a:lnTo>
                    <a:pt x="476250" y="1196975"/>
                  </a:lnTo>
                  <a:lnTo>
                    <a:pt x="482600" y="1174750"/>
                  </a:lnTo>
                  <a:lnTo>
                    <a:pt x="488950" y="1155700"/>
                  </a:lnTo>
                  <a:lnTo>
                    <a:pt x="504825" y="1139825"/>
                  </a:lnTo>
                  <a:lnTo>
                    <a:pt x="561975" y="1098550"/>
                  </a:lnTo>
                  <a:close/>
                  <a:moveTo>
                    <a:pt x="1301750" y="1066800"/>
                  </a:moveTo>
                  <a:lnTo>
                    <a:pt x="1327150" y="1076325"/>
                  </a:lnTo>
                  <a:lnTo>
                    <a:pt x="1349375" y="1073150"/>
                  </a:lnTo>
                  <a:lnTo>
                    <a:pt x="1377950" y="1085850"/>
                  </a:lnTo>
                  <a:lnTo>
                    <a:pt x="1400175" y="1127125"/>
                  </a:lnTo>
                  <a:lnTo>
                    <a:pt x="1393825" y="1136650"/>
                  </a:lnTo>
                  <a:lnTo>
                    <a:pt x="1381125" y="1136650"/>
                  </a:lnTo>
                  <a:lnTo>
                    <a:pt x="1368425" y="1130300"/>
                  </a:lnTo>
                  <a:lnTo>
                    <a:pt x="1355725" y="1130300"/>
                  </a:lnTo>
                  <a:lnTo>
                    <a:pt x="1330325" y="1143000"/>
                  </a:lnTo>
                  <a:lnTo>
                    <a:pt x="1308100" y="1114425"/>
                  </a:lnTo>
                  <a:lnTo>
                    <a:pt x="1298575" y="1098550"/>
                  </a:lnTo>
                  <a:lnTo>
                    <a:pt x="1298575" y="1079500"/>
                  </a:lnTo>
                  <a:close/>
                  <a:moveTo>
                    <a:pt x="765175" y="1066800"/>
                  </a:moveTo>
                  <a:lnTo>
                    <a:pt x="777875" y="1069975"/>
                  </a:lnTo>
                  <a:lnTo>
                    <a:pt x="790575" y="1082675"/>
                  </a:lnTo>
                  <a:lnTo>
                    <a:pt x="774700" y="1127125"/>
                  </a:lnTo>
                  <a:lnTo>
                    <a:pt x="765175" y="1123950"/>
                  </a:lnTo>
                  <a:lnTo>
                    <a:pt x="746125" y="1095375"/>
                  </a:lnTo>
                  <a:lnTo>
                    <a:pt x="733425" y="1089025"/>
                  </a:lnTo>
                  <a:lnTo>
                    <a:pt x="746125" y="1069975"/>
                  </a:lnTo>
                  <a:close/>
                  <a:moveTo>
                    <a:pt x="1196975" y="1060450"/>
                  </a:moveTo>
                  <a:lnTo>
                    <a:pt x="1212850" y="1066800"/>
                  </a:lnTo>
                  <a:lnTo>
                    <a:pt x="1203325" y="1082675"/>
                  </a:lnTo>
                  <a:lnTo>
                    <a:pt x="1190625" y="1095375"/>
                  </a:lnTo>
                  <a:lnTo>
                    <a:pt x="1177925" y="1123950"/>
                  </a:lnTo>
                  <a:lnTo>
                    <a:pt x="1171575" y="1149350"/>
                  </a:lnTo>
                  <a:lnTo>
                    <a:pt x="1177925" y="1177925"/>
                  </a:lnTo>
                  <a:lnTo>
                    <a:pt x="1177925" y="1193800"/>
                  </a:lnTo>
                  <a:lnTo>
                    <a:pt x="1190625" y="1216025"/>
                  </a:lnTo>
                  <a:lnTo>
                    <a:pt x="1203325" y="1231900"/>
                  </a:lnTo>
                  <a:lnTo>
                    <a:pt x="1206500" y="1235075"/>
                  </a:lnTo>
                  <a:lnTo>
                    <a:pt x="1203325" y="1247775"/>
                  </a:lnTo>
                  <a:lnTo>
                    <a:pt x="1209675" y="1250950"/>
                  </a:lnTo>
                  <a:lnTo>
                    <a:pt x="1219200" y="1235075"/>
                  </a:lnTo>
                  <a:lnTo>
                    <a:pt x="1219200" y="1225550"/>
                  </a:lnTo>
                  <a:lnTo>
                    <a:pt x="1216025" y="1219200"/>
                  </a:lnTo>
                  <a:lnTo>
                    <a:pt x="1209675" y="1219200"/>
                  </a:lnTo>
                  <a:lnTo>
                    <a:pt x="1203325" y="1216025"/>
                  </a:lnTo>
                  <a:lnTo>
                    <a:pt x="1200150" y="1190625"/>
                  </a:lnTo>
                  <a:lnTo>
                    <a:pt x="1200150" y="1177925"/>
                  </a:lnTo>
                  <a:lnTo>
                    <a:pt x="1209675" y="1177925"/>
                  </a:lnTo>
                  <a:lnTo>
                    <a:pt x="1203325" y="1168400"/>
                  </a:lnTo>
                  <a:lnTo>
                    <a:pt x="1196975" y="1162050"/>
                  </a:lnTo>
                  <a:lnTo>
                    <a:pt x="1196975" y="1130300"/>
                  </a:lnTo>
                  <a:lnTo>
                    <a:pt x="1200150" y="1127125"/>
                  </a:lnTo>
                  <a:lnTo>
                    <a:pt x="1203325" y="1120775"/>
                  </a:lnTo>
                  <a:lnTo>
                    <a:pt x="1209675" y="1095375"/>
                  </a:lnTo>
                  <a:lnTo>
                    <a:pt x="1241425" y="1079500"/>
                  </a:lnTo>
                  <a:lnTo>
                    <a:pt x="1254125" y="1069975"/>
                  </a:lnTo>
                  <a:lnTo>
                    <a:pt x="1266825" y="1069975"/>
                  </a:lnTo>
                  <a:lnTo>
                    <a:pt x="1282700" y="1069975"/>
                  </a:lnTo>
                  <a:lnTo>
                    <a:pt x="1289050" y="1082675"/>
                  </a:lnTo>
                  <a:lnTo>
                    <a:pt x="1292225" y="1095375"/>
                  </a:lnTo>
                  <a:lnTo>
                    <a:pt x="1295400" y="1101725"/>
                  </a:lnTo>
                  <a:lnTo>
                    <a:pt x="1301750" y="1114425"/>
                  </a:lnTo>
                  <a:lnTo>
                    <a:pt x="1308100" y="1139825"/>
                  </a:lnTo>
                  <a:lnTo>
                    <a:pt x="1308100" y="1162050"/>
                  </a:lnTo>
                  <a:lnTo>
                    <a:pt x="1304925" y="1190625"/>
                  </a:lnTo>
                  <a:lnTo>
                    <a:pt x="1311275" y="1190625"/>
                  </a:lnTo>
                  <a:lnTo>
                    <a:pt x="1317625" y="1181100"/>
                  </a:lnTo>
                  <a:lnTo>
                    <a:pt x="1314450" y="1171575"/>
                  </a:lnTo>
                  <a:lnTo>
                    <a:pt x="1320800" y="1162050"/>
                  </a:lnTo>
                  <a:lnTo>
                    <a:pt x="1330325" y="1168400"/>
                  </a:lnTo>
                  <a:lnTo>
                    <a:pt x="1346200" y="1168400"/>
                  </a:lnTo>
                  <a:lnTo>
                    <a:pt x="1349375" y="1158875"/>
                  </a:lnTo>
                  <a:lnTo>
                    <a:pt x="1355725" y="1149350"/>
                  </a:lnTo>
                  <a:lnTo>
                    <a:pt x="1409700" y="1155700"/>
                  </a:lnTo>
                  <a:lnTo>
                    <a:pt x="1419225" y="1158875"/>
                  </a:lnTo>
                  <a:lnTo>
                    <a:pt x="1425575" y="1171575"/>
                  </a:lnTo>
                  <a:lnTo>
                    <a:pt x="1425575" y="1187450"/>
                  </a:lnTo>
                  <a:lnTo>
                    <a:pt x="1441450" y="1190625"/>
                  </a:lnTo>
                  <a:lnTo>
                    <a:pt x="1444625" y="1196975"/>
                  </a:lnTo>
                  <a:lnTo>
                    <a:pt x="1450975" y="1212850"/>
                  </a:lnTo>
                  <a:lnTo>
                    <a:pt x="1457325" y="1231900"/>
                  </a:lnTo>
                  <a:lnTo>
                    <a:pt x="1460500" y="1241425"/>
                  </a:lnTo>
                  <a:lnTo>
                    <a:pt x="1470025" y="1241425"/>
                  </a:lnTo>
                  <a:lnTo>
                    <a:pt x="1476375" y="1225550"/>
                  </a:lnTo>
                  <a:lnTo>
                    <a:pt x="1482725" y="1222375"/>
                  </a:lnTo>
                  <a:lnTo>
                    <a:pt x="1498600" y="1228725"/>
                  </a:lnTo>
                  <a:lnTo>
                    <a:pt x="1508125" y="1244600"/>
                  </a:lnTo>
                  <a:lnTo>
                    <a:pt x="1514475" y="1257300"/>
                  </a:lnTo>
                  <a:lnTo>
                    <a:pt x="1517650" y="1257300"/>
                  </a:lnTo>
                  <a:lnTo>
                    <a:pt x="1524000" y="1276350"/>
                  </a:lnTo>
                  <a:lnTo>
                    <a:pt x="1536700" y="1270000"/>
                  </a:lnTo>
                  <a:lnTo>
                    <a:pt x="1549400" y="1279525"/>
                  </a:lnTo>
                  <a:lnTo>
                    <a:pt x="1562100" y="1289050"/>
                  </a:lnTo>
                  <a:lnTo>
                    <a:pt x="1565275" y="1301750"/>
                  </a:lnTo>
                  <a:lnTo>
                    <a:pt x="1562100" y="1314450"/>
                  </a:lnTo>
                  <a:lnTo>
                    <a:pt x="1568450" y="1320800"/>
                  </a:lnTo>
                  <a:lnTo>
                    <a:pt x="1574800" y="1308100"/>
                  </a:lnTo>
                  <a:lnTo>
                    <a:pt x="1584325" y="1314450"/>
                  </a:lnTo>
                  <a:lnTo>
                    <a:pt x="1597025" y="1346200"/>
                  </a:lnTo>
                  <a:lnTo>
                    <a:pt x="1581150" y="1343025"/>
                  </a:lnTo>
                  <a:lnTo>
                    <a:pt x="1571625" y="1349375"/>
                  </a:lnTo>
                  <a:lnTo>
                    <a:pt x="1590675" y="1362075"/>
                  </a:lnTo>
                  <a:lnTo>
                    <a:pt x="1606550" y="1377950"/>
                  </a:lnTo>
                  <a:lnTo>
                    <a:pt x="1574800" y="1377950"/>
                  </a:lnTo>
                  <a:lnTo>
                    <a:pt x="1581150" y="1400175"/>
                  </a:lnTo>
                  <a:lnTo>
                    <a:pt x="1584325" y="1412875"/>
                  </a:lnTo>
                  <a:lnTo>
                    <a:pt x="1587500" y="1416050"/>
                  </a:lnTo>
                  <a:lnTo>
                    <a:pt x="1597025" y="1419225"/>
                  </a:lnTo>
                  <a:lnTo>
                    <a:pt x="1606550" y="1422400"/>
                  </a:lnTo>
                  <a:lnTo>
                    <a:pt x="1603375" y="1422400"/>
                  </a:lnTo>
                  <a:lnTo>
                    <a:pt x="1616075" y="1444625"/>
                  </a:lnTo>
                  <a:lnTo>
                    <a:pt x="1619250" y="1450975"/>
                  </a:lnTo>
                  <a:lnTo>
                    <a:pt x="1628775" y="1447800"/>
                  </a:lnTo>
                  <a:lnTo>
                    <a:pt x="1631950" y="1454150"/>
                  </a:lnTo>
                  <a:lnTo>
                    <a:pt x="1638300" y="1447800"/>
                  </a:lnTo>
                  <a:lnTo>
                    <a:pt x="1647825" y="1450975"/>
                  </a:lnTo>
                  <a:lnTo>
                    <a:pt x="1657350" y="1463675"/>
                  </a:lnTo>
                  <a:lnTo>
                    <a:pt x="1660525" y="1473200"/>
                  </a:lnTo>
                  <a:lnTo>
                    <a:pt x="1663700" y="1489075"/>
                  </a:lnTo>
                  <a:lnTo>
                    <a:pt x="1673225" y="1492250"/>
                  </a:lnTo>
                  <a:lnTo>
                    <a:pt x="1682750" y="1485900"/>
                  </a:lnTo>
                  <a:lnTo>
                    <a:pt x="1689100" y="1508125"/>
                  </a:lnTo>
                  <a:lnTo>
                    <a:pt x="1689100" y="1514475"/>
                  </a:lnTo>
                  <a:lnTo>
                    <a:pt x="1692275" y="1508125"/>
                  </a:lnTo>
                  <a:lnTo>
                    <a:pt x="1701800" y="1501775"/>
                  </a:lnTo>
                  <a:lnTo>
                    <a:pt x="1717675" y="1517650"/>
                  </a:lnTo>
                  <a:lnTo>
                    <a:pt x="1720850" y="1530350"/>
                  </a:lnTo>
                  <a:lnTo>
                    <a:pt x="1717675" y="1539875"/>
                  </a:lnTo>
                  <a:lnTo>
                    <a:pt x="1711325" y="1543050"/>
                  </a:lnTo>
                  <a:lnTo>
                    <a:pt x="1701800" y="1543050"/>
                  </a:lnTo>
                  <a:lnTo>
                    <a:pt x="1692275" y="1546225"/>
                  </a:lnTo>
                  <a:lnTo>
                    <a:pt x="1708150" y="1558925"/>
                  </a:lnTo>
                  <a:lnTo>
                    <a:pt x="1698625" y="1562100"/>
                  </a:lnTo>
                  <a:lnTo>
                    <a:pt x="1692275" y="1577975"/>
                  </a:lnTo>
                  <a:lnTo>
                    <a:pt x="1679575" y="1577975"/>
                  </a:lnTo>
                  <a:lnTo>
                    <a:pt x="1673225" y="1593850"/>
                  </a:lnTo>
                  <a:lnTo>
                    <a:pt x="1676400" y="1597025"/>
                  </a:lnTo>
                  <a:lnTo>
                    <a:pt x="1673225" y="1600200"/>
                  </a:lnTo>
                  <a:lnTo>
                    <a:pt x="1676400" y="1606550"/>
                  </a:lnTo>
                  <a:lnTo>
                    <a:pt x="1666875" y="1612900"/>
                  </a:lnTo>
                  <a:lnTo>
                    <a:pt x="1663700" y="1609725"/>
                  </a:lnTo>
                  <a:lnTo>
                    <a:pt x="1660525" y="1609725"/>
                  </a:lnTo>
                  <a:lnTo>
                    <a:pt x="1651000" y="1600200"/>
                  </a:lnTo>
                  <a:lnTo>
                    <a:pt x="1644650" y="1593850"/>
                  </a:lnTo>
                  <a:lnTo>
                    <a:pt x="1631950" y="1568450"/>
                  </a:lnTo>
                  <a:lnTo>
                    <a:pt x="1622425" y="1552575"/>
                  </a:lnTo>
                  <a:lnTo>
                    <a:pt x="1612900" y="1546225"/>
                  </a:lnTo>
                  <a:lnTo>
                    <a:pt x="1616075" y="1546225"/>
                  </a:lnTo>
                  <a:lnTo>
                    <a:pt x="1597025" y="1533525"/>
                  </a:lnTo>
                  <a:lnTo>
                    <a:pt x="1587500" y="1533525"/>
                  </a:lnTo>
                  <a:lnTo>
                    <a:pt x="1581150" y="1533525"/>
                  </a:lnTo>
                  <a:lnTo>
                    <a:pt x="1584325" y="1549400"/>
                  </a:lnTo>
                  <a:lnTo>
                    <a:pt x="1593850" y="1555750"/>
                  </a:lnTo>
                  <a:lnTo>
                    <a:pt x="1587500" y="1565275"/>
                  </a:lnTo>
                  <a:lnTo>
                    <a:pt x="1581150" y="1565275"/>
                  </a:lnTo>
                  <a:lnTo>
                    <a:pt x="1574800" y="1552575"/>
                  </a:lnTo>
                  <a:lnTo>
                    <a:pt x="1568450" y="1565275"/>
                  </a:lnTo>
                  <a:lnTo>
                    <a:pt x="1574800" y="1577975"/>
                  </a:lnTo>
                  <a:lnTo>
                    <a:pt x="1584325" y="1577975"/>
                  </a:lnTo>
                  <a:lnTo>
                    <a:pt x="1590675" y="1584325"/>
                  </a:lnTo>
                  <a:lnTo>
                    <a:pt x="1597025" y="1587500"/>
                  </a:lnTo>
                  <a:lnTo>
                    <a:pt x="1593850" y="1597025"/>
                  </a:lnTo>
                  <a:lnTo>
                    <a:pt x="1597025" y="1606550"/>
                  </a:lnTo>
                  <a:lnTo>
                    <a:pt x="1600200" y="1609725"/>
                  </a:lnTo>
                  <a:lnTo>
                    <a:pt x="1603375" y="1616075"/>
                  </a:lnTo>
                  <a:lnTo>
                    <a:pt x="1603375" y="1622425"/>
                  </a:lnTo>
                  <a:lnTo>
                    <a:pt x="1609725" y="1619250"/>
                  </a:lnTo>
                  <a:lnTo>
                    <a:pt x="1622425" y="1616075"/>
                  </a:lnTo>
                  <a:lnTo>
                    <a:pt x="1628775" y="1622425"/>
                  </a:lnTo>
                  <a:lnTo>
                    <a:pt x="1628775" y="1631950"/>
                  </a:lnTo>
                  <a:lnTo>
                    <a:pt x="1628775" y="1635125"/>
                  </a:lnTo>
                  <a:lnTo>
                    <a:pt x="1638300" y="1638300"/>
                  </a:lnTo>
                  <a:lnTo>
                    <a:pt x="1635125" y="1654175"/>
                  </a:lnTo>
                  <a:lnTo>
                    <a:pt x="1641475" y="1670050"/>
                  </a:lnTo>
                  <a:lnTo>
                    <a:pt x="1651000" y="1679575"/>
                  </a:lnTo>
                  <a:lnTo>
                    <a:pt x="1651000" y="1695450"/>
                  </a:lnTo>
                  <a:lnTo>
                    <a:pt x="1647825" y="1695450"/>
                  </a:lnTo>
                  <a:lnTo>
                    <a:pt x="1644650" y="1685925"/>
                  </a:lnTo>
                  <a:lnTo>
                    <a:pt x="1638300" y="1676400"/>
                  </a:lnTo>
                  <a:lnTo>
                    <a:pt x="1641475" y="1689100"/>
                  </a:lnTo>
                  <a:lnTo>
                    <a:pt x="1644650" y="1701800"/>
                  </a:lnTo>
                  <a:lnTo>
                    <a:pt x="1644650" y="1704975"/>
                  </a:lnTo>
                  <a:lnTo>
                    <a:pt x="1647825" y="1711325"/>
                  </a:lnTo>
                  <a:lnTo>
                    <a:pt x="1647825" y="1717675"/>
                  </a:lnTo>
                  <a:lnTo>
                    <a:pt x="1635125" y="1730375"/>
                  </a:lnTo>
                  <a:lnTo>
                    <a:pt x="1625600" y="1714500"/>
                  </a:lnTo>
                  <a:lnTo>
                    <a:pt x="1619250" y="1711325"/>
                  </a:lnTo>
                  <a:lnTo>
                    <a:pt x="1616075" y="1711325"/>
                  </a:lnTo>
                  <a:lnTo>
                    <a:pt x="1603375" y="1704975"/>
                  </a:lnTo>
                  <a:lnTo>
                    <a:pt x="1590675" y="1692275"/>
                  </a:lnTo>
                  <a:lnTo>
                    <a:pt x="1584325" y="1689100"/>
                  </a:lnTo>
                  <a:lnTo>
                    <a:pt x="1581150" y="1692275"/>
                  </a:lnTo>
                  <a:lnTo>
                    <a:pt x="1577975" y="1685925"/>
                  </a:lnTo>
                  <a:lnTo>
                    <a:pt x="1568450" y="1676400"/>
                  </a:lnTo>
                  <a:lnTo>
                    <a:pt x="1555750" y="1676400"/>
                  </a:lnTo>
                  <a:lnTo>
                    <a:pt x="1565275" y="1689100"/>
                  </a:lnTo>
                  <a:lnTo>
                    <a:pt x="1577975" y="1704975"/>
                  </a:lnTo>
                  <a:lnTo>
                    <a:pt x="1584325" y="1708150"/>
                  </a:lnTo>
                  <a:lnTo>
                    <a:pt x="1584325" y="1714500"/>
                  </a:lnTo>
                  <a:lnTo>
                    <a:pt x="1590675" y="1711325"/>
                  </a:lnTo>
                  <a:lnTo>
                    <a:pt x="1597025" y="1720850"/>
                  </a:lnTo>
                  <a:lnTo>
                    <a:pt x="1609725" y="1736725"/>
                  </a:lnTo>
                  <a:lnTo>
                    <a:pt x="1612900" y="1736725"/>
                  </a:lnTo>
                  <a:lnTo>
                    <a:pt x="1619250" y="1746250"/>
                  </a:lnTo>
                  <a:lnTo>
                    <a:pt x="1622425" y="1758950"/>
                  </a:lnTo>
                  <a:lnTo>
                    <a:pt x="1619250" y="1762125"/>
                  </a:lnTo>
                  <a:lnTo>
                    <a:pt x="1593850" y="1752600"/>
                  </a:lnTo>
                  <a:lnTo>
                    <a:pt x="1565275" y="1743075"/>
                  </a:lnTo>
                  <a:lnTo>
                    <a:pt x="1555750" y="1739900"/>
                  </a:lnTo>
                  <a:lnTo>
                    <a:pt x="1546225" y="1727200"/>
                  </a:lnTo>
                  <a:lnTo>
                    <a:pt x="1543050" y="1727200"/>
                  </a:lnTo>
                  <a:lnTo>
                    <a:pt x="1543050" y="1724025"/>
                  </a:lnTo>
                  <a:lnTo>
                    <a:pt x="1536700" y="1720850"/>
                  </a:lnTo>
                  <a:lnTo>
                    <a:pt x="1527175" y="1720850"/>
                  </a:lnTo>
                  <a:lnTo>
                    <a:pt x="1514475" y="1714500"/>
                  </a:lnTo>
                  <a:lnTo>
                    <a:pt x="1504950" y="1708150"/>
                  </a:lnTo>
                  <a:lnTo>
                    <a:pt x="1495425" y="1701800"/>
                  </a:lnTo>
                  <a:lnTo>
                    <a:pt x="1485900" y="1689100"/>
                  </a:lnTo>
                  <a:lnTo>
                    <a:pt x="1498600" y="1689100"/>
                  </a:lnTo>
                  <a:lnTo>
                    <a:pt x="1492250" y="1676400"/>
                  </a:lnTo>
                  <a:lnTo>
                    <a:pt x="1489075" y="1676400"/>
                  </a:lnTo>
                  <a:lnTo>
                    <a:pt x="1476375" y="1670050"/>
                  </a:lnTo>
                  <a:lnTo>
                    <a:pt x="1476375" y="1660525"/>
                  </a:lnTo>
                  <a:lnTo>
                    <a:pt x="1473200" y="1654175"/>
                  </a:lnTo>
                  <a:lnTo>
                    <a:pt x="1466850" y="1647825"/>
                  </a:lnTo>
                  <a:lnTo>
                    <a:pt x="1460500" y="1638300"/>
                  </a:lnTo>
                  <a:lnTo>
                    <a:pt x="1454150" y="1638300"/>
                  </a:lnTo>
                  <a:lnTo>
                    <a:pt x="1447800" y="1641475"/>
                  </a:lnTo>
                  <a:lnTo>
                    <a:pt x="1435100" y="1641475"/>
                  </a:lnTo>
                  <a:lnTo>
                    <a:pt x="1428750" y="1641475"/>
                  </a:lnTo>
                  <a:lnTo>
                    <a:pt x="1425575" y="1638300"/>
                  </a:lnTo>
                  <a:lnTo>
                    <a:pt x="1409700" y="1631950"/>
                  </a:lnTo>
                  <a:lnTo>
                    <a:pt x="1400175" y="1641475"/>
                  </a:lnTo>
                  <a:lnTo>
                    <a:pt x="1393825" y="1644650"/>
                  </a:lnTo>
                  <a:lnTo>
                    <a:pt x="1387475" y="1647825"/>
                  </a:lnTo>
                  <a:lnTo>
                    <a:pt x="1362075" y="1641475"/>
                  </a:lnTo>
                  <a:lnTo>
                    <a:pt x="1358900" y="1635125"/>
                  </a:lnTo>
                  <a:lnTo>
                    <a:pt x="1355725" y="1625600"/>
                  </a:lnTo>
                  <a:lnTo>
                    <a:pt x="1358900" y="1612900"/>
                  </a:lnTo>
                  <a:lnTo>
                    <a:pt x="1362075" y="1609725"/>
                  </a:lnTo>
                  <a:lnTo>
                    <a:pt x="1371600" y="1603375"/>
                  </a:lnTo>
                  <a:lnTo>
                    <a:pt x="1374775" y="1600200"/>
                  </a:lnTo>
                  <a:lnTo>
                    <a:pt x="1374775" y="1590675"/>
                  </a:lnTo>
                  <a:lnTo>
                    <a:pt x="1409700" y="1603375"/>
                  </a:lnTo>
                  <a:lnTo>
                    <a:pt x="1412875" y="1597025"/>
                  </a:lnTo>
                  <a:lnTo>
                    <a:pt x="1419225" y="1597025"/>
                  </a:lnTo>
                  <a:lnTo>
                    <a:pt x="1431925" y="1590675"/>
                  </a:lnTo>
                  <a:lnTo>
                    <a:pt x="1431925" y="1587500"/>
                  </a:lnTo>
                  <a:lnTo>
                    <a:pt x="1438275" y="1590675"/>
                  </a:lnTo>
                  <a:lnTo>
                    <a:pt x="1444625" y="1587500"/>
                  </a:lnTo>
                  <a:lnTo>
                    <a:pt x="1457325" y="1584325"/>
                  </a:lnTo>
                  <a:lnTo>
                    <a:pt x="1447800" y="1568450"/>
                  </a:lnTo>
                  <a:lnTo>
                    <a:pt x="1438275" y="1552575"/>
                  </a:lnTo>
                  <a:lnTo>
                    <a:pt x="1441450" y="1546225"/>
                  </a:lnTo>
                  <a:lnTo>
                    <a:pt x="1450975" y="1536700"/>
                  </a:lnTo>
                  <a:lnTo>
                    <a:pt x="1460500" y="1524000"/>
                  </a:lnTo>
                  <a:lnTo>
                    <a:pt x="1466850" y="1517650"/>
                  </a:lnTo>
                  <a:lnTo>
                    <a:pt x="1470025" y="1511300"/>
                  </a:lnTo>
                  <a:lnTo>
                    <a:pt x="1476375" y="1501775"/>
                  </a:lnTo>
                  <a:lnTo>
                    <a:pt x="1485900" y="1489075"/>
                  </a:lnTo>
                  <a:lnTo>
                    <a:pt x="1482725" y="1482725"/>
                  </a:lnTo>
                  <a:lnTo>
                    <a:pt x="1476375" y="1463675"/>
                  </a:lnTo>
                  <a:lnTo>
                    <a:pt x="1470025" y="1454150"/>
                  </a:lnTo>
                  <a:lnTo>
                    <a:pt x="1466850" y="1444625"/>
                  </a:lnTo>
                  <a:lnTo>
                    <a:pt x="1463675" y="1425575"/>
                  </a:lnTo>
                  <a:lnTo>
                    <a:pt x="1457325" y="1431925"/>
                  </a:lnTo>
                  <a:lnTo>
                    <a:pt x="1450975" y="1425575"/>
                  </a:lnTo>
                  <a:lnTo>
                    <a:pt x="1444625" y="1419225"/>
                  </a:lnTo>
                  <a:lnTo>
                    <a:pt x="1435100" y="1409700"/>
                  </a:lnTo>
                  <a:lnTo>
                    <a:pt x="1428750" y="1400175"/>
                  </a:lnTo>
                  <a:lnTo>
                    <a:pt x="1422400" y="1397000"/>
                  </a:lnTo>
                  <a:lnTo>
                    <a:pt x="1419225" y="1393825"/>
                  </a:lnTo>
                  <a:lnTo>
                    <a:pt x="1419225" y="1390650"/>
                  </a:lnTo>
                  <a:lnTo>
                    <a:pt x="1412875" y="1397000"/>
                  </a:lnTo>
                  <a:lnTo>
                    <a:pt x="1400175" y="1403350"/>
                  </a:lnTo>
                  <a:lnTo>
                    <a:pt x="1390650" y="1409700"/>
                  </a:lnTo>
                  <a:lnTo>
                    <a:pt x="1390650" y="1406525"/>
                  </a:lnTo>
                  <a:lnTo>
                    <a:pt x="1390650" y="1390650"/>
                  </a:lnTo>
                  <a:lnTo>
                    <a:pt x="1400175" y="1387475"/>
                  </a:lnTo>
                  <a:lnTo>
                    <a:pt x="1412875" y="1384300"/>
                  </a:lnTo>
                  <a:lnTo>
                    <a:pt x="1412875" y="1377950"/>
                  </a:lnTo>
                  <a:lnTo>
                    <a:pt x="1409700" y="1371600"/>
                  </a:lnTo>
                  <a:lnTo>
                    <a:pt x="1397000" y="1362075"/>
                  </a:lnTo>
                  <a:lnTo>
                    <a:pt x="1384300" y="1352550"/>
                  </a:lnTo>
                  <a:lnTo>
                    <a:pt x="1377950" y="1349375"/>
                  </a:lnTo>
                  <a:lnTo>
                    <a:pt x="1377950" y="1333500"/>
                  </a:lnTo>
                  <a:lnTo>
                    <a:pt x="1368425" y="1343025"/>
                  </a:lnTo>
                  <a:lnTo>
                    <a:pt x="1365250" y="1314450"/>
                  </a:lnTo>
                  <a:lnTo>
                    <a:pt x="1343025" y="1314450"/>
                  </a:lnTo>
                  <a:lnTo>
                    <a:pt x="1346200" y="1333500"/>
                  </a:lnTo>
                  <a:lnTo>
                    <a:pt x="1330325" y="1336675"/>
                  </a:lnTo>
                  <a:lnTo>
                    <a:pt x="1320800" y="1330325"/>
                  </a:lnTo>
                  <a:lnTo>
                    <a:pt x="1308100" y="1327150"/>
                  </a:lnTo>
                  <a:lnTo>
                    <a:pt x="1289050" y="1320800"/>
                  </a:lnTo>
                  <a:lnTo>
                    <a:pt x="1279525" y="1320800"/>
                  </a:lnTo>
                  <a:lnTo>
                    <a:pt x="1279525" y="1336675"/>
                  </a:lnTo>
                  <a:lnTo>
                    <a:pt x="1276350" y="1339850"/>
                  </a:lnTo>
                  <a:lnTo>
                    <a:pt x="1260475" y="1336675"/>
                  </a:lnTo>
                  <a:lnTo>
                    <a:pt x="1225550" y="1330325"/>
                  </a:lnTo>
                  <a:lnTo>
                    <a:pt x="1196975" y="1320800"/>
                  </a:lnTo>
                  <a:lnTo>
                    <a:pt x="1203325" y="1330325"/>
                  </a:lnTo>
                  <a:lnTo>
                    <a:pt x="1187450" y="1323975"/>
                  </a:lnTo>
                  <a:lnTo>
                    <a:pt x="1177925" y="1317625"/>
                  </a:lnTo>
                  <a:lnTo>
                    <a:pt x="1174750" y="1308100"/>
                  </a:lnTo>
                  <a:lnTo>
                    <a:pt x="1177925" y="1301750"/>
                  </a:lnTo>
                  <a:lnTo>
                    <a:pt x="1174750" y="1304925"/>
                  </a:lnTo>
                  <a:lnTo>
                    <a:pt x="1174750" y="1308100"/>
                  </a:lnTo>
                  <a:lnTo>
                    <a:pt x="1158875" y="1311275"/>
                  </a:lnTo>
                  <a:lnTo>
                    <a:pt x="1146175" y="1314450"/>
                  </a:lnTo>
                  <a:lnTo>
                    <a:pt x="1133475" y="1301750"/>
                  </a:lnTo>
                  <a:lnTo>
                    <a:pt x="1120775" y="1289050"/>
                  </a:lnTo>
                  <a:lnTo>
                    <a:pt x="1114425" y="1276350"/>
                  </a:lnTo>
                  <a:lnTo>
                    <a:pt x="1114425" y="1263650"/>
                  </a:lnTo>
                  <a:lnTo>
                    <a:pt x="1130300" y="1260475"/>
                  </a:lnTo>
                  <a:lnTo>
                    <a:pt x="1155700" y="1266825"/>
                  </a:lnTo>
                  <a:lnTo>
                    <a:pt x="1162050" y="1263650"/>
                  </a:lnTo>
                  <a:lnTo>
                    <a:pt x="1149350" y="1250950"/>
                  </a:lnTo>
                  <a:lnTo>
                    <a:pt x="1139825" y="1247775"/>
                  </a:lnTo>
                  <a:lnTo>
                    <a:pt x="1117600" y="1244600"/>
                  </a:lnTo>
                  <a:lnTo>
                    <a:pt x="1101725" y="1231900"/>
                  </a:lnTo>
                  <a:lnTo>
                    <a:pt x="1101725" y="1200150"/>
                  </a:lnTo>
                  <a:lnTo>
                    <a:pt x="1108075" y="1184275"/>
                  </a:lnTo>
                  <a:lnTo>
                    <a:pt x="1104900" y="1165225"/>
                  </a:lnTo>
                  <a:lnTo>
                    <a:pt x="1114425" y="1143000"/>
                  </a:lnTo>
                  <a:lnTo>
                    <a:pt x="1114425" y="1127125"/>
                  </a:lnTo>
                  <a:lnTo>
                    <a:pt x="1120775" y="1111250"/>
                  </a:lnTo>
                  <a:lnTo>
                    <a:pt x="1143000" y="1076325"/>
                  </a:lnTo>
                  <a:close/>
                  <a:moveTo>
                    <a:pt x="885825" y="1050925"/>
                  </a:moveTo>
                  <a:lnTo>
                    <a:pt x="898525" y="1063625"/>
                  </a:lnTo>
                  <a:lnTo>
                    <a:pt x="904875" y="1069975"/>
                  </a:lnTo>
                  <a:lnTo>
                    <a:pt x="911225" y="1066800"/>
                  </a:lnTo>
                  <a:lnTo>
                    <a:pt x="923925" y="1060450"/>
                  </a:lnTo>
                  <a:lnTo>
                    <a:pt x="930275" y="1057275"/>
                  </a:lnTo>
                  <a:lnTo>
                    <a:pt x="933450" y="1054100"/>
                  </a:lnTo>
                  <a:lnTo>
                    <a:pt x="939800" y="1057275"/>
                  </a:lnTo>
                  <a:lnTo>
                    <a:pt x="946150" y="1060450"/>
                  </a:lnTo>
                  <a:lnTo>
                    <a:pt x="952500" y="1076325"/>
                  </a:lnTo>
                  <a:lnTo>
                    <a:pt x="946150" y="1095375"/>
                  </a:lnTo>
                  <a:lnTo>
                    <a:pt x="939800" y="1098550"/>
                  </a:lnTo>
                  <a:lnTo>
                    <a:pt x="930275" y="1104900"/>
                  </a:lnTo>
                  <a:lnTo>
                    <a:pt x="923925" y="1117600"/>
                  </a:lnTo>
                  <a:lnTo>
                    <a:pt x="917575" y="1123950"/>
                  </a:lnTo>
                  <a:lnTo>
                    <a:pt x="920750" y="1133475"/>
                  </a:lnTo>
                  <a:lnTo>
                    <a:pt x="920750" y="1127125"/>
                  </a:lnTo>
                  <a:lnTo>
                    <a:pt x="933450" y="1120775"/>
                  </a:lnTo>
                  <a:lnTo>
                    <a:pt x="942975" y="1123950"/>
                  </a:lnTo>
                  <a:lnTo>
                    <a:pt x="946150" y="1133475"/>
                  </a:lnTo>
                  <a:lnTo>
                    <a:pt x="949325" y="1152525"/>
                  </a:lnTo>
                  <a:lnTo>
                    <a:pt x="958850" y="1143000"/>
                  </a:lnTo>
                  <a:lnTo>
                    <a:pt x="965200" y="1158875"/>
                  </a:lnTo>
                  <a:lnTo>
                    <a:pt x="962025" y="1177925"/>
                  </a:lnTo>
                  <a:lnTo>
                    <a:pt x="962025" y="1187450"/>
                  </a:lnTo>
                  <a:lnTo>
                    <a:pt x="962025" y="1200150"/>
                  </a:lnTo>
                  <a:lnTo>
                    <a:pt x="958850" y="1209675"/>
                  </a:lnTo>
                  <a:lnTo>
                    <a:pt x="946150" y="1219200"/>
                  </a:lnTo>
                  <a:lnTo>
                    <a:pt x="936625" y="1222375"/>
                  </a:lnTo>
                  <a:lnTo>
                    <a:pt x="927100" y="1231900"/>
                  </a:lnTo>
                  <a:lnTo>
                    <a:pt x="914400" y="1244600"/>
                  </a:lnTo>
                  <a:lnTo>
                    <a:pt x="908050" y="1238250"/>
                  </a:lnTo>
                  <a:lnTo>
                    <a:pt x="904875" y="1238250"/>
                  </a:lnTo>
                  <a:lnTo>
                    <a:pt x="901700" y="1235075"/>
                  </a:lnTo>
                  <a:lnTo>
                    <a:pt x="889000" y="1209675"/>
                  </a:lnTo>
                  <a:lnTo>
                    <a:pt x="882650" y="1203325"/>
                  </a:lnTo>
                  <a:lnTo>
                    <a:pt x="879475" y="1196975"/>
                  </a:lnTo>
                  <a:lnTo>
                    <a:pt x="866775" y="1181100"/>
                  </a:lnTo>
                  <a:lnTo>
                    <a:pt x="863600" y="1181100"/>
                  </a:lnTo>
                  <a:lnTo>
                    <a:pt x="857250" y="1174750"/>
                  </a:lnTo>
                  <a:lnTo>
                    <a:pt x="841375" y="1165225"/>
                  </a:lnTo>
                  <a:lnTo>
                    <a:pt x="828675" y="1149350"/>
                  </a:lnTo>
                  <a:lnTo>
                    <a:pt x="825500" y="1139825"/>
                  </a:lnTo>
                  <a:lnTo>
                    <a:pt x="831850" y="1123950"/>
                  </a:lnTo>
                  <a:lnTo>
                    <a:pt x="847725" y="1123950"/>
                  </a:lnTo>
                  <a:lnTo>
                    <a:pt x="847725" y="1127125"/>
                  </a:lnTo>
                  <a:lnTo>
                    <a:pt x="866775" y="1146175"/>
                  </a:lnTo>
                  <a:lnTo>
                    <a:pt x="876300" y="1143000"/>
                  </a:lnTo>
                  <a:lnTo>
                    <a:pt x="879475" y="1136650"/>
                  </a:lnTo>
                  <a:lnTo>
                    <a:pt x="885825" y="1127125"/>
                  </a:lnTo>
                  <a:lnTo>
                    <a:pt x="879475" y="1114425"/>
                  </a:lnTo>
                  <a:lnTo>
                    <a:pt x="876300" y="1117600"/>
                  </a:lnTo>
                  <a:lnTo>
                    <a:pt x="869950" y="1104900"/>
                  </a:lnTo>
                  <a:lnTo>
                    <a:pt x="860425" y="1098550"/>
                  </a:lnTo>
                  <a:lnTo>
                    <a:pt x="850900" y="1085850"/>
                  </a:lnTo>
                  <a:lnTo>
                    <a:pt x="860425" y="1069975"/>
                  </a:lnTo>
                  <a:lnTo>
                    <a:pt x="873125" y="1057275"/>
                  </a:lnTo>
                  <a:close/>
                  <a:moveTo>
                    <a:pt x="936625" y="1041400"/>
                  </a:moveTo>
                  <a:lnTo>
                    <a:pt x="917575" y="1060450"/>
                  </a:lnTo>
                  <a:lnTo>
                    <a:pt x="898525" y="1057275"/>
                  </a:lnTo>
                  <a:lnTo>
                    <a:pt x="908050" y="1047750"/>
                  </a:lnTo>
                  <a:lnTo>
                    <a:pt x="917575" y="1044575"/>
                  </a:lnTo>
                  <a:close/>
                  <a:moveTo>
                    <a:pt x="1031875" y="1035050"/>
                  </a:moveTo>
                  <a:lnTo>
                    <a:pt x="1057275" y="1050925"/>
                  </a:lnTo>
                  <a:lnTo>
                    <a:pt x="1076325" y="1047750"/>
                  </a:lnTo>
                  <a:lnTo>
                    <a:pt x="1098550" y="1054100"/>
                  </a:lnTo>
                  <a:lnTo>
                    <a:pt x="1085850" y="1082675"/>
                  </a:lnTo>
                  <a:lnTo>
                    <a:pt x="1066800" y="1120775"/>
                  </a:lnTo>
                  <a:lnTo>
                    <a:pt x="1044575" y="1143000"/>
                  </a:lnTo>
                  <a:lnTo>
                    <a:pt x="1031875" y="1139825"/>
                  </a:lnTo>
                  <a:lnTo>
                    <a:pt x="1028700" y="1139825"/>
                  </a:lnTo>
                  <a:lnTo>
                    <a:pt x="1022350" y="1139825"/>
                  </a:lnTo>
                  <a:lnTo>
                    <a:pt x="1012825" y="1139825"/>
                  </a:lnTo>
                  <a:lnTo>
                    <a:pt x="1009650" y="1139825"/>
                  </a:lnTo>
                  <a:lnTo>
                    <a:pt x="1009650" y="1146175"/>
                  </a:lnTo>
                  <a:lnTo>
                    <a:pt x="1016000" y="1146175"/>
                  </a:lnTo>
                  <a:lnTo>
                    <a:pt x="1022350" y="1152525"/>
                  </a:lnTo>
                  <a:lnTo>
                    <a:pt x="1028700" y="1162050"/>
                  </a:lnTo>
                  <a:lnTo>
                    <a:pt x="1022350" y="1174750"/>
                  </a:lnTo>
                  <a:lnTo>
                    <a:pt x="1012825" y="1190625"/>
                  </a:lnTo>
                  <a:lnTo>
                    <a:pt x="1006475" y="1193800"/>
                  </a:lnTo>
                  <a:lnTo>
                    <a:pt x="990600" y="1196975"/>
                  </a:lnTo>
                  <a:lnTo>
                    <a:pt x="990600" y="1174750"/>
                  </a:lnTo>
                  <a:lnTo>
                    <a:pt x="990600" y="1158875"/>
                  </a:lnTo>
                  <a:lnTo>
                    <a:pt x="984250" y="1146175"/>
                  </a:lnTo>
                  <a:lnTo>
                    <a:pt x="981075" y="1146175"/>
                  </a:lnTo>
                  <a:lnTo>
                    <a:pt x="977900" y="1104900"/>
                  </a:lnTo>
                  <a:lnTo>
                    <a:pt x="981075" y="1066800"/>
                  </a:lnTo>
                  <a:lnTo>
                    <a:pt x="987425" y="1057275"/>
                  </a:lnTo>
                  <a:lnTo>
                    <a:pt x="990600" y="1047750"/>
                  </a:lnTo>
                  <a:lnTo>
                    <a:pt x="1006475" y="1038225"/>
                  </a:lnTo>
                  <a:close/>
                  <a:moveTo>
                    <a:pt x="406400" y="1009650"/>
                  </a:moveTo>
                  <a:lnTo>
                    <a:pt x="431800" y="1009650"/>
                  </a:lnTo>
                  <a:lnTo>
                    <a:pt x="463550" y="1028700"/>
                  </a:lnTo>
                  <a:lnTo>
                    <a:pt x="488950" y="1025525"/>
                  </a:lnTo>
                  <a:lnTo>
                    <a:pt x="514350" y="1035050"/>
                  </a:lnTo>
                  <a:lnTo>
                    <a:pt x="542925" y="1066800"/>
                  </a:lnTo>
                  <a:lnTo>
                    <a:pt x="552450" y="1082675"/>
                  </a:lnTo>
                  <a:lnTo>
                    <a:pt x="546100" y="1095375"/>
                  </a:lnTo>
                  <a:lnTo>
                    <a:pt x="523875" y="1111250"/>
                  </a:lnTo>
                  <a:lnTo>
                    <a:pt x="488950" y="1136650"/>
                  </a:lnTo>
                  <a:lnTo>
                    <a:pt x="479425" y="1146175"/>
                  </a:lnTo>
                  <a:lnTo>
                    <a:pt x="473075" y="1149350"/>
                  </a:lnTo>
                  <a:lnTo>
                    <a:pt x="469900" y="1162050"/>
                  </a:lnTo>
                  <a:lnTo>
                    <a:pt x="469900" y="1171575"/>
                  </a:lnTo>
                  <a:lnTo>
                    <a:pt x="457200" y="1181100"/>
                  </a:lnTo>
                  <a:lnTo>
                    <a:pt x="447675" y="1196975"/>
                  </a:lnTo>
                  <a:lnTo>
                    <a:pt x="444500" y="1209675"/>
                  </a:lnTo>
                  <a:lnTo>
                    <a:pt x="444500" y="1225550"/>
                  </a:lnTo>
                  <a:lnTo>
                    <a:pt x="431800" y="1235075"/>
                  </a:lnTo>
                  <a:lnTo>
                    <a:pt x="419100" y="1238250"/>
                  </a:lnTo>
                  <a:lnTo>
                    <a:pt x="406400" y="1244600"/>
                  </a:lnTo>
                  <a:lnTo>
                    <a:pt x="384175" y="1254125"/>
                  </a:lnTo>
                  <a:lnTo>
                    <a:pt x="377825" y="1235075"/>
                  </a:lnTo>
                  <a:lnTo>
                    <a:pt x="368300" y="1219200"/>
                  </a:lnTo>
                  <a:lnTo>
                    <a:pt x="346075" y="1203325"/>
                  </a:lnTo>
                  <a:lnTo>
                    <a:pt x="330200" y="1196975"/>
                  </a:lnTo>
                  <a:lnTo>
                    <a:pt x="333375" y="1177925"/>
                  </a:lnTo>
                  <a:lnTo>
                    <a:pt x="336550" y="1165225"/>
                  </a:lnTo>
                  <a:lnTo>
                    <a:pt x="346075" y="1155700"/>
                  </a:lnTo>
                  <a:lnTo>
                    <a:pt x="349250" y="1133475"/>
                  </a:lnTo>
                  <a:lnTo>
                    <a:pt x="349250" y="1120775"/>
                  </a:lnTo>
                  <a:lnTo>
                    <a:pt x="349250" y="1117600"/>
                  </a:lnTo>
                  <a:lnTo>
                    <a:pt x="355600" y="1101725"/>
                  </a:lnTo>
                  <a:lnTo>
                    <a:pt x="368300" y="1079500"/>
                  </a:lnTo>
                  <a:lnTo>
                    <a:pt x="358775" y="1044575"/>
                  </a:lnTo>
                  <a:lnTo>
                    <a:pt x="352425" y="1025525"/>
                  </a:lnTo>
                  <a:lnTo>
                    <a:pt x="352425" y="1019175"/>
                  </a:lnTo>
                  <a:lnTo>
                    <a:pt x="381000" y="1012825"/>
                  </a:lnTo>
                  <a:close/>
                  <a:moveTo>
                    <a:pt x="793750" y="930275"/>
                  </a:moveTo>
                  <a:lnTo>
                    <a:pt x="809625" y="952500"/>
                  </a:lnTo>
                  <a:lnTo>
                    <a:pt x="793750" y="965200"/>
                  </a:lnTo>
                  <a:lnTo>
                    <a:pt x="781050" y="955675"/>
                  </a:lnTo>
                  <a:close/>
                  <a:moveTo>
                    <a:pt x="993775" y="914400"/>
                  </a:moveTo>
                  <a:lnTo>
                    <a:pt x="1019175" y="933450"/>
                  </a:lnTo>
                  <a:lnTo>
                    <a:pt x="1022350" y="939800"/>
                  </a:lnTo>
                  <a:lnTo>
                    <a:pt x="1028700" y="955675"/>
                  </a:lnTo>
                  <a:lnTo>
                    <a:pt x="1025525" y="993775"/>
                  </a:lnTo>
                  <a:lnTo>
                    <a:pt x="1006475" y="996950"/>
                  </a:lnTo>
                  <a:lnTo>
                    <a:pt x="993775" y="990600"/>
                  </a:lnTo>
                  <a:lnTo>
                    <a:pt x="981075" y="981075"/>
                  </a:lnTo>
                  <a:lnTo>
                    <a:pt x="965200" y="974725"/>
                  </a:lnTo>
                  <a:lnTo>
                    <a:pt x="958850" y="958850"/>
                  </a:lnTo>
                  <a:lnTo>
                    <a:pt x="971550" y="942975"/>
                  </a:lnTo>
                  <a:lnTo>
                    <a:pt x="974725" y="927100"/>
                  </a:lnTo>
                  <a:lnTo>
                    <a:pt x="981075" y="920750"/>
                  </a:lnTo>
                  <a:close/>
                  <a:moveTo>
                    <a:pt x="968375" y="914400"/>
                  </a:moveTo>
                  <a:lnTo>
                    <a:pt x="971550" y="920750"/>
                  </a:lnTo>
                  <a:lnTo>
                    <a:pt x="965200" y="930275"/>
                  </a:lnTo>
                  <a:lnTo>
                    <a:pt x="949325" y="923925"/>
                  </a:lnTo>
                  <a:close/>
                  <a:moveTo>
                    <a:pt x="1003300" y="882650"/>
                  </a:moveTo>
                  <a:lnTo>
                    <a:pt x="1009650" y="898525"/>
                  </a:lnTo>
                  <a:lnTo>
                    <a:pt x="1003300" y="901700"/>
                  </a:lnTo>
                  <a:lnTo>
                    <a:pt x="996950" y="895350"/>
                  </a:lnTo>
                  <a:lnTo>
                    <a:pt x="1000125" y="885825"/>
                  </a:lnTo>
                  <a:close/>
                  <a:moveTo>
                    <a:pt x="825500" y="882650"/>
                  </a:moveTo>
                  <a:lnTo>
                    <a:pt x="841375" y="882650"/>
                  </a:lnTo>
                  <a:lnTo>
                    <a:pt x="825500" y="898525"/>
                  </a:lnTo>
                  <a:lnTo>
                    <a:pt x="812800" y="898525"/>
                  </a:lnTo>
                  <a:close/>
                  <a:moveTo>
                    <a:pt x="1343025" y="869950"/>
                  </a:moveTo>
                  <a:lnTo>
                    <a:pt x="1330325" y="895350"/>
                  </a:lnTo>
                  <a:lnTo>
                    <a:pt x="1323975" y="892175"/>
                  </a:lnTo>
                  <a:close/>
                  <a:moveTo>
                    <a:pt x="504825" y="869950"/>
                  </a:moveTo>
                  <a:lnTo>
                    <a:pt x="508000" y="873125"/>
                  </a:lnTo>
                  <a:lnTo>
                    <a:pt x="498475" y="904875"/>
                  </a:lnTo>
                  <a:lnTo>
                    <a:pt x="488950" y="920750"/>
                  </a:lnTo>
                  <a:lnTo>
                    <a:pt x="479425" y="923925"/>
                  </a:lnTo>
                  <a:lnTo>
                    <a:pt x="466725" y="917575"/>
                  </a:lnTo>
                  <a:lnTo>
                    <a:pt x="473075" y="904875"/>
                  </a:lnTo>
                  <a:lnTo>
                    <a:pt x="485775" y="889000"/>
                  </a:lnTo>
                  <a:lnTo>
                    <a:pt x="498475" y="876300"/>
                  </a:lnTo>
                  <a:close/>
                  <a:moveTo>
                    <a:pt x="815975" y="866775"/>
                  </a:moveTo>
                  <a:lnTo>
                    <a:pt x="831850" y="866775"/>
                  </a:lnTo>
                  <a:lnTo>
                    <a:pt x="828675" y="873125"/>
                  </a:lnTo>
                  <a:lnTo>
                    <a:pt x="819150" y="876300"/>
                  </a:lnTo>
                  <a:lnTo>
                    <a:pt x="806450" y="882650"/>
                  </a:lnTo>
                  <a:lnTo>
                    <a:pt x="796925" y="876300"/>
                  </a:lnTo>
                  <a:close/>
                  <a:moveTo>
                    <a:pt x="806450" y="841375"/>
                  </a:moveTo>
                  <a:lnTo>
                    <a:pt x="825500" y="841375"/>
                  </a:lnTo>
                  <a:lnTo>
                    <a:pt x="825500" y="854075"/>
                  </a:lnTo>
                  <a:lnTo>
                    <a:pt x="822325" y="860425"/>
                  </a:lnTo>
                  <a:lnTo>
                    <a:pt x="809625" y="863600"/>
                  </a:lnTo>
                  <a:lnTo>
                    <a:pt x="796925" y="863600"/>
                  </a:lnTo>
                  <a:lnTo>
                    <a:pt x="784225" y="854075"/>
                  </a:lnTo>
                  <a:lnTo>
                    <a:pt x="793750" y="844550"/>
                  </a:lnTo>
                  <a:close/>
                  <a:moveTo>
                    <a:pt x="876300" y="825500"/>
                  </a:moveTo>
                  <a:lnTo>
                    <a:pt x="889000" y="825500"/>
                  </a:lnTo>
                  <a:lnTo>
                    <a:pt x="901700" y="835025"/>
                  </a:lnTo>
                  <a:lnTo>
                    <a:pt x="904875" y="844550"/>
                  </a:lnTo>
                  <a:lnTo>
                    <a:pt x="904875" y="825500"/>
                  </a:lnTo>
                  <a:lnTo>
                    <a:pt x="933450" y="831850"/>
                  </a:lnTo>
                  <a:lnTo>
                    <a:pt x="936625" y="838200"/>
                  </a:lnTo>
                  <a:lnTo>
                    <a:pt x="939800" y="866775"/>
                  </a:lnTo>
                  <a:lnTo>
                    <a:pt x="936625" y="882650"/>
                  </a:lnTo>
                  <a:lnTo>
                    <a:pt x="933450" y="901700"/>
                  </a:lnTo>
                  <a:lnTo>
                    <a:pt x="930275" y="955675"/>
                  </a:lnTo>
                  <a:lnTo>
                    <a:pt x="927100" y="965200"/>
                  </a:lnTo>
                  <a:lnTo>
                    <a:pt x="904875" y="968375"/>
                  </a:lnTo>
                  <a:lnTo>
                    <a:pt x="882650" y="968375"/>
                  </a:lnTo>
                  <a:lnTo>
                    <a:pt x="876300" y="955675"/>
                  </a:lnTo>
                  <a:lnTo>
                    <a:pt x="873125" y="942975"/>
                  </a:lnTo>
                  <a:lnTo>
                    <a:pt x="869950" y="936625"/>
                  </a:lnTo>
                  <a:lnTo>
                    <a:pt x="873125" y="930275"/>
                  </a:lnTo>
                  <a:lnTo>
                    <a:pt x="866775" y="914400"/>
                  </a:lnTo>
                  <a:lnTo>
                    <a:pt x="860425" y="917575"/>
                  </a:lnTo>
                  <a:lnTo>
                    <a:pt x="847725" y="917575"/>
                  </a:lnTo>
                  <a:lnTo>
                    <a:pt x="831850" y="923925"/>
                  </a:lnTo>
                  <a:lnTo>
                    <a:pt x="822325" y="914400"/>
                  </a:lnTo>
                  <a:lnTo>
                    <a:pt x="838200" y="892175"/>
                  </a:lnTo>
                  <a:lnTo>
                    <a:pt x="850900" y="895350"/>
                  </a:lnTo>
                  <a:lnTo>
                    <a:pt x="847725" y="866775"/>
                  </a:lnTo>
                  <a:lnTo>
                    <a:pt x="838200" y="860425"/>
                  </a:lnTo>
                  <a:lnTo>
                    <a:pt x="844550" y="841375"/>
                  </a:lnTo>
                  <a:lnTo>
                    <a:pt x="850900" y="841375"/>
                  </a:lnTo>
                  <a:lnTo>
                    <a:pt x="857250" y="841375"/>
                  </a:lnTo>
                  <a:lnTo>
                    <a:pt x="863600" y="835025"/>
                  </a:lnTo>
                  <a:lnTo>
                    <a:pt x="869950" y="831850"/>
                  </a:lnTo>
                  <a:close/>
                  <a:moveTo>
                    <a:pt x="879475" y="812800"/>
                  </a:moveTo>
                  <a:lnTo>
                    <a:pt x="879475" y="815975"/>
                  </a:lnTo>
                  <a:lnTo>
                    <a:pt x="847725" y="828675"/>
                  </a:lnTo>
                  <a:close/>
                  <a:moveTo>
                    <a:pt x="793750" y="806450"/>
                  </a:moveTo>
                  <a:lnTo>
                    <a:pt x="815975" y="822325"/>
                  </a:lnTo>
                  <a:lnTo>
                    <a:pt x="815975" y="831850"/>
                  </a:lnTo>
                  <a:lnTo>
                    <a:pt x="806450" y="838200"/>
                  </a:lnTo>
                  <a:lnTo>
                    <a:pt x="796925" y="838200"/>
                  </a:lnTo>
                  <a:lnTo>
                    <a:pt x="787400" y="835025"/>
                  </a:lnTo>
                  <a:lnTo>
                    <a:pt x="784225" y="809625"/>
                  </a:lnTo>
                  <a:close/>
                  <a:moveTo>
                    <a:pt x="688975" y="806450"/>
                  </a:moveTo>
                  <a:lnTo>
                    <a:pt x="698500" y="806450"/>
                  </a:lnTo>
                  <a:lnTo>
                    <a:pt x="701675" y="822325"/>
                  </a:lnTo>
                  <a:lnTo>
                    <a:pt x="701675" y="844550"/>
                  </a:lnTo>
                  <a:lnTo>
                    <a:pt x="711200" y="863600"/>
                  </a:lnTo>
                  <a:lnTo>
                    <a:pt x="720725" y="882650"/>
                  </a:lnTo>
                  <a:lnTo>
                    <a:pt x="736600" y="885825"/>
                  </a:lnTo>
                  <a:lnTo>
                    <a:pt x="749300" y="876300"/>
                  </a:lnTo>
                  <a:lnTo>
                    <a:pt x="768350" y="901700"/>
                  </a:lnTo>
                  <a:lnTo>
                    <a:pt x="768350" y="920750"/>
                  </a:lnTo>
                  <a:lnTo>
                    <a:pt x="762000" y="939800"/>
                  </a:lnTo>
                  <a:lnTo>
                    <a:pt x="755650" y="958850"/>
                  </a:lnTo>
                  <a:lnTo>
                    <a:pt x="749300" y="965200"/>
                  </a:lnTo>
                  <a:lnTo>
                    <a:pt x="727075" y="974725"/>
                  </a:lnTo>
                  <a:lnTo>
                    <a:pt x="720725" y="968375"/>
                  </a:lnTo>
                  <a:lnTo>
                    <a:pt x="704850" y="974725"/>
                  </a:lnTo>
                  <a:lnTo>
                    <a:pt x="698500" y="962025"/>
                  </a:lnTo>
                  <a:lnTo>
                    <a:pt x="688975" y="968375"/>
                  </a:lnTo>
                  <a:lnTo>
                    <a:pt x="679450" y="977900"/>
                  </a:lnTo>
                  <a:lnTo>
                    <a:pt x="666750" y="981075"/>
                  </a:lnTo>
                  <a:lnTo>
                    <a:pt x="660400" y="984250"/>
                  </a:lnTo>
                  <a:lnTo>
                    <a:pt x="654050" y="993775"/>
                  </a:lnTo>
                  <a:lnTo>
                    <a:pt x="638175" y="1003300"/>
                  </a:lnTo>
                  <a:lnTo>
                    <a:pt x="612775" y="1016000"/>
                  </a:lnTo>
                  <a:lnTo>
                    <a:pt x="587375" y="1009650"/>
                  </a:lnTo>
                  <a:lnTo>
                    <a:pt x="577850" y="996950"/>
                  </a:lnTo>
                  <a:lnTo>
                    <a:pt x="571500" y="977900"/>
                  </a:lnTo>
                  <a:lnTo>
                    <a:pt x="565150" y="968375"/>
                  </a:lnTo>
                  <a:lnTo>
                    <a:pt x="555625" y="968375"/>
                  </a:lnTo>
                  <a:lnTo>
                    <a:pt x="549275" y="965200"/>
                  </a:lnTo>
                  <a:lnTo>
                    <a:pt x="546100" y="968375"/>
                  </a:lnTo>
                  <a:lnTo>
                    <a:pt x="536575" y="958850"/>
                  </a:lnTo>
                  <a:lnTo>
                    <a:pt x="527050" y="955675"/>
                  </a:lnTo>
                  <a:lnTo>
                    <a:pt x="508000" y="949325"/>
                  </a:lnTo>
                  <a:lnTo>
                    <a:pt x="508000" y="936625"/>
                  </a:lnTo>
                  <a:lnTo>
                    <a:pt x="511175" y="930275"/>
                  </a:lnTo>
                  <a:lnTo>
                    <a:pt x="514350" y="917575"/>
                  </a:lnTo>
                  <a:lnTo>
                    <a:pt x="520700" y="901700"/>
                  </a:lnTo>
                  <a:lnTo>
                    <a:pt x="523875" y="892175"/>
                  </a:lnTo>
                  <a:lnTo>
                    <a:pt x="527050" y="869950"/>
                  </a:lnTo>
                  <a:lnTo>
                    <a:pt x="533400" y="863600"/>
                  </a:lnTo>
                  <a:lnTo>
                    <a:pt x="542925" y="850900"/>
                  </a:lnTo>
                  <a:lnTo>
                    <a:pt x="552450" y="838200"/>
                  </a:lnTo>
                  <a:lnTo>
                    <a:pt x="581025" y="838200"/>
                  </a:lnTo>
                  <a:lnTo>
                    <a:pt x="581025" y="844550"/>
                  </a:lnTo>
                  <a:lnTo>
                    <a:pt x="581025" y="854075"/>
                  </a:lnTo>
                  <a:lnTo>
                    <a:pt x="584200" y="863600"/>
                  </a:lnTo>
                  <a:lnTo>
                    <a:pt x="593725" y="860425"/>
                  </a:lnTo>
                  <a:lnTo>
                    <a:pt x="619125" y="869950"/>
                  </a:lnTo>
                  <a:lnTo>
                    <a:pt x="631825" y="889000"/>
                  </a:lnTo>
                  <a:lnTo>
                    <a:pt x="638175" y="908050"/>
                  </a:lnTo>
                  <a:lnTo>
                    <a:pt x="641350" y="917575"/>
                  </a:lnTo>
                  <a:lnTo>
                    <a:pt x="650875" y="920750"/>
                  </a:lnTo>
                  <a:lnTo>
                    <a:pt x="657225" y="917575"/>
                  </a:lnTo>
                  <a:lnTo>
                    <a:pt x="660400" y="920750"/>
                  </a:lnTo>
                  <a:lnTo>
                    <a:pt x="685800" y="923925"/>
                  </a:lnTo>
                  <a:lnTo>
                    <a:pt x="695325" y="923925"/>
                  </a:lnTo>
                  <a:lnTo>
                    <a:pt x="695325" y="908050"/>
                  </a:lnTo>
                  <a:lnTo>
                    <a:pt x="688975" y="901700"/>
                  </a:lnTo>
                  <a:lnTo>
                    <a:pt x="669925" y="889000"/>
                  </a:lnTo>
                  <a:lnTo>
                    <a:pt x="676275" y="885825"/>
                  </a:lnTo>
                  <a:lnTo>
                    <a:pt x="685800" y="873125"/>
                  </a:lnTo>
                  <a:lnTo>
                    <a:pt x="673100" y="860425"/>
                  </a:lnTo>
                  <a:lnTo>
                    <a:pt x="673100" y="835025"/>
                  </a:lnTo>
                  <a:lnTo>
                    <a:pt x="679450" y="819150"/>
                  </a:lnTo>
                  <a:close/>
                  <a:moveTo>
                    <a:pt x="1101725" y="803275"/>
                  </a:moveTo>
                  <a:lnTo>
                    <a:pt x="1108075" y="812800"/>
                  </a:lnTo>
                  <a:lnTo>
                    <a:pt x="1108075" y="835025"/>
                  </a:lnTo>
                  <a:lnTo>
                    <a:pt x="1098550" y="831850"/>
                  </a:lnTo>
                  <a:lnTo>
                    <a:pt x="1092200" y="819150"/>
                  </a:lnTo>
                  <a:lnTo>
                    <a:pt x="1089025" y="809625"/>
                  </a:lnTo>
                  <a:lnTo>
                    <a:pt x="1095375" y="806450"/>
                  </a:lnTo>
                  <a:close/>
                  <a:moveTo>
                    <a:pt x="581025" y="800100"/>
                  </a:moveTo>
                  <a:lnTo>
                    <a:pt x="596900" y="809625"/>
                  </a:lnTo>
                  <a:lnTo>
                    <a:pt x="581025" y="815975"/>
                  </a:lnTo>
                  <a:lnTo>
                    <a:pt x="565150" y="812800"/>
                  </a:lnTo>
                  <a:close/>
                  <a:moveTo>
                    <a:pt x="971550" y="784225"/>
                  </a:moveTo>
                  <a:lnTo>
                    <a:pt x="996950" y="790575"/>
                  </a:lnTo>
                  <a:lnTo>
                    <a:pt x="1016000" y="796925"/>
                  </a:lnTo>
                  <a:lnTo>
                    <a:pt x="1025525" y="800100"/>
                  </a:lnTo>
                  <a:lnTo>
                    <a:pt x="1031875" y="819150"/>
                  </a:lnTo>
                  <a:lnTo>
                    <a:pt x="1047750" y="822325"/>
                  </a:lnTo>
                  <a:lnTo>
                    <a:pt x="1063625" y="819150"/>
                  </a:lnTo>
                  <a:lnTo>
                    <a:pt x="1079500" y="822325"/>
                  </a:lnTo>
                  <a:lnTo>
                    <a:pt x="1092200" y="838200"/>
                  </a:lnTo>
                  <a:lnTo>
                    <a:pt x="1079500" y="838200"/>
                  </a:lnTo>
                  <a:lnTo>
                    <a:pt x="1095375" y="844550"/>
                  </a:lnTo>
                  <a:lnTo>
                    <a:pt x="1104900" y="850900"/>
                  </a:lnTo>
                  <a:lnTo>
                    <a:pt x="1117600" y="857250"/>
                  </a:lnTo>
                  <a:lnTo>
                    <a:pt x="1120775" y="898525"/>
                  </a:lnTo>
                  <a:lnTo>
                    <a:pt x="1111250" y="914400"/>
                  </a:lnTo>
                  <a:lnTo>
                    <a:pt x="1117600" y="923925"/>
                  </a:lnTo>
                  <a:lnTo>
                    <a:pt x="1123950" y="930275"/>
                  </a:lnTo>
                  <a:lnTo>
                    <a:pt x="1130300" y="927100"/>
                  </a:lnTo>
                  <a:lnTo>
                    <a:pt x="1133475" y="911225"/>
                  </a:lnTo>
                  <a:lnTo>
                    <a:pt x="1149350" y="917575"/>
                  </a:lnTo>
                  <a:lnTo>
                    <a:pt x="1162050" y="914400"/>
                  </a:lnTo>
                  <a:lnTo>
                    <a:pt x="1193800" y="917575"/>
                  </a:lnTo>
                  <a:lnTo>
                    <a:pt x="1203325" y="917575"/>
                  </a:lnTo>
                  <a:lnTo>
                    <a:pt x="1219200" y="914400"/>
                  </a:lnTo>
                  <a:lnTo>
                    <a:pt x="1231900" y="901700"/>
                  </a:lnTo>
                  <a:lnTo>
                    <a:pt x="1235075" y="901700"/>
                  </a:lnTo>
                  <a:lnTo>
                    <a:pt x="1244600" y="904875"/>
                  </a:lnTo>
                  <a:lnTo>
                    <a:pt x="1270000" y="895350"/>
                  </a:lnTo>
                  <a:lnTo>
                    <a:pt x="1323975" y="923925"/>
                  </a:lnTo>
                  <a:lnTo>
                    <a:pt x="1330325" y="949325"/>
                  </a:lnTo>
                  <a:lnTo>
                    <a:pt x="1330325" y="974725"/>
                  </a:lnTo>
                  <a:lnTo>
                    <a:pt x="1327150" y="977900"/>
                  </a:lnTo>
                  <a:lnTo>
                    <a:pt x="1320800" y="981075"/>
                  </a:lnTo>
                  <a:lnTo>
                    <a:pt x="1314450" y="996950"/>
                  </a:lnTo>
                  <a:lnTo>
                    <a:pt x="1304925" y="1003300"/>
                  </a:lnTo>
                  <a:lnTo>
                    <a:pt x="1273175" y="1009650"/>
                  </a:lnTo>
                  <a:lnTo>
                    <a:pt x="1260475" y="1006475"/>
                  </a:lnTo>
                  <a:lnTo>
                    <a:pt x="1254125" y="1003300"/>
                  </a:lnTo>
                  <a:lnTo>
                    <a:pt x="1250950" y="1000125"/>
                  </a:lnTo>
                  <a:lnTo>
                    <a:pt x="1222375" y="1006475"/>
                  </a:lnTo>
                  <a:lnTo>
                    <a:pt x="1193800" y="1009650"/>
                  </a:lnTo>
                  <a:lnTo>
                    <a:pt x="1136650" y="1009650"/>
                  </a:lnTo>
                  <a:lnTo>
                    <a:pt x="1133475" y="1003300"/>
                  </a:lnTo>
                  <a:lnTo>
                    <a:pt x="1136650" y="984250"/>
                  </a:lnTo>
                  <a:lnTo>
                    <a:pt x="1133475" y="974725"/>
                  </a:lnTo>
                  <a:lnTo>
                    <a:pt x="1123950" y="984250"/>
                  </a:lnTo>
                  <a:lnTo>
                    <a:pt x="1120775" y="996950"/>
                  </a:lnTo>
                  <a:lnTo>
                    <a:pt x="1117600" y="1003300"/>
                  </a:lnTo>
                  <a:lnTo>
                    <a:pt x="1092200" y="1000125"/>
                  </a:lnTo>
                  <a:lnTo>
                    <a:pt x="1079500" y="993775"/>
                  </a:lnTo>
                  <a:lnTo>
                    <a:pt x="1069975" y="996950"/>
                  </a:lnTo>
                  <a:lnTo>
                    <a:pt x="1063625" y="990600"/>
                  </a:lnTo>
                  <a:lnTo>
                    <a:pt x="1057275" y="984250"/>
                  </a:lnTo>
                  <a:lnTo>
                    <a:pt x="1047750" y="942975"/>
                  </a:lnTo>
                  <a:lnTo>
                    <a:pt x="1057275" y="917575"/>
                  </a:lnTo>
                  <a:lnTo>
                    <a:pt x="1057275" y="895350"/>
                  </a:lnTo>
                  <a:lnTo>
                    <a:pt x="1054100" y="889000"/>
                  </a:lnTo>
                  <a:lnTo>
                    <a:pt x="1047750" y="882650"/>
                  </a:lnTo>
                  <a:lnTo>
                    <a:pt x="1044575" y="873125"/>
                  </a:lnTo>
                  <a:lnTo>
                    <a:pt x="1044575" y="869950"/>
                  </a:lnTo>
                  <a:lnTo>
                    <a:pt x="1035050" y="850900"/>
                  </a:lnTo>
                  <a:lnTo>
                    <a:pt x="1028700" y="847725"/>
                  </a:lnTo>
                  <a:lnTo>
                    <a:pt x="1016000" y="857250"/>
                  </a:lnTo>
                  <a:lnTo>
                    <a:pt x="996950" y="854075"/>
                  </a:lnTo>
                  <a:lnTo>
                    <a:pt x="987425" y="860425"/>
                  </a:lnTo>
                  <a:lnTo>
                    <a:pt x="984250" y="854075"/>
                  </a:lnTo>
                  <a:lnTo>
                    <a:pt x="974725" y="841375"/>
                  </a:lnTo>
                  <a:lnTo>
                    <a:pt x="952500" y="812800"/>
                  </a:lnTo>
                  <a:lnTo>
                    <a:pt x="952500" y="796925"/>
                  </a:lnTo>
                  <a:lnTo>
                    <a:pt x="958850" y="787400"/>
                  </a:lnTo>
                  <a:close/>
                  <a:moveTo>
                    <a:pt x="536575" y="736600"/>
                  </a:moveTo>
                  <a:lnTo>
                    <a:pt x="546100" y="749300"/>
                  </a:lnTo>
                  <a:lnTo>
                    <a:pt x="552450" y="758825"/>
                  </a:lnTo>
                  <a:lnTo>
                    <a:pt x="536575" y="768350"/>
                  </a:lnTo>
                  <a:lnTo>
                    <a:pt x="542925" y="793750"/>
                  </a:lnTo>
                  <a:lnTo>
                    <a:pt x="542925" y="806450"/>
                  </a:lnTo>
                  <a:lnTo>
                    <a:pt x="542925" y="819150"/>
                  </a:lnTo>
                  <a:lnTo>
                    <a:pt x="523875" y="844550"/>
                  </a:lnTo>
                  <a:lnTo>
                    <a:pt x="511175" y="857250"/>
                  </a:lnTo>
                  <a:lnTo>
                    <a:pt x="495300" y="844550"/>
                  </a:lnTo>
                  <a:lnTo>
                    <a:pt x="498475" y="809625"/>
                  </a:lnTo>
                  <a:lnTo>
                    <a:pt x="485775" y="815975"/>
                  </a:lnTo>
                  <a:lnTo>
                    <a:pt x="488950" y="819150"/>
                  </a:lnTo>
                  <a:lnTo>
                    <a:pt x="482600" y="854075"/>
                  </a:lnTo>
                  <a:lnTo>
                    <a:pt x="473075" y="876300"/>
                  </a:lnTo>
                  <a:lnTo>
                    <a:pt x="447675" y="898525"/>
                  </a:lnTo>
                  <a:lnTo>
                    <a:pt x="441325" y="879475"/>
                  </a:lnTo>
                  <a:lnTo>
                    <a:pt x="434975" y="873125"/>
                  </a:lnTo>
                  <a:lnTo>
                    <a:pt x="431800" y="876300"/>
                  </a:lnTo>
                  <a:lnTo>
                    <a:pt x="415925" y="879475"/>
                  </a:lnTo>
                  <a:lnTo>
                    <a:pt x="409575" y="876300"/>
                  </a:lnTo>
                  <a:lnTo>
                    <a:pt x="409575" y="882650"/>
                  </a:lnTo>
                  <a:lnTo>
                    <a:pt x="406400" y="882650"/>
                  </a:lnTo>
                  <a:lnTo>
                    <a:pt x="387350" y="873125"/>
                  </a:lnTo>
                  <a:lnTo>
                    <a:pt x="400050" y="847725"/>
                  </a:lnTo>
                  <a:lnTo>
                    <a:pt x="412750" y="841375"/>
                  </a:lnTo>
                  <a:lnTo>
                    <a:pt x="422275" y="838200"/>
                  </a:lnTo>
                  <a:lnTo>
                    <a:pt x="428625" y="825500"/>
                  </a:lnTo>
                  <a:lnTo>
                    <a:pt x="434975" y="819150"/>
                  </a:lnTo>
                  <a:lnTo>
                    <a:pt x="447675" y="800100"/>
                  </a:lnTo>
                  <a:lnTo>
                    <a:pt x="460375" y="774700"/>
                  </a:lnTo>
                  <a:lnTo>
                    <a:pt x="473075" y="755650"/>
                  </a:lnTo>
                  <a:lnTo>
                    <a:pt x="485775" y="752475"/>
                  </a:lnTo>
                  <a:lnTo>
                    <a:pt x="498475" y="749300"/>
                  </a:lnTo>
                  <a:lnTo>
                    <a:pt x="501650" y="752475"/>
                  </a:lnTo>
                  <a:lnTo>
                    <a:pt x="517525" y="739775"/>
                  </a:lnTo>
                  <a:close/>
                  <a:moveTo>
                    <a:pt x="1082675" y="723900"/>
                  </a:moveTo>
                  <a:lnTo>
                    <a:pt x="1092200" y="727075"/>
                  </a:lnTo>
                  <a:lnTo>
                    <a:pt x="1108075" y="749300"/>
                  </a:lnTo>
                  <a:lnTo>
                    <a:pt x="1108075" y="758825"/>
                  </a:lnTo>
                  <a:lnTo>
                    <a:pt x="1104900" y="765175"/>
                  </a:lnTo>
                  <a:lnTo>
                    <a:pt x="1092200" y="768350"/>
                  </a:lnTo>
                  <a:lnTo>
                    <a:pt x="1076325" y="749300"/>
                  </a:lnTo>
                  <a:close/>
                  <a:moveTo>
                    <a:pt x="765175" y="714375"/>
                  </a:moveTo>
                  <a:lnTo>
                    <a:pt x="768350" y="717550"/>
                  </a:lnTo>
                  <a:lnTo>
                    <a:pt x="774700" y="730250"/>
                  </a:lnTo>
                  <a:lnTo>
                    <a:pt x="787400" y="755650"/>
                  </a:lnTo>
                  <a:lnTo>
                    <a:pt x="790575" y="771525"/>
                  </a:lnTo>
                  <a:lnTo>
                    <a:pt x="784225" y="777875"/>
                  </a:lnTo>
                  <a:lnTo>
                    <a:pt x="774700" y="771525"/>
                  </a:lnTo>
                  <a:lnTo>
                    <a:pt x="765175" y="758825"/>
                  </a:lnTo>
                  <a:lnTo>
                    <a:pt x="758825" y="730250"/>
                  </a:lnTo>
                  <a:close/>
                  <a:moveTo>
                    <a:pt x="1000125" y="711200"/>
                  </a:moveTo>
                  <a:lnTo>
                    <a:pt x="1016000" y="711200"/>
                  </a:lnTo>
                  <a:lnTo>
                    <a:pt x="1031875" y="717550"/>
                  </a:lnTo>
                  <a:lnTo>
                    <a:pt x="1025525" y="746125"/>
                  </a:lnTo>
                  <a:lnTo>
                    <a:pt x="1009650" y="742950"/>
                  </a:lnTo>
                  <a:lnTo>
                    <a:pt x="977900" y="742950"/>
                  </a:lnTo>
                  <a:lnTo>
                    <a:pt x="971550" y="739775"/>
                  </a:lnTo>
                  <a:lnTo>
                    <a:pt x="965200" y="727075"/>
                  </a:lnTo>
                  <a:lnTo>
                    <a:pt x="968375" y="717550"/>
                  </a:lnTo>
                  <a:close/>
                  <a:moveTo>
                    <a:pt x="841375" y="698500"/>
                  </a:moveTo>
                  <a:lnTo>
                    <a:pt x="860425" y="708025"/>
                  </a:lnTo>
                  <a:lnTo>
                    <a:pt x="863600" y="714375"/>
                  </a:lnTo>
                  <a:lnTo>
                    <a:pt x="863600" y="717550"/>
                  </a:lnTo>
                  <a:lnTo>
                    <a:pt x="854075" y="720725"/>
                  </a:lnTo>
                  <a:lnTo>
                    <a:pt x="835025" y="717550"/>
                  </a:lnTo>
                  <a:lnTo>
                    <a:pt x="831850" y="701675"/>
                  </a:lnTo>
                  <a:close/>
                  <a:moveTo>
                    <a:pt x="577850" y="682625"/>
                  </a:moveTo>
                  <a:lnTo>
                    <a:pt x="584200" y="695325"/>
                  </a:lnTo>
                  <a:lnTo>
                    <a:pt x="593725" y="708025"/>
                  </a:lnTo>
                  <a:lnTo>
                    <a:pt x="558800" y="692150"/>
                  </a:lnTo>
                  <a:lnTo>
                    <a:pt x="568325" y="685800"/>
                  </a:lnTo>
                  <a:close/>
                  <a:moveTo>
                    <a:pt x="641350" y="679450"/>
                  </a:moveTo>
                  <a:lnTo>
                    <a:pt x="673100" y="679450"/>
                  </a:lnTo>
                  <a:lnTo>
                    <a:pt x="679450" y="682625"/>
                  </a:lnTo>
                  <a:lnTo>
                    <a:pt x="676275" y="695325"/>
                  </a:lnTo>
                  <a:lnTo>
                    <a:pt x="666750" y="736600"/>
                  </a:lnTo>
                  <a:lnTo>
                    <a:pt x="641350" y="752475"/>
                  </a:lnTo>
                  <a:lnTo>
                    <a:pt x="615950" y="752475"/>
                  </a:lnTo>
                  <a:lnTo>
                    <a:pt x="606425" y="742950"/>
                  </a:lnTo>
                  <a:lnTo>
                    <a:pt x="600075" y="736600"/>
                  </a:lnTo>
                  <a:lnTo>
                    <a:pt x="596900" y="711200"/>
                  </a:lnTo>
                  <a:lnTo>
                    <a:pt x="600075" y="698500"/>
                  </a:lnTo>
                  <a:lnTo>
                    <a:pt x="609600" y="692150"/>
                  </a:lnTo>
                  <a:lnTo>
                    <a:pt x="615950" y="688975"/>
                  </a:lnTo>
                  <a:close/>
                  <a:moveTo>
                    <a:pt x="644525" y="612775"/>
                  </a:moveTo>
                  <a:lnTo>
                    <a:pt x="673100" y="619125"/>
                  </a:lnTo>
                  <a:lnTo>
                    <a:pt x="685800" y="638175"/>
                  </a:lnTo>
                  <a:lnTo>
                    <a:pt x="682625" y="657225"/>
                  </a:lnTo>
                  <a:lnTo>
                    <a:pt x="676275" y="657225"/>
                  </a:lnTo>
                  <a:lnTo>
                    <a:pt x="638175" y="660400"/>
                  </a:lnTo>
                  <a:lnTo>
                    <a:pt x="631825" y="660400"/>
                  </a:lnTo>
                  <a:lnTo>
                    <a:pt x="628650" y="654050"/>
                  </a:lnTo>
                  <a:lnTo>
                    <a:pt x="625475" y="650875"/>
                  </a:lnTo>
                  <a:lnTo>
                    <a:pt x="609600" y="657225"/>
                  </a:lnTo>
                  <a:lnTo>
                    <a:pt x="596900" y="654050"/>
                  </a:lnTo>
                  <a:lnTo>
                    <a:pt x="622300" y="628650"/>
                  </a:lnTo>
                  <a:lnTo>
                    <a:pt x="631825" y="628650"/>
                  </a:lnTo>
                  <a:lnTo>
                    <a:pt x="641350" y="622300"/>
                  </a:lnTo>
                  <a:close/>
                  <a:moveTo>
                    <a:pt x="930275" y="600075"/>
                  </a:moveTo>
                  <a:lnTo>
                    <a:pt x="946150" y="606425"/>
                  </a:lnTo>
                  <a:lnTo>
                    <a:pt x="971550" y="625475"/>
                  </a:lnTo>
                  <a:lnTo>
                    <a:pt x="984250" y="635000"/>
                  </a:lnTo>
                  <a:lnTo>
                    <a:pt x="996950" y="647700"/>
                  </a:lnTo>
                  <a:lnTo>
                    <a:pt x="996950" y="682625"/>
                  </a:lnTo>
                  <a:lnTo>
                    <a:pt x="990600" y="695325"/>
                  </a:lnTo>
                  <a:lnTo>
                    <a:pt x="968375" y="701675"/>
                  </a:lnTo>
                  <a:lnTo>
                    <a:pt x="955675" y="711200"/>
                  </a:lnTo>
                  <a:lnTo>
                    <a:pt x="939800" y="688975"/>
                  </a:lnTo>
                  <a:lnTo>
                    <a:pt x="942975" y="666750"/>
                  </a:lnTo>
                  <a:lnTo>
                    <a:pt x="930275" y="657225"/>
                  </a:lnTo>
                  <a:lnTo>
                    <a:pt x="920750" y="635000"/>
                  </a:lnTo>
                  <a:lnTo>
                    <a:pt x="923925" y="615950"/>
                  </a:lnTo>
                  <a:close/>
                  <a:moveTo>
                    <a:pt x="793750" y="539750"/>
                  </a:moveTo>
                  <a:lnTo>
                    <a:pt x="819150" y="546100"/>
                  </a:lnTo>
                  <a:lnTo>
                    <a:pt x="828675" y="568325"/>
                  </a:lnTo>
                  <a:lnTo>
                    <a:pt x="835025" y="568325"/>
                  </a:lnTo>
                  <a:lnTo>
                    <a:pt x="841375" y="571500"/>
                  </a:lnTo>
                  <a:lnTo>
                    <a:pt x="854075" y="577850"/>
                  </a:lnTo>
                  <a:lnTo>
                    <a:pt x="873125" y="593725"/>
                  </a:lnTo>
                  <a:lnTo>
                    <a:pt x="895350" y="625475"/>
                  </a:lnTo>
                  <a:lnTo>
                    <a:pt x="895350" y="647700"/>
                  </a:lnTo>
                  <a:lnTo>
                    <a:pt x="898525" y="666750"/>
                  </a:lnTo>
                  <a:lnTo>
                    <a:pt x="908050" y="679450"/>
                  </a:lnTo>
                  <a:lnTo>
                    <a:pt x="908050" y="701675"/>
                  </a:lnTo>
                  <a:lnTo>
                    <a:pt x="901700" y="704850"/>
                  </a:lnTo>
                  <a:lnTo>
                    <a:pt x="892175" y="708025"/>
                  </a:lnTo>
                  <a:lnTo>
                    <a:pt x="879475" y="708025"/>
                  </a:lnTo>
                  <a:lnTo>
                    <a:pt x="866775" y="688975"/>
                  </a:lnTo>
                  <a:lnTo>
                    <a:pt x="863600" y="673100"/>
                  </a:lnTo>
                  <a:lnTo>
                    <a:pt x="860425" y="666750"/>
                  </a:lnTo>
                  <a:lnTo>
                    <a:pt x="828675" y="650875"/>
                  </a:lnTo>
                  <a:lnTo>
                    <a:pt x="796925" y="663575"/>
                  </a:lnTo>
                  <a:lnTo>
                    <a:pt x="784225" y="654050"/>
                  </a:lnTo>
                  <a:lnTo>
                    <a:pt x="777875" y="644525"/>
                  </a:lnTo>
                  <a:lnTo>
                    <a:pt x="777875" y="631825"/>
                  </a:lnTo>
                  <a:lnTo>
                    <a:pt x="800100" y="635000"/>
                  </a:lnTo>
                  <a:lnTo>
                    <a:pt x="812800" y="622300"/>
                  </a:lnTo>
                  <a:lnTo>
                    <a:pt x="812800" y="606425"/>
                  </a:lnTo>
                  <a:lnTo>
                    <a:pt x="803275" y="590550"/>
                  </a:lnTo>
                  <a:lnTo>
                    <a:pt x="793750" y="581025"/>
                  </a:lnTo>
                  <a:lnTo>
                    <a:pt x="781050" y="574675"/>
                  </a:lnTo>
                  <a:lnTo>
                    <a:pt x="765175" y="558800"/>
                  </a:lnTo>
                  <a:lnTo>
                    <a:pt x="774700" y="542925"/>
                  </a:lnTo>
                  <a:close/>
                  <a:moveTo>
                    <a:pt x="892175" y="441325"/>
                  </a:moveTo>
                  <a:lnTo>
                    <a:pt x="901700" y="447675"/>
                  </a:lnTo>
                  <a:lnTo>
                    <a:pt x="911225" y="450850"/>
                  </a:lnTo>
                  <a:lnTo>
                    <a:pt x="914400" y="485775"/>
                  </a:lnTo>
                  <a:lnTo>
                    <a:pt x="908050" y="498475"/>
                  </a:lnTo>
                  <a:lnTo>
                    <a:pt x="885825" y="476250"/>
                  </a:lnTo>
                  <a:lnTo>
                    <a:pt x="882650" y="450850"/>
                  </a:lnTo>
                  <a:close/>
                  <a:moveTo>
                    <a:pt x="1025525" y="276225"/>
                  </a:moveTo>
                  <a:lnTo>
                    <a:pt x="1050925" y="295275"/>
                  </a:lnTo>
                  <a:lnTo>
                    <a:pt x="1063625" y="317500"/>
                  </a:lnTo>
                  <a:lnTo>
                    <a:pt x="1076325" y="358775"/>
                  </a:lnTo>
                  <a:lnTo>
                    <a:pt x="1092200" y="390525"/>
                  </a:lnTo>
                  <a:lnTo>
                    <a:pt x="1104900" y="393700"/>
                  </a:lnTo>
                  <a:lnTo>
                    <a:pt x="1117600" y="393700"/>
                  </a:lnTo>
                  <a:lnTo>
                    <a:pt x="1130300" y="415925"/>
                  </a:lnTo>
                  <a:lnTo>
                    <a:pt x="1133475" y="406400"/>
                  </a:lnTo>
                  <a:lnTo>
                    <a:pt x="1139825" y="406400"/>
                  </a:lnTo>
                  <a:lnTo>
                    <a:pt x="1149350" y="409575"/>
                  </a:lnTo>
                  <a:lnTo>
                    <a:pt x="1152525" y="415925"/>
                  </a:lnTo>
                  <a:lnTo>
                    <a:pt x="1165225" y="460375"/>
                  </a:lnTo>
                  <a:lnTo>
                    <a:pt x="1168400" y="479425"/>
                  </a:lnTo>
                  <a:lnTo>
                    <a:pt x="1174750" y="504825"/>
                  </a:lnTo>
                  <a:lnTo>
                    <a:pt x="1177925" y="504825"/>
                  </a:lnTo>
                  <a:lnTo>
                    <a:pt x="1187450" y="508000"/>
                  </a:lnTo>
                  <a:lnTo>
                    <a:pt x="1200150" y="517525"/>
                  </a:lnTo>
                  <a:lnTo>
                    <a:pt x="1209675" y="546100"/>
                  </a:lnTo>
                  <a:lnTo>
                    <a:pt x="1209675" y="552450"/>
                  </a:lnTo>
                  <a:lnTo>
                    <a:pt x="1200150" y="558800"/>
                  </a:lnTo>
                  <a:lnTo>
                    <a:pt x="1187450" y="568325"/>
                  </a:lnTo>
                  <a:lnTo>
                    <a:pt x="1174750" y="574675"/>
                  </a:lnTo>
                  <a:lnTo>
                    <a:pt x="1162050" y="600075"/>
                  </a:lnTo>
                  <a:lnTo>
                    <a:pt x="1152525" y="619125"/>
                  </a:lnTo>
                  <a:lnTo>
                    <a:pt x="1146175" y="625475"/>
                  </a:lnTo>
                  <a:lnTo>
                    <a:pt x="1143000" y="638175"/>
                  </a:lnTo>
                  <a:lnTo>
                    <a:pt x="1133475" y="650875"/>
                  </a:lnTo>
                  <a:lnTo>
                    <a:pt x="1120775" y="669925"/>
                  </a:lnTo>
                  <a:lnTo>
                    <a:pt x="1108075" y="657225"/>
                  </a:lnTo>
                  <a:lnTo>
                    <a:pt x="1082675" y="673100"/>
                  </a:lnTo>
                  <a:lnTo>
                    <a:pt x="1057275" y="666750"/>
                  </a:lnTo>
                  <a:lnTo>
                    <a:pt x="1044575" y="654050"/>
                  </a:lnTo>
                  <a:lnTo>
                    <a:pt x="1038225" y="641350"/>
                  </a:lnTo>
                  <a:lnTo>
                    <a:pt x="1031875" y="625475"/>
                  </a:lnTo>
                  <a:lnTo>
                    <a:pt x="1028700" y="622300"/>
                  </a:lnTo>
                  <a:lnTo>
                    <a:pt x="1022350" y="609600"/>
                  </a:lnTo>
                  <a:lnTo>
                    <a:pt x="1012825" y="593725"/>
                  </a:lnTo>
                  <a:lnTo>
                    <a:pt x="1009650" y="581025"/>
                  </a:lnTo>
                  <a:lnTo>
                    <a:pt x="1028700" y="561975"/>
                  </a:lnTo>
                  <a:lnTo>
                    <a:pt x="1041400" y="561975"/>
                  </a:lnTo>
                  <a:lnTo>
                    <a:pt x="1038225" y="536575"/>
                  </a:lnTo>
                  <a:lnTo>
                    <a:pt x="1031875" y="539750"/>
                  </a:lnTo>
                  <a:lnTo>
                    <a:pt x="1003300" y="549275"/>
                  </a:lnTo>
                  <a:lnTo>
                    <a:pt x="990600" y="549275"/>
                  </a:lnTo>
                  <a:lnTo>
                    <a:pt x="981075" y="539750"/>
                  </a:lnTo>
                  <a:lnTo>
                    <a:pt x="977900" y="533400"/>
                  </a:lnTo>
                  <a:lnTo>
                    <a:pt x="974725" y="514350"/>
                  </a:lnTo>
                  <a:lnTo>
                    <a:pt x="968375" y="492125"/>
                  </a:lnTo>
                  <a:lnTo>
                    <a:pt x="958850" y="460375"/>
                  </a:lnTo>
                  <a:lnTo>
                    <a:pt x="955675" y="428625"/>
                  </a:lnTo>
                  <a:lnTo>
                    <a:pt x="958850" y="409575"/>
                  </a:lnTo>
                  <a:lnTo>
                    <a:pt x="971550" y="381000"/>
                  </a:lnTo>
                  <a:lnTo>
                    <a:pt x="987425" y="339725"/>
                  </a:lnTo>
                  <a:lnTo>
                    <a:pt x="996950" y="317500"/>
                  </a:lnTo>
                  <a:lnTo>
                    <a:pt x="1009650" y="279400"/>
                  </a:lnTo>
                  <a:close/>
                  <a:moveTo>
                    <a:pt x="1517650" y="0"/>
                  </a:moveTo>
                  <a:lnTo>
                    <a:pt x="1527175" y="0"/>
                  </a:lnTo>
                  <a:lnTo>
                    <a:pt x="1536700" y="0"/>
                  </a:lnTo>
                  <a:lnTo>
                    <a:pt x="1539875" y="0"/>
                  </a:lnTo>
                  <a:lnTo>
                    <a:pt x="1539875" y="12700"/>
                  </a:lnTo>
                  <a:lnTo>
                    <a:pt x="1543050" y="19050"/>
                  </a:lnTo>
                  <a:lnTo>
                    <a:pt x="1552575" y="22225"/>
                  </a:lnTo>
                  <a:lnTo>
                    <a:pt x="1565275" y="19050"/>
                  </a:lnTo>
                  <a:lnTo>
                    <a:pt x="1577975" y="22225"/>
                  </a:lnTo>
                  <a:lnTo>
                    <a:pt x="1590675" y="25400"/>
                  </a:lnTo>
                  <a:lnTo>
                    <a:pt x="1603375" y="28575"/>
                  </a:lnTo>
                  <a:lnTo>
                    <a:pt x="1612900" y="31750"/>
                  </a:lnTo>
                  <a:lnTo>
                    <a:pt x="1616075" y="50800"/>
                  </a:lnTo>
                  <a:lnTo>
                    <a:pt x="1628775" y="44450"/>
                  </a:lnTo>
                  <a:lnTo>
                    <a:pt x="1641475" y="34925"/>
                  </a:lnTo>
                  <a:lnTo>
                    <a:pt x="1673225" y="50800"/>
                  </a:lnTo>
                  <a:lnTo>
                    <a:pt x="1682750" y="85725"/>
                  </a:lnTo>
                  <a:lnTo>
                    <a:pt x="1695450" y="101600"/>
                  </a:lnTo>
                  <a:lnTo>
                    <a:pt x="1720850" y="117475"/>
                  </a:lnTo>
                  <a:lnTo>
                    <a:pt x="1720850" y="152400"/>
                  </a:lnTo>
                  <a:lnTo>
                    <a:pt x="1708150" y="171450"/>
                  </a:lnTo>
                  <a:lnTo>
                    <a:pt x="1682750" y="200025"/>
                  </a:lnTo>
                  <a:lnTo>
                    <a:pt x="1666875" y="212725"/>
                  </a:lnTo>
                  <a:lnTo>
                    <a:pt x="1654175" y="257175"/>
                  </a:lnTo>
                  <a:lnTo>
                    <a:pt x="1628775" y="295275"/>
                  </a:lnTo>
                  <a:lnTo>
                    <a:pt x="1619250" y="301625"/>
                  </a:lnTo>
                  <a:lnTo>
                    <a:pt x="1606550" y="320675"/>
                  </a:lnTo>
                  <a:lnTo>
                    <a:pt x="1577975" y="355600"/>
                  </a:lnTo>
                  <a:lnTo>
                    <a:pt x="1555750" y="384175"/>
                  </a:lnTo>
                  <a:lnTo>
                    <a:pt x="1546225" y="412750"/>
                  </a:lnTo>
                  <a:lnTo>
                    <a:pt x="1536700" y="425450"/>
                  </a:lnTo>
                  <a:lnTo>
                    <a:pt x="1508125" y="488950"/>
                  </a:lnTo>
                  <a:lnTo>
                    <a:pt x="1482725" y="501650"/>
                  </a:lnTo>
                  <a:lnTo>
                    <a:pt x="1470025" y="498475"/>
                  </a:lnTo>
                  <a:lnTo>
                    <a:pt x="1466850" y="514350"/>
                  </a:lnTo>
                  <a:lnTo>
                    <a:pt x="1463675" y="520700"/>
                  </a:lnTo>
                  <a:lnTo>
                    <a:pt x="1447800" y="530225"/>
                  </a:lnTo>
                  <a:lnTo>
                    <a:pt x="1441450" y="530225"/>
                  </a:lnTo>
                  <a:lnTo>
                    <a:pt x="1438275" y="558800"/>
                  </a:lnTo>
                  <a:lnTo>
                    <a:pt x="1431925" y="612775"/>
                  </a:lnTo>
                  <a:lnTo>
                    <a:pt x="1425575" y="657225"/>
                  </a:lnTo>
                  <a:lnTo>
                    <a:pt x="1412875" y="679450"/>
                  </a:lnTo>
                  <a:lnTo>
                    <a:pt x="1403350" y="692150"/>
                  </a:lnTo>
                  <a:lnTo>
                    <a:pt x="1374775" y="695325"/>
                  </a:lnTo>
                  <a:lnTo>
                    <a:pt x="1362075" y="692150"/>
                  </a:lnTo>
                  <a:lnTo>
                    <a:pt x="1352550" y="698500"/>
                  </a:lnTo>
                  <a:lnTo>
                    <a:pt x="1358900" y="708025"/>
                  </a:lnTo>
                  <a:lnTo>
                    <a:pt x="1365250" y="730250"/>
                  </a:lnTo>
                  <a:lnTo>
                    <a:pt x="1352550" y="752475"/>
                  </a:lnTo>
                  <a:lnTo>
                    <a:pt x="1346200" y="758825"/>
                  </a:lnTo>
                  <a:lnTo>
                    <a:pt x="1336675" y="771525"/>
                  </a:lnTo>
                  <a:lnTo>
                    <a:pt x="1333500" y="790575"/>
                  </a:lnTo>
                  <a:lnTo>
                    <a:pt x="1339850" y="803275"/>
                  </a:lnTo>
                  <a:lnTo>
                    <a:pt x="1346200" y="800100"/>
                  </a:lnTo>
                  <a:lnTo>
                    <a:pt x="1365250" y="806450"/>
                  </a:lnTo>
                  <a:lnTo>
                    <a:pt x="1365250" y="822325"/>
                  </a:lnTo>
                  <a:lnTo>
                    <a:pt x="1355725" y="835025"/>
                  </a:lnTo>
                  <a:lnTo>
                    <a:pt x="1343025" y="844550"/>
                  </a:lnTo>
                  <a:lnTo>
                    <a:pt x="1330325" y="854075"/>
                  </a:lnTo>
                  <a:lnTo>
                    <a:pt x="1320800" y="857250"/>
                  </a:lnTo>
                  <a:lnTo>
                    <a:pt x="1304925" y="866775"/>
                  </a:lnTo>
                  <a:lnTo>
                    <a:pt x="1301750" y="866775"/>
                  </a:lnTo>
                  <a:lnTo>
                    <a:pt x="1295400" y="869950"/>
                  </a:lnTo>
                  <a:lnTo>
                    <a:pt x="1301750" y="844550"/>
                  </a:lnTo>
                  <a:lnTo>
                    <a:pt x="1292225" y="835025"/>
                  </a:lnTo>
                  <a:lnTo>
                    <a:pt x="1282700" y="838200"/>
                  </a:lnTo>
                  <a:lnTo>
                    <a:pt x="1276350" y="838200"/>
                  </a:lnTo>
                  <a:lnTo>
                    <a:pt x="1273175" y="841375"/>
                  </a:lnTo>
                  <a:lnTo>
                    <a:pt x="1260475" y="844550"/>
                  </a:lnTo>
                  <a:lnTo>
                    <a:pt x="1244600" y="844550"/>
                  </a:lnTo>
                  <a:lnTo>
                    <a:pt x="1235075" y="835025"/>
                  </a:lnTo>
                  <a:lnTo>
                    <a:pt x="1219200" y="841375"/>
                  </a:lnTo>
                  <a:lnTo>
                    <a:pt x="1222375" y="850900"/>
                  </a:lnTo>
                  <a:lnTo>
                    <a:pt x="1209675" y="854075"/>
                  </a:lnTo>
                  <a:lnTo>
                    <a:pt x="1196975" y="850900"/>
                  </a:lnTo>
                  <a:lnTo>
                    <a:pt x="1184275" y="847725"/>
                  </a:lnTo>
                  <a:lnTo>
                    <a:pt x="1171575" y="850900"/>
                  </a:lnTo>
                  <a:lnTo>
                    <a:pt x="1143000" y="847725"/>
                  </a:lnTo>
                  <a:lnTo>
                    <a:pt x="1114425" y="835025"/>
                  </a:lnTo>
                  <a:lnTo>
                    <a:pt x="1111250" y="819150"/>
                  </a:lnTo>
                  <a:lnTo>
                    <a:pt x="1114425" y="800100"/>
                  </a:lnTo>
                  <a:lnTo>
                    <a:pt x="1130300" y="781050"/>
                  </a:lnTo>
                  <a:lnTo>
                    <a:pt x="1155700" y="774700"/>
                  </a:lnTo>
                  <a:lnTo>
                    <a:pt x="1146175" y="739775"/>
                  </a:lnTo>
                  <a:lnTo>
                    <a:pt x="1143000" y="708025"/>
                  </a:lnTo>
                  <a:lnTo>
                    <a:pt x="1168400" y="701675"/>
                  </a:lnTo>
                  <a:lnTo>
                    <a:pt x="1181100" y="708025"/>
                  </a:lnTo>
                  <a:lnTo>
                    <a:pt x="1193800" y="742950"/>
                  </a:lnTo>
                  <a:lnTo>
                    <a:pt x="1203325" y="752475"/>
                  </a:lnTo>
                  <a:lnTo>
                    <a:pt x="1219200" y="755650"/>
                  </a:lnTo>
                  <a:lnTo>
                    <a:pt x="1219200" y="749300"/>
                  </a:lnTo>
                  <a:lnTo>
                    <a:pt x="1219200" y="742950"/>
                  </a:lnTo>
                  <a:lnTo>
                    <a:pt x="1209675" y="730250"/>
                  </a:lnTo>
                  <a:lnTo>
                    <a:pt x="1203325" y="723900"/>
                  </a:lnTo>
                  <a:lnTo>
                    <a:pt x="1200150" y="698500"/>
                  </a:lnTo>
                  <a:lnTo>
                    <a:pt x="1187450" y="682625"/>
                  </a:lnTo>
                  <a:lnTo>
                    <a:pt x="1177925" y="679450"/>
                  </a:lnTo>
                  <a:lnTo>
                    <a:pt x="1158875" y="676275"/>
                  </a:lnTo>
                  <a:lnTo>
                    <a:pt x="1155700" y="676275"/>
                  </a:lnTo>
                  <a:lnTo>
                    <a:pt x="1155700" y="644525"/>
                  </a:lnTo>
                  <a:lnTo>
                    <a:pt x="1165225" y="622300"/>
                  </a:lnTo>
                  <a:lnTo>
                    <a:pt x="1174750" y="603250"/>
                  </a:lnTo>
                  <a:lnTo>
                    <a:pt x="1203325" y="593725"/>
                  </a:lnTo>
                  <a:lnTo>
                    <a:pt x="1209675" y="590550"/>
                  </a:lnTo>
                  <a:lnTo>
                    <a:pt x="1216025" y="571500"/>
                  </a:lnTo>
                  <a:lnTo>
                    <a:pt x="1225550" y="558800"/>
                  </a:lnTo>
                  <a:lnTo>
                    <a:pt x="1203325" y="498475"/>
                  </a:lnTo>
                  <a:lnTo>
                    <a:pt x="1190625" y="498475"/>
                  </a:lnTo>
                  <a:lnTo>
                    <a:pt x="1181100" y="495300"/>
                  </a:lnTo>
                  <a:lnTo>
                    <a:pt x="1177925" y="488950"/>
                  </a:lnTo>
                  <a:lnTo>
                    <a:pt x="1174750" y="457200"/>
                  </a:lnTo>
                  <a:lnTo>
                    <a:pt x="1174750" y="434975"/>
                  </a:lnTo>
                  <a:lnTo>
                    <a:pt x="1177925" y="422275"/>
                  </a:lnTo>
                  <a:lnTo>
                    <a:pt x="1184275" y="419100"/>
                  </a:lnTo>
                  <a:lnTo>
                    <a:pt x="1216025" y="425450"/>
                  </a:lnTo>
                  <a:lnTo>
                    <a:pt x="1235075" y="431800"/>
                  </a:lnTo>
                  <a:lnTo>
                    <a:pt x="1247775" y="422275"/>
                  </a:lnTo>
                  <a:lnTo>
                    <a:pt x="1250950" y="384175"/>
                  </a:lnTo>
                  <a:lnTo>
                    <a:pt x="1238250" y="381000"/>
                  </a:lnTo>
                  <a:lnTo>
                    <a:pt x="1235075" y="387350"/>
                  </a:lnTo>
                  <a:lnTo>
                    <a:pt x="1231900" y="393700"/>
                  </a:lnTo>
                  <a:lnTo>
                    <a:pt x="1209675" y="396875"/>
                  </a:lnTo>
                  <a:lnTo>
                    <a:pt x="1190625" y="393700"/>
                  </a:lnTo>
                  <a:lnTo>
                    <a:pt x="1181100" y="390525"/>
                  </a:lnTo>
                  <a:lnTo>
                    <a:pt x="1171575" y="384175"/>
                  </a:lnTo>
                  <a:lnTo>
                    <a:pt x="1133475" y="365125"/>
                  </a:lnTo>
                  <a:lnTo>
                    <a:pt x="1111250" y="336550"/>
                  </a:lnTo>
                  <a:lnTo>
                    <a:pt x="1095375" y="307975"/>
                  </a:lnTo>
                  <a:lnTo>
                    <a:pt x="1095375" y="304800"/>
                  </a:lnTo>
                  <a:lnTo>
                    <a:pt x="1092200" y="279400"/>
                  </a:lnTo>
                  <a:lnTo>
                    <a:pt x="1085850" y="260350"/>
                  </a:lnTo>
                  <a:lnTo>
                    <a:pt x="1079500" y="244475"/>
                  </a:lnTo>
                  <a:lnTo>
                    <a:pt x="1069975" y="254000"/>
                  </a:lnTo>
                  <a:lnTo>
                    <a:pt x="1060450" y="241300"/>
                  </a:lnTo>
                  <a:lnTo>
                    <a:pt x="1069975" y="219075"/>
                  </a:lnTo>
                  <a:lnTo>
                    <a:pt x="1127125" y="180975"/>
                  </a:lnTo>
                  <a:lnTo>
                    <a:pt x="1168400" y="152400"/>
                  </a:lnTo>
                  <a:lnTo>
                    <a:pt x="1203325" y="139700"/>
                  </a:lnTo>
                  <a:lnTo>
                    <a:pt x="1196975" y="120650"/>
                  </a:lnTo>
                  <a:lnTo>
                    <a:pt x="1190625" y="117475"/>
                  </a:lnTo>
                  <a:lnTo>
                    <a:pt x="1203325" y="107950"/>
                  </a:lnTo>
                  <a:lnTo>
                    <a:pt x="1216025" y="107950"/>
                  </a:lnTo>
                  <a:lnTo>
                    <a:pt x="1241425" y="133350"/>
                  </a:lnTo>
                  <a:lnTo>
                    <a:pt x="1250950" y="139700"/>
                  </a:lnTo>
                  <a:lnTo>
                    <a:pt x="1257300" y="130175"/>
                  </a:lnTo>
                  <a:lnTo>
                    <a:pt x="1270000" y="79375"/>
                  </a:lnTo>
                  <a:lnTo>
                    <a:pt x="1282700" y="53975"/>
                  </a:lnTo>
                  <a:lnTo>
                    <a:pt x="1295400" y="47625"/>
                  </a:lnTo>
                  <a:lnTo>
                    <a:pt x="1320800" y="25400"/>
                  </a:lnTo>
                  <a:lnTo>
                    <a:pt x="1349375" y="28575"/>
                  </a:lnTo>
                  <a:lnTo>
                    <a:pt x="1365250" y="31750"/>
                  </a:lnTo>
                  <a:lnTo>
                    <a:pt x="1377950" y="19050"/>
                  </a:lnTo>
                  <a:lnTo>
                    <a:pt x="1390650" y="15875"/>
                  </a:lnTo>
                  <a:lnTo>
                    <a:pt x="1406525" y="15875"/>
                  </a:lnTo>
                  <a:lnTo>
                    <a:pt x="1431925" y="12700"/>
                  </a:lnTo>
                  <a:lnTo>
                    <a:pt x="1438275" y="15875"/>
                  </a:lnTo>
                  <a:lnTo>
                    <a:pt x="1444625" y="22225"/>
                  </a:lnTo>
                  <a:lnTo>
                    <a:pt x="1460500" y="1270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6" name="Freeform 5">
              <a:extLst>
                <a:ext uri="{FF2B5EF4-FFF2-40B4-BE49-F238E27FC236}">
                  <a16:creationId xmlns:a16="http://schemas.microsoft.com/office/drawing/2014/main" id="{9ACAB3E9-80DF-4BB4-B1FD-80C1B3CB9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5900" y="809624"/>
              <a:ext cx="1311275" cy="1898650"/>
            </a:xfrm>
            <a:custGeom>
              <a:avLst/>
              <a:gdLst/>
              <a:ahLst/>
              <a:cxnLst/>
              <a:rect l="l" t="t" r="r" b="b"/>
              <a:pathLst>
                <a:path w="1311275" h="1898650">
                  <a:moveTo>
                    <a:pt x="695325" y="1670050"/>
                  </a:moveTo>
                  <a:lnTo>
                    <a:pt x="698500" y="1670050"/>
                  </a:lnTo>
                  <a:lnTo>
                    <a:pt x="708025" y="1689100"/>
                  </a:lnTo>
                  <a:lnTo>
                    <a:pt x="701675" y="1692275"/>
                  </a:lnTo>
                  <a:close/>
                  <a:moveTo>
                    <a:pt x="762000" y="1622425"/>
                  </a:moveTo>
                  <a:lnTo>
                    <a:pt x="771525" y="1631950"/>
                  </a:lnTo>
                  <a:lnTo>
                    <a:pt x="762000" y="1641475"/>
                  </a:lnTo>
                  <a:lnTo>
                    <a:pt x="755650" y="1631950"/>
                  </a:lnTo>
                  <a:close/>
                  <a:moveTo>
                    <a:pt x="469900" y="1387475"/>
                  </a:moveTo>
                  <a:lnTo>
                    <a:pt x="479425" y="1393825"/>
                  </a:lnTo>
                  <a:lnTo>
                    <a:pt x="473075" y="1406525"/>
                  </a:lnTo>
                  <a:lnTo>
                    <a:pt x="469900" y="1412875"/>
                  </a:lnTo>
                  <a:lnTo>
                    <a:pt x="463550" y="1403350"/>
                  </a:lnTo>
                  <a:close/>
                  <a:moveTo>
                    <a:pt x="403225" y="1362075"/>
                  </a:moveTo>
                  <a:lnTo>
                    <a:pt x="425450" y="1368425"/>
                  </a:lnTo>
                  <a:lnTo>
                    <a:pt x="438150" y="1390650"/>
                  </a:lnTo>
                  <a:lnTo>
                    <a:pt x="450850" y="1393825"/>
                  </a:lnTo>
                  <a:lnTo>
                    <a:pt x="454025" y="1406525"/>
                  </a:lnTo>
                  <a:lnTo>
                    <a:pt x="450850" y="1412875"/>
                  </a:lnTo>
                  <a:lnTo>
                    <a:pt x="425450" y="1425575"/>
                  </a:lnTo>
                  <a:lnTo>
                    <a:pt x="403225" y="1419225"/>
                  </a:lnTo>
                  <a:lnTo>
                    <a:pt x="387350" y="1403350"/>
                  </a:lnTo>
                  <a:lnTo>
                    <a:pt x="390525" y="1397000"/>
                  </a:lnTo>
                  <a:lnTo>
                    <a:pt x="396875" y="1384300"/>
                  </a:lnTo>
                  <a:lnTo>
                    <a:pt x="390525" y="1368425"/>
                  </a:lnTo>
                  <a:close/>
                  <a:moveTo>
                    <a:pt x="1019175" y="1314450"/>
                  </a:moveTo>
                  <a:lnTo>
                    <a:pt x="1025525" y="1327150"/>
                  </a:lnTo>
                  <a:lnTo>
                    <a:pt x="1028700" y="1339850"/>
                  </a:lnTo>
                  <a:lnTo>
                    <a:pt x="1016000" y="1346200"/>
                  </a:lnTo>
                  <a:lnTo>
                    <a:pt x="1009650" y="1346200"/>
                  </a:lnTo>
                  <a:lnTo>
                    <a:pt x="1003300" y="1349375"/>
                  </a:lnTo>
                  <a:lnTo>
                    <a:pt x="990600" y="1349375"/>
                  </a:lnTo>
                  <a:lnTo>
                    <a:pt x="974725" y="1355725"/>
                  </a:lnTo>
                  <a:lnTo>
                    <a:pt x="968375" y="1346200"/>
                  </a:lnTo>
                  <a:lnTo>
                    <a:pt x="981075" y="1333500"/>
                  </a:lnTo>
                  <a:lnTo>
                    <a:pt x="993775" y="1323975"/>
                  </a:lnTo>
                  <a:close/>
                  <a:moveTo>
                    <a:pt x="419100" y="1298575"/>
                  </a:moveTo>
                  <a:lnTo>
                    <a:pt x="422275" y="1314450"/>
                  </a:lnTo>
                  <a:lnTo>
                    <a:pt x="412750" y="1314450"/>
                  </a:lnTo>
                  <a:lnTo>
                    <a:pt x="409575" y="1304925"/>
                  </a:lnTo>
                  <a:close/>
                  <a:moveTo>
                    <a:pt x="428625" y="1295400"/>
                  </a:moveTo>
                  <a:lnTo>
                    <a:pt x="438150" y="1298575"/>
                  </a:lnTo>
                  <a:lnTo>
                    <a:pt x="431800" y="1311275"/>
                  </a:lnTo>
                  <a:lnTo>
                    <a:pt x="425450" y="1304925"/>
                  </a:lnTo>
                  <a:close/>
                  <a:moveTo>
                    <a:pt x="1047750" y="1187450"/>
                  </a:moveTo>
                  <a:lnTo>
                    <a:pt x="1050925" y="1187450"/>
                  </a:lnTo>
                  <a:lnTo>
                    <a:pt x="1063625" y="1190625"/>
                  </a:lnTo>
                  <a:lnTo>
                    <a:pt x="1076325" y="1190625"/>
                  </a:lnTo>
                  <a:lnTo>
                    <a:pt x="1089025" y="1206500"/>
                  </a:lnTo>
                  <a:lnTo>
                    <a:pt x="1101725" y="1216025"/>
                  </a:lnTo>
                  <a:lnTo>
                    <a:pt x="1098550" y="1222375"/>
                  </a:lnTo>
                  <a:lnTo>
                    <a:pt x="1095375" y="1238250"/>
                  </a:lnTo>
                  <a:lnTo>
                    <a:pt x="1085850" y="1238250"/>
                  </a:lnTo>
                  <a:lnTo>
                    <a:pt x="1073150" y="1228725"/>
                  </a:lnTo>
                  <a:lnTo>
                    <a:pt x="1057275" y="1216025"/>
                  </a:lnTo>
                  <a:lnTo>
                    <a:pt x="1047750" y="1203325"/>
                  </a:lnTo>
                  <a:close/>
                  <a:moveTo>
                    <a:pt x="1031875" y="1146175"/>
                  </a:moveTo>
                  <a:lnTo>
                    <a:pt x="1047750" y="1146175"/>
                  </a:lnTo>
                  <a:lnTo>
                    <a:pt x="1069975" y="1158875"/>
                  </a:lnTo>
                  <a:lnTo>
                    <a:pt x="1076325" y="1162050"/>
                  </a:lnTo>
                  <a:lnTo>
                    <a:pt x="1076325" y="1171575"/>
                  </a:lnTo>
                  <a:lnTo>
                    <a:pt x="1063625" y="1174750"/>
                  </a:lnTo>
                  <a:lnTo>
                    <a:pt x="1041400" y="1171575"/>
                  </a:lnTo>
                  <a:lnTo>
                    <a:pt x="1019175" y="1165225"/>
                  </a:lnTo>
                  <a:lnTo>
                    <a:pt x="1025525" y="1152525"/>
                  </a:lnTo>
                  <a:close/>
                  <a:moveTo>
                    <a:pt x="1114425" y="1069975"/>
                  </a:moveTo>
                  <a:lnTo>
                    <a:pt x="1120775" y="1069975"/>
                  </a:lnTo>
                  <a:lnTo>
                    <a:pt x="1133475" y="1076325"/>
                  </a:lnTo>
                  <a:lnTo>
                    <a:pt x="1136650" y="1089025"/>
                  </a:lnTo>
                  <a:lnTo>
                    <a:pt x="1133475" y="1095375"/>
                  </a:lnTo>
                  <a:lnTo>
                    <a:pt x="1120775" y="1098550"/>
                  </a:lnTo>
                  <a:lnTo>
                    <a:pt x="1101725" y="1089025"/>
                  </a:lnTo>
                  <a:lnTo>
                    <a:pt x="1104900" y="1076325"/>
                  </a:lnTo>
                  <a:close/>
                  <a:moveTo>
                    <a:pt x="1146175" y="1019175"/>
                  </a:moveTo>
                  <a:lnTo>
                    <a:pt x="1152525" y="1031875"/>
                  </a:lnTo>
                  <a:lnTo>
                    <a:pt x="1149350" y="1038225"/>
                  </a:lnTo>
                  <a:lnTo>
                    <a:pt x="1139825" y="1044575"/>
                  </a:lnTo>
                  <a:lnTo>
                    <a:pt x="1133475" y="1038225"/>
                  </a:lnTo>
                  <a:lnTo>
                    <a:pt x="1133475" y="1022350"/>
                  </a:lnTo>
                  <a:close/>
                  <a:moveTo>
                    <a:pt x="1187450" y="987425"/>
                  </a:moveTo>
                  <a:lnTo>
                    <a:pt x="1184275" y="1003300"/>
                  </a:lnTo>
                  <a:lnTo>
                    <a:pt x="1190625" y="1012825"/>
                  </a:lnTo>
                  <a:lnTo>
                    <a:pt x="1184275" y="1019175"/>
                  </a:lnTo>
                  <a:lnTo>
                    <a:pt x="1174750" y="1022350"/>
                  </a:lnTo>
                  <a:lnTo>
                    <a:pt x="1165225" y="1016000"/>
                  </a:lnTo>
                  <a:lnTo>
                    <a:pt x="1174750" y="990600"/>
                  </a:lnTo>
                  <a:close/>
                  <a:moveTo>
                    <a:pt x="1165225" y="866775"/>
                  </a:moveTo>
                  <a:lnTo>
                    <a:pt x="1171575" y="876300"/>
                  </a:lnTo>
                  <a:lnTo>
                    <a:pt x="1171575" y="908050"/>
                  </a:lnTo>
                  <a:lnTo>
                    <a:pt x="1174750" y="936625"/>
                  </a:lnTo>
                  <a:lnTo>
                    <a:pt x="1171575" y="942975"/>
                  </a:lnTo>
                  <a:lnTo>
                    <a:pt x="1165225" y="911225"/>
                  </a:lnTo>
                  <a:lnTo>
                    <a:pt x="1162050" y="889000"/>
                  </a:lnTo>
                  <a:close/>
                  <a:moveTo>
                    <a:pt x="34925" y="796925"/>
                  </a:moveTo>
                  <a:lnTo>
                    <a:pt x="47625" y="796925"/>
                  </a:lnTo>
                  <a:lnTo>
                    <a:pt x="63500" y="803275"/>
                  </a:lnTo>
                  <a:lnTo>
                    <a:pt x="47625" y="806450"/>
                  </a:lnTo>
                  <a:close/>
                  <a:moveTo>
                    <a:pt x="15875" y="796925"/>
                  </a:moveTo>
                  <a:lnTo>
                    <a:pt x="28575" y="803275"/>
                  </a:lnTo>
                  <a:lnTo>
                    <a:pt x="34925" y="806450"/>
                  </a:lnTo>
                  <a:lnTo>
                    <a:pt x="28575" y="809625"/>
                  </a:lnTo>
                  <a:lnTo>
                    <a:pt x="19050" y="812800"/>
                  </a:lnTo>
                  <a:lnTo>
                    <a:pt x="6350" y="803275"/>
                  </a:lnTo>
                  <a:close/>
                  <a:moveTo>
                    <a:pt x="1193800" y="752475"/>
                  </a:moveTo>
                  <a:lnTo>
                    <a:pt x="1193800" y="762000"/>
                  </a:lnTo>
                  <a:lnTo>
                    <a:pt x="1190625" y="774700"/>
                  </a:lnTo>
                  <a:lnTo>
                    <a:pt x="1181100" y="774700"/>
                  </a:lnTo>
                  <a:close/>
                  <a:moveTo>
                    <a:pt x="1158875" y="641350"/>
                  </a:moveTo>
                  <a:lnTo>
                    <a:pt x="1158875" y="660400"/>
                  </a:lnTo>
                  <a:lnTo>
                    <a:pt x="1155700" y="663575"/>
                  </a:lnTo>
                  <a:lnTo>
                    <a:pt x="1149350" y="660400"/>
                  </a:lnTo>
                  <a:lnTo>
                    <a:pt x="1149350" y="654050"/>
                  </a:lnTo>
                  <a:lnTo>
                    <a:pt x="1155700" y="644525"/>
                  </a:lnTo>
                  <a:close/>
                  <a:moveTo>
                    <a:pt x="1190625" y="609600"/>
                  </a:moveTo>
                  <a:lnTo>
                    <a:pt x="1193800" y="625475"/>
                  </a:lnTo>
                  <a:lnTo>
                    <a:pt x="1184275" y="635000"/>
                  </a:lnTo>
                  <a:lnTo>
                    <a:pt x="1184275" y="619125"/>
                  </a:lnTo>
                  <a:close/>
                  <a:moveTo>
                    <a:pt x="1158875" y="273051"/>
                  </a:moveTo>
                  <a:lnTo>
                    <a:pt x="1177925" y="288926"/>
                  </a:lnTo>
                  <a:lnTo>
                    <a:pt x="1171575" y="292101"/>
                  </a:lnTo>
                  <a:close/>
                  <a:moveTo>
                    <a:pt x="1130300" y="209550"/>
                  </a:moveTo>
                  <a:lnTo>
                    <a:pt x="1139825" y="225425"/>
                  </a:lnTo>
                  <a:lnTo>
                    <a:pt x="1149350" y="257175"/>
                  </a:lnTo>
                  <a:lnTo>
                    <a:pt x="1136650" y="254000"/>
                  </a:lnTo>
                  <a:lnTo>
                    <a:pt x="1127125" y="228600"/>
                  </a:lnTo>
                  <a:close/>
                  <a:moveTo>
                    <a:pt x="434975" y="187325"/>
                  </a:moveTo>
                  <a:lnTo>
                    <a:pt x="447675" y="203200"/>
                  </a:lnTo>
                  <a:lnTo>
                    <a:pt x="469900" y="238125"/>
                  </a:lnTo>
                  <a:lnTo>
                    <a:pt x="466725" y="241300"/>
                  </a:lnTo>
                  <a:lnTo>
                    <a:pt x="444500" y="234950"/>
                  </a:lnTo>
                  <a:lnTo>
                    <a:pt x="428625" y="222250"/>
                  </a:lnTo>
                  <a:lnTo>
                    <a:pt x="422275" y="196850"/>
                  </a:lnTo>
                  <a:close/>
                  <a:moveTo>
                    <a:pt x="520700" y="152400"/>
                  </a:moveTo>
                  <a:lnTo>
                    <a:pt x="530225" y="152400"/>
                  </a:lnTo>
                  <a:lnTo>
                    <a:pt x="536575" y="165100"/>
                  </a:lnTo>
                  <a:lnTo>
                    <a:pt x="530225" y="174625"/>
                  </a:lnTo>
                  <a:close/>
                  <a:moveTo>
                    <a:pt x="558800" y="130175"/>
                  </a:moveTo>
                  <a:lnTo>
                    <a:pt x="584200" y="142875"/>
                  </a:lnTo>
                  <a:lnTo>
                    <a:pt x="609600" y="177800"/>
                  </a:lnTo>
                  <a:lnTo>
                    <a:pt x="606425" y="193675"/>
                  </a:lnTo>
                  <a:lnTo>
                    <a:pt x="603250" y="225425"/>
                  </a:lnTo>
                  <a:lnTo>
                    <a:pt x="593725" y="228600"/>
                  </a:lnTo>
                  <a:lnTo>
                    <a:pt x="565150" y="190500"/>
                  </a:lnTo>
                  <a:lnTo>
                    <a:pt x="552450" y="171450"/>
                  </a:lnTo>
                  <a:lnTo>
                    <a:pt x="536575" y="139700"/>
                  </a:lnTo>
                  <a:lnTo>
                    <a:pt x="549275" y="133350"/>
                  </a:lnTo>
                  <a:close/>
                  <a:moveTo>
                    <a:pt x="530225" y="92075"/>
                  </a:moveTo>
                  <a:lnTo>
                    <a:pt x="536575" y="92075"/>
                  </a:lnTo>
                  <a:lnTo>
                    <a:pt x="542925" y="98425"/>
                  </a:lnTo>
                  <a:lnTo>
                    <a:pt x="549275" y="107950"/>
                  </a:lnTo>
                  <a:lnTo>
                    <a:pt x="542925" y="111125"/>
                  </a:lnTo>
                  <a:lnTo>
                    <a:pt x="530225" y="111125"/>
                  </a:lnTo>
                  <a:close/>
                  <a:moveTo>
                    <a:pt x="679450" y="34925"/>
                  </a:moveTo>
                  <a:lnTo>
                    <a:pt x="695325" y="38100"/>
                  </a:lnTo>
                  <a:lnTo>
                    <a:pt x="708025" y="53975"/>
                  </a:lnTo>
                  <a:lnTo>
                    <a:pt x="714375" y="66675"/>
                  </a:lnTo>
                  <a:lnTo>
                    <a:pt x="704850" y="66675"/>
                  </a:lnTo>
                  <a:close/>
                  <a:moveTo>
                    <a:pt x="698500" y="19050"/>
                  </a:moveTo>
                  <a:lnTo>
                    <a:pt x="711200" y="19050"/>
                  </a:lnTo>
                  <a:lnTo>
                    <a:pt x="727075" y="31750"/>
                  </a:lnTo>
                  <a:lnTo>
                    <a:pt x="717550" y="44450"/>
                  </a:lnTo>
                  <a:close/>
                  <a:moveTo>
                    <a:pt x="720725" y="9525"/>
                  </a:moveTo>
                  <a:lnTo>
                    <a:pt x="733425" y="19050"/>
                  </a:lnTo>
                  <a:lnTo>
                    <a:pt x="717550" y="12700"/>
                  </a:lnTo>
                  <a:close/>
                  <a:moveTo>
                    <a:pt x="736600" y="0"/>
                  </a:moveTo>
                  <a:lnTo>
                    <a:pt x="1000125" y="0"/>
                  </a:lnTo>
                  <a:lnTo>
                    <a:pt x="1025525" y="34925"/>
                  </a:lnTo>
                  <a:lnTo>
                    <a:pt x="1028700" y="44450"/>
                  </a:lnTo>
                  <a:lnTo>
                    <a:pt x="1035050" y="47625"/>
                  </a:lnTo>
                  <a:lnTo>
                    <a:pt x="1044575" y="88900"/>
                  </a:lnTo>
                  <a:lnTo>
                    <a:pt x="1073150" y="101600"/>
                  </a:lnTo>
                  <a:lnTo>
                    <a:pt x="1079500" y="114300"/>
                  </a:lnTo>
                  <a:lnTo>
                    <a:pt x="1089025" y="111125"/>
                  </a:lnTo>
                  <a:lnTo>
                    <a:pt x="1114425" y="139700"/>
                  </a:lnTo>
                  <a:lnTo>
                    <a:pt x="1111250" y="149225"/>
                  </a:lnTo>
                  <a:lnTo>
                    <a:pt x="1108075" y="174625"/>
                  </a:lnTo>
                  <a:lnTo>
                    <a:pt x="1098550" y="238125"/>
                  </a:lnTo>
                  <a:lnTo>
                    <a:pt x="1098550" y="263525"/>
                  </a:lnTo>
                  <a:lnTo>
                    <a:pt x="1101725" y="292100"/>
                  </a:lnTo>
                  <a:lnTo>
                    <a:pt x="1111250" y="323850"/>
                  </a:lnTo>
                  <a:lnTo>
                    <a:pt x="1114425" y="320675"/>
                  </a:lnTo>
                  <a:lnTo>
                    <a:pt x="1130300" y="298450"/>
                  </a:lnTo>
                  <a:lnTo>
                    <a:pt x="1136650" y="320675"/>
                  </a:lnTo>
                  <a:lnTo>
                    <a:pt x="1139825" y="323850"/>
                  </a:lnTo>
                  <a:lnTo>
                    <a:pt x="1152525" y="304800"/>
                  </a:lnTo>
                  <a:lnTo>
                    <a:pt x="1165225" y="307975"/>
                  </a:lnTo>
                  <a:lnTo>
                    <a:pt x="1177925" y="320675"/>
                  </a:lnTo>
                  <a:lnTo>
                    <a:pt x="1181100" y="320675"/>
                  </a:lnTo>
                  <a:lnTo>
                    <a:pt x="1187450" y="288925"/>
                  </a:lnTo>
                  <a:lnTo>
                    <a:pt x="1212850" y="254000"/>
                  </a:lnTo>
                  <a:lnTo>
                    <a:pt x="1241425" y="250825"/>
                  </a:lnTo>
                  <a:lnTo>
                    <a:pt x="1295400" y="276225"/>
                  </a:lnTo>
                  <a:lnTo>
                    <a:pt x="1311275" y="298450"/>
                  </a:lnTo>
                  <a:lnTo>
                    <a:pt x="1289050" y="330200"/>
                  </a:lnTo>
                  <a:lnTo>
                    <a:pt x="1263650" y="368300"/>
                  </a:lnTo>
                  <a:lnTo>
                    <a:pt x="1254125" y="374650"/>
                  </a:lnTo>
                  <a:lnTo>
                    <a:pt x="1235075" y="409575"/>
                  </a:lnTo>
                  <a:lnTo>
                    <a:pt x="1225550" y="431800"/>
                  </a:lnTo>
                  <a:lnTo>
                    <a:pt x="1212850" y="476250"/>
                  </a:lnTo>
                  <a:lnTo>
                    <a:pt x="1200150" y="485775"/>
                  </a:lnTo>
                  <a:lnTo>
                    <a:pt x="1196975" y="504825"/>
                  </a:lnTo>
                  <a:lnTo>
                    <a:pt x="1187450" y="533400"/>
                  </a:lnTo>
                  <a:lnTo>
                    <a:pt x="1165225" y="542925"/>
                  </a:lnTo>
                  <a:lnTo>
                    <a:pt x="1152525" y="549275"/>
                  </a:lnTo>
                  <a:lnTo>
                    <a:pt x="1149350" y="571500"/>
                  </a:lnTo>
                  <a:lnTo>
                    <a:pt x="1146175" y="603250"/>
                  </a:lnTo>
                  <a:lnTo>
                    <a:pt x="1143000" y="638175"/>
                  </a:lnTo>
                  <a:lnTo>
                    <a:pt x="1136650" y="641350"/>
                  </a:lnTo>
                  <a:lnTo>
                    <a:pt x="1127125" y="654050"/>
                  </a:lnTo>
                  <a:lnTo>
                    <a:pt x="1114425" y="717550"/>
                  </a:lnTo>
                  <a:lnTo>
                    <a:pt x="1098550" y="774700"/>
                  </a:lnTo>
                  <a:lnTo>
                    <a:pt x="1108075" y="774700"/>
                  </a:lnTo>
                  <a:lnTo>
                    <a:pt x="1123950" y="784225"/>
                  </a:lnTo>
                  <a:lnTo>
                    <a:pt x="1152525" y="806450"/>
                  </a:lnTo>
                  <a:lnTo>
                    <a:pt x="1177925" y="809625"/>
                  </a:lnTo>
                  <a:lnTo>
                    <a:pt x="1181100" y="825500"/>
                  </a:lnTo>
                  <a:lnTo>
                    <a:pt x="1181100" y="854075"/>
                  </a:lnTo>
                  <a:lnTo>
                    <a:pt x="1168400" y="857250"/>
                  </a:lnTo>
                  <a:lnTo>
                    <a:pt x="1143000" y="844550"/>
                  </a:lnTo>
                  <a:lnTo>
                    <a:pt x="1117600" y="844550"/>
                  </a:lnTo>
                  <a:lnTo>
                    <a:pt x="1098550" y="854075"/>
                  </a:lnTo>
                  <a:lnTo>
                    <a:pt x="1089025" y="860425"/>
                  </a:lnTo>
                  <a:lnTo>
                    <a:pt x="1082675" y="869950"/>
                  </a:lnTo>
                  <a:lnTo>
                    <a:pt x="1089025" y="885825"/>
                  </a:lnTo>
                  <a:lnTo>
                    <a:pt x="1101725" y="908050"/>
                  </a:lnTo>
                  <a:lnTo>
                    <a:pt x="1130300" y="914400"/>
                  </a:lnTo>
                  <a:lnTo>
                    <a:pt x="1143000" y="911225"/>
                  </a:lnTo>
                  <a:lnTo>
                    <a:pt x="1149350" y="923925"/>
                  </a:lnTo>
                  <a:lnTo>
                    <a:pt x="1149350" y="930275"/>
                  </a:lnTo>
                  <a:lnTo>
                    <a:pt x="1149350" y="942975"/>
                  </a:lnTo>
                  <a:lnTo>
                    <a:pt x="1155700" y="968375"/>
                  </a:lnTo>
                  <a:lnTo>
                    <a:pt x="1152525" y="1006475"/>
                  </a:lnTo>
                  <a:lnTo>
                    <a:pt x="1143000" y="1009650"/>
                  </a:lnTo>
                  <a:lnTo>
                    <a:pt x="1127125" y="1025525"/>
                  </a:lnTo>
                  <a:lnTo>
                    <a:pt x="1127125" y="1047750"/>
                  </a:lnTo>
                  <a:lnTo>
                    <a:pt x="1146175" y="1050925"/>
                  </a:lnTo>
                  <a:lnTo>
                    <a:pt x="1165225" y="1063625"/>
                  </a:lnTo>
                  <a:lnTo>
                    <a:pt x="1146175" y="1082675"/>
                  </a:lnTo>
                  <a:lnTo>
                    <a:pt x="1139825" y="1079500"/>
                  </a:lnTo>
                  <a:lnTo>
                    <a:pt x="1136650" y="1069975"/>
                  </a:lnTo>
                  <a:lnTo>
                    <a:pt x="1130300" y="1066800"/>
                  </a:lnTo>
                  <a:lnTo>
                    <a:pt x="1114425" y="1063625"/>
                  </a:lnTo>
                  <a:lnTo>
                    <a:pt x="1108075" y="1066800"/>
                  </a:lnTo>
                  <a:lnTo>
                    <a:pt x="1101725" y="1073150"/>
                  </a:lnTo>
                  <a:lnTo>
                    <a:pt x="1098550" y="1079500"/>
                  </a:lnTo>
                  <a:lnTo>
                    <a:pt x="1095375" y="1098550"/>
                  </a:lnTo>
                  <a:lnTo>
                    <a:pt x="1101725" y="1108075"/>
                  </a:lnTo>
                  <a:lnTo>
                    <a:pt x="1108075" y="1098550"/>
                  </a:lnTo>
                  <a:lnTo>
                    <a:pt x="1120775" y="1104900"/>
                  </a:lnTo>
                  <a:lnTo>
                    <a:pt x="1127125" y="1111250"/>
                  </a:lnTo>
                  <a:lnTo>
                    <a:pt x="1130300" y="1123950"/>
                  </a:lnTo>
                  <a:lnTo>
                    <a:pt x="1133475" y="1136650"/>
                  </a:lnTo>
                  <a:lnTo>
                    <a:pt x="1130300" y="1143000"/>
                  </a:lnTo>
                  <a:lnTo>
                    <a:pt x="1117600" y="1143000"/>
                  </a:lnTo>
                  <a:lnTo>
                    <a:pt x="1108075" y="1143000"/>
                  </a:lnTo>
                  <a:lnTo>
                    <a:pt x="1095375" y="1158875"/>
                  </a:lnTo>
                  <a:lnTo>
                    <a:pt x="1082675" y="1152525"/>
                  </a:lnTo>
                  <a:lnTo>
                    <a:pt x="1066800" y="1143000"/>
                  </a:lnTo>
                  <a:lnTo>
                    <a:pt x="1057275" y="1133475"/>
                  </a:lnTo>
                  <a:lnTo>
                    <a:pt x="1047750" y="1130300"/>
                  </a:lnTo>
                  <a:lnTo>
                    <a:pt x="1044575" y="1136650"/>
                  </a:lnTo>
                  <a:lnTo>
                    <a:pt x="1041400" y="1136650"/>
                  </a:lnTo>
                  <a:lnTo>
                    <a:pt x="1038225" y="1133475"/>
                  </a:lnTo>
                  <a:lnTo>
                    <a:pt x="1031875" y="1143000"/>
                  </a:lnTo>
                  <a:lnTo>
                    <a:pt x="1016000" y="1158875"/>
                  </a:lnTo>
                  <a:lnTo>
                    <a:pt x="1019175" y="1168400"/>
                  </a:lnTo>
                  <a:lnTo>
                    <a:pt x="1025525" y="1171575"/>
                  </a:lnTo>
                  <a:lnTo>
                    <a:pt x="1031875" y="1171575"/>
                  </a:lnTo>
                  <a:lnTo>
                    <a:pt x="1035050" y="1177925"/>
                  </a:lnTo>
                  <a:lnTo>
                    <a:pt x="1038225" y="1193800"/>
                  </a:lnTo>
                  <a:lnTo>
                    <a:pt x="1041400" y="1200150"/>
                  </a:lnTo>
                  <a:lnTo>
                    <a:pt x="1044575" y="1209675"/>
                  </a:lnTo>
                  <a:lnTo>
                    <a:pt x="1044575" y="1219200"/>
                  </a:lnTo>
                  <a:lnTo>
                    <a:pt x="1066800" y="1238250"/>
                  </a:lnTo>
                  <a:lnTo>
                    <a:pt x="1085850" y="1254125"/>
                  </a:lnTo>
                  <a:lnTo>
                    <a:pt x="1089025" y="1266825"/>
                  </a:lnTo>
                  <a:lnTo>
                    <a:pt x="1089025" y="1276350"/>
                  </a:lnTo>
                  <a:lnTo>
                    <a:pt x="1089025" y="1295400"/>
                  </a:lnTo>
                  <a:lnTo>
                    <a:pt x="1095375" y="1285875"/>
                  </a:lnTo>
                  <a:lnTo>
                    <a:pt x="1104900" y="1282700"/>
                  </a:lnTo>
                  <a:lnTo>
                    <a:pt x="1104900" y="1292225"/>
                  </a:lnTo>
                  <a:lnTo>
                    <a:pt x="1104900" y="1308100"/>
                  </a:lnTo>
                  <a:lnTo>
                    <a:pt x="1101725" y="1330325"/>
                  </a:lnTo>
                  <a:lnTo>
                    <a:pt x="1108075" y="1339850"/>
                  </a:lnTo>
                  <a:lnTo>
                    <a:pt x="1108075" y="1352550"/>
                  </a:lnTo>
                  <a:lnTo>
                    <a:pt x="1104900" y="1355725"/>
                  </a:lnTo>
                  <a:lnTo>
                    <a:pt x="1101725" y="1355725"/>
                  </a:lnTo>
                  <a:lnTo>
                    <a:pt x="1085850" y="1355725"/>
                  </a:lnTo>
                  <a:lnTo>
                    <a:pt x="1073150" y="1355725"/>
                  </a:lnTo>
                  <a:lnTo>
                    <a:pt x="1063625" y="1346200"/>
                  </a:lnTo>
                  <a:lnTo>
                    <a:pt x="1050925" y="1327150"/>
                  </a:lnTo>
                  <a:lnTo>
                    <a:pt x="1050925" y="1317625"/>
                  </a:lnTo>
                  <a:lnTo>
                    <a:pt x="1047750" y="1308100"/>
                  </a:lnTo>
                  <a:lnTo>
                    <a:pt x="1035050" y="1298575"/>
                  </a:lnTo>
                  <a:lnTo>
                    <a:pt x="1022350" y="1304925"/>
                  </a:lnTo>
                  <a:lnTo>
                    <a:pt x="1016000" y="1311275"/>
                  </a:lnTo>
                  <a:lnTo>
                    <a:pt x="993775" y="1320800"/>
                  </a:lnTo>
                  <a:lnTo>
                    <a:pt x="984250" y="1320800"/>
                  </a:lnTo>
                  <a:lnTo>
                    <a:pt x="981075" y="1320800"/>
                  </a:lnTo>
                  <a:lnTo>
                    <a:pt x="974725" y="1323975"/>
                  </a:lnTo>
                  <a:lnTo>
                    <a:pt x="971550" y="1327150"/>
                  </a:lnTo>
                  <a:lnTo>
                    <a:pt x="968375" y="1336675"/>
                  </a:lnTo>
                  <a:lnTo>
                    <a:pt x="962025" y="1346200"/>
                  </a:lnTo>
                  <a:lnTo>
                    <a:pt x="962025" y="1355725"/>
                  </a:lnTo>
                  <a:lnTo>
                    <a:pt x="977900" y="1362075"/>
                  </a:lnTo>
                  <a:lnTo>
                    <a:pt x="990600" y="1368425"/>
                  </a:lnTo>
                  <a:lnTo>
                    <a:pt x="1000125" y="1368425"/>
                  </a:lnTo>
                  <a:lnTo>
                    <a:pt x="1006475" y="1368425"/>
                  </a:lnTo>
                  <a:lnTo>
                    <a:pt x="1016000" y="1362075"/>
                  </a:lnTo>
                  <a:lnTo>
                    <a:pt x="1025525" y="1358900"/>
                  </a:lnTo>
                  <a:lnTo>
                    <a:pt x="1041400" y="1362075"/>
                  </a:lnTo>
                  <a:lnTo>
                    <a:pt x="1066800" y="1374775"/>
                  </a:lnTo>
                  <a:lnTo>
                    <a:pt x="1095375" y="1377950"/>
                  </a:lnTo>
                  <a:lnTo>
                    <a:pt x="1085850" y="1387475"/>
                  </a:lnTo>
                  <a:lnTo>
                    <a:pt x="1076325" y="1393825"/>
                  </a:lnTo>
                  <a:lnTo>
                    <a:pt x="1069975" y="1397000"/>
                  </a:lnTo>
                  <a:lnTo>
                    <a:pt x="1057275" y="1412875"/>
                  </a:lnTo>
                  <a:lnTo>
                    <a:pt x="1044575" y="1422400"/>
                  </a:lnTo>
                  <a:lnTo>
                    <a:pt x="1041400" y="1419225"/>
                  </a:lnTo>
                  <a:lnTo>
                    <a:pt x="1031875" y="1435100"/>
                  </a:lnTo>
                  <a:lnTo>
                    <a:pt x="1028700" y="1441450"/>
                  </a:lnTo>
                  <a:lnTo>
                    <a:pt x="1022350" y="1447800"/>
                  </a:lnTo>
                  <a:lnTo>
                    <a:pt x="1009650" y="1460500"/>
                  </a:lnTo>
                  <a:lnTo>
                    <a:pt x="996950" y="1466850"/>
                  </a:lnTo>
                  <a:lnTo>
                    <a:pt x="968375" y="1476375"/>
                  </a:lnTo>
                  <a:lnTo>
                    <a:pt x="962025" y="1473200"/>
                  </a:lnTo>
                  <a:lnTo>
                    <a:pt x="955675" y="1482725"/>
                  </a:lnTo>
                  <a:lnTo>
                    <a:pt x="949325" y="1482725"/>
                  </a:lnTo>
                  <a:lnTo>
                    <a:pt x="942975" y="1485900"/>
                  </a:lnTo>
                  <a:lnTo>
                    <a:pt x="914400" y="1495425"/>
                  </a:lnTo>
                  <a:lnTo>
                    <a:pt x="901700" y="1498600"/>
                  </a:lnTo>
                  <a:lnTo>
                    <a:pt x="889000" y="1495425"/>
                  </a:lnTo>
                  <a:lnTo>
                    <a:pt x="882650" y="1482725"/>
                  </a:lnTo>
                  <a:lnTo>
                    <a:pt x="873125" y="1466850"/>
                  </a:lnTo>
                  <a:lnTo>
                    <a:pt x="873125" y="1470025"/>
                  </a:lnTo>
                  <a:lnTo>
                    <a:pt x="873125" y="1479550"/>
                  </a:lnTo>
                  <a:lnTo>
                    <a:pt x="876300" y="1508125"/>
                  </a:lnTo>
                  <a:lnTo>
                    <a:pt x="863600" y="1520825"/>
                  </a:lnTo>
                  <a:lnTo>
                    <a:pt x="857250" y="1533525"/>
                  </a:lnTo>
                  <a:lnTo>
                    <a:pt x="854075" y="1546225"/>
                  </a:lnTo>
                  <a:lnTo>
                    <a:pt x="847725" y="1555750"/>
                  </a:lnTo>
                  <a:lnTo>
                    <a:pt x="841375" y="1565275"/>
                  </a:lnTo>
                  <a:lnTo>
                    <a:pt x="835025" y="1577975"/>
                  </a:lnTo>
                  <a:lnTo>
                    <a:pt x="822325" y="1590675"/>
                  </a:lnTo>
                  <a:lnTo>
                    <a:pt x="812800" y="1597025"/>
                  </a:lnTo>
                  <a:lnTo>
                    <a:pt x="809625" y="1597025"/>
                  </a:lnTo>
                  <a:lnTo>
                    <a:pt x="803275" y="1606550"/>
                  </a:lnTo>
                  <a:lnTo>
                    <a:pt x="793750" y="1616075"/>
                  </a:lnTo>
                  <a:lnTo>
                    <a:pt x="774700" y="1625600"/>
                  </a:lnTo>
                  <a:lnTo>
                    <a:pt x="762000" y="1619250"/>
                  </a:lnTo>
                  <a:lnTo>
                    <a:pt x="749300" y="1628775"/>
                  </a:lnTo>
                  <a:lnTo>
                    <a:pt x="730250" y="1635125"/>
                  </a:lnTo>
                  <a:lnTo>
                    <a:pt x="720725" y="1641475"/>
                  </a:lnTo>
                  <a:lnTo>
                    <a:pt x="711200" y="1657350"/>
                  </a:lnTo>
                  <a:lnTo>
                    <a:pt x="701675" y="1663700"/>
                  </a:lnTo>
                  <a:lnTo>
                    <a:pt x="698500" y="1657350"/>
                  </a:lnTo>
                  <a:lnTo>
                    <a:pt x="692150" y="1660525"/>
                  </a:lnTo>
                  <a:lnTo>
                    <a:pt x="688975" y="1673225"/>
                  </a:lnTo>
                  <a:lnTo>
                    <a:pt x="695325" y="1679575"/>
                  </a:lnTo>
                  <a:lnTo>
                    <a:pt x="698500" y="1685925"/>
                  </a:lnTo>
                  <a:lnTo>
                    <a:pt x="701675" y="1698625"/>
                  </a:lnTo>
                  <a:lnTo>
                    <a:pt x="692150" y="1695450"/>
                  </a:lnTo>
                  <a:lnTo>
                    <a:pt x="682625" y="1698625"/>
                  </a:lnTo>
                  <a:lnTo>
                    <a:pt x="676275" y="1701800"/>
                  </a:lnTo>
                  <a:lnTo>
                    <a:pt x="688975" y="1708150"/>
                  </a:lnTo>
                  <a:lnTo>
                    <a:pt x="698500" y="1708150"/>
                  </a:lnTo>
                  <a:lnTo>
                    <a:pt x="698500" y="1730375"/>
                  </a:lnTo>
                  <a:lnTo>
                    <a:pt x="692150" y="1743075"/>
                  </a:lnTo>
                  <a:lnTo>
                    <a:pt x="660400" y="1784350"/>
                  </a:lnTo>
                  <a:lnTo>
                    <a:pt x="657225" y="1787525"/>
                  </a:lnTo>
                  <a:lnTo>
                    <a:pt x="660400" y="1790700"/>
                  </a:lnTo>
                  <a:lnTo>
                    <a:pt x="660400" y="1797050"/>
                  </a:lnTo>
                  <a:lnTo>
                    <a:pt x="663575" y="1809750"/>
                  </a:lnTo>
                  <a:lnTo>
                    <a:pt x="660400" y="1822450"/>
                  </a:lnTo>
                  <a:lnTo>
                    <a:pt x="660400" y="1825625"/>
                  </a:lnTo>
                  <a:lnTo>
                    <a:pt x="654050" y="1838325"/>
                  </a:lnTo>
                  <a:lnTo>
                    <a:pt x="650875" y="1851025"/>
                  </a:lnTo>
                  <a:lnTo>
                    <a:pt x="650875" y="1866900"/>
                  </a:lnTo>
                  <a:lnTo>
                    <a:pt x="650875" y="1870075"/>
                  </a:lnTo>
                  <a:lnTo>
                    <a:pt x="647700" y="1876425"/>
                  </a:lnTo>
                  <a:lnTo>
                    <a:pt x="641350" y="1879600"/>
                  </a:lnTo>
                  <a:lnTo>
                    <a:pt x="644525" y="1892300"/>
                  </a:lnTo>
                  <a:lnTo>
                    <a:pt x="638175" y="1895475"/>
                  </a:lnTo>
                  <a:lnTo>
                    <a:pt x="628650" y="1892300"/>
                  </a:lnTo>
                  <a:lnTo>
                    <a:pt x="619125" y="1892300"/>
                  </a:lnTo>
                  <a:lnTo>
                    <a:pt x="612775" y="1898650"/>
                  </a:lnTo>
                  <a:lnTo>
                    <a:pt x="606425" y="1898650"/>
                  </a:lnTo>
                  <a:lnTo>
                    <a:pt x="600075" y="1892300"/>
                  </a:lnTo>
                  <a:lnTo>
                    <a:pt x="600075" y="1879600"/>
                  </a:lnTo>
                  <a:lnTo>
                    <a:pt x="587375" y="1876425"/>
                  </a:lnTo>
                  <a:lnTo>
                    <a:pt x="581025" y="1873250"/>
                  </a:lnTo>
                  <a:lnTo>
                    <a:pt x="577850" y="1863725"/>
                  </a:lnTo>
                  <a:lnTo>
                    <a:pt x="571500" y="1851025"/>
                  </a:lnTo>
                  <a:lnTo>
                    <a:pt x="558800" y="1857375"/>
                  </a:lnTo>
                  <a:lnTo>
                    <a:pt x="539750" y="1860550"/>
                  </a:lnTo>
                  <a:lnTo>
                    <a:pt x="536575" y="1860550"/>
                  </a:lnTo>
                  <a:lnTo>
                    <a:pt x="533400" y="1857375"/>
                  </a:lnTo>
                  <a:lnTo>
                    <a:pt x="527050" y="1851025"/>
                  </a:lnTo>
                  <a:lnTo>
                    <a:pt x="520700" y="1838325"/>
                  </a:lnTo>
                  <a:lnTo>
                    <a:pt x="511175" y="1828800"/>
                  </a:lnTo>
                  <a:lnTo>
                    <a:pt x="511175" y="1822450"/>
                  </a:lnTo>
                  <a:lnTo>
                    <a:pt x="501650" y="1809750"/>
                  </a:lnTo>
                  <a:lnTo>
                    <a:pt x="488950" y="1787525"/>
                  </a:lnTo>
                  <a:lnTo>
                    <a:pt x="488950" y="1778000"/>
                  </a:lnTo>
                  <a:lnTo>
                    <a:pt x="485775" y="1768475"/>
                  </a:lnTo>
                  <a:lnTo>
                    <a:pt x="473075" y="1746250"/>
                  </a:lnTo>
                  <a:lnTo>
                    <a:pt x="469900" y="1746250"/>
                  </a:lnTo>
                  <a:lnTo>
                    <a:pt x="463550" y="1733550"/>
                  </a:lnTo>
                  <a:lnTo>
                    <a:pt x="454025" y="1711325"/>
                  </a:lnTo>
                  <a:lnTo>
                    <a:pt x="438150" y="1657350"/>
                  </a:lnTo>
                  <a:lnTo>
                    <a:pt x="434975" y="1635125"/>
                  </a:lnTo>
                  <a:lnTo>
                    <a:pt x="425450" y="1628775"/>
                  </a:lnTo>
                  <a:lnTo>
                    <a:pt x="415925" y="1606550"/>
                  </a:lnTo>
                  <a:lnTo>
                    <a:pt x="419100" y="1587500"/>
                  </a:lnTo>
                  <a:lnTo>
                    <a:pt x="431800" y="1577975"/>
                  </a:lnTo>
                  <a:lnTo>
                    <a:pt x="409575" y="1555750"/>
                  </a:lnTo>
                  <a:lnTo>
                    <a:pt x="412750" y="1533525"/>
                  </a:lnTo>
                  <a:lnTo>
                    <a:pt x="415925" y="1514475"/>
                  </a:lnTo>
                  <a:lnTo>
                    <a:pt x="422275" y="1504950"/>
                  </a:lnTo>
                  <a:lnTo>
                    <a:pt x="419100" y="1492250"/>
                  </a:lnTo>
                  <a:lnTo>
                    <a:pt x="428625" y="1492250"/>
                  </a:lnTo>
                  <a:lnTo>
                    <a:pt x="434975" y="1479550"/>
                  </a:lnTo>
                  <a:lnTo>
                    <a:pt x="447675" y="1470025"/>
                  </a:lnTo>
                  <a:lnTo>
                    <a:pt x="466725" y="1470025"/>
                  </a:lnTo>
                  <a:lnTo>
                    <a:pt x="473075" y="1466850"/>
                  </a:lnTo>
                  <a:lnTo>
                    <a:pt x="479425" y="1454150"/>
                  </a:lnTo>
                  <a:lnTo>
                    <a:pt x="473075" y="1457325"/>
                  </a:lnTo>
                  <a:lnTo>
                    <a:pt x="466725" y="1457325"/>
                  </a:lnTo>
                  <a:lnTo>
                    <a:pt x="469900" y="1431925"/>
                  </a:lnTo>
                  <a:lnTo>
                    <a:pt x="476250" y="1409700"/>
                  </a:lnTo>
                  <a:lnTo>
                    <a:pt x="482600" y="1397000"/>
                  </a:lnTo>
                  <a:lnTo>
                    <a:pt x="488950" y="1397000"/>
                  </a:lnTo>
                  <a:lnTo>
                    <a:pt x="488950" y="1381125"/>
                  </a:lnTo>
                  <a:lnTo>
                    <a:pt x="479425" y="1384300"/>
                  </a:lnTo>
                  <a:lnTo>
                    <a:pt x="469900" y="1384300"/>
                  </a:lnTo>
                  <a:lnTo>
                    <a:pt x="460375" y="1384300"/>
                  </a:lnTo>
                  <a:lnTo>
                    <a:pt x="444500" y="1377950"/>
                  </a:lnTo>
                  <a:lnTo>
                    <a:pt x="425450" y="1362075"/>
                  </a:lnTo>
                  <a:lnTo>
                    <a:pt x="409575" y="1355725"/>
                  </a:lnTo>
                  <a:lnTo>
                    <a:pt x="396875" y="1339850"/>
                  </a:lnTo>
                  <a:lnTo>
                    <a:pt x="406400" y="1330325"/>
                  </a:lnTo>
                  <a:lnTo>
                    <a:pt x="419100" y="1330325"/>
                  </a:lnTo>
                  <a:lnTo>
                    <a:pt x="431800" y="1333500"/>
                  </a:lnTo>
                  <a:lnTo>
                    <a:pt x="447675" y="1343025"/>
                  </a:lnTo>
                  <a:lnTo>
                    <a:pt x="460375" y="1352550"/>
                  </a:lnTo>
                  <a:lnTo>
                    <a:pt x="463550" y="1352550"/>
                  </a:lnTo>
                  <a:lnTo>
                    <a:pt x="466725" y="1346200"/>
                  </a:lnTo>
                  <a:lnTo>
                    <a:pt x="469900" y="1346200"/>
                  </a:lnTo>
                  <a:lnTo>
                    <a:pt x="479425" y="1343025"/>
                  </a:lnTo>
                  <a:lnTo>
                    <a:pt x="476250" y="1330325"/>
                  </a:lnTo>
                  <a:lnTo>
                    <a:pt x="454025" y="1314450"/>
                  </a:lnTo>
                  <a:lnTo>
                    <a:pt x="466725" y="1320800"/>
                  </a:lnTo>
                  <a:lnTo>
                    <a:pt x="476250" y="1314450"/>
                  </a:lnTo>
                  <a:lnTo>
                    <a:pt x="441325" y="1308100"/>
                  </a:lnTo>
                  <a:lnTo>
                    <a:pt x="441325" y="1292225"/>
                  </a:lnTo>
                  <a:lnTo>
                    <a:pt x="438150" y="1292225"/>
                  </a:lnTo>
                  <a:lnTo>
                    <a:pt x="431800" y="1289050"/>
                  </a:lnTo>
                  <a:lnTo>
                    <a:pt x="441325" y="1279525"/>
                  </a:lnTo>
                  <a:lnTo>
                    <a:pt x="431800" y="1270000"/>
                  </a:lnTo>
                  <a:lnTo>
                    <a:pt x="425450" y="1270000"/>
                  </a:lnTo>
                  <a:lnTo>
                    <a:pt x="422275" y="1260475"/>
                  </a:lnTo>
                  <a:lnTo>
                    <a:pt x="415925" y="1266825"/>
                  </a:lnTo>
                  <a:lnTo>
                    <a:pt x="409575" y="1279525"/>
                  </a:lnTo>
                  <a:lnTo>
                    <a:pt x="403225" y="1292225"/>
                  </a:lnTo>
                  <a:lnTo>
                    <a:pt x="396875" y="1295400"/>
                  </a:lnTo>
                  <a:lnTo>
                    <a:pt x="381000" y="1292225"/>
                  </a:lnTo>
                  <a:lnTo>
                    <a:pt x="368300" y="1273175"/>
                  </a:lnTo>
                  <a:lnTo>
                    <a:pt x="371475" y="1266825"/>
                  </a:lnTo>
                  <a:lnTo>
                    <a:pt x="374650" y="1250950"/>
                  </a:lnTo>
                  <a:lnTo>
                    <a:pt x="384175" y="1235075"/>
                  </a:lnTo>
                  <a:lnTo>
                    <a:pt x="377825" y="1212850"/>
                  </a:lnTo>
                  <a:lnTo>
                    <a:pt x="387350" y="1216025"/>
                  </a:lnTo>
                  <a:lnTo>
                    <a:pt x="390525" y="1209675"/>
                  </a:lnTo>
                  <a:lnTo>
                    <a:pt x="390525" y="1190625"/>
                  </a:lnTo>
                  <a:lnTo>
                    <a:pt x="396875" y="1190625"/>
                  </a:lnTo>
                  <a:lnTo>
                    <a:pt x="387350" y="1177925"/>
                  </a:lnTo>
                  <a:lnTo>
                    <a:pt x="377825" y="1171575"/>
                  </a:lnTo>
                  <a:lnTo>
                    <a:pt x="374650" y="1139825"/>
                  </a:lnTo>
                  <a:lnTo>
                    <a:pt x="365125" y="1127125"/>
                  </a:lnTo>
                  <a:lnTo>
                    <a:pt x="361950" y="1073150"/>
                  </a:lnTo>
                  <a:lnTo>
                    <a:pt x="361950" y="1057275"/>
                  </a:lnTo>
                  <a:lnTo>
                    <a:pt x="355600" y="1057275"/>
                  </a:lnTo>
                  <a:lnTo>
                    <a:pt x="346075" y="1044575"/>
                  </a:lnTo>
                  <a:lnTo>
                    <a:pt x="342900" y="1031875"/>
                  </a:lnTo>
                  <a:lnTo>
                    <a:pt x="336550" y="1025525"/>
                  </a:lnTo>
                  <a:lnTo>
                    <a:pt x="311150" y="993775"/>
                  </a:lnTo>
                  <a:lnTo>
                    <a:pt x="317500" y="984250"/>
                  </a:lnTo>
                  <a:lnTo>
                    <a:pt x="317500" y="971550"/>
                  </a:lnTo>
                  <a:lnTo>
                    <a:pt x="307975" y="958850"/>
                  </a:lnTo>
                  <a:lnTo>
                    <a:pt x="295275" y="949325"/>
                  </a:lnTo>
                  <a:lnTo>
                    <a:pt x="279400" y="936625"/>
                  </a:lnTo>
                  <a:lnTo>
                    <a:pt x="225425" y="911225"/>
                  </a:lnTo>
                  <a:lnTo>
                    <a:pt x="203200" y="901700"/>
                  </a:lnTo>
                  <a:lnTo>
                    <a:pt x="200025" y="917575"/>
                  </a:lnTo>
                  <a:lnTo>
                    <a:pt x="193675" y="923925"/>
                  </a:lnTo>
                  <a:lnTo>
                    <a:pt x="187325" y="914400"/>
                  </a:lnTo>
                  <a:lnTo>
                    <a:pt x="180975" y="914400"/>
                  </a:lnTo>
                  <a:lnTo>
                    <a:pt x="152400" y="923925"/>
                  </a:lnTo>
                  <a:lnTo>
                    <a:pt x="139700" y="942975"/>
                  </a:lnTo>
                  <a:lnTo>
                    <a:pt x="130175" y="936625"/>
                  </a:lnTo>
                  <a:lnTo>
                    <a:pt x="101600" y="927100"/>
                  </a:lnTo>
                  <a:lnTo>
                    <a:pt x="88900" y="917575"/>
                  </a:lnTo>
                  <a:lnTo>
                    <a:pt x="79375" y="904875"/>
                  </a:lnTo>
                  <a:lnTo>
                    <a:pt x="66675" y="882650"/>
                  </a:lnTo>
                  <a:lnTo>
                    <a:pt x="50800" y="863600"/>
                  </a:lnTo>
                  <a:lnTo>
                    <a:pt x="44450" y="857250"/>
                  </a:lnTo>
                  <a:lnTo>
                    <a:pt x="34925" y="844550"/>
                  </a:lnTo>
                  <a:lnTo>
                    <a:pt x="38100" y="831850"/>
                  </a:lnTo>
                  <a:lnTo>
                    <a:pt x="47625" y="822325"/>
                  </a:lnTo>
                  <a:lnTo>
                    <a:pt x="63500" y="819150"/>
                  </a:lnTo>
                  <a:lnTo>
                    <a:pt x="73025" y="822325"/>
                  </a:lnTo>
                  <a:lnTo>
                    <a:pt x="82550" y="796925"/>
                  </a:lnTo>
                  <a:lnTo>
                    <a:pt x="53975" y="777875"/>
                  </a:lnTo>
                  <a:lnTo>
                    <a:pt x="50800" y="774700"/>
                  </a:lnTo>
                  <a:lnTo>
                    <a:pt x="50800" y="765175"/>
                  </a:lnTo>
                  <a:lnTo>
                    <a:pt x="44450" y="765175"/>
                  </a:lnTo>
                  <a:lnTo>
                    <a:pt x="31750" y="762000"/>
                  </a:lnTo>
                  <a:lnTo>
                    <a:pt x="15875" y="749300"/>
                  </a:lnTo>
                  <a:lnTo>
                    <a:pt x="0" y="727075"/>
                  </a:lnTo>
                  <a:lnTo>
                    <a:pt x="6350" y="688975"/>
                  </a:lnTo>
                  <a:lnTo>
                    <a:pt x="19050" y="685800"/>
                  </a:lnTo>
                  <a:lnTo>
                    <a:pt x="28575" y="676275"/>
                  </a:lnTo>
                  <a:lnTo>
                    <a:pt x="38100" y="676275"/>
                  </a:lnTo>
                  <a:lnTo>
                    <a:pt x="44450" y="676275"/>
                  </a:lnTo>
                  <a:lnTo>
                    <a:pt x="47625" y="666750"/>
                  </a:lnTo>
                  <a:lnTo>
                    <a:pt x="60325" y="663575"/>
                  </a:lnTo>
                  <a:lnTo>
                    <a:pt x="85725" y="644525"/>
                  </a:lnTo>
                  <a:lnTo>
                    <a:pt x="82550" y="644525"/>
                  </a:lnTo>
                  <a:lnTo>
                    <a:pt x="85725" y="635000"/>
                  </a:lnTo>
                  <a:lnTo>
                    <a:pt x="95250" y="628650"/>
                  </a:lnTo>
                  <a:lnTo>
                    <a:pt x="114300" y="622300"/>
                  </a:lnTo>
                  <a:lnTo>
                    <a:pt x="130175" y="619125"/>
                  </a:lnTo>
                  <a:lnTo>
                    <a:pt x="142875" y="622300"/>
                  </a:lnTo>
                  <a:lnTo>
                    <a:pt x="152400" y="619125"/>
                  </a:lnTo>
                  <a:lnTo>
                    <a:pt x="168275" y="587375"/>
                  </a:lnTo>
                  <a:lnTo>
                    <a:pt x="174625" y="565150"/>
                  </a:lnTo>
                  <a:lnTo>
                    <a:pt x="171450" y="536575"/>
                  </a:lnTo>
                  <a:lnTo>
                    <a:pt x="168275" y="514350"/>
                  </a:lnTo>
                  <a:lnTo>
                    <a:pt x="139700" y="511175"/>
                  </a:lnTo>
                  <a:lnTo>
                    <a:pt x="127000" y="508000"/>
                  </a:lnTo>
                  <a:lnTo>
                    <a:pt x="117475" y="492125"/>
                  </a:lnTo>
                  <a:lnTo>
                    <a:pt x="117475" y="473075"/>
                  </a:lnTo>
                  <a:lnTo>
                    <a:pt x="146050" y="434975"/>
                  </a:lnTo>
                  <a:lnTo>
                    <a:pt x="158750" y="422275"/>
                  </a:lnTo>
                  <a:lnTo>
                    <a:pt x="171450" y="406400"/>
                  </a:lnTo>
                  <a:lnTo>
                    <a:pt x="184150" y="384175"/>
                  </a:lnTo>
                  <a:lnTo>
                    <a:pt x="193675" y="377825"/>
                  </a:lnTo>
                  <a:lnTo>
                    <a:pt x="200025" y="365125"/>
                  </a:lnTo>
                  <a:lnTo>
                    <a:pt x="209550" y="358775"/>
                  </a:lnTo>
                  <a:lnTo>
                    <a:pt x="219075" y="352425"/>
                  </a:lnTo>
                  <a:lnTo>
                    <a:pt x="241300" y="368300"/>
                  </a:lnTo>
                  <a:lnTo>
                    <a:pt x="260350" y="361950"/>
                  </a:lnTo>
                  <a:lnTo>
                    <a:pt x="257175" y="317500"/>
                  </a:lnTo>
                  <a:lnTo>
                    <a:pt x="254000" y="295275"/>
                  </a:lnTo>
                  <a:lnTo>
                    <a:pt x="247650" y="279400"/>
                  </a:lnTo>
                  <a:lnTo>
                    <a:pt x="254000" y="266700"/>
                  </a:lnTo>
                  <a:lnTo>
                    <a:pt x="279400" y="247650"/>
                  </a:lnTo>
                  <a:lnTo>
                    <a:pt x="295275" y="234950"/>
                  </a:lnTo>
                  <a:lnTo>
                    <a:pt x="307975" y="225425"/>
                  </a:lnTo>
                  <a:lnTo>
                    <a:pt x="333375" y="212725"/>
                  </a:lnTo>
                  <a:lnTo>
                    <a:pt x="393700" y="184150"/>
                  </a:lnTo>
                  <a:lnTo>
                    <a:pt x="415925" y="209550"/>
                  </a:lnTo>
                  <a:lnTo>
                    <a:pt x="428625" y="234950"/>
                  </a:lnTo>
                  <a:lnTo>
                    <a:pt x="438150" y="234950"/>
                  </a:lnTo>
                  <a:lnTo>
                    <a:pt x="469900" y="254000"/>
                  </a:lnTo>
                  <a:lnTo>
                    <a:pt x="488950" y="254000"/>
                  </a:lnTo>
                  <a:lnTo>
                    <a:pt x="508000" y="250825"/>
                  </a:lnTo>
                  <a:lnTo>
                    <a:pt x="488950" y="225425"/>
                  </a:lnTo>
                  <a:lnTo>
                    <a:pt x="469900" y="158750"/>
                  </a:lnTo>
                  <a:lnTo>
                    <a:pt x="482600" y="155575"/>
                  </a:lnTo>
                  <a:lnTo>
                    <a:pt x="498475" y="155575"/>
                  </a:lnTo>
                  <a:lnTo>
                    <a:pt x="511175" y="161925"/>
                  </a:lnTo>
                  <a:lnTo>
                    <a:pt x="520700" y="174625"/>
                  </a:lnTo>
                  <a:lnTo>
                    <a:pt x="527050" y="184150"/>
                  </a:lnTo>
                  <a:lnTo>
                    <a:pt x="530225" y="190500"/>
                  </a:lnTo>
                  <a:lnTo>
                    <a:pt x="549275" y="206375"/>
                  </a:lnTo>
                  <a:lnTo>
                    <a:pt x="574675" y="225425"/>
                  </a:lnTo>
                  <a:lnTo>
                    <a:pt x="577850" y="231775"/>
                  </a:lnTo>
                  <a:lnTo>
                    <a:pt x="581025" y="234950"/>
                  </a:lnTo>
                  <a:lnTo>
                    <a:pt x="584200" y="244475"/>
                  </a:lnTo>
                  <a:lnTo>
                    <a:pt x="596900" y="266700"/>
                  </a:lnTo>
                  <a:lnTo>
                    <a:pt x="622300" y="263525"/>
                  </a:lnTo>
                  <a:lnTo>
                    <a:pt x="612775" y="254000"/>
                  </a:lnTo>
                  <a:lnTo>
                    <a:pt x="606425" y="241300"/>
                  </a:lnTo>
                  <a:lnTo>
                    <a:pt x="606425" y="219075"/>
                  </a:lnTo>
                  <a:lnTo>
                    <a:pt x="609600" y="196850"/>
                  </a:lnTo>
                  <a:lnTo>
                    <a:pt x="615950" y="187325"/>
                  </a:lnTo>
                  <a:lnTo>
                    <a:pt x="612775" y="152400"/>
                  </a:lnTo>
                  <a:lnTo>
                    <a:pt x="609600" y="146050"/>
                  </a:lnTo>
                  <a:lnTo>
                    <a:pt x="584200" y="104775"/>
                  </a:lnTo>
                  <a:lnTo>
                    <a:pt x="574675" y="95250"/>
                  </a:lnTo>
                  <a:lnTo>
                    <a:pt x="561975" y="79375"/>
                  </a:lnTo>
                  <a:lnTo>
                    <a:pt x="587375" y="53975"/>
                  </a:lnTo>
                  <a:lnTo>
                    <a:pt x="615950" y="44450"/>
                  </a:lnTo>
                  <a:lnTo>
                    <a:pt x="641350" y="25400"/>
                  </a:lnTo>
                  <a:lnTo>
                    <a:pt x="666750" y="34925"/>
                  </a:lnTo>
                  <a:lnTo>
                    <a:pt x="701675" y="79375"/>
                  </a:lnTo>
                  <a:lnTo>
                    <a:pt x="736600" y="63500"/>
                  </a:lnTo>
                  <a:lnTo>
                    <a:pt x="736600" y="1587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7" name="Freeform 731">
              <a:extLst>
                <a:ext uri="{FF2B5EF4-FFF2-40B4-BE49-F238E27FC236}">
                  <a16:creationId xmlns:a16="http://schemas.microsoft.com/office/drawing/2014/main" id="{449F18A6-B3FC-4209-A80D-042201AEDB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5475" y="1263650"/>
              <a:ext cx="563563" cy="1527175"/>
            </a:xfrm>
            <a:custGeom>
              <a:avLst/>
              <a:gdLst/>
              <a:ahLst/>
              <a:cxnLst/>
              <a:rect l="l" t="t" r="r" b="b"/>
              <a:pathLst>
                <a:path w="563563" h="1527175">
                  <a:moveTo>
                    <a:pt x="82550" y="1279525"/>
                  </a:moveTo>
                  <a:lnTo>
                    <a:pt x="88900" y="1279525"/>
                  </a:lnTo>
                  <a:lnTo>
                    <a:pt x="92075" y="1282700"/>
                  </a:lnTo>
                  <a:lnTo>
                    <a:pt x="73025" y="1285875"/>
                  </a:lnTo>
                  <a:close/>
                  <a:moveTo>
                    <a:pt x="153988" y="1181100"/>
                  </a:moveTo>
                  <a:lnTo>
                    <a:pt x="160338" y="1190625"/>
                  </a:lnTo>
                  <a:lnTo>
                    <a:pt x="150813" y="1200150"/>
                  </a:lnTo>
                  <a:close/>
                  <a:moveTo>
                    <a:pt x="185738" y="1031875"/>
                  </a:moveTo>
                  <a:lnTo>
                    <a:pt x="198438" y="1035050"/>
                  </a:lnTo>
                  <a:lnTo>
                    <a:pt x="192088" y="1041400"/>
                  </a:lnTo>
                  <a:lnTo>
                    <a:pt x="185738" y="1044575"/>
                  </a:lnTo>
                  <a:close/>
                  <a:moveTo>
                    <a:pt x="217488" y="1022350"/>
                  </a:moveTo>
                  <a:lnTo>
                    <a:pt x="207963" y="1035050"/>
                  </a:lnTo>
                  <a:lnTo>
                    <a:pt x="201613" y="1041400"/>
                  </a:lnTo>
                  <a:lnTo>
                    <a:pt x="198438" y="1041400"/>
                  </a:lnTo>
                  <a:lnTo>
                    <a:pt x="207963" y="1025525"/>
                  </a:lnTo>
                  <a:close/>
                  <a:moveTo>
                    <a:pt x="242888" y="993775"/>
                  </a:moveTo>
                  <a:lnTo>
                    <a:pt x="249238" y="1016000"/>
                  </a:lnTo>
                  <a:lnTo>
                    <a:pt x="239713" y="1025525"/>
                  </a:lnTo>
                  <a:lnTo>
                    <a:pt x="233363" y="1028700"/>
                  </a:lnTo>
                  <a:lnTo>
                    <a:pt x="217488" y="1031875"/>
                  </a:lnTo>
                  <a:lnTo>
                    <a:pt x="227013" y="1000125"/>
                  </a:lnTo>
                  <a:close/>
                  <a:moveTo>
                    <a:pt x="217488" y="987425"/>
                  </a:moveTo>
                  <a:lnTo>
                    <a:pt x="223838" y="1006475"/>
                  </a:lnTo>
                  <a:lnTo>
                    <a:pt x="211138" y="1009650"/>
                  </a:lnTo>
                  <a:lnTo>
                    <a:pt x="204788" y="1009650"/>
                  </a:lnTo>
                  <a:lnTo>
                    <a:pt x="204788" y="1000125"/>
                  </a:lnTo>
                  <a:lnTo>
                    <a:pt x="211138" y="993775"/>
                  </a:lnTo>
                  <a:close/>
                  <a:moveTo>
                    <a:pt x="233363" y="974725"/>
                  </a:moveTo>
                  <a:lnTo>
                    <a:pt x="242888" y="974725"/>
                  </a:lnTo>
                  <a:lnTo>
                    <a:pt x="233363" y="990600"/>
                  </a:lnTo>
                  <a:lnTo>
                    <a:pt x="227013" y="993775"/>
                  </a:lnTo>
                  <a:close/>
                  <a:moveTo>
                    <a:pt x="261938" y="955675"/>
                  </a:moveTo>
                  <a:lnTo>
                    <a:pt x="277813" y="955675"/>
                  </a:lnTo>
                  <a:lnTo>
                    <a:pt x="277813" y="965200"/>
                  </a:lnTo>
                  <a:lnTo>
                    <a:pt x="274638" y="977900"/>
                  </a:lnTo>
                  <a:lnTo>
                    <a:pt x="255588" y="984250"/>
                  </a:lnTo>
                  <a:lnTo>
                    <a:pt x="258763" y="977900"/>
                  </a:lnTo>
                  <a:lnTo>
                    <a:pt x="252413" y="971550"/>
                  </a:lnTo>
                  <a:lnTo>
                    <a:pt x="252413" y="965200"/>
                  </a:lnTo>
                  <a:close/>
                  <a:moveTo>
                    <a:pt x="290513" y="933450"/>
                  </a:moveTo>
                  <a:lnTo>
                    <a:pt x="296863" y="933450"/>
                  </a:lnTo>
                  <a:lnTo>
                    <a:pt x="300038" y="936625"/>
                  </a:lnTo>
                  <a:lnTo>
                    <a:pt x="293688" y="952500"/>
                  </a:lnTo>
                  <a:lnTo>
                    <a:pt x="284163" y="955675"/>
                  </a:lnTo>
                  <a:lnTo>
                    <a:pt x="277813" y="949325"/>
                  </a:lnTo>
                  <a:close/>
                  <a:moveTo>
                    <a:pt x="312738" y="920750"/>
                  </a:moveTo>
                  <a:lnTo>
                    <a:pt x="319088" y="923925"/>
                  </a:lnTo>
                  <a:lnTo>
                    <a:pt x="315913" y="930275"/>
                  </a:lnTo>
                  <a:lnTo>
                    <a:pt x="306388" y="936625"/>
                  </a:lnTo>
                  <a:lnTo>
                    <a:pt x="300038" y="930275"/>
                  </a:lnTo>
                  <a:lnTo>
                    <a:pt x="300038" y="923925"/>
                  </a:lnTo>
                  <a:close/>
                  <a:moveTo>
                    <a:pt x="315913" y="911225"/>
                  </a:moveTo>
                  <a:lnTo>
                    <a:pt x="328613" y="920750"/>
                  </a:lnTo>
                  <a:lnTo>
                    <a:pt x="322263" y="923925"/>
                  </a:lnTo>
                  <a:close/>
                  <a:moveTo>
                    <a:pt x="401638" y="889000"/>
                  </a:moveTo>
                  <a:lnTo>
                    <a:pt x="401638" y="904875"/>
                  </a:lnTo>
                  <a:lnTo>
                    <a:pt x="392113" y="911225"/>
                  </a:lnTo>
                  <a:lnTo>
                    <a:pt x="385763" y="901700"/>
                  </a:lnTo>
                  <a:lnTo>
                    <a:pt x="395288" y="892175"/>
                  </a:lnTo>
                  <a:close/>
                  <a:moveTo>
                    <a:pt x="376238" y="882650"/>
                  </a:moveTo>
                  <a:lnTo>
                    <a:pt x="382588" y="885825"/>
                  </a:lnTo>
                  <a:lnTo>
                    <a:pt x="369888" y="898525"/>
                  </a:lnTo>
                  <a:lnTo>
                    <a:pt x="376238" y="889000"/>
                  </a:lnTo>
                  <a:close/>
                  <a:moveTo>
                    <a:pt x="404813" y="876300"/>
                  </a:moveTo>
                  <a:lnTo>
                    <a:pt x="411163" y="879475"/>
                  </a:lnTo>
                  <a:lnTo>
                    <a:pt x="404813" y="892175"/>
                  </a:lnTo>
                  <a:close/>
                  <a:moveTo>
                    <a:pt x="503238" y="857250"/>
                  </a:moveTo>
                  <a:lnTo>
                    <a:pt x="509588" y="863600"/>
                  </a:lnTo>
                  <a:lnTo>
                    <a:pt x="506413" y="873125"/>
                  </a:lnTo>
                  <a:lnTo>
                    <a:pt x="509588" y="879475"/>
                  </a:lnTo>
                  <a:lnTo>
                    <a:pt x="528638" y="879475"/>
                  </a:lnTo>
                  <a:lnTo>
                    <a:pt x="525463" y="885825"/>
                  </a:lnTo>
                  <a:lnTo>
                    <a:pt x="531813" y="882650"/>
                  </a:lnTo>
                  <a:lnTo>
                    <a:pt x="534988" y="879475"/>
                  </a:lnTo>
                  <a:lnTo>
                    <a:pt x="544513" y="882650"/>
                  </a:lnTo>
                  <a:lnTo>
                    <a:pt x="557213" y="895350"/>
                  </a:lnTo>
                  <a:lnTo>
                    <a:pt x="563563" y="901700"/>
                  </a:lnTo>
                  <a:lnTo>
                    <a:pt x="563563" y="911225"/>
                  </a:lnTo>
                  <a:lnTo>
                    <a:pt x="534988" y="923925"/>
                  </a:lnTo>
                  <a:lnTo>
                    <a:pt x="522288" y="920750"/>
                  </a:lnTo>
                  <a:lnTo>
                    <a:pt x="509588" y="917575"/>
                  </a:lnTo>
                  <a:lnTo>
                    <a:pt x="525463" y="927100"/>
                  </a:lnTo>
                  <a:lnTo>
                    <a:pt x="534988" y="930275"/>
                  </a:lnTo>
                  <a:lnTo>
                    <a:pt x="534988" y="942975"/>
                  </a:lnTo>
                  <a:lnTo>
                    <a:pt x="541338" y="942975"/>
                  </a:lnTo>
                  <a:lnTo>
                    <a:pt x="544513" y="949325"/>
                  </a:lnTo>
                  <a:lnTo>
                    <a:pt x="544513" y="942975"/>
                  </a:lnTo>
                  <a:lnTo>
                    <a:pt x="544513" y="936625"/>
                  </a:lnTo>
                  <a:lnTo>
                    <a:pt x="547688" y="936625"/>
                  </a:lnTo>
                  <a:lnTo>
                    <a:pt x="557213" y="939800"/>
                  </a:lnTo>
                  <a:lnTo>
                    <a:pt x="560388" y="939800"/>
                  </a:lnTo>
                  <a:lnTo>
                    <a:pt x="557213" y="955675"/>
                  </a:lnTo>
                  <a:lnTo>
                    <a:pt x="547688" y="955675"/>
                  </a:lnTo>
                  <a:lnTo>
                    <a:pt x="541338" y="962025"/>
                  </a:lnTo>
                  <a:lnTo>
                    <a:pt x="525463" y="971550"/>
                  </a:lnTo>
                  <a:lnTo>
                    <a:pt x="525463" y="974725"/>
                  </a:lnTo>
                  <a:lnTo>
                    <a:pt x="519113" y="987425"/>
                  </a:lnTo>
                  <a:lnTo>
                    <a:pt x="515938" y="981075"/>
                  </a:lnTo>
                  <a:lnTo>
                    <a:pt x="519113" y="971550"/>
                  </a:lnTo>
                  <a:lnTo>
                    <a:pt x="525463" y="962025"/>
                  </a:lnTo>
                  <a:lnTo>
                    <a:pt x="522288" y="949325"/>
                  </a:lnTo>
                  <a:lnTo>
                    <a:pt x="515938" y="942975"/>
                  </a:lnTo>
                  <a:lnTo>
                    <a:pt x="506413" y="939800"/>
                  </a:lnTo>
                  <a:lnTo>
                    <a:pt x="496888" y="923925"/>
                  </a:lnTo>
                  <a:lnTo>
                    <a:pt x="477838" y="927100"/>
                  </a:lnTo>
                  <a:lnTo>
                    <a:pt x="465138" y="930275"/>
                  </a:lnTo>
                  <a:lnTo>
                    <a:pt x="458788" y="942975"/>
                  </a:lnTo>
                  <a:lnTo>
                    <a:pt x="449263" y="965200"/>
                  </a:lnTo>
                  <a:lnTo>
                    <a:pt x="449263" y="971550"/>
                  </a:lnTo>
                  <a:lnTo>
                    <a:pt x="449263" y="984250"/>
                  </a:lnTo>
                  <a:lnTo>
                    <a:pt x="430213" y="1012825"/>
                  </a:lnTo>
                  <a:lnTo>
                    <a:pt x="420688" y="1006475"/>
                  </a:lnTo>
                  <a:lnTo>
                    <a:pt x="414338" y="1003300"/>
                  </a:lnTo>
                  <a:lnTo>
                    <a:pt x="404813" y="1006475"/>
                  </a:lnTo>
                  <a:lnTo>
                    <a:pt x="395288" y="1012825"/>
                  </a:lnTo>
                  <a:lnTo>
                    <a:pt x="382588" y="1006475"/>
                  </a:lnTo>
                  <a:lnTo>
                    <a:pt x="373063" y="993775"/>
                  </a:lnTo>
                  <a:lnTo>
                    <a:pt x="366713" y="981075"/>
                  </a:lnTo>
                  <a:lnTo>
                    <a:pt x="360363" y="971550"/>
                  </a:lnTo>
                  <a:lnTo>
                    <a:pt x="354013" y="971550"/>
                  </a:lnTo>
                  <a:lnTo>
                    <a:pt x="347663" y="974725"/>
                  </a:lnTo>
                  <a:lnTo>
                    <a:pt x="338138" y="987425"/>
                  </a:lnTo>
                  <a:lnTo>
                    <a:pt x="328613" y="987425"/>
                  </a:lnTo>
                  <a:lnTo>
                    <a:pt x="331788" y="996950"/>
                  </a:lnTo>
                  <a:lnTo>
                    <a:pt x="328613" y="1016000"/>
                  </a:lnTo>
                  <a:lnTo>
                    <a:pt x="322263" y="1028700"/>
                  </a:lnTo>
                  <a:lnTo>
                    <a:pt x="293688" y="1019175"/>
                  </a:lnTo>
                  <a:lnTo>
                    <a:pt x="284163" y="1025525"/>
                  </a:lnTo>
                  <a:lnTo>
                    <a:pt x="284163" y="1038225"/>
                  </a:lnTo>
                  <a:lnTo>
                    <a:pt x="280988" y="1050925"/>
                  </a:lnTo>
                  <a:lnTo>
                    <a:pt x="271463" y="1044575"/>
                  </a:lnTo>
                  <a:lnTo>
                    <a:pt x="265113" y="1044575"/>
                  </a:lnTo>
                  <a:lnTo>
                    <a:pt x="255588" y="1050925"/>
                  </a:lnTo>
                  <a:lnTo>
                    <a:pt x="249238" y="1063625"/>
                  </a:lnTo>
                  <a:lnTo>
                    <a:pt x="242888" y="1085850"/>
                  </a:lnTo>
                  <a:lnTo>
                    <a:pt x="246063" y="1101725"/>
                  </a:lnTo>
                  <a:lnTo>
                    <a:pt x="236538" y="1114425"/>
                  </a:lnTo>
                  <a:lnTo>
                    <a:pt x="227013" y="1130300"/>
                  </a:lnTo>
                  <a:lnTo>
                    <a:pt x="223838" y="1133475"/>
                  </a:lnTo>
                  <a:lnTo>
                    <a:pt x="227013" y="1143000"/>
                  </a:lnTo>
                  <a:lnTo>
                    <a:pt x="214313" y="1155700"/>
                  </a:lnTo>
                  <a:lnTo>
                    <a:pt x="207963" y="1162050"/>
                  </a:lnTo>
                  <a:lnTo>
                    <a:pt x="207963" y="1181100"/>
                  </a:lnTo>
                  <a:lnTo>
                    <a:pt x="204788" y="1193800"/>
                  </a:lnTo>
                  <a:lnTo>
                    <a:pt x="201613" y="1209675"/>
                  </a:lnTo>
                  <a:lnTo>
                    <a:pt x="188913" y="1228725"/>
                  </a:lnTo>
                  <a:lnTo>
                    <a:pt x="195263" y="1238250"/>
                  </a:lnTo>
                  <a:lnTo>
                    <a:pt x="198438" y="1247775"/>
                  </a:lnTo>
                  <a:lnTo>
                    <a:pt x="198438" y="1250950"/>
                  </a:lnTo>
                  <a:lnTo>
                    <a:pt x="195263" y="1260475"/>
                  </a:lnTo>
                  <a:lnTo>
                    <a:pt x="188913" y="1257300"/>
                  </a:lnTo>
                  <a:lnTo>
                    <a:pt x="176213" y="1257300"/>
                  </a:lnTo>
                  <a:lnTo>
                    <a:pt x="166688" y="1263650"/>
                  </a:lnTo>
                  <a:lnTo>
                    <a:pt x="157163" y="1279525"/>
                  </a:lnTo>
                  <a:lnTo>
                    <a:pt x="153988" y="1282700"/>
                  </a:lnTo>
                  <a:lnTo>
                    <a:pt x="150813" y="1295400"/>
                  </a:lnTo>
                  <a:lnTo>
                    <a:pt x="153988" y="1320800"/>
                  </a:lnTo>
                  <a:lnTo>
                    <a:pt x="157163" y="1336675"/>
                  </a:lnTo>
                  <a:lnTo>
                    <a:pt x="157163" y="1352550"/>
                  </a:lnTo>
                  <a:lnTo>
                    <a:pt x="153988" y="1362075"/>
                  </a:lnTo>
                  <a:lnTo>
                    <a:pt x="157163" y="1371600"/>
                  </a:lnTo>
                  <a:lnTo>
                    <a:pt x="163513" y="1374775"/>
                  </a:lnTo>
                  <a:lnTo>
                    <a:pt x="169863" y="1381125"/>
                  </a:lnTo>
                  <a:lnTo>
                    <a:pt x="169863" y="1390650"/>
                  </a:lnTo>
                  <a:lnTo>
                    <a:pt x="166688" y="1397000"/>
                  </a:lnTo>
                  <a:lnTo>
                    <a:pt x="157163" y="1400175"/>
                  </a:lnTo>
                  <a:lnTo>
                    <a:pt x="163513" y="1416050"/>
                  </a:lnTo>
                  <a:lnTo>
                    <a:pt x="166688" y="1428750"/>
                  </a:lnTo>
                  <a:lnTo>
                    <a:pt x="163513" y="1441450"/>
                  </a:lnTo>
                  <a:lnTo>
                    <a:pt x="153988" y="1454150"/>
                  </a:lnTo>
                  <a:lnTo>
                    <a:pt x="144463" y="1463675"/>
                  </a:lnTo>
                  <a:lnTo>
                    <a:pt x="147638" y="1476375"/>
                  </a:lnTo>
                  <a:lnTo>
                    <a:pt x="144463" y="1492250"/>
                  </a:lnTo>
                  <a:lnTo>
                    <a:pt x="134938" y="1482725"/>
                  </a:lnTo>
                  <a:lnTo>
                    <a:pt x="130175" y="1482725"/>
                  </a:lnTo>
                  <a:lnTo>
                    <a:pt x="120650" y="1479550"/>
                  </a:lnTo>
                  <a:lnTo>
                    <a:pt x="111125" y="1489075"/>
                  </a:lnTo>
                  <a:lnTo>
                    <a:pt x="85725" y="1511300"/>
                  </a:lnTo>
                  <a:lnTo>
                    <a:pt x="73025" y="1524000"/>
                  </a:lnTo>
                  <a:lnTo>
                    <a:pt x="60325" y="1527175"/>
                  </a:lnTo>
                  <a:lnTo>
                    <a:pt x="34925" y="1520825"/>
                  </a:lnTo>
                  <a:lnTo>
                    <a:pt x="22225" y="1511300"/>
                  </a:lnTo>
                  <a:lnTo>
                    <a:pt x="12700" y="1498600"/>
                  </a:lnTo>
                  <a:lnTo>
                    <a:pt x="15875" y="1489075"/>
                  </a:lnTo>
                  <a:lnTo>
                    <a:pt x="22225" y="1485900"/>
                  </a:lnTo>
                  <a:lnTo>
                    <a:pt x="28575" y="1473200"/>
                  </a:lnTo>
                  <a:lnTo>
                    <a:pt x="19050" y="1473200"/>
                  </a:lnTo>
                  <a:lnTo>
                    <a:pt x="12700" y="1476375"/>
                  </a:lnTo>
                  <a:lnTo>
                    <a:pt x="9525" y="1473200"/>
                  </a:lnTo>
                  <a:lnTo>
                    <a:pt x="9525" y="1460500"/>
                  </a:lnTo>
                  <a:lnTo>
                    <a:pt x="12700" y="1457325"/>
                  </a:lnTo>
                  <a:lnTo>
                    <a:pt x="19050" y="1447800"/>
                  </a:lnTo>
                  <a:lnTo>
                    <a:pt x="19050" y="1444625"/>
                  </a:lnTo>
                  <a:lnTo>
                    <a:pt x="15875" y="1438275"/>
                  </a:lnTo>
                  <a:lnTo>
                    <a:pt x="9525" y="1438275"/>
                  </a:lnTo>
                  <a:lnTo>
                    <a:pt x="6350" y="1428750"/>
                  </a:lnTo>
                  <a:lnTo>
                    <a:pt x="9525" y="1422400"/>
                  </a:lnTo>
                  <a:lnTo>
                    <a:pt x="6350" y="1409700"/>
                  </a:lnTo>
                  <a:lnTo>
                    <a:pt x="3175" y="1400175"/>
                  </a:lnTo>
                  <a:lnTo>
                    <a:pt x="3175" y="1393825"/>
                  </a:lnTo>
                  <a:lnTo>
                    <a:pt x="6350" y="1387475"/>
                  </a:lnTo>
                  <a:lnTo>
                    <a:pt x="6350" y="1381125"/>
                  </a:lnTo>
                  <a:lnTo>
                    <a:pt x="0" y="1371600"/>
                  </a:lnTo>
                  <a:lnTo>
                    <a:pt x="6350" y="1362075"/>
                  </a:lnTo>
                  <a:lnTo>
                    <a:pt x="6350" y="1346200"/>
                  </a:lnTo>
                  <a:lnTo>
                    <a:pt x="15875" y="1346200"/>
                  </a:lnTo>
                  <a:lnTo>
                    <a:pt x="25400" y="1343025"/>
                  </a:lnTo>
                  <a:lnTo>
                    <a:pt x="28575" y="1330325"/>
                  </a:lnTo>
                  <a:lnTo>
                    <a:pt x="31750" y="1327150"/>
                  </a:lnTo>
                  <a:lnTo>
                    <a:pt x="44450" y="1327150"/>
                  </a:lnTo>
                  <a:lnTo>
                    <a:pt x="44450" y="1320800"/>
                  </a:lnTo>
                  <a:lnTo>
                    <a:pt x="44450" y="1311275"/>
                  </a:lnTo>
                  <a:lnTo>
                    <a:pt x="53975" y="1308100"/>
                  </a:lnTo>
                  <a:lnTo>
                    <a:pt x="66675" y="1311275"/>
                  </a:lnTo>
                  <a:lnTo>
                    <a:pt x="69850" y="1304925"/>
                  </a:lnTo>
                  <a:lnTo>
                    <a:pt x="79375" y="1292225"/>
                  </a:lnTo>
                  <a:lnTo>
                    <a:pt x="95250" y="1289050"/>
                  </a:lnTo>
                  <a:lnTo>
                    <a:pt x="95250" y="1282700"/>
                  </a:lnTo>
                  <a:lnTo>
                    <a:pt x="101600" y="1279525"/>
                  </a:lnTo>
                  <a:lnTo>
                    <a:pt x="101600" y="1270000"/>
                  </a:lnTo>
                  <a:lnTo>
                    <a:pt x="111125" y="1257300"/>
                  </a:lnTo>
                  <a:lnTo>
                    <a:pt x="117475" y="1250950"/>
                  </a:lnTo>
                  <a:lnTo>
                    <a:pt x="120650" y="1241425"/>
                  </a:lnTo>
                  <a:lnTo>
                    <a:pt x="130175" y="1241425"/>
                  </a:lnTo>
                  <a:lnTo>
                    <a:pt x="130175" y="1235075"/>
                  </a:lnTo>
                  <a:lnTo>
                    <a:pt x="133350" y="1235075"/>
                  </a:lnTo>
                  <a:lnTo>
                    <a:pt x="138113" y="1238250"/>
                  </a:lnTo>
                  <a:lnTo>
                    <a:pt x="144463" y="1235075"/>
                  </a:lnTo>
                  <a:lnTo>
                    <a:pt x="138113" y="1228725"/>
                  </a:lnTo>
                  <a:lnTo>
                    <a:pt x="134938" y="1222375"/>
                  </a:lnTo>
                  <a:lnTo>
                    <a:pt x="141288" y="1212850"/>
                  </a:lnTo>
                  <a:lnTo>
                    <a:pt x="150813" y="1206500"/>
                  </a:lnTo>
                  <a:lnTo>
                    <a:pt x="160338" y="1206500"/>
                  </a:lnTo>
                  <a:lnTo>
                    <a:pt x="163513" y="1193800"/>
                  </a:lnTo>
                  <a:lnTo>
                    <a:pt x="160338" y="1181100"/>
                  </a:lnTo>
                  <a:lnTo>
                    <a:pt x="160338" y="1171575"/>
                  </a:lnTo>
                  <a:lnTo>
                    <a:pt x="166688" y="1155700"/>
                  </a:lnTo>
                  <a:lnTo>
                    <a:pt x="169863" y="1152525"/>
                  </a:lnTo>
                  <a:lnTo>
                    <a:pt x="173038" y="1139825"/>
                  </a:lnTo>
                  <a:lnTo>
                    <a:pt x="176213" y="1130300"/>
                  </a:lnTo>
                  <a:lnTo>
                    <a:pt x="188913" y="1108075"/>
                  </a:lnTo>
                  <a:lnTo>
                    <a:pt x="198438" y="1108075"/>
                  </a:lnTo>
                  <a:lnTo>
                    <a:pt x="204788" y="1095375"/>
                  </a:lnTo>
                  <a:lnTo>
                    <a:pt x="214313" y="1092200"/>
                  </a:lnTo>
                  <a:lnTo>
                    <a:pt x="211138" y="1076325"/>
                  </a:lnTo>
                  <a:lnTo>
                    <a:pt x="220663" y="1063625"/>
                  </a:lnTo>
                  <a:lnTo>
                    <a:pt x="211138" y="1060450"/>
                  </a:lnTo>
                  <a:lnTo>
                    <a:pt x="217488" y="1054100"/>
                  </a:lnTo>
                  <a:lnTo>
                    <a:pt x="223838" y="1054100"/>
                  </a:lnTo>
                  <a:lnTo>
                    <a:pt x="233363" y="1054100"/>
                  </a:lnTo>
                  <a:lnTo>
                    <a:pt x="236538" y="1047750"/>
                  </a:lnTo>
                  <a:lnTo>
                    <a:pt x="242888" y="1050925"/>
                  </a:lnTo>
                  <a:lnTo>
                    <a:pt x="255588" y="1044575"/>
                  </a:lnTo>
                  <a:lnTo>
                    <a:pt x="249238" y="1035050"/>
                  </a:lnTo>
                  <a:lnTo>
                    <a:pt x="249238" y="1022350"/>
                  </a:lnTo>
                  <a:lnTo>
                    <a:pt x="252413" y="1012825"/>
                  </a:lnTo>
                  <a:lnTo>
                    <a:pt x="255588" y="1009650"/>
                  </a:lnTo>
                  <a:lnTo>
                    <a:pt x="265113" y="1000125"/>
                  </a:lnTo>
                  <a:lnTo>
                    <a:pt x="271463" y="993775"/>
                  </a:lnTo>
                  <a:lnTo>
                    <a:pt x="274638" y="984250"/>
                  </a:lnTo>
                  <a:lnTo>
                    <a:pt x="287338" y="962025"/>
                  </a:lnTo>
                  <a:lnTo>
                    <a:pt x="290513" y="958850"/>
                  </a:lnTo>
                  <a:lnTo>
                    <a:pt x="293688" y="955675"/>
                  </a:lnTo>
                  <a:lnTo>
                    <a:pt x="300038" y="949325"/>
                  </a:lnTo>
                  <a:lnTo>
                    <a:pt x="328613" y="930275"/>
                  </a:lnTo>
                  <a:lnTo>
                    <a:pt x="334963" y="933450"/>
                  </a:lnTo>
                  <a:lnTo>
                    <a:pt x="338138" y="942975"/>
                  </a:lnTo>
                  <a:lnTo>
                    <a:pt x="344488" y="936625"/>
                  </a:lnTo>
                  <a:lnTo>
                    <a:pt x="350838" y="927100"/>
                  </a:lnTo>
                  <a:lnTo>
                    <a:pt x="350838" y="914400"/>
                  </a:lnTo>
                  <a:lnTo>
                    <a:pt x="369888" y="908050"/>
                  </a:lnTo>
                  <a:lnTo>
                    <a:pt x="379413" y="911225"/>
                  </a:lnTo>
                  <a:lnTo>
                    <a:pt x="388938" y="914400"/>
                  </a:lnTo>
                  <a:lnTo>
                    <a:pt x="401638" y="908050"/>
                  </a:lnTo>
                  <a:lnTo>
                    <a:pt x="411163" y="889000"/>
                  </a:lnTo>
                  <a:lnTo>
                    <a:pt x="417513" y="873125"/>
                  </a:lnTo>
                  <a:lnTo>
                    <a:pt x="423863" y="876300"/>
                  </a:lnTo>
                  <a:lnTo>
                    <a:pt x="427038" y="866775"/>
                  </a:lnTo>
                  <a:lnTo>
                    <a:pt x="439738" y="866775"/>
                  </a:lnTo>
                  <a:lnTo>
                    <a:pt x="446088" y="866775"/>
                  </a:lnTo>
                  <a:lnTo>
                    <a:pt x="452438" y="873125"/>
                  </a:lnTo>
                  <a:lnTo>
                    <a:pt x="446088" y="885825"/>
                  </a:lnTo>
                  <a:lnTo>
                    <a:pt x="436563" y="895350"/>
                  </a:lnTo>
                  <a:lnTo>
                    <a:pt x="433388" y="917575"/>
                  </a:lnTo>
                  <a:lnTo>
                    <a:pt x="436563" y="923925"/>
                  </a:lnTo>
                  <a:lnTo>
                    <a:pt x="442913" y="914400"/>
                  </a:lnTo>
                  <a:lnTo>
                    <a:pt x="449263" y="898525"/>
                  </a:lnTo>
                  <a:lnTo>
                    <a:pt x="461963" y="873125"/>
                  </a:lnTo>
                  <a:lnTo>
                    <a:pt x="468313" y="876300"/>
                  </a:lnTo>
                  <a:lnTo>
                    <a:pt x="468313" y="892175"/>
                  </a:lnTo>
                  <a:lnTo>
                    <a:pt x="465138" y="904875"/>
                  </a:lnTo>
                  <a:lnTo>
                    <a:pt x="474663" y="898525"/>
                  </a:lnTo>
                  <a:lnTo>
                    <a:pt x="477838" y="879475"/>
                  </a:lnTo>
                  <a:lnTo>
                    <a:pt x="477838" y="869950"/>
                  </a:lnTo>
                  <a:lnTo>
                    <a:pt x="487363" y="860425"/>
                  </a:lnTo>
                  <a:close/>
                  <a:moveTo>
                    <a:pt x="442913" y="854075"/>
                  </a:moveTo>
                  <a:lnTo>
                    <a:pt x="452438" y="854075"/>
                  </a:lnTo>
                  <a:lnTo>
                    <a:pt x="455613" y="860425"/>
                  </a:lnTo>
                  <a:lnTo>
                    <a:pt x="446088" y="863600"/>
                  </a:lnTo>
                  <a:close/>
                  <a:moveTo>
                    <a:pt x="385763" y="263525"/>
                  </a:moveTo>
                  <a:lnTo>
                    <a:pt x="398463" y="273050"/>
                  </a:lnTo>
                  <a:lnTo>
                    <a:pt x="392113" y="288925"/>
                  </a:lnTo>
                  <a:lnTo>
                    <a:pt x="411163" y="301625"/>
                  </a:lnTo>
                  <a:lnTo>
                    <a:pt x="420688" y="304800"/>
                  </a:lnTo>
                  <a:lnTo>
                    <a:pt x="427038" y="311150"/>
                  </a:lnTo>
                  <a:lnTo>
                    <a:pt x="423863" y="317500"/>
                  </a:lnTo>
                  <a:lnTo>
                    <a:pt x="411163" y="330200"/>
                  </a:lnTo>
                  <a:lnTo>
                    <a:pt x="407988" y="339725"/>
                  </a:lnTo>
                  <a:lnTo>
                    <a:pt x="404813" y="346075"/>
                  </a:lnTo>
                  <a:lnTo>
                    <a:pt x="385763" y="361950"/>
                  </a:lnTo>
                  <a:lnTo>
                    <a:pt x="376238" y="361950"/>
                  </a:lnTo>
                  <a:lnTo>
                    <a:pt x="369888" y="339725"/>
                  </a:lnTo>
                  <a:lnTo>
                    <a:pt x="366713" y="342900"/>
                  </a:lnTo>
                  <a:lnTo>
                    <a:pt x="350838" y="346075"/>
                  </a:lnTo>
                  <a:lnTo>
                    <a:pt x="344488" y="346075"/>
                  </a:lnTo>
                  <a:lnTo>
                    <a:pt x="344488" y="333375"/>
                  </a:lnTo>
                  <a:lnTo>
                    <a:pt x="350838" y="317500"/>
                  </a:lnTo>
                  <a:lnTo>
                    <a:pt x="354013" y="292100"/>
                  </a:lnTo>
                  <a:lnTo>
                    <a:pt x="344488" y="282575"/>
                  </a:lnTo>
                  <a:lnTo>
                    <a:pt x="347663" y="273050"/>
                  </a:lnTo>
                  <a:lnTo>
                    <a:pt x="363538" y="266700"/>
                  </a:lnTo>
                  <a:close/>
                  <a:moveTo>
                    <a:pt x="354013" y="222250"/>
                  </a:moveTo>
                  <a:lnTo>
                    <a:pt x="373063" y="234950"/>
                  </a:lnTo>
                  <a:lnTo>
                    <a:pt x="373063" y="260350"/>
                  </a:lnTo>
                  <a:lnTo>
                    <a:pt x="366713" y="263525"/>
                  </a:lnTo>
                  <a:lnTo>
                    <a:pt x="347663" y="266700"/>
                  </a:lnTo>
                  <a:lnTo>
                    <a:pt x="341313" y="257175"/>
                  </a:lnTo>
                  <a:lnTo>
                    <a:pt x="338138" y="247650"/>
                  </a:lnTo>
                  <a:lnTo>
                    <a:pt x="328613" y="238125"/>
                  </a:lnTo>
                  <a:close/>
                  <a:moveTo>
                    <a:pt x="123825" y="190500"/>
                  </a:moveTo>
                  <a:lnTo>
                    <a:pt x="133350" y="203200"/>
                  </a:lnTo>
                  <a:lnTo>
                    <a:pt x="147638" y="241300"/>
                  </a:lnTo>
                  <a:lnTo>
                    <a:pt x="157163" y="266700"/>
                  </a:lnTo>
                  <a:lnTo>
                    <a:pt x="141288" y="247650"/>
                  </a:lnTo>
                  <a:lnTo>
                    <a:pt x="123825" y="209550"/>
                  </a:lnTo>
                  <a:lnTo>
                    <a:pt x="120650" y="196850"/>
                  </a:lnTo>
                  <a:close/>
                  <a:moveTo>
                    <a:pt x="246063" y="53975"/>
                  </a:moveTo>
                  <a:lnTo>
                    <a:pt x="255588" y="63500"/>
                  </a:lnTo>
                  <a:lnTo>
                    <a:pt x="280988" y="88900"/>
                  </a:lnTo>
                  <a:lnTo>
                    <a:pt x="296863" y="114300"/>
                  </a:lnTo>
                  <a:lnTo>
                    <a:pt x="303213" y="155575"/>
                  </a:lnTo>
                  <a:lnTo>
                    <a:pt x="312738" y="158750"/>
                  </a:lnTo>
                  <a:lnTo>
                    <a:pt x="322263" y="174625"/>
                  </a:lnTo>
                  <a:lnTo>
                    <a:pt x="331788" y="184150"/>
                  </a:lnTo>
                  <a:lnTo>
                    <a:pt x="350838" y="193675"/>
                  </a:lnTo>
                  <a:lnTo>
                    <a:pt x="357188" y="206375"/>
                  </a:lnTo>
                  <a:lnTo>
                    <a:pt x="347663" y="222250"/>
                  </a:lnTo>
                  <a:lnTo>
                    <a:pt x="328613" y="219075"/>
                  </a:lnTo>
                  <a:lnTo>
                    <a:pt x="309563" y="234950"/>
                  </a:lnTo>
                  <a:lnTo>
                    <a:pt x="306388" y="241300"/>
                  </a:lnTo>
                  <a:lnTo>
                    <a:pt x="303213" y="254000"/>
                  </a:lnTo>
                  <a:lnTo>
                    <a:pt x="303213" y="263525"/>
                  </a:lnTo>
                  <a:lnTo>
                    <a:pt x="293688" y="301625"/>
                  </a:lnTo>
                  <a:lnTo>
                    <a:pt x="284163" y="330200"/>
                  </a:lnTo>
                  <a:lnTo>
                    <a:pt x="277813" y="342900"/>
                  </a:lnTo>
                  <a:lnTo>
                    <a:pt x="261938" y="412750"/>
                  </a:lnTo>
                  <a:lnTo>
                    <a:pt x="258763" y="428625"/>
                  </a:lnTo>
                  <a:lnTo>
                    <a:pt x="249238" y="428625"/>
                  </a:lnTo>
                  <a:lnTo>
                    <a:pt x="230188" y="400050"/>
                  </a:lnTo>
                  <a:lnTo>
                    <a:pt x="220663" y="387350"/>
                  </a:lnTo>
                  <a:lnTo>
                    <a:pt x="204788" y="368300"/>
                  </a:lnTo>
                  <a:lnTo>
                    <a:pt x="195263" y="349250"/>
                  </a:lnTo>
                  <a:lnTo>
                    <a:pt x="195263" y="336550"/>
                  </a:lnTo>
                  <a:lnTo>
                    <a:pt x="198438" y="333375"/>
                  </a:lnTo>
                  <a:lnTo>
                    <a:pt x="204788" y="330200"/>
                  </a:lnTo>
                  <a:lnTo>
                    <a:pt x="207963" y="339725"/>
                  </a:lnTo>
                  <a:lnTo>
                    <a:pt x="211138" y="336550"/>
                  </a:lnTo>
                  <a:lnTo>
                    <a:pt x="214313" y="333375"/>
                  </a:lnTo>
                  <a:lnTo>
                    <a:pt x="211138" y="323850"/>
                  </a:lnTo>
                  <a:lnTo>
                    <a:pt x="198438" y="311150"/>
                  </a:lnTo>
                  <a:lnTo>
                    <a:pt x="188913" y="314325"/>
                  </a:lnTo>
                  <a:lnTo>
                    <a:pt x="185738" y="285750"/>
                  </a:lnTo>
                  <a:lnTo>
                    <a:pt x="192088" y="279400"/>
                  </a:lnTo>
                  <a:lnTo>
                    <a:pt x="201613" y="279400"/>
                  </a:lnTo>
                  <a:lnTo>
                    <a:pt x="217488" y="273050"/>
                  </a:lnTo>
                  <a:lnTo>
                    <a:pt x="230188" y="257175"/>
                  </a:lnTo>
                  <a:lnTo>
                    <a:pt x="233363" y="241300"/>
                  </a:lnTo>
                  <a:lnTo>
                    <a:pt x="223838" y="222250"/>
                  </a:lnTo>
                  <a:lnTo>
                    <a:pt x="227013" y="196850"/>
                  </a:lnTo>
                  <a:lnTo>
                    <a:pt x="217488" y="206375"/>
                  </a:lnTo>
                  <a:lnTo>
                    <a:pt x="207963" y="215900"/>
                  </a:lnTo>
                  <a:lnTo>
                    <a:pt x="211138" y="244475"/>
                  </a:lnTo>
                  <a:lnTo>
                    <a:pt x="201613" y="257175"/>
                  </a:lnTo>
                  <a:lnTo>
                    <a:pt x="192088" y="266700"/>
                  </a:lnTo>
                  <a:lnTo>
                    <a:pt x="173038" y="260350"/>
                  </a:lnTo>
                  <a:lnTo>
                    <a:pt x="153988" y="228600"/>
                  </a:lnTo>
                  <a:lnTo>
                    <a:pt x="144463" y="209550"/>
                  </a:lnTo>
                  <a:lnTo>
                    <a:pt x="138113" y="184150"/>
                  </a:lnTo>
                  <a:lnTo>
                    <a:pt x="138113" y="168275"/>
                  </a:lnTo>
                  <a:lnTo>
                    <a:pt x="130175" y="133350"/>
                  </a:lnTo>
                  <a:lnTo>
                    <a:pt x="150813" y="82550"/>
                  </a:lnTo>
                  <a:lnTo>
                    <a:pt x="179388" y="79375"/>
                  </a:lnTo>
                  <a:lnTo>
                    <a:pt x="192088" y="76200"/>
                  </a:lnTo>
                  <a:lnTo>
                    <a:pt x="195263" y="88900"/>
                  </a:lnTo>
                  <a:lnTo>
                    <a:pt x="198438" y="107950"/>
                  </a:lnTo>
                  <a:lnTo>
                    <a:pt x="207963" y="85725"/>
                  </a:lnTo>
                  <a:lnTo>
                    <a:pt x="211138" y="88900"/>
                  </a:lnTo>
                  <a:lnTo>
                    <a:pt x="223838" y="120650"/>
                  </a:lnTo>
                  <a:lnTo>
                    <a:pt x="246063" y="180975"/>
                  </a:lnTo>
                  <a:lnTo>
                    <a:pt x="236538" y="136525"/>
                  </a:lnTo>
                  <a:lnTo>
                    <a:pt x="233363" y="76200"/>
                  </a:lnTo>
                  <a:close/>
                  <a:moveTo>
                    <a:pt x="392113" y="0"/>
                  </a:moveTo>
                  <a:lnTo>
                    <a:pt x="395288" y="25400"/>
                  </a:lnTo>
                  <a:lnTo>
                    <a:pt x="392113" y="28575"/>
                  </a:lnTo>
                  <a:lnTo>
                    <a:pt x="388938" y="41275"/>
                  </a:lnTo>
                  <a:lnTo>
                    <a:pt x="398463" y="44450"/>
                  </a:lnTo>
                  <a:lnTo>
                    <a:pt x="411163" y="28575"/>
                  </a:lnTo>
                  <a:lnTo>
                    <a:pt x="420688" y="28575"/>
                  </a:lnTo>
                  <a:lnTo>
                    <a:pt x="430213" y="31750"/>
                  </a:lnTo>
                  <a:lnTo>
                    <a:pt x="455613" y="34925"/>
                  </a:lnTo>
                  <a:lnTo>
                    <a:pt x="468313" y="38100"/>
                  </a:lnTo>
                  <a:lnTo>
                    <a:pt x="481013" y="50800"/>
                  </a:lnTo>
                  <a:lnTo>
                    <a:pt x="481013" y="60325"/>
                  </a:lnTo>
                  <a:lnTo>
                    <a:pt x="458788" y="111125"/>
                  </a:lnTo>
                  <a:lnTo>
                    <a:pt x="449263" y="133350"/>
                  </a:lnTo>
                  <a:lnTo>
                    <a:pt x="436563" y="142875"/>
                  </a:lnTo>
                  <a:lnTo>
                    <a:pt x="407988" y="158750"/>
                  </a:lnTo>
                  <a:lnTo>
                    <a:pt x="395288" y="158750"/>
                  </a:lnTo>
                  <a:lnTo>
                    <a:pt x="382588" y="146050"/>
                  </a:lnTo>
                  <a:lnTo>
                    <a:pt x="379413" y="133350"/>
                  </a:lnTo>
                  <a:lnTo>
                    <a:pt x="373063" y="133350"/>
                  </a:lnTo>
                  <a:lnTo>
                    <a:pt x="357188" y="133350"/>
                  </a:lnTo>
                  <a:lnTo>
                    <a:pt x="347663" y="139700"/>
                  </a:lnTo>
                  <a:lnTo>
                    <a:pt x="331788" y="127000"/>
                  </a:lnTo>
                  <a:lnTo>
                    <a:pt x="319088" y="117475"/>
                  </a:lnTo>
                  <a:lnTo>
                    <a:pt x="309563" y="95250"/>
                  </a:lnTo>
                  <a:lnTo>
                    <a:pt x="284163" y="73025"/>
                  </a:lnTo>
                  <a:lnTo>
                    <a:pt x="277813" y="44450"/>
                  </a:lnTo>
                  <a:lnTo>
                    <a:pt x="296863" y="38100"/>
                  </a:lnTo>
                  <a:lnTo>
                    <a:pt x="325438" y="3175"/>
                  </a:lnTo>
                  <a:lnTo>
                    <a:pt x="357188" y="28575"/>
                  </a:lnTo>
                  <a:lnTo>
                    <a:pt x="363538" y="28575"/>
                  </a:lnTo>
                  <a:lnTo>
                    <a:pt x="373063" y="57150"/>
                  </a:lnTo>
                  <a:lnTo>
                    <a:pt x="379413" y="635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9" name="Freeform 739">
              <a:extLst>
                <a:ext uri="{FF2B5EF4-FFF2-40B4-BE49-F238E27FC236}">
                  <a16:creationId xmlns:a16="http://schemas.microsoft.com/office/drawing/2014/main" id="{B01F9406-60A9-48B5-B509-A802BE04F9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0475" y="2393949"/>
              <a:ext cx="384175" cy="228600"/>
            </a:xfrm>
            <a:custGeom>
              <a:avLst/>
              <a:gdLst/>
              <a:ahLst/>
              <a:cxnLst/>
              <a:rect l="l" t="t" r="r" b="b"/>
              <a:pathLst>
                <a:path w="384175" h="228600">
                  <a:moveTo>
                    <a:pt x="374650" y="212725"/>
                  </a:moveTo>
                  <a:lnTo>
                    <a:pt x="384175" y="228600"/>
                  </a:lnTo>
                  <a:lnTo>
                    <a:pt x="374650" y="219075"/>
                  </a:lnTo>
                  <a:close/>
                  <a:moveTo>
                    <a:pt x="180975" y="0"/>
                  </a:moveTo>
                  <a:lnTo>
                    <a:pt x="190500" y="9525"/>
                  </a:lnTo>
                  <a:lnTo>
                    <a:pt x="200025" y="19050"/>
                  </a:lnTo>
                  <a:lnTo>
                    <a:pt x="206375" y="25400"/>
                  </a:lnTo>
                  <a:lnTo>
                    <a:pt x="219075" y="41275"/>
                  </a:lnTo>
                  <a:lnTo>
                    <a:pt x="222250" y="47625"/>
                  </a:lnTo>
                  <a:lnTo>
                    <a:pt x="231775" y="47625"/>
                  </a:lnTo>
                  <a:lnTo>
                    <a:pt x="234950" y="53975"/>
                  </a:lnTo>
                  <a:lnTo>
                    <a:pt x="234950" y="69850"/>
                  </a:lnTo>
                  <a:lnTo>
                    <a:pt x="231775" y="88900"/>
                  </a:lnTo>
                  <a:lnTo>
                    <a:pt x="225425" y="95250"/>
                  </a:lnTo>
                  <a:lnTo>
                    <a:pt x="212725" y="111125"/>
                  </a:lnTo>
                  <a:lnTo>
                    <a:pt x="209550" y="114300"/>
                  </a:lnTo>
                  <a:lnTo>
                    <a:pt x="209550" y="117475"/>
                  </a:lnTo>
                  <a:lnTo>
                    <a:pt x="203200" y="117475"/>
                  </a:lnTo>
                  <a:lnTo>
                    <a:pt x="177800" y="130175"/>
                  </a:lnTo>
                  <a:lnTo>
                    <a:pt x="165100" y="139700"/>
                  </a:lnTo>
                  <a:lnTo>
                    <a:pt x="136525" y="155575"/>
                  </a:lnTo>
                  <a:lnTo>
                    <a:pt x="111125" y="155575"/>
                  </a:lnTo>
                  <a:lnTo>
                    <a:pt x="82550" y="142875"/>
                  </a:lnTo>
                  <a:lnTo>
                    <a:pt x="69850" y="139700"/>
                  </a:lnTo>
                  <a:lnTo>
                    <a:pt x="53975" y="139700"/>
                  </a:lnTo>
                  <a:lnTo>
                    <a:pt x="44450" y="139700"/>
                  </a:lnTo>
                  <a:lnTo>
                    <a:pt x="38100" y="133350"/>
                  </a:lnTo>
                  <a:lnTo>
                    <a:pt x="47625" y="130175"/>
                  </a:lnTo>
                  <a:lnTo>
                    <a:pt x="57150" y="127000"/>
                  </a:lnTo>
                  <a:lnTo>
                    <a:pt x="53975" y="111125"/>
                  </a:lnTo>
                  <a:lnTo>
                    <a:pt x="50800" y="95250"/>
                  </a:lnTo>
                  <a:lnTo>
                    <a:pt x="38100" y="88900"/>
                  </a:lnTo>
                  <a:lnTo>
                    <a:pt x="25400" y="88900"/>
                  </a:lnTo>
                  <a:lnTo>
                    <a:pt x="15875" y="95250"/>
                  </a:lnTo>
                  <a:lnTo>
                    <a:pt x="9525" y="85725"/>
                  </a:lnTo>
                  <a:lnTo>
                    <a:pt x="15875" y="85725"/>
                  </a:lnTo>
                  <a:lnTo>
                    <a:pt x="25400" y="82550"/>
                  </a:lnTo>
                  <a:lnTo>
                    <a:pt x="34925" y="76200"/>
                  </a:lnTo>
                  <a:lnTo>
                    <a:pt x="60325" y="57150"/>
                  </a:lnTo>
                  <a:lnTo>
                    <a:pt x="41275" y="53975"/>
                  </a:lnTo>
                  <a:lnTo>
                    <a:pt x="25400" y="53975"/>
                  </a:lnTo>
                  <a:lnTo>
                    <a:pt x="12700" y="60325"/>
                  </a:lnTo>
                  <a:lnTo>
                    <a:pt x="0" y="53975"/>
                  </a:lnTo>
                  <a:lnTo>
                    <a:pt x="15875" y="25400"/>
                  </a:lnTo>
                  <a:lnTo>
                    <a:pt x="28575" y="9525"/>
                  </a:lnTo>
                  <a:lnTo>
                    <a:pt x="41275" y="6350"/>
                  </a:lnTo>
                  <a:lnTo>
                    <a:pt x="47625" y="12700"/>
                  </a:lnTo>
                  <a:lnTo>
                    <a:pt x="53975" y="15875"/>
                  </a:lnTo>
                  <a:lnTo>
                    <a:pt x="60325" y="19050"/>
                  </a:lnTo>
                  <a:lnTo>
                    <a:pt x="69850" y="28575"/>
                  </a:lnTo>
                  <a:lnTo>
                    <a:pt x="69850" y="38100"/>
                  </a:lnTo>
                  <a:lnTo>
                    <a:pt x="76200" y="57150"/>
                  </a:lnTo>
                  <a:lnTo>
                    <a:pt x="82550" y="47625"/>
                  </a:lnTo>
                  <a:lnTo>
                    <a:pt x="85725" y="53975"/>
                  </a:lnTo>
                  <a:lnTo>
                    <a:pt x="92075" y="47625"/>
                  </a:lnTo>
                  <a:lnTo>
                    <a:pt x="92075" y="34925"/>
                  </a:lnTo>
                  <a:lnTo>
                    <a:pt x="88900" y="22225"/>
                  </a:lnTo>
                  <a:lnTo>
                    <a:pt x="95250" y="22225"/>
                  </a:lnTo>
                  <a:lnTo>
                    <a:pt x="104775" y="41275"/>
                  </a:lnTo>
                  <a:lnTo>
                    <a:pt x="107950" y="31750"/>
                  </a:lnTo>
                  <a:lnTo>
                    <a:pt x="111125" y="25400"/>
                  </a:lnTo>
                  <a:lnTo>
                    <a:pt x="114300" y="22225"/>
                  </a:lnTo>
                  <a:lnTo>
                    <a:pt x="120650" y="19050"/>
                  </a:lnTo>
                  <a:lnTo>
                    <a:pt x="127000" y="22225"/>
                  </a:lnTo>
                  <a:lnTo>
                    <a:pt x="142875" y="19050"/>
                  </a:lnTo>
                  <a:lnTo>
                    <a:pt x="146050" y="25400"/>
                  </a:lnTo>
                  <a:lnTo>
                    <a:pt x="152400" y="22225"/>
                  </a:lnTo>
                  <a:lnTo>
                    <a:pt x="161925" y="19050"/>
                  </a:lnTo>
                  <a:lnTo>
                    <a:pt x="165100" y="22225"/>
                  </a:lnTo>
                  <a:lnTo>
                    <a:pt x="168275" y="22225"/>
                  </a:lnTo>
                  <a:lnTo>
                    <a:pt x="174625" y="19050"/>
                  </a:lnTo>
                  <a:lnTo>
                    <a:pt x="174625" y="15875"/>
                  </a:lnTo>
                  <a:lnTo>
                    <a:pt x="174625" y="952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3" name="Freeform 720">
              <a:extLst>
                <a:ext uri="{FF2B5EF4-FFF2-40B4-BE49-F238E27FC236}">
                  <a16:creationId xmlns:a16="http://schemas.microsoft.com/office/drawing/2014/main" id="{8C34CE8B-EE5C-4B5A-B73C-8578AA61AA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5275" y="2898775"/>
              <a:ext cx="95250" cy="136525"/>
            </a:xfrm>
            <a:custGeom>
              <a:avLst/>
              <a:gdLst/>
              <a:ahLst/>
              <a:cxnLst>
                <a:cxn ang="0">
                  <a:pos x="6" y="84"/>
                </a:cxn>
                <a:cxn ang="0">
                  <a:pos x="8" y="86"/>
                </a:cxn>
                <a:cxn ang="0">
                  <a:pos x="16" y="86"/>
                </a:cxn>
                <a:cxn ang="0">
                  <a:pos x="28" y="82"/>
                </a:cxn>
                <a:cxn ang="0">
                  <a:pos x="34" y="78"/>
                </a:cxn>
                <a:cxn ang="0">
                  <a:pos x="38" y="74"/>
                </a:cxn>
                <a:cxn ang="0">
                  <a:pos x="44" y="72"/>
                </a:cxn>
                <a:cxn ang="0">
                  <a:pos x="46" y="70"/>
                </a:cxn>
                <a:cxn ang="0">
                  <a:pos x="52" y="70"/>
                </a:cxn>
                <a:cxn ang="0">
                  <a:pos x="54" y="70"/>
                </a:cxn>
                <a:cxn ang="0">
                  <a:pos x="56" y="66"/>
                </a:cxn>
                <a:cxn ang="0">
                  <a:pos x="58" y="58"/>
                </a:cxn>
                <a:cxn ang="0">
                  <a:pos x="60" y="50"/>
                </a:cxn>
                <a:cxn ang="0">
                  <a:pos x="58" y="42"/>
                </a:cxn>
                <a:cxn ang="0">
                  <a:pos x="58" y="40"/>
                </a:cxn>
                <a:cxn ang="0">
                  <a:pos x="58" y="38"/>
                </a:cxn>
                <a:cxn ang="0">
                  <a:pos x="58" y="36"/>
                </a:cxn>
                <a:cxn ang="0">
                  <a:pos x="54" y="32"/>
                </a:cxn>
                <a:cxn ang="0">
                  <a:pos x="58" y="30"/>
                </a:cxn>
                <a:cxn ang="0">
                  <a:pos x="56" y="28"/>
                </a:cxn>
                <a:cxn ang="0">
                  <a:pos x="42" y="28"/>
                </a:cxn>
                <a:cxn ang="0">
                  <a:pos x="36" y="26"/>
                </a:cxn>
                <a:cxn ang="0">
                  <a:pos x="30" y="20"/>
                </a:cxn>
                <a:cxn ang="0">
                  <a:pos x="38" y="16"/>
                </a:cxn>
                <a:cxn ang="0">
                  <a:pos x="44" y="6"/>
                </a:cxn>
                <a:cxn ang="0">
                  <a:pos x="46" y="2"/>
                </a:cxn>
                <a:cxn ang="0">
                  <a:pos x="46" y="0"/>
                </a:cxn>
                <a:cxn ang="0">
                  <a:pos x="36" y="2"/>
                </a:cxn>
                <a:cxn ang="0">
                  <a:pos x="32" y="2"/>
                </a:cxn>
                <a:cxn ang="0">
                  <a:pos x="32" y="4"/>
                </a:cxn>
                <a:cxn ang="0">
                  <a:pos x="30" y="4"/>
                </a:cxn>
                <a:cxn ang="0">
                  <a:pos x="28" y="6"/>
                </a:cxn>
                <a:cxn ang="0">
                  <a:pos x="28" y="6"/>
                </a:cxn>
                <a:cxn ang="0">
                  <a:pos x="26" y="12"/>
                </a:cxn>
                <a:cxn ang="0">
                  <a:pos x="24" y="12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28" y="20"/>
                </a:cxn>
                <a:cxn ang="0">
                  <a:pos x="24" y="22"/>
                </a:cxn>
                <a:cxn ang="0">
                  <a:pos x="14" y="22"/>
                </a:cxn>
                <a:cxn ang="0">
                  <a:pos x="8" y="22"/>
                </a:cxn>
                <a:cxn ang="0">
                  <a:pos x="4" y="24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6" y="36"/>
                </a:cxn>
                <a:cxn ang="0">
                  <a:pos x="4" y="44"/>
                </a:cxn>
                <a:cxn ang="0">
                  <a:pos x="10" y="48"/>
                </a:cxn>
                <a:cxn ang="0">
                  <a:pos x="16" y="50"/>
                </a:cxn>
                <a:cxn ang="0">
                  <a:pos x="14" y="56"/>
                </a:cxn>
                <a:cxn ang="0">
                  <a:pos x="10" y="60"/>
                </a:cxn>
                <a:cxn ang="0">
                  <a:pos x="8" y="66"/>
                </a:cxn>
                <a:cxn ang="0">
                  <a:pos x="10" y="70"/>
                </a:cxn>
                <a:cxn ang="0">
                  <a:pos x="4" y="70"/>
                </a:cxn>
                <a:cxn ang="0">
                  <a:pos x="0" y="70"/>
                </a:cxn>
                <a:cxn ang="0">
                  <a:pos x="0" y="78"/>
                </a:cxn>
                <a:cxn ang="0">
                  <a:pos x="6" y="84"/>
                </a:cxn>
              </a:cxnLst>
              <a:rect l="0" t="0" r="r" b="b"/>
              <a:pathLst>
                <a:path w="60" h="86">
                  <a:moveTo>
                    <a:pt x="6" y="84"/>
                  </a:moveTo>
                  <a:lnTo>
                    <a:pt x="8" y="86"/>
                  </a:lnTo>
                  <a:lnTo>
                    <a:pt x="16" y="86"/>
                  </a:lnTo>
                  <a:lnTo>
                    <a:pt x="28" y="82"/>
                  </a:lnTo>
                  <a:lnTo>
                    <a:pt x="34" y="78"/>
                  </a:lnTo>
                  <a:lnTo>
                    <a:pt x="38" y="74"/>
                  </a:lnTo>
                  <a:lnTo>
                    <a:pt x="44" y="72"/>
                  </a:lnTo>
                  <a:lnTo>
                    <a:pt x="46" y="70"/>
                  </a:lnTo>
                  <a:lnTo>
                    <a:pt x="52" y="70"/>
                  </a:lnTo>
                  <a:lnTo>
                    <a:pt x="54" y="70"/>
                  </a:lnTo>
                  <a:lnTo>
                    <a:pt x="56" y="66"/>
                  </a:lnTo>
                  <a:lnTo>
                    <a:pt x="58" y="58"/>
                  </a:lnTo>
                  <a:lnTo>
                    <a:pt x="60" y="50"/>
                  </a:lnTo>
                  <a:lnTo>
                    <a:pt x="58" y="42"/>
                  </a:lnTo>
                  <a:lnTo>
                    <a:pt x="58" y="40"/>
                  </a:lnTo>
                  <a:lnTo>
                    <a:pt x="58" y="38"/>
                  </a:lnTo>
                  <a:lnTo>
                    <a:pt x="58" y="36"/>
                  </a:lnTo>
                  <a:lnTo>
                    <a:pt x="54" y="32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42" y="28"/>
                  </a:lnTo>
                  <a:lnTo>
                    <a:pt x="36" y="26"/>
                  </a:lnTo>
                  <a:lnTo>
                    <a:pt x="30" y="20"/>
                  </a:lnTo>
                  <a:lnTo>
                    <a:pt x="38" y="16"/>
                  </a:lnTo>
                  <a:lnTo>
                    <a:pt x="44" y="6"/>
                  </a:lnTo>
                  <a:lnTo>
                    <a:pt x="46" y="2"/>
                  </a:lnTo>
                  <a:lnTo>
                    <a:pt x="46" y="0"/>
                  </a:lnTo>
                  <a:lnTo>
                    <a:pt x="36" y="2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30" y="4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28" y="20"/>
                  </a:lnTo>
                  <a:lnTo>
                    <a:pt x="24" y="22"/>
                  </a:lnTo>
                  <a:lnTo>
                    <a:pt x="14" y="22"/>
                  </a:lnTo>
                  <a:lnTo>
                    <a:pt x="8" y="22"/>
                  </a:lnTo>
                  <a:lnTo>
                    <a:pt x="4" y="24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6" y="36"/>
                  </a:lnTo>
                  <a:lnTo>
                    <a:pt x="4" y="44"/>
                  </a:lnTo>
                  <a:lnTo>
                    <a:pt x="10" y="48"/>
                  </a:lnTo>
                  <a:lnTo>
                    <a:pt x="16" y="50"/>
                  </a:lnTo>
                  <a:lnTo>
                    <a:pt x="14" y="56"/>
                  </a:lnTo>
                  <a:lnTo>
                    <a:pt x="10" y="60"/>
                  </a:lnTo>
                  <a:lnTo>
                    <a:pt x="8" y="66"/>
                  </a:lnTo>
                  <a:lnTo>
                    <a:pt x="10" y="70"/>
                  </a:lnTo>
                  <a:lnTo>
                    <a:pt x="4" y="70"/>
                  </a:lnTo>
                  <a:lnTo>
                    <a:pt x="0" y="70"/>
                  </a:lnTo>
                  <a:lnTo>
                    <a:pt x="0" y="78"/>
                  </a:lnTo>
                  <a:lnTo>
                    <a:pt x="6" y="84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4" name="Freeform 722">
              <a:extLst>
                <a:ext uri="{FF2B5EF4-FFF2-40B4-BE49-F238E27FC236}">
                  <a16:creationId xmlns:a16="http://schemas.microsoft.com/office/drawing/2014/main" id="{1D3F921D-7581-4F32-87BB-30F9C7881B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2900" y="2673350"/>
              <a:ext cx="215899" cy="412750"/>
            </a:xfrm>
            <a:custGeom>
              <a:avLst/>
              <a:gdLst/>
              <a:ahLst/>
              <a:cxnLst/>
              <a:rect l="l" t="t" r="r" b="b"/>
              <a:pathLst>
                <a:path w="215899" h="412750">
                  <a:moveTo>
                    <a:pt x="82550" y="257175"/>
                  </a:moveTo>
                  <a:lnTo>
                    <a:pt x="82550" y="263525"/>
                  </a:lnTo>
                  <a:lnTo>
                    <a:pt x="82550" y="266700"/>
                  </a:lnTo>
                  <a:lnTo>
                    <a:pt x="73025" y="269875"/>
                  </a:lnTo>
                  <a:lnTo>
                    <a:pt x="79375" y="263525"/>
                  </a:lnTo>
                  <a:close/>
                  <a:moveTo>
                    <a:pt x="38100" y="225425"/>
                  </a:moveTo>
                  <a:lnTo>
                    <a:pt x="47625" y="228600"/>
                  </a:lnTo>
                  <a:lnTo>
                    <a:pt x="53975" y="241300"/>
                  </a:lnTo>
                  <a:lnTo>
                    <a:pt x="60325" y="254000"/>
                  </a:lnTo>
                  <a:lnTo>
                    <a:pt x="57150" y="263525"/>
                  </a:lnTo>
                  <a:lnTo>
                    <a:pt x="47625" y="269875"/>
                  </a:lnTo>
                  <a:lnTo>
                    <a:pt x="41275" y="269875"/>
                  </a:lnTo>
                  <a:lnTo>
                    <a:pt x="19050" y="269875"/>
                  </a:lnTo>
                  <a:lnTo>
                    <a:pt x="9525" y="266700"/>
                  </a:lnTo>
                  <a:lnTo>
                    <a:pt x="0" y="257175"/>
                  </a:lnTo>
                  <a:lnTo>
                    <a:pt x="12700" y="250825"/>
                  </a:lnTo>
                  <a:lnTo>
                    <a:pt x="22225" y="234950"/>
                  </a:lnTo>
                  <a:lnTo>
                    <a:pt x="25400" y="231775"/>
                  </a:lnTo>
                  <a:lnTo>
                    <a:pt x="31750" y="228600"/>
                  </a:lnTo>
                  <a:close/>
                  <a:moveTo>
                    <a:pt x="44450" y="200025"/>
                  </a:moveTo>
                  <a:lnTo>
                    <a:pt x="44450" y="212725"/>
                  </a:lnTo>
                  <a:lnTo>
                    <a:pt x="38100" y="209550"/>
                  </a:lnTo>
                  <a:lnTo>
                    <a:pt x="38100" y="203200"/>
                  </a:lnTo>
                  <a:close/>
                  <a:moveTo>
                    <a:pt x="44450" y="174625"/>
                  </a:moveTo>
                  <a:lnTo>
                    <a:pt x="53975" y="184150"/>
                  </a:lnTo>
                  <a:lnTo>
                    <a:pt x="47625" y="187325"/>
                  </a:lnTo>
                  <a:lnTo>
                    <a:pt x="41275" y="180975"/>
                  </a:lnTo>
                  <a:close/>
                  <a:moveTo>
                    <a:pt x="38100" y="133350"/>
                  </a:moveTo>
                  <a:lnTo>
                    <a:pt x="44450" y="136525"/>
                  </a:lnTo>
                  <a:lnTo>
                    <a:pt x="47625" y="149225"/>
                  </a:lnTo>
                  <a:lnTo>
                    <a:pt x="47625" y="152400"/>
                  </a:lnTo>
                  <a:lnTo>
                    <a:pt x="41275" y="152400"/>
                  </a:lnTo>
                  <a:lnTo>
                    <a:pt x="38100" y="146050"/>
                  </a:lnTo>
                  <a:lnTo>
                    <a:pt x="31750" y="142875"/>
                  </a:lnTo>
                  <a:close/>
                  <a:moveTo>
                    <a:pt x="22225" y="133350"/>
                  </a:moveTo>
                  <a:lnTo>
                    <a:pt x="22225" y="136525"/>
                  </a:lnTo>
                  <a:lnTo>
                    <a:pt x="19050" y="136525"/>
                  </a:lnTo>
                  <a:lnTo>
                    <a:pt x="19050" y="139700"/>
                  </a:lnTo>
                  <a:lnTo>
                    <a:pt x="12700" y="136525"/>
                  </a:lnTo>
                  <a:close/>
                  <a:moveTo>
                    <a:pt x="41274" y="98425"/>
                  </a:moveTo>
                  <a:lnTo>
                    <a:pt x="44449" y="101600"/>
                  </a:lnTo>
                  <a:lnTo>
                    <a:pt x="38099" y="117475"/>
                  </a:lnTo>
                  <a:lnTo>
                    <a:pt x="31749" y="117475"/>
                  </a:lnTo>
                  <a:lnTo>
                    <a:pt x="28574" y="127000"/>
                  </a:lnTo>
                  <a:lnTo>
                    <a:pt x="25399" y="127000"/>
                  </a:lnTo>
                  <a:lnTo>
                    <a:pt x="25399" y="123825"/>
                  </a:lnTo>
                  <a:lnTo>
                    <a:pt x="28574" y="123825"/>
                  </a:lnTo>
                  <a:lnTo>
                    <a:pt x="25399" y="120650"/>
                  </a:lnTo>
                  <a:lnTo>
                    <a:pt x="25399" y="111125"/>
                  </a:lnTo>
                  <a:lnTo>
                    <a:pt x="38099" y="101600"/>
                  </a:lnTo>
                  <a:close/>
                  <a:moveTo>
                    <a:pt x="73024" y="92075"/>
                  </a:moveTo>
                  <a:lnTo>
                    <a:pt x="76199" y="95250"/>
                  </a:lnTo>
                  <a:lnTo>
                    <a:pt x="101599" y="95250"/>
                  </a:lnTo>
                  <a:lnTo>
                    <a:pt x="111124" y="92075"/>
                  </a:lnTo>
                  <a:lnTo>
                    <a:pt x="107949" y="107950"/>
                  </a:lnTo>
                  <a:lnTo>
                    <a:pt x="85724" y="123825"/>
                  </a:lnTo>
                  <a:lnTo>
                    <a:pt x="88899" y="130175"/>
                  </a:lnTo>
                  <a:lnTo>
                    <a:pt x="82549" y="133350"/>
                  </a:lnTo>
                  <a:lnTo>
                    <a:pt x="85724" y="136525"/>
                  </a:lnTo>
                  <a:lnTo>
                    <a:pt x="101599" y="133350"/>
                  </a:lnTo>
                  <a:lnTo>
                    <a:pt x="126999" y="133350"/>
                  </a:lnTo>
                  <a:lnTo>
                    <a:pt x="133349" y="133350"/>
                  </a:lnTo>
                  <a:lnTo>
                    <a:pt x="139699" y="139700"/>
                  </a:lnTo>
                  <a:lnTo>
                    <a:pt x="123824" y="180975"/>
                  </a:lnTo>
                  <a:lnTo>
                    <a:pt x="114299" y="190500"/>
                  </a:lnTo>
                  <a:lnTo>
                    <a:pt x="107949" y="196850"/>
                  </a:lnTo>
                  <a:lnTo>
                    <a:pt x="114299" y="200025"/>
                  </a:lnTo>
                  <a:lnTo>
                    <a:pt x="117474" y="196850"/>
                  </a:lnTo>
                  <a:lnTo>
                    <a:pt x="126999" y="200025"/>
                  </a:lnTo>
                  <a:lnTo>
                    <a:pt x="136524" y="209550"/>
                  </a:lnTo>
                  <a:lnTo>
                    <a:pt x="142874" y="219075"/>
                  </a:lnTo>
                  <a:lnTo>
                    <a:pt x="142874" y="222250"/>
                  </a:lnTo>
                  <a:lnTo>
                    <a:pt x="142874" y="228600"/>
                  </a:lnTo>
                  <a:lnTo>
                    <a:pt x="158749" y="250825"/>
                  </a:lnTo>
                  <a:lnTo>
                    <a:pt x="171449" y="266700"/>
                  </a:lnTo>
                  <a:lnTo>
                    <a:pt x="184149" y="298450"/>
                  </a:lnTo>
                  <a:lnTo>
                    <a:pt x="184149" y="307975"/>
                  </a:lnTo>
                  <a:lnTo>
                    <a:pt x="187324" y="314325"/>
                  </a:lnTo>
                  <a:lnTo>
                    <a:pt x="200024" y="311150"/>
                  </a:lnTo>
                  <a:lnTo>
                    <a:pt x="212724" y="317500"/>
                  </a:lnTo>
                  <a:lnTo>
                    <a:pt x="215899" y="330200"/>
                  </a:lnTo>
                  <a:lnTo>
                    <a:pt x="212724" y="342900"/>
                  </a:lnTo>
                  <a:lnTo>
                    <a:pt x="206374" y="346075"/>
                  </a:lnTo>
                  <a:lnTo>
                    <a:pt x="203199" y="352425"/>
                  </a:lnTo>
                  <a:lnTo>
                    <a:pt x="196849" y="358775"/>
                  </a:lnTo>
                  <a:lnTo>
                    <a:pt x="196849" y="365125"/>
                  </a:lnTo>
                  <a:lnTo>
                    <a:pt x="203199" y="365125"/>
                  </a:lnTo>
                  <a:lnTo>
                    <a:pt x="209549" y="365125"/>
                  </a:lnTo>
                  <a:lnTo>
                    <a:pt x="206374" y="374650"/>
                  </a:lnTo>
                  <a:lnTo>
                    <a:pt x="200024" y="377825"/>
                  </a:lnTo>
                  <a:lnTo>
                    <a:pt x="184149" y="387350"/>
                  </a:lnTo>
                  <a:lnTo>
                    <a:pt x="177799" y="387350"/>
                  </a:lnTo>
                  <a:lnTo>
                    <a:pt x="165099" y="387350"/>
                  </a:lnTo>
                  <a:lnTo>
                    <a:pt x="133349" y="390525"/>
                  </a:lnTo>
                  <a:lnTo>
                    <a:pt x="133349" y="393700"/>
                  </a:lnTo>
                  <a:lnTo>
                    <a:pt x="123824" y="390525"/>
                  </a:lnTo>
                  <a:lnTo>
                    <a:pt x="107949" y="390525"/>
                  </a:lnTo>
                  <a:lnTo>
                    <a:pt x="98424" y="400050"/>
                  </a:lnTo>
                  <a:lnTo>
                    <a:pt x="92074" y="403225"/>
                  </a:lnTo>
                  <a:lnTo>
                    <a:pt x="88899" y="403225"/>
                  </a:lnTo>
                  <a:lnTo>
                    <a:pt x="69849" y="406400"/>
                  </a:lnTo>
                  <a:lnTo>
                    <a:pt x="57149" y="412750"/>
                  </a:lnTo>
                  <a:lnTo>
                    <a:pt x="57149" y="406400"/>
                  </a:lnTo>
                  <a:lnTo>
                    <a:pt x="60324" y="406400"/>
                  </a:lnTo>
                  <a:lnTo>
                    <a:pt x="66674" y="403225"/>
                  </a:lnTo>
                  <a:lnTo>
                    <a:pt x="79374" y="387350"/>
                  </a:lnTo>
                  <a:lnTo>
                    <a:pt x="85724" y="374650"/>
                  </a:lnTo>
                  <a:lnTo>
                    <a:pt x="95249" y="371475"/>
                  </a:lnTo>
                  <a:lnTo>
                    <a:pt x="104774" y="374650"/>
                  </a:lnTo>
                  <a:lnTo>
                    <a:pt x="111124" y="371475"/>
                  </a:lnTo>
                  <a:lnTo>
                    <a:pt x="114299" y="368300"/>
                  </a:lnTo>
                  <a:lnTo>
                    <a:pt x="123824" y="355600"/>
                  </a:lnTo>
                  <a:lnTo>
                    <a:pt x="117474" y="361950"/>
                  </a:lnTo>
                  <a:lnTo>
                    <a:pt x="114299" y="361950"/>
                  </a:lnTo>
                  <a:lnTo>
                    <a:pt x="107949" y="365125"/>
                  </a:lnTo>
                  <a:lnTo>
                    <a:pt x="101599" y="365125"/>
                  </a:lnTo>
                  <a:lnTo>
                    <a:pt x="95249" y="361950"/>
                  </a:lnTo>
                  <a:lnTo>
                    <a:pt x="88899" y="358775"/>
                  </a:lnTo>
                  <a:lnTo>
                    <a:pt x="88899" y="355600"/>
                  </a:lnTo>
                  <a:lnTo>
                    <a:pt x="79374" y="355600"/>
                  </a:lnTo>
                  <a:lnTo>
                    <a:pt x="76199" y="355600"/>
                  </a:lnTo>
                  <a:lnTo>
                    <a:pt x="69849" y="355600"/>
                  </a:lnTo>
                  <a:lnTo>
                    <a:pt x="66674" y="355600"/>
                  </a:lnTo>
                  <a:lnTo>
                    <a:pt x="63499" y="349250"/>
                  </a:lnTo>
                  <a:lnTo>
                    <a:pt x="66674" y="342900"/>
                  </a:lnTo>
                  <a:lnTo>
                    <a:pt x="73024" y="342900"/>
                  </a:lnTo>
                  <a:lnTo>
                    <a:pt x="79374" y="339725"/>
                  </a:lnTo>
                  <a:lnTo>
                    <a:pt x="85724" y="333375"/>
                  </a:lnTo>
                  <a:lnTo>
                    <a:pt x="88899" y="320675"/>
                  </a:lnTo>
                  <a:lnTo>
                    <a:pt x="82549" y="314325"/>
                  </a:lnTo>
                  <a:lnTo>
                    <a:pt x="79374" y="314325"/>
                  </a:lnTo>
                  <a:lnTo>
                    <a:pt x="76199" y="317500"/>
                  </a:lnTo>
                  <a:lnTo>
                    <a:pt x="79374" y="307975"/>
                  </a:lnTo>
                  <a:lnTo>
                    <a:pt x="85090" y="304165"/>
                  </a:lnTo>
                  <a:lnTo>
                    <a:pt x="79375" y="298450"/>
                  </a:lnTo>
                  <a:lnTo>
                    <a:pt x="82550" y="295275"/>
                  </a:lnTo>
                  <a:lnTo>
                    <a:pt x="88900" y="298450"/>
                  </a:lnTo>
                  <a:lnTo>
                    <a:pt x="86520" y="303212"/>
                  </a:lnTo>
                  <a:lnTo>
                    <a:pt x="88899" y="301625"/>
                  </a:lnTo>
                  <a:lnTo>
                    <a:pt x="95249" y="298450"/>
                  </a:lnTo>
                  <a:lnTo>
                    <a:pt x="104774" y="298450"/>
                  </a:lnTo>
                  <a:lnTo>
                    <a:pt x="114299" y="295275"/>
                  </a:lnTo>
                  <a:lnTo>
                    <a:pt x="111124" y="279400"/>
                  </a:lnTo>
                  <a:lnTo>
                    <a:pt x="107949" y="269875"/>
                  </a:lnTo>
                  <a:lnTo>
                    <a:pt x="104774" y="266700"/>
                  </a:lnTo>
                  <a:lnTo>
                    <a:pt x="104774" y="263525"/>
                  </a:lnTo>
                  <a:lnTo>
                    <a:pt x="101599" y="250825"/>
                  </a:lnTo>
                  <a:lnTo>
                    <a:pt x="104774" y="241300"/>
                  </a:lnTo>
                  <a:lnTo>
                    <a:pt x="82549" y="244475"/>
                  </a:lnTo>
                  <a:lnTo>
                    <a:pt x="66674" y="241300"/>
                  </a:lnTo>
                  <a:lnTo>
                    <a:pt x="76199" y="222250"/>
                  </a:lnTo>
                  <a:lnTo>
                    <a:pt x="76199" y="212725"/>
                  </a:lnTo>
                  <a:lnTo>
                    <a:pt x="73024" y="209550"/>
                  </a:lnTo>
                  <a:lnTo>
                    <a:pt x="73024" y="203200"/>
                  </a:lnTo>
                  <a:lnTo>
                    <a:pt x="73024" y="193675"/>
                  </a:lnTo>
                  <a:lnTo>
                    <a:pt x="69849" y="203200"/>
                  </a:lnTo>
                  <a:lnTo>
                    <a:pt x="63499" y="203200"/>
                  </a:lnTo>
                  <a:lnTo>
                    <a:pt x="63499" y="200025"/>
                  </a:lnTo>
                  <a:lnTo>
                    <a:pt x="60324" y="206375"/>
                  </a:lnTo>
                  <a:lnTo>
                    <a:pt x="60324" y="215900"/>
                  </a:lnTo>
                  <a:lnTo>
                    <a:pt x="53974" y="225425"/>
                  </a:lnTo>
                  <a:lnTo>
                    <a:pt x="53974" y="215900"/>
                  </a:lnTo>
                  <a:lnTo>
                    <a:pt x="57149" y="193675"/>
                  </a:lnTo>
                  <a:lnTo>
                    <a:pt x="57149" y="177800"/>
                  </a:lnTo>
                  <a:lnTo>
                    <a:pt x="50799" y="177800"/>
                  </a:lnTo>
                  <a:lnTo>
                    <a:pt x="44449" y="171450"/>
                  </a:lnTo>
                  <a:lnTo>
                    <a:pt x="44449" y="168275"/>
                  </a:lnTo>
                  <a:lnTo>
                    <a:pt x="50799" y="165100"/>
                  </a:lnTo>
                  <a:lnTo>
                    <a:pt x="50799" y="158750"/>
                  </a:lnTo>
                  <a:lnTo>
                    <a:pt x="57149" y="158750"/>
                  </a:lnTo>
                  <a:lnTo>
                    <a:pt x="53974" y="155575"/>
                  </a:lnTo>
                  <a:lnTo>
                    <a:pt x="53974" y="146050"/>
                  </a:lnTo>
                  <a:lnTo>
                    <a:pt x="50799" y="136525"/>
                  </a:lnTo>
                  <a:lnTo>
                    <a:pt x="53974" y="130175"/>
                  </a:lnTo>
                  <a:lnTo>
                    <a:pt x="60324" y="117475"/>
                  </a:lnTo>
                  <a:lnTo>
                    <a:pt x="63499" y="114300"/>
                  </a:lnTo>
                  <a:lnTo>
                    <a:pt x="60324" y="107950"/>
                  </a:lnTo>
                  <a:lnTo>
                    <a:pt x="66674" y="98425"/>
                  </a:lnTo>
                  <a:close/>
                  <a:moveTo>
                    <a:pt x="104774" y="76200"/>
                  </a:moveTo>
                  <a:lnTo>
                    <a:pt x="120649" y="79375"/>
                  </a:lnTo>
                  <a:lnTo>
                    <a:pt x="111124" y="82550"/>
                  </a:lnTo>
                  <a:close/>
                  <a:moveTo>
                    <a:pt x="149224" y="6350"/>
                  </a:moveTo>
                  <a:lnTo>
                    <a:pt x="149224" y="12700"/>
                  </a:lnTo>
                  <a:lnTo>
                    <a:pt x="149224" y="19050"/>
                  </a:lnTo>
                  <a:lnTo>
                    <a:pt x="152399" y="15875"/>
                  </a:lnTo>
                  <a:lnTo>
                    <a:pt x="155574" y="19050"/>
                  </a:lnTo>
                  <a:lnTo>
                    <a:pt x="152399" y="28575"/>
                  </a:lnTo>
                  <a:lnTo>
                    <a:pt x="149224" y="41275"/>
                  </a:lnTo>
                  <a:lnTo>
                    <a:pt x="149224" y="38100"/>
                  </a:lnTo>
                  <a:lnTo>
                    <a:pt x="146049" y="25400"/>
                  </a:lnTo>
                  <a:lnTo>
                    <a:pt x="146049" y="28575"/>
                  </a:lnTo>
                  <a:lnTo>
                    <a:pt x="142874" y="25400"/>
                  </a:lnTo>
                  <a:lnTo>
                    <a:pt x="146049" y="22225"/>
                  </a:lnTo>
                  <a:lnTo>
                    <a:pt x="146049" y="15875"/>
                  </a:lnTo>
                  <a:lnTo>
                    <a:pt x="142874" y="15875"/>
                  </a:lnTo>
                  <a:close/>
                  <a:moveTo>
                    <a:pt x="158749" y="0"/>
                  </a:moveTo>
                  <a:lnTo>
                    <a:pt x="158749" y="6350"/>
                  </a:lnTo>
                  <a:lnTo>
                    <a:pt x="155574" y="635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5" name="Freeform 745">
              <a:extLst>
                <a:ext uri="{FF2B5EF4-FFF2-40B4-BE49-F238E27FC236}">
                  <a16:creationId xmlns:a16="http://schemas.microsoft.com/office/drawing/2014/main" id="{D2C46110-6B3A-44D2-86C5-E8E85E03D98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4563" y="2187575"/>
              <a:ext cx="257175" cy="523875"/>
            </a:xfrm>
            <a:custGeom>
              <a:avLst/>
              <a:gdLst/>
              <a:ahLst/>
              <a:cxnLst/>
              <a:rect l="l" t="t" r="r" b="b"/>
              <a:pathLst>
                <a:path w="257175" h="523875">
                  <a:moveTo>
                    <a:pt x="3175" y="504825"/>
                  </a:moveTo>
                  <a:lnTo>
                    <a:pt x="12700" y="508000"/>
                  </a:lnTo>
                  <a:lnTo>
                    <a:pt x="6350" y="517525"/>
                  </a:lnTo>
                  <a:lnTo>
                    <a:pt x="0" y="517525"/>
                  </a:lnTo>
                  <a:lnTo>
                    <a:pt x="0" y="508000"/>
                  </a:lnTo>
                  <a:close/>
                  <a:moveTo>
                    <a:pt x="177800" y="0"/>
                  </a:moveTo>
                  <a:lnTo>
                    <a:pt x="187325" y="15875"/>
                  </a:lnTo>
                  <a:lnTo>
                    <a:pt x="196850" y="19050"/>
                  </a:lnTo>
                  <a:lnTo>
                    <a:pt x="203200" y="25400"/>
                  </a:lnTo>
                  <a:lnTo>
                    <a:pt x="206375" y="38100"/>
                  </a:lnTo>
                  <a:lnTo>
                    <a:pt x="200025" y="47625"/>
                  </a:lnTo>
                  <a:lnTo>
                    <a:pt x="196850" y="57150"/>
                  </a:lnTo>
                  <a:lnTo>
                    <a:pt x="200025" y="63500"/>
                  </a:lnTo>
                  <a:lnTo>
                    <a:pt x="193675" y="66675"/>
                  </a:lnTo>
                  <a:lnTo>
                    <a:pt x="187325" y="73025"/>
                  </a:lnTo>
                  <a:lnTo>
                    <a:pt x="187325" y="92075"/>
                  </a:lnTo>
                  <a:lnTo>
                    <a:pt x="190500" y="104775"/>
                  </a:lnTo>
                  <a:lnTo>
                    <a:pt x="196850" y="114300"/>
                  </a:lnTo>
                  <a:lnTo>
                    <a:pt x="203200" y="117475"/>
                  </a:lnTo>
                  <a:lnTo>
                    <a:pt x="215900" y="130175"/>
                  </a:lnTo>
                  <a:lnTo>
                    <a:pt x="222250" y="139700"/>
                  </a:lnTo>
                  <a:lnTo>
                    <a:pt x="222250" y="149225"/>
                  </a:lnTo>
                  <a:lnTo>
                    <a:pt x="212725" y="165100"/>
                  </a:lnTo>
                  <a:lnTo>
                    <a:pt x="206375" y="174625"/>
                  </a:lnTo>
                  <a:lnTo>
                    <a:pt x="203200" y="184150"/>
                  </a:lnTo>
                  <a:lnTo>
                    <a:pt x="209550" y="200025"/>
                  </a:lnTo>
                  <a:lnTo>
                    <a:pt x="225425" y="247650"/>
                  </a:lnTo>
                  <a:lnTo>
                    <a:pt x="219075" y="254000"/>
                  </a:lnTo>
                  <a:lnTo>
                    <a:pt x="215900" y="266700"/>
                  </a:lnTo>
                  <a:lnTo>
                    <a:pt x="212725" y="285750"/>
                  </a:lnTo>
                  <a:lnTo>
                    <a:pt x="219075" y="298450"/>
                  </a:lnTo>
                  <a:lnTo>
                    <a:pt x="228600" y="307975"/>
                  </a:lnTo>
                  <a:lnTo>
                    <a:pt x="234950" y="333375"/>
                  </a:lnTo>
                  <a:lnTo>
                    <a:pt x="225425" y="346075"/>
                  </a:lnTo>
                  <a:lnTo>
                    <a:pt x="222250" y="349250"/>
                  </a:lnTo>
                  <a:lnTo>
                    <a:pt x="225425" y="355600"/>
                  </a:lnTo>
                  <a:lnTo>
                    <a:pt x="234950" y="365125"/>
                  </a:lnTo>
                  <a:lnTo>
                    <a:pt x="257175" y="390525"/>
                  </a:lnTo>
                  <a:lnTo>
                    <a:pt x="250825" y="406400"/>
                  </a:lnTo>
                  <a:lnTo>
                    <a:pt x="241300" y="415925"/>
                  </a:lnTo>
                  <a:lnTo>
                    <a:pt x="219075" y="450850"/>
                  </a:lnTo>
                  <a:lnTo>
                    <a:pt x="174625" y="498475"/>
                  </a:lnTo>
                  <a:lnTo>
                    <a:pt x="161925" y="501650"/>
                  </a:lnTo>
                  <a:lnTo>
                    <a:pt x="149225" y="501650"/>
                  </a:lnTo>
                  <a:lnTo>
                    <a:pt x="120650" y="511175"/>
                  </a:lnTo>
                  <a:lnTo>
                    <a:pt x="107950" y="517525"/>
                  </a:lnTo>
                  <a:lnTo>
                    <a:pt x="98425" y="520700"/>
                  </a:lnTo>
                  <a:lnTo>
                    <a:pt x="98425" y="517525"/>
                  </a:lnTo>
                  <a:lnTo>
                    <a:pt x="95250" y="520700"/>
                  </a:lnTo>
                  <a:lnTo>
                    <a:pt x="73025" y="523875"/>
                  </a:lnTo>
                  <a:lnTo>
                    <a:pt x="66675" y="514350"/>
                  </a:lnTo>
                  <a:lnTo>
                    <a:pt x="60325" y="504825"/>
                  </a:lnTo>
                  <a:lnTo>
                    <a:pt x="50800" y="501650"/>
                  </a:lnTo>
                  <a:lnTo>
                    <a:pt x="38100" y="498475"/>
                  </a:lnTo>
                  <a:lnTo>
                    <a:pt x="34925" y="488950"/>
                  </a:lnTo>
                  <a:lnTo>
                    <a:pt x="34925" y="473075"/>
                  </a:lnTo>
                  <a:lnTo>
                    <a:pt x="38100" y="466725"/>
                  </a:lnTo>
                  <a:lnTo>
                    <a:pt x="41275" y="450850"/>
                  </a:lnTo>
                  <a:lnTo>
                    <a:pt x="31750" y="425450"/>
                  </a:lnTo>
                  <a:lnTo>
                    <a:pt x="31750" y="393700"/>
                  </a:lnTo>
                  <a:lnTo>
                    <a:pt x="44450" y="377825"/>
                  </a:lnTo>
                  <a:lnTo>
                    <a:pt x="47625" y="377825"/>
                  </a:lnTo>
                  <a:lnTo>
                    <a:pt x="50800" y="374650"/>
                  </a:lnTo>
                  <a:lnTo>
                    <a:pt x="57150" y="365125"/>
                  </a:lnTo>
                  <a:lnTo>
                    <a:pt x="57150" y="358775"/>
                  </a:lnTo>
                  <a:lnTo>
                    <a:pt x="63500" y="352425"/>
                  </a:lnTo>
                  <a:lnTo>
                    <a:pt x="79375" y="336550"/>
                  </a:lnTo>
                  <a:lnTo>
                    <a:pt x="98425" y="314325"/>
                  </a:lnTo>
                  <a:lnTo>
                    <a:pt x="101600" y="307975"/>
                  </a:lnTo>
                  <a:lnTo>
                    <a:pt x="101600" y="301625"/>
                  </a:lnTo>
                  <a:lnTo>
                    <a:pt x="114300" y="292100"/>
                  </a:lnTo>
                  <a:lnTo>
                    <a:pt x="120650" y="295275"/>
                  </a:lnTo>
                  <a:lnTo>
                    <a:pt x="120650" y="266700"/>
                  </a:lnTo>
                  <a:lnTo>
                    <a:pt x="111125" y="254000"/>
                  </a:lnTo>
                  <a:lnTo>
                    <a:pt x="107950" y="254000"/>
                  </a:lnTo>
                  <a:lnTo>
                    <a:pt x="104775" y="247650"/>
                  </a:lnTo>
                  <a:lnTo>
                    <a:pt x="101600" y="247650"/>
                  </a:lnTo>
                  <a:lnTo>
                    <a:pt x="95250" y="244475"/>
                  </a:lnTo>
                  <a:lnTo>
                    <a:pt x="92075" y="228600"/>
                  </a:lnTo>
                  <a:lnTo>
                    <a:pt x="88900" y="203200"/>
                  </a:lnTo>
                  <a:lnTo>
                    <a:pt x="92075" y="187325"/>
                  </a:lnTo>
                  <a:lnTo>
                    <a:pt x="82550" y="171450"/>
                  </a:lnTo>
                  <a:lnTo>
                    <a:pt x="85725" y="158750"/>
                  </a:lnTo>
                  <a:lnTo>
                    <a:pt x="82550" y="127000"/>
                  </a:lnTo>
                  <a:lnTo>
                    <a:pt x="73025" y="107950"/>
                  </a:lnTo>
                  <a:lnTo>
                    <a:pt x="63500" y="101600"/>
                  </a:lnTo>
                  <a:lnTo>
                    <a:pt x="44450" y="88900"/>
                  </a:lnTo>
                  <a:lnTo>
                    <a:pt x="25400" y="69850"/>
                  </a:lnTo>
                  <a:lnTo>
                    <a:pt x="19050" y="63500"/>
                  </a:lnTo>
                  <a:lnTo>
                    <a:pt x="28575" y="50800"/>
                  </a:lnTo>
                  <a:lnTo>
                    <a:pt x="34925" y="47625"/>
                  </a:lnTo>
                  <a:lnTo>
                    <a:pt x="41275" y="47625"/>
                  </a:lnTo>
                  <a:lnTo>
                    <a:pt x="47625" y="57150"/>
                  </a:lnTo>
                  <a:lnTo>
                    <a:pt x="53975" y="69850"/>
                  </a:lnTo>
                  <a:lnTo>
                    <a:pt x="63500" y="82550"/>
                  </a:lnTo>
                  <a:lnTo>
                    <a:pt x="76200" y="88900"/>
                  </a:lnTo>
                  <a:lnTo>
                    <a:pt x="85725" y="82550"/>
                  </a:lnTo>
                  <a:lnTo>
                    <a:pt x="95250" y="79375"/>
                  </a:lnTo>
                  <a:lnTo>
                    <a:pt x="101600" y="82550"/>
                  </a:lnTo>
                  <a:lnTo>
                    <a:pt x="111125" y="88900"/>
                  </a:lnTo>
                  <a:lnTo>
                    <a:pt x="130175" y="60325"/>
                  </a:lnTo>
                  <a:lnTo>
                    <a:pt x="130175" y="47625"/>
                  </a:lnTo>
                  <a:lnTo>
                    <a:pt x="130175" y="41275"/>
                  </a:lnTo>
                  <a:lnTo>
                    <a:pt x="139700" y="19050"/>
                  </a:lnTo>
                  <a:lnTo>
                    <a:pt x="146050" y="6350"/>
                  </a:lnTo>
                  <a:lnTo>
                    <a:pt x="158750" y="317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6" name="Freeform 751">
              <a:extLst>
                <a:ext uri="{FF2B5EF4-FFF2-40B4-BE49-F238E27FC236}">
                  <a16:creationId xmlns:a16="http://schemas.microsoft.com/office/drawing/2014/main" id="{6DBD2C16-4455-475B-9CBF-E4636B75CC4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8824" y="2251075"/>
              <a:ext cx="280988" cy="657225"/>
            </a:xfrm>
            <a:custGeom>
              <a:avLst/>
              <a:gdLst/>
              <a:ahLst/>
              <a:cxnLst/>
              <a:rect l="l" t="t" r="r" b="b"/>
              <a:pathLst>
                <a:path w="280988" h="657225">
                  <a:moveTo>
                    <a:pt x="80963" y="647700"/>
                  </a:moveTo>
                  <a:lnTo>
                    <a:pt x="87313" y="654050"/>
                  </a:lnTo>
                  <a:lnTo>
                    <a:pt x="84138" y="657225"/>
                  </a:lnTo>
                  <a:lnTo>
                    <a:pt x="77788" y="654050"/>
                  </a:lnTo>
                  <a:close/>
                  <a:moveTo>
                    <a:pt x="128588" y="568325"/>
                  </a:moveTo>
                  <a:lnTo>
                    <a:pt x="122238" y="593725"/>
                  </a:lnTo>
                  <a:lnTo>
                    <a:pt x="115888" y="612775"/>
                  </a:lnTo>
                  <a:lnTo>
                    <a:pt x="112713" y="600075"/>
                  </a:lnTo>
                  <a:lnTo>
                    <a:pt x="119063" y="590550"/>
                  </a:lnTo>
                  <a:close/>
                  <a:moveTo>
                    <a:pt x="163513" y="546100"/>
                  </a:moveTo>
                  <a:lnTo>
                    <a:pt x="169863" y="546100"/>
                  </a:lnTo>
                  <a:lnTo>
                    <a:pt x="169863" y="549275"/>
                  </a:lnTo>
                  <a:lnTo>
                    <a:pt x="169863" y="552450"/>
                  </a:lnTo>
                  <a:lnTo>
                    <a:pt x="166688" y="552450"/>
                  </a:lnTo>
                  <a:lnTo>
                    <a:pt x="166688" y="558800"/>
                  </a:lnTo>
                  <a:lnTo>
                    <a:pt x="166688" y="561975"/>
                  </a:lnTo>
                  <a:lnTo>
                    <a:pt x="160338" y="574675"/>
                  </a:lnTo>
                  <a:lnTo>
                    <a:pt x="153988" y="581025"/>
                  </a:lnTo>
                  <a:lnTo>
                    <a:pt x="150813" y="561975"/>
                  </a:lnTo>
                  <a:lnTo>
                    <a:pt x="157163" y="552450"/>
                  </a:lnTo>
                  <a:close/>
                  <a:moveTo>
                    <a:pt x="195263" y="0"/>
                  </a:moveTo>
                  <a:lnTo>
                    <a:pt x="204788" y="0"/>
                  </a:lnTo>
                  <a:lnTo>
                    <a:pt x="211138" y="6350"/>
                  </a:lnTo>
                  <a:lnTo>
                    <a:pt x="230188" y="25400"/>
                  </a:lnTo>
                  <a:lnTo>
                    <a:pt x="249238" y="38100"/>
                  </a:lnTo>
                  <a:lnTo>
                    <a:pt x="258763" y="44450"/>
                  </a:lnTo>
                  <a:lnTo>
                    <a:pt x="268288" y="63500"/>
                  </a:lnTo>
                  <a:lnTo>
                    <a:pt x="271463" y="95250"/>
                  </a:lnTo>
                  <a:lnTo>
                    <a:pt x="268288" y="107950"/>
                  </a:lnTo>
                  <a:lnTo>
                    <a:pt x="277813" y="123825"/>
                  </a:lnTo>
                  <a:lnTo>
                    <a:pt x="274638" y="139700"/>
                  </a:lnTo>
                  <a:lnTo>
                    <a:pt x="277813" y="165100"/>
                  </a:lnTo>
                  <a:lnTo>
                    <a:pt x="280988" y="180975"/>
                  </a:lnTo>
                  <a:lnTo>
                    <a:pt x="268288" y="184150"/>
                  </a:lnTo>
                  <a:lnTo>
                    <a:pt x="252413" y="180975"/>
                  </a:lnTo>
                  <a:lnTo>
                    <a:pt x="242888" y="180975"/>
                  </a:lnTo>
                  <a:lnTo>
                    <a:pt x="236538" y="193675"/>
                  </a:lnTo>
                  <a:lnTo>
                    <a:pt x="233363" y="203200"/>
                  </a:lnTo>
                  <a:lnTo>
                    <a:pt x="223838" y="225425"/>
                  </a:lnTo>
                  <a:lnTo>
                    <a:pt x="217488" y="231775"/>
                  </a:lnTo>
                  <a:lnTo>
                    <a:pt x="220663" y="244475"/>
                  </a:lnTo>
                  <a:lnTo>
                    <a:pt x="220663" y="247650"/>
                  </a:lnTo>
                  <a:lnTo>
                    <a:pt x="220663" y="257175"/>
                  </a:lnTo>
                  <a:lnTo>
                    <a:pt x="217488" y="263525"/>
                  </a:lnTo>
                  <a:lnTo>
                    <a:pt x="204788" y="282575"/>
                  </a:lnTo>
                  <a:lnTo>
                    <a:pt x="192088" y="292100"/>
                  </a:lnTo>
                  <a:lnTo>
                    <a:pt x="176213" y="301625"/>
                  </a:lnTo>
                  <a:lnTo>
                    <a:pt x="173038" y="307975"/>
                  </a:lnTo>
                  <a:lnTo>
                    <a:pt x="157163" y="323850"/>
                  </a:lnTo>
                  <a:lnTo>
                    <a:pt x="160338" y="327025"/>
                  </a:lnTo>
                  <a:lnTo>
                    <a:pt x="150813" y="336550"/>
                  </a:lnTo>
                  <a:lnTo>
                    <a:pt x="144463" y="346075"/>
                  </a:lnTo>
                  <a:lnTo>
                    <a:pt x="141288" y="346075"/>
                  </a:lnTo>
                  <a:lnTo>
                    <a:pt x="138113" y="346075"/>
                  </a:lnTo>
                  <a:lnTo>
                    <a:pt x="134937" y="365125"/>
                  </a:lnTo>
                  <a:lnTo>
                    <a:pt x="134937" y="381000"/>
                  </a:lnTo>
                  <a:lnTo>
                    <a:pt x="128587" y="384175"/>
                  </a:lnTo>
                  <a:lnTo>
                    <a:pt x="128587" y="393700"/>
                  </a:lnTo>
                  <a:lnTo>
                    <a:pt x="131762" y="400050"/>
                  </a:lnTo>
                  <a:lnTo>
                    <a:pt x="131762" y="403225"/>
                  </a:lnTo>
                  <a:lnTo>
                    <a:pt x="131762" y="415925"/>
                  </a:lnTo>
                  <a:lnTo>
                    <a:pt x="138113" y="428625"/>
                  </a:lnTo>
                  <a:lnTo>
                    <a:pt x="147638" y="431800"/>
                  </a:lnTo>
                  <a:lnTo>
                    <a:pt x="160338" y="447675"/>
                  </a:lnTo>
                  <a:lnTo>
                    <a:pt x="166688" y="450850"/>
                  </a:lnTo>
                  <a:lnTo>
                    <a:pt x="166688" y="460375"/>
                  </a:lnTo>
                  <a:lnTo>
                    <a:pt x="163513" y="473075"/>
                  </a:lnTo>
                  <a:lnTo>
                    <a:pt x="147638" y="501650"/>
                  </a:lnTo>
                  <a:lnTo>
                    <a:pt x="131762" y="511175"/>
                  </a:lnTo>
                  <a:lnTo>
                    <a:pt x="125412" y="514350"/>
                  </a:lnTo>
                  <a:lnTo>
                    <a:pt x="122237" y="527050"/>
                  </a:lnTo>
                  <a:lnTo>
                    <a:pt x="119062" y="542925"/>
                  </a:lnTo>
                  <a:lnTo>
                    <a:pt x="122237" y="552450"/>
                  </a:lnTo>
                  <a:lnTo>
                    <a:pt x="122237" y="555625"/>
                  </a:lnTo>
                  <a:lnTo>
                    <a:pt x="119062" y="565150"/>
                  </a:lnTo>
                  <a:lnTo>
                    <a:pt x="112712" y="590550"/>
                  </a:lnTo>
                  <a:lnTo>
                    <a:pt x="106362" y="612775"/>
                  </a:lnTo>
                  <a:lnTo>
                    <a:pt x="96837" y="612775"/>
                  </a:lnTo>
                  <a:lnTo>
                    <a:pt x="80962" y="612775"/>
                  </a:lnTo>
                  <a:lnTo>
                    <a:pt x="68262" y="622300"/>
                  </a:lnTo>
                  <a:lnTo>
                    <a:pt x="65087" y="628650"/>
                  </a:lnTo>
                  <a:lnTo>
                    <a:pt x="68262" y="635000"/>
                  </a:lnTo>
                  <a:lnTo>
                    <a:pt x="68262" y="638175"/>
                  </a:lnTo>
                  <a:lnTo>
                    <a:pt x="65087" y="644525"/>
                  </a:lnTo>
                  <a:lnTo>
                    <a:pt x="58737" y="644525"/>
                  </a:lnTo>
                  <a:lnTo>
                    <a:pt x="52387" y="644525"/>
                  </a:lnTo>
                  <a:lnTo>
                    <a:pt x="39687" y="644525"/>
                  </a:lnTo>
                  <a:lnTo>
                    <a:pt x="39687" y="635000"/>
                  </a:lnTo>
                  <a:lnTo>
                    <a:pt x="36512" y="625475"/>
                  </a:lnTo>
                  <a:lnTo>
                    <a:pt x="33337" y="609600"/>
                  </a:lnTo>
                  <a:lnTo>
                    <a:pt x="36512" y="596900"/>
                  </a:lnTo>
                  <a:lnTo>
                    <a:pt x="33337" y="590550"/>
                  </a:lnTo>
                  <a:lnTo>
                    <a:pt x="23812" y="581025"/>
                  </a:lnTo>
                  <a:lnTo>
                    <a:pt x="20637" y="568325"/>
                  </a:lnTo>
                  <a:lnTo>
                    <a:pt x="17462" y="555625"/>
                  </a:lnTo>
                  <a:lnTo>
                    <a:pt x="14287" y="539750"/>
                  </a:lnTo>
                  <a:lnTo>
                    <a:pt x="7937" y="527050"/>
                  </a:lnTo>
                  <a:lnTo>
                    <a:pt x="1587" y="520700"/>
                  </a:lnTo>
                  <a:lnTo>
                    <a:pt x="0" y="501650"/>
                  </a:lnTo>
                  <a:lnTo>
                    <a:pt x="1587" y="495300"/>
                  </a:lnTo>
                  <a:lnTo>
                    <a:pt x="11112" y="504825"/>
                  </a:lnTo>
                  <a:lnTo>
                    <a:pt x="14287" y="488950"/>
                  </a:lnTo>
                  <a:lnTo>
                    <a:pt x="11112" y="476250"/>
                  </a:lnTo>
                  <a:lnTo>
                    <a:pt x="20637" y="466725"/>
                  </a:lnTo>
                  <a:lnTo>
                    <a:pt x="30162" y="454025"/>
                  </a:lnTo>
                  <a:lnTo>
                    <a:pt x="33337" y="441325"/>
                  </a:lnTo>
                  <a:lnTo>
                    <a:pt x="30162" y="428625"/>
                  </a:lnTo>
                  <a:lnTo>
                    <a:pt x="23812" y="412750"/>
                  </a:lnTo>
                  <a:lnTo>
                    <a:pt x="33337" y="409575"/>
                  </a:lnTo>
                  <a:lnTo>
                    <a:pt x="36512" y="403225"/>
                  </a:lnTo>
                  <a:lnTo>
                    <a:pt x="36512" y="393700"/>
                  </a:lnTo>
                  <a:lnTo>
                    <a:pt x="30162" y="387350"/>
                  </a:lnTo>
                  <a:lnTo>
                    <a:pt x="23812" y="384175"/>
                  </a:lnTo>
                  <a:lnTo>
                    <a:pt x="20637" y="374650"/>
                  </a:lnTo>
                  <a:lnTo>
                    <a:pt x="23812" y="365125"/>
                  </a:lnTo>
                  <a:lnTo>
                    <a:pt x="23812" y="349250"/>
                  </a:lnTo>
                  <a:lnTo>
                    <a:pt x="20637" y="333375"/>
                  </a:lnTo>
                  <a:lnTo>
                    <a:pt x="17462" y="307975"/>
                  </a:lnTo>
                  <a:lnTo>
                    <a:pt x="20637" y="295275"/>
                  </a:lnTo>
                  <a:lnTo>
                    <a:pt x="23812" y="292100"/>
                  </a:lnTo>
                  <a:lnTo>
                    <a:pt x="33337" y="276225"/>
                  </a:lnTo>
                  <a:lnTo>
                    <a:pt x="42862" y="269875"/>
                  </a:lnTo>
                  <a:lnTo>
                    <a:pt x="55562" y="269875"/>
                  </a:lnTo>
                  <a:lnTo>
                    <a:pt x="61912" y="273050"/>
                  </a:lnTo>
                  <a:lnTo>
                    <a:pt x="65087" y="263525"/>
                  </a:lnTo>
                  <a:lnTo>
                    <a:pt x="65087" y="260350"/>
                  </a:lnTo>
                  <a:lnTo>
                    <a:pt x="61912" y="250825"/>
                  </a:lnTo>
                  <a:lnTo>
                    <a:pt x="55562" y="241300"/>
                  </a:lnTo>
                  <a:lnTo>
                    <a:pt x="68262" y="222250"/>
                  </a:lnTo>
                  <a:lnTo>
                    <a:pt x="71437" y="206375"/>
                  </a:lnTo>
                  <a:lnTo>
                    <a:pt x="74612" y="193675"/>
                  </a:lnTo>
                  <a:lnTo>
                    <a:pt x="74612" y="174625"/>
                  </a:lnTo>
                  <a:lnTo>
                    <a:pt x="80962" y="168275"/>
                  </a:lnTo>
                  <a:lnTo>
                    <a:pt x="93662" y="155575"/>
                  </a:lnTo>
                  <a:lnTo>
                    <a:pt x="90487" y="146050"/>
                  </a:lnTo>
                  <a:lnTo>
                    <a:pt x="93662" y="142875"/>
                  </a:lnTo>
                  <a:lnTo>
                    <a:pt x="103187" y="127000"/>
                  </a:lnTo>
                  <a:lnTo>
                    <a:pt x="112712" y="114300"/>
                  </a:lnTo>
                  <a:lnTo>
                    <a:pt x="109537" y="98425"/>
                  </a:lnTo>
                  <a:lnTo>
                    <a:pt x="115887" y="76200"/>
                  </a:lnTo>
                  <a:lnTo>
                    <a:pt x="122237" y="63500"/>
                  </a:lnTo>
                  <a:lnTo>
                    <a:pt x="131762" y="57150"/>
                  </a:lnTo>
                  <a:lnTo>
                    <a:pt x="138113" y="57150"/>
                  </a:lnTo>
                  <a:lnTo>
                    <a:pt x="147638" y="63500"/>
                  </a:lnTo>
                  <a:lnTo>
                    <a:pt x="150813" y="50800"/>
                  </a:lnTo>
                  <a:lnTo>
                    <a:pt x="150813" y="38100"/>
                  </a:lnTo>
                  <a:lnTo>
                    <a:pt x="160338" y="31750"/>
                  </a:lnTo>
                  <a:lnTo>
                    <a:pt x="188913" y="41275"/>
                  </a:lnTo>
                  <a:lnTo>
                    <a:pt x="195263" y="28575"/>
                  </a:lnTo>
                  <a:lnTo>
                    <a:pt x="198438" y="952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7" name="Freeform 784">
              <a:extLst>
                <a:ext uri="{FF2B5EF4-FFF2-40B4-BE49-F238E27FC236}">
                  <a16:creationId xmlns:a16="http://schemas.microsoft.com/office/drawing/2014/main" id="{896F5EC4-3B3F-4E8A-B722-D465D9D4AF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5925" y="3051174"/>
              <a:ext cx="307975" cy="300038"/>
            </a:xfrm>
            <a:custGeom>
              <a:avLst/>
              <a:gdLst/>
              <a:ahLst/>
              <a:cxnLst/>
              <a:rect l="l" t="t" r="r" b="b"/>
              <a:pathLst>
                <a:path w="307975" h="300038">
                  <a:moveTo>
                    <a:pt x="298450" y="263525"/>
                  </a:moveTo>
                  <a:lnTo>
                    <a:pt x="301625" y="263525"/>
                  </a:lnTo>
                  <a:lnTo>
                    <a:pt x="304800" y="263525"/>
                  </a:lnTo>
                  <a:lnTo>
                    <a:pt x="307975" y="266700"/>
                  </a:lnTo>
                  <a:lnTo>
                    <a:pt x="307975" y="287338"/>
                  </a:lnTo>
                  <a:lnTo>
                    <a:pt x="304800" y="300038"/>
                  </a:lnTo>
                  <a:lnTo>
                    <a:pt x="298450" y="296863"/>
                  </a:lnTo>
                  <a:lnTo>
                    <a:pt x="292100" y="284163"/>
                  </a:lnTo>
                  <a:lnTo>
                    <a:pt x="288925" y="276225"/>
                  </a:lnTo>
                  <a:lnTo>
                    <a:pt x="292100" y="269875"/>
                  </a:lnTo>
                  <a:close/>
                  <a:moveTo>
                    <a:pt x="158750" y="0"/>
                  </a:moveTo>
                  <a:lnTo>
                    <a:pt x="168275" y="12700"/>
                  </a:lnTo>
                  <a:lnTo>
                    <a:pt x="171450" y="9525"/>
                  </a:lnTo>
                  <a:lnTo>
                    <a:pt x="187325" y="25400"/>
                  </a:lnTo>
                  <a:lnTo>
                    <a:pt x="193675" y="25400"/>
                  </a:lnTo>
                  <a:lnTo>
                    <a:pt x="193675" y="34925"/>
                  </a:lnTo>
                  <a:lnTo>
                    <a:pt x="206375" y="34925"/>
                  </a:lnTo>
                  <a:lnTo>
                    <a:pt x="209550" y="41275"/>
                  </a:lnTo>
                  <a:lnTo>
                    <a:pt x="219075" y="47625"/>
                  </a:lnTo>
                  <a:lnTo>
                    <a:pt x="228600" y="50800"/>
                  </a:lnTo>
                  <a:lnTo>
                    <a:pt x="241300" y="53975"/>
                  </a:lnTo>
                  <a:lnTo>
                    <a:pt x="250825" y="60325"/>
                  </a:lnTo>
                  <a:lnTo>
                    <a:pt x="260350" y="63500"/>
                  </a:lnTo>
                  <a:lnTo>
                    <a:pt x="282575" y="69850"/>
                  </a:lnTo>
                  <a:lnTo>
                    <a:pt x="276225" y="79375"/>
                  </a:lnTo>
                  <a:lnTo>
                    <a:pt x="266700" y="98425"/>
                  </a:lnTo>
                  <a:lnTo>
                    <a:pt x="266700" y="107950"/>
                  </a:lnTo>
                  <a:lnTo>
                    <a:pt x="266700" y="114300"/>
                  </a:lnTo>
                  <a:lnTo>
                    <a:pt x="263525" y="117475"/>
                  </a:lnTo>
                  <a:lnTo>
                    <a:pt x="254000" y="120650"/>
                  </a:lnTo>
                  <a:lnTo>
                    <a:pt x="254000" y="123825"/>
                  </a:lnTo>
                  <a:lnTo>
                    <a:pt x="247650" y="130175"/>
                  </a:lnTo>
                  <a:lnTo>
                    <a:pt x="241300" y="142875"/>
                  </a:lnTo>
                  <a:lnTo>
                    <a:pt x="238125" y="152400"/>
                  </a:lnTo>
                  <a:lnTo>
                    <a:pt x="236008" y="156633"/>
                  </a:lnTo>
                  <a:lnTo>
                    <a:pt x="231775" y="158750"/>
                  </a:lnTo>
                  <a:lnTo>
                    <a:pt x="234950" y="158750"/>
                  </a:lnTo>
                  <a:lnTo>
                    <a:pt x="236008" y="156633"/>
                  </a:lnTo>
                  <a:lnTo>
                    <a:pt x="238125" y="155575"/>
                  </a:lnTo>
                  <a:lnTo>
                    <a:pt x="250825" y="152400"/>
                  </a:lnTo>
                  <a:lnTo>
                    <a:pt x="257175" y="165100"/>
                  </a:lnTo>
                  <a:lnTo>
                    <a:pt x="250825" y="171450"/>
                  </a:lnTo>
                  <a:lnTo>
                    <a:pt x="257175" y="180975"/>
                  </a:lnTo>
                  <a:lnTo>
                    <a:pt x="257175" y="187325"/>
                  </a:lnTo>
                  <a:lnTo>
                    <a:pt x="254000" y="187325"/>
                  </a:lnTo>
                  <a:lnTo>
                    <a:pt x="247650" y="190500"/>
                  </a:lnTo>
                  <a:lnTo>
                    <a:pt x="250825" y="196850"/>
                  </a:lnTo>
                  <a:lnTo>
                    <a:pt x="254000" y="200025"/>
                  </a:lnTo>
                  <a:lnTo>
                    <a:pt x="257175" y="200025"/>
                  </a:lnTo>
                  <a:lnTo>
                    <a:pt x="254000" y="209550"/>
                  </a:lnTo>
                  <a:lnTo>
                    <a:pt x="254000" y="212725"/>
                  </a:lnTo>
                  <a:lnTo>
                    <a:pt x="257175" y="219075"/>
                  </a:lnTo>
                  <a:lnTo>
                    <a:pt x="263525" y="222250"/>
                  </a:lnTo>
                  <a:lnTo>
                    <a:pt x="266700" y="231775"/>
                  </a:lnTo>
                  <a:lnTo>
                    <a:pt x="263525" y="231775"/>
                  </a:lnTo>
                  <a:lnTo>
                    <a:pt x="260350" y="234950"/>
                  </a:lnTo>
                  <a:lnTo>
                    <a:pt x="250825" y="241300"/>
                  </a:lnTo>
                  <a:lnTo>
                    <a:pt x="238125" y="250825"/>
                  </a:lnTo>
                  <a:lnTo>
                    <a:pt x="219075" y="247650"/>
                  </a:lnTo>
                  <a:lnTo>
                    <a:pt x="215900" y="244475"/>
                  </a:lnTo>
                  <a:lnTo>
                    <a:pt x="209550" y="244475"/>
                  </a:lnTo>
                  <a:lnTo>
                    <a:pt x="206375" y="238125"/>
                  </a:lnTo>
                  <a:lnTo>
                    <a:pt x="200025" y="241300"/>
                  </a:lnTo>
                  <a:lnTo>
                    <a:pt x="190500" y="238125"/>
                  </a:lnTo>
                  <a:lnTo>
                    <a:pt x="187325" y="238125"/>
                  </a:lnTo>
                  <a:lnTo>
                    <a:pt x="180975" y="244475"/>
                  </a:lnTo>
                  <a:lnTo>
                    <a:pt x="174625" y="247650"/>
                  </a:lnTo>
                  <a:lnTo>
                    <a:pt x="174625" y="269875"/>
                  </a:lnTo>
                  <a:lnTo>
                    <a:pt x="168275" y="269875"/>
                  </a:lnTo>
                  <a:lnTo>
                    <a:pt x="158750" y="273050"/>
                  </a:lnTo>
                  <a:lnTo>
                    <a:pt x="142875" y="269875"/>
                  </a:lnTo>
                  <a:lnTo>
                    <a:pt x="136525" y="266700"/>
                  </a:lnTo>
                  <a:lnTo>
                    <a:pt x="127000" y="260350"/>
                  </a:lnTo>
                  <a:lnTo>
                    <a:pt x="120650" y="257175"/>
                  </a:lnTo>
                  <a:lnTo>
                    <a:pt x="120650" y="260350"/>
                  </a:lnTo>
                  <a:lnTo>
                    <a:pt x="120650" y="263525"/>
                  </a:lnTo>
                  <a:lnTo>
                    <a:pt x="114300" y="263525"/>
                  </a:lnTo>
                  <a:lnTo>
                    <a:pt x="111125" y="263525"/>
                  </a:lnTo>
                  <a:lnTo>
                    <a:pt x="101600" y="263525"/>
                  </a:lnTo>
                  <a:lnTo>
                    <a:pt x="88900" y="257175"/>
                  </a:lnTo>
                  <a:lnTo>
                    <a:pt x="66675" y="244475"/>
                  </a:lnTo>
                  <a:lnTo>
                    <a:pt x="76200" y="225425"/>
                  </a:lnTo>
                  <a:lnTo>
                    <a:pt x="79375" y="190500"/>
                  </a:lnTo>
                  <a:lnTo>
                    <a:pt x="76200" y="174625"/>
                  </a:lnTo>
                  <a:lnTo>
                    <a:pt x="82550" y="171450"/>
                  </a:lnTo>
                  <a:lnTo>
                    <a:pt x="79375" y="158750"/>
                  </a:lnTo>
                  <a:lnTo>
                    <a:pt x="69850" y="152400"/>
                  </a:lnTo>
                  <a:lnTo>
                    <a:pt x="60325" y="142875"/>
                  </a:lnTo>
                  <a:lnTo>
                    <a:pt x="60325" y="133350"/>
                  </a:lnTo>
                  <a:lnTo>
                    <a:pt x="66675" y="127000"/>
                  </a:lnTo>
                  <a:lnTo>
                    <a:pt x="60325" y="123825"/>
                  </a:lnTo>
                  <a:lnTo>
                    <a:pt x="53975" y="123825"/>
                  </a:lnTo>
                  <a:lnTo>
                    <a:pt x="44450" y="117475"/>
                  </a:lnTo>
                  <a:lnTo>
                    <a:pt x="25400" y="107950"/>
                  </a:lnTo>
                  <a:lnTo>
                    <a:pt x="3175" y="98425"/>
                  </a:lnTo>
                  <a:lnTo>
                    <a:pt x="3175" y="88900"/>
                  </a:lnTo>
                  <a:lnTo>
                    <a:pt x="0" y="85725"/>
                  </a:lnTo>
                  <a:lnTo>
                    <a:pt x="6350" y="82550"/>
                  </a:lnTo>
                  <a:lnTo>
                    <a:pt x="15875" y="79375"/>
                  </a:lnTo>
                  <a:lnTo>
                    <a:pt x="25400" y="79375"/>
                  </a:lnTo>
                  <a:lnTo>
                    <a:pt x="28575" y="76200"/>
                  </a:lnTo>
                  <a:lnTo>
                    <a:pt x="34925" y="73025"/>
                  </a:lnTo>
                  <a:lnTo>
                    <a:pt x="38100" y="76200"/>
                  </a:lnTo>
                  <a:lnTo>
                    <a:pt x="44450" y="82550"/>
                  </a:lnTo>
                  <a:lnTo>
                    <a:pt x="50800" y="79375"/>
                  </a:lnTo>
                  <a:lnTo>
                    <a:pt x="53975" y="79375"/>
                  </a:lnTo>
                  <a:lnTo>
                    <a:pt x="76200" y="79375"/>
                  </a:lnTo>
                  <a:lnTo>
                    <a:pt x="69850" y="76200"/>
                  </a:lnTo>
                  <a:lnTo>
                    <a:pt x="69850" y="69850"/>
                  </a:lnTo>
                  <a:lnTo>
                    <a:pt x="69850" y="60325"/>
                  </a:lnTo>
                  <a:lnTo>
                    <a:pt x="66675" y="53975"/>
                  </a:lnTo>
                  <a:lnTo>
                    <a:pt x="63500" y="47625"/>
                  </a:lnTo>
                  <a:lnTo>
                    <a:pt x="69850" y="47625"/>
                  </a:lnTo>
                  <a:lnTo>
                    <a:pt x="76200" y="44450"/>
                  </a:lnTo>
                  <a:lnTo>
                    <a:pt x="76200" y="50800"/>
                  </a:lnTo>
                  <a:lnTo>
                    <a:pt x="76200" y="53975"/>
                  </a:lnTo>
                  <a:lnTo>
                    <a:pt x="98425" y="60325"/>
                  </a:lnTo>
                  <a:lnTo>
                    <a:pt x="114300" y="53975"/>
                  </a:lnTo>
                  <a:lnTo>
                    <a:pt x="107950" y="53975"/>
                  </a:lnTo>
                  <a:lnTo>
                    <a:pt x="111125" y="44450"/>
                  </a:lnTo>
                  <a:lnTo>
                    <a:pt x="120650" y="38100"/>
                  </a:lnTo>
                  <a:lnTo>
                    <a:pt x="130175" y="34925"/>
                  </a:lnTo>
                  <a:lnTo>
                    <a:pt x="139700" y="25400"/>
                  </a:lnTo>
                  <a:lnTo>
                    <a:pt x="139700" y="9525"/>
                  </a:lnTo>
                  <a:lnTo>
                    <a:pt x="146050" y="317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8" name="Freeform 787">
              <a:extLst>
                <a:ext uri="{FF2B5EF4-FFF2-40B4-BE49-F238E27FC236}">
                  <a16:creationId xmlns:a16="http://schemas.microsoft.com/office/drawing/2014/main" id="{E965B062-B0DA-4065-B4C9-81D6F881C9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0675" y="3282950"/>
              <a:ext cx="292100" cy="214313"/>
            </a:xfrm>
            <a:custGeom>
              <a:avLst/>
              <a:gdLst/>
              <a:ahLst/>
              <a:cxnLst/>
              <a:rect l="l" t="t" r="r" b="b"/>
              <a:pathLst>
                <a:path w="292100" h="214313">
                  <a:moveTo>
                    <a:pt x="269875" y="109538"/>
                  </a:moveTo>
                  <a:lnTo>
                    <a:pt x="266700" y="112713"/>
                  </a:lnTo>
                  <a:lnTo>
                    <a:pt x="269875" y="115888"/>
                  </a:lnTo>
                  <a:lnTo>
                    <a:pt x="276225" y="115888"/>
                  </a:lnTo>
                  <a:lnTo>
                    <a:pt x="269875" y="125413"/>
                  </a:lnTo>
                  <a:lnTo>
                    <a:pt x="263525" y="125413"/>
                  </a:lnTo>
                  <a:lnTo>
                    <a:pt x="250825" y="122238"/>
                  </a:lnTo>
                  <a:lnTo>
                    <a:pt x="250825" y="115888"/>
                  </a:lnTo>
                  <a:close/>
                  <a:moveTo>
                    <a:pt x="282575" y="106363"/>
                  </a:moveTo>
                  <a:lnTo>
                    <a:pt x="285750" y="106363"/>
                  </a:lnTo>
                  <a:lnTo>
                    <a:pt x="292100" y="106363"/>
                  </a:lnTo>
                  <a:lnTo>
                    <a:pt x="292100" y="112713"/>
                  </a:lnTo>
                  <a:lnTo>
                    <a:pt x="282575" y="109538"/>
                  </a:lnTo>
                  <a:close/>
                  <a:moveTo>
                    <a:pt x="28575" y="0"/>
                  </a:moveTo>
                  <a:lnTo>
                    <a:pt x="38100" y="3175"/>
                  </a:lnTo>
                  <a:lnTo>
                    <a:pt x="44450" y="6350"/>
                  </a:lnTo>
                  <a:lnTo>
                    <a:pt x="63500" y="6350"/>
                  </a:lnTo>
                  <a:lnTo>
                    <a:pt x="82550" y="6350"/>
                  </a:lnTo>
                  <a:lnTo>
                    <a:pt x="101600" y="12700"/>
                  </a:lnTo>
                  <a:lnTo>
                    <a:pt x="117475" y="6350"/>
                  </a:lnTo>
                  <a:lnTo>
                    <a:pt x="123825" y="9525"/>
                  </a:lnTo>
                  <a:lnTo>
                    <a:pt x="130175" y="12700"/>
                  </a:lnTo>
                  <a:lnTo>
                    <a:pt x="146050" y="12700"/>
                  </a:lnTo>
                  <a:lnTo>
                    <a:pt x="161925" y="12700"/>
                  </a:lnTo>
                  <a:lnTo>
                    <a:pt x="184150" y="25400"/>
                  </a:lnTo>
                  <a:lnTo>
                    <a:pt x="196850" y="31750"/>
                  </a:lnTo>
                  <a:lnTo>
                    <a:pt x="206375" y="31750"/>
                  </a:lnTo>
                  <a:lnTo>
                    <a:pt x="209550" y="31750"/>
                  </a:lnTo>
                  <a:lnTo>
                    <a:pt x="215900" y="31750"/>
                  </a:lnTo>
                  <a:lnTo>
                    <a:pt x="215900" y="28575"/>
                  </a:lnTo>
                  <a:lnTo>
                    <a:pt x="215900" y="25400"/>
                  </a:lnTo>
                  <a:lnTo>
                    <a:pt x="222250" y="28575"/>
                  </a:lnTo>
                  <a:lnTo>
                    <a:pt x="231775" y="34925"/>
                  </a:lnTo>
                  <a:lnTo>
                    <a:pt x="238125" y="38100"/>
                  </a:lnTo>
                  <a:lnTo>
                    <a:pt x="254000" y="41275"/>
                  </a:lnTo>
                  <a:lnTo>
                    <a:pt x="263525" y="38100"/>
                  </a:lnTo>
                  <a:lnTo>
                    <a:pt x="269875" y="38100"/>
                  </a:lnTo>
                  <a:lnTo>
                    <a:pt x="269875" y="44450"/>
                  </a:lnTo>
                  <a:lnTo>
                    <a:pt x="269875" y="52387"/>
                  </a:lnTo>
                  <a:lnTo>
                    <a:pt x="263525" y="58738"/>
                  </a:lnTo>
                  <a:lnTo>
                    <a:pt x="244475" y="68263"/>
                  </a:lnTo>
                  <a:lnTo>
                    <a:pt x="225425" y="74613"/>
                  </a:lnTo>
                  <a:lnTo>
                    <a:pt x="215900" y="80963"/>
                  </a:lnTo>
                  <a:lnTo>
                    <a:pt x="219075" y="87313"/>
                  </a:lnTo>
                  <a:lnTo>
                    <a:pt x="209550" y="96838"/>
                  </a:lnTo>
                  <a:lnTo>
                    <a:pt x="206375" y="103188"/>
                  </a:lnTo>
                  <a:lnTo>
                    <a:pt x="203200" y="106363"/>
                  </a:lnTo>
                  <a:lnTo>
                    <a:pt x="200025" y="106363"/>
                  </a:lnTo>
                  <a:lnTo>
                    <a:pt x="193675" y="119063"/>
                  </a:lnTo>
                  <a:lnTo>
                    <a:pt x="193675" y="134938"/>
                  </a:lnTo>
                  <a:lnTo>
                    <a:pt x="203200" y="144463"/>
                  </a:lnTo>
                  <a:lnTo>
                    <a:pt x="187325" y="157163"/>
                  </a:lnTo>
                  <a:lnTo>
                    <a:pt x="180975" y="166688"/>
                  </a:lnTo>
                  <a:lnTo>
                    <a:pt x="184150" y="173038"/>
                  </a:lnTo>
                  <a:lnTo>
                    <a:pt x="161925" y="182563"/>
                  </a:lnTo>
                  <a:lnTo>
                    <a:pt x="155575" y="195263"/>
                  </a:lnTo>
                  <a:lnTo>
                    <a:pt x="149225" y="195263"/>
                  </a:lnTo>
                  <a:lnTo>
                    <a:pt x="146050" y="195263"/>
                  </a:lnTo>
                  <a:lnTo>
                    <a:pt x="142875" y="198438"/>
                  </a:lnTo>
                  <a:lnTo>
                    <a:pt x="136525" y="195263"/>
                  </a:lnTo>
                  <a:lnTo>
                    <a:pt x="107950" y="198438"/>
                  </a:lnTo>
                  <a:lnTo>
                    <a:pt x="104775" y="198438"/>
                  </a:lnTo>
                  <a:lnTo>
                    <a:pt x="98425" y="204788"/>
                  </a:lnTo>
                  <a:lnTo>
                    <a:pt x="95250" y="204788"/>
                  </a:lnTo>
                  <a:lnTo>
                    <a:pt x="82550" y="211138"/>
                  </a:lnTo>
                  <a:lnTo>
                    <a:pt x="82550" y="214313"/>
                  </a:lnTo>
                  <a:lnTo>
                    <a:pt x="76200" y="214313"/>
                  </a:lnTo>
                  <a:lnTo>
                    <a:pt x="66675" y="207963"/>
                  </a:lnTo>
                  <a:lnTo>
                    <a:pt x="60325" y="198438"/>
                  </a:lnTo>
                  <a:lnTo>
                    <a:pt x="60325" y="192088"/>
                  </a:lnTo>
                  <a:lnTo>
                    <a:pt x="53975" y="185738"/>
                  </a:lnTo>
                  <a:lnTo>
                    <a:pt x="41275" y="185738"/>
                  </a:lnTo>
                  <a:lnTo>
                    <a:pt x="38100" y="176213"/>
                  </a:lnTo>
                  <a:lnTo>
                    <a:pt x="41275" y="163513"/>
                  </a:lnTo>
                  <a:lnTo>
                    <a:pt x="50800" y="157163"/>
                  </a:lnTo>
                  <a:lnTo>
                    <a:pt x="44450" y="157163"/>
                  </a:lnTo>
                  <a:lnTo>
                    <a:pt x="41275" y="150813"/>
                  </a:lnTo>
                  <a:lnTo>
                    <a:pt x="47625" y="138113"/>
                  </a:lnTo>
                  <a:lnTo>
                    <a:pt x="41275" y="125413"/>
                  </a:lnTo>
                  <a:lnTo>
                    <a:pt x="38100" y="115888"/>
                  </a:lnTo>
                  <a:lnTo>
                    <a:pt x="47625" y="115888"/>
                  </a:lnTo>
                  <a:lnTo>
                    <a:pt x="50800" y="106363"/>
                  </a:lnTo>
                  <a:lnTo>
                    <a:pt x="47625" y="100013"/>
                  </a:lnTo>
                  <a:lnTo>
                    <a:pt x="53975" y="96838"/>
                  </a:lnTo>
                  <a:lnTo>
                    <a:pt x="53975" y="84138"/>
                  </a:lnTo>
                  <a:lnTo>
                    <a:pt x="50800" y="77788"/>
                  </a:lnTo>
                  <a:lnTo>
                    <a:pt x="60325" y="71438"/>
                  </a:lnTo>
                  <a:lnTo>
                    <a:pt x="66675" y="61913"/>
                  </a:lnTo>
                  <a:lnTo>
                    <a:pt x="57150" y="52387"/>
                  </a:lnTo>
                  <a:lnTo>
                    <a:pt x="38100" y="52387"/>
                  </a:lnTo>
                  <a:lnTo>
                    <a:pt x="31750" y="52387"/>
                  </a:lnTo>
                  <a:lnTo>
                    <a:pt x="28575" y="52387"/>
                  </a:lnTo>
                  <a:lnTo>
                    <a:pt x="25400" y="55563"/>
                  </a:lnTo>
                  <a:lnTo>
                    <a:pt x="22225" y="52387"/>
                  </a:lnTo>
                  <a:lnTo>
                    <a:pt x="22225" y="49212"/>
                  </a:lnTo>
                  <a:lnTo>
                    <a:pt x="22225" y="46037"/>
                  </a:lnTo>
                  <a:lnTo>
                    <a:pt x="9525" y="52387"/>
                  </a:lnTo>
                  <a:lnTo>
                    <a:pt x="6350" y="52387"/>
                  </a:lnTo>
                  <a:lnTo>
                    <a:pt x="9525" y="41275"/>
                  </a:lnTo>
                  <a:lnTo>
                    <a:pt x="6350" y="31750"/>
                  </a:lnTo>
                  <a:lnTo>
                    <a:pt x="0" y="19050"/>
                  </a:lnTo>
                  <a:lnTo>
                    <a:pt x="3175" y="15875"/>
                  </a:lnTo>
                  <a:lnTo>
                    <a:pt x="9525" y="12700"/>
                  </a:lnTo>
                  <a:lnTo>
                    <a:pt x="19050" y="635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9" name="Freeform 819">
              <a:extLst>
                <a:ext uri="{FF2B5EF4-FFF2-40B4-BE49-F238E27FC236}">
                  <a16:creationId xmlns:a16="http://schemas.microsoft.com/office/drawing/2014/main" id="{8D5E5F4D-9457-4289-ADF4-5DFBD4E1F0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1899" y="3328988"/>
              <a:ext cx="425450" cy="142875"/>
            </a:xfrm>
            <a:custGeom>
              <a:avLst/>
              <a:gdLst/>
              <a:ahLst/>
              <a:cxnLst/>
              <a:rect l="l" t="t" r="r" b="b"/>
              <a:pathLst>
                <a:path w="425450" h="142875">
                  <a:moveTo>
                    <a:pt x="0" y="120650"/>
                  </a:moveTo>
                  <a:lnTo>
                    <a:pt x="15875" y="120650"/>
                  </a:lnTo>
                  <a:lnTo>
                    <a:pt x="12700" y="123825"/>
                  </a:lnTo>
                  <a:lnTo>
                    <a:pt x="3175" y="123825"/>
                  </a:lnTo>
                  <a:close/>
                  <a:moveTo>
                    <a:pt x="381000" y="0"/>
                  </a:moveTo>
                  <a:lnTo>
                    <a:pt x="381000" y="3175"/>
                  </a:lnTo>
                  <a:lnTo>
                    <a:pt x="381000" y="6350"/>
                  </a:lnTo>
                  <a:lnTo>
                    <a:pt x="384175" y="9525"/>
                  </a:lnTo>
                  <a:lnTo>
                    <a:pt x="387350" y="6350"/>
                  </a:lnTo>
                  <a:lnTo>
                    <a:pt x="390525" y="6350"/>
                  </a:lnTo>
                  <a:lnTo>
                    <a:pt x="396875" y="6350"/>
                  </a:lnTo>
                  <a:lnTo>
                    <a:pt x="415925" y="6350"/>
                  </a:lnTo>
                  <a:lnTo>
                    <a:pt x="425450" y="15875"/>
                  </a:lnTo>
                  <a:lnTo>
                    <a:pt x="419100" y="25400"/>
                  </a:lnTo>
                  <a:lnTo>
                    <a:pt x="409575" y="31750"/>
                  </a:lnTo>
                  <a:lnTo>
                    <a:pt x="412750" y="38100"/>
                  </a:lnTo>
                  <a:lnTo>
                    <a:pt x="412750" y="50800"/>
                  </a:lnTo>
                  <a:lnTo>
                    <a:pt x="406400" y="53975"/>
                  </a:lnTo>
                  <a:lnTo>
                    <a:pt x="409575" y="60325"/>
                  </a:lnTo>
                  <a:lnTo>
                    <a:pt x="406400" y="69850"/>
                  </a:lnTo>
                  <a:lnTo>
                    <a:pt x="396875" y="69850"/>
                  </a:lnTo>
                  <a:lnTo>
                    <a:pt x="400050" y="79375"/>
                  </a:lnTo>
                  <a:lnTo>
                    <a:pt x="406400" y="92075"/>
                  </a:lnTo>
                  <a:lnTo>
                    <a:pt x="400050" y="104775"/>
                  </a:lnTo>
                  <a:lnTo>
                    <a:pt x="403225" y="111125"/>
                  </a:lnTo>
                  <a:lnTo>
                    <a:pt x="409575" y="111125"/>
                  </a:lnTo>
                  <a:lnTo>
                    <a:pt x="400050" y="117475"/>
                  </a:lnTo>
                  <a:lnTo>
                    <a:pt x="396875" y="130175"/>
                  </a:lnTo>
                  <a:lnTo>
                    <a:pt x="400050" y="139700"/>
                  </a:lnTo>
                  <a:lnTo>
                    <a:pt x="396875" y="139700"/>
                  </a:lnTo>
                  <a:lnTo>
                    <a:pt x="390525" y="142875"/>
                  </a:lnTo>
                  <a:lnTo>
                    <a:pt x="377825" y="142875"/>
                  </a:lnTo>
                  <a:lnTo>
                    <a:pt x="368300" y="136525"/>
                  </a:lnTo>
                  <a:lnTo>
                    <a:pt x="368300" y="127000"/>
                  </a:lnTo>
                  <a:lnTo>
                    <a:pt x="368300" y="111125"/>
                  </a:lnTo>
                  <a:lnTo>
                    <a:pt x="365125" y="104775"/>
                  </a:lnTo>
                  <a:lnTo>
                    <a:pt x="361950" y="104775"/>
                  </a:lnTo>
                  <a:lnTo>
                    <a:pt x="361950" y="95250"/>
                  </a:lnTo>
                  <a:lnTo>
                    <a:pt x="352425" y="98425"/>
                  </a:lnTo>
                  <a:lnTo>
                    <a:pt x="365125" y="63500"/>
                  </a:lnTo>
                  <a:lnTo>
                    <a:pt x="371475" y="28575"/>
                  </a:lnTo>
                  <a:lnTo>
                    <a:pt x="368300" y="19050"/>
                  </a:lnTo>
                  <a:lnTo>
                    <a:pt x="368300" y="635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0" name="Freeform 709">
              <a:extLst>
                <a:ext uri="{FF2B5EF4-FFF2-40B4-BE49-F238E27FC236}">
                  <a16:creationId xmlns:a16="http://schemas.microsoft.com/office/drawing/2014/main" id="{29E15178-92C8-4FA2-B61B-4A6F9D567A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3138" y="2790825"/>
              <a:ext cx="155575" cy="92075"/>
            </a:xfrm>
            <a:custGeom>
              <a:avLst/>
              <a:gdLst/>
              <a:ahLst/>
              <a:cxnLst>
                <a:cxn ang="0">
                  <a:pos x="2" y="48"/>
                </a:cxn>
                <a:cxn ang="0">
                  <a:pos x="2" y="46"/>
                </a:cxn>
                <a:cxn ang="0">
                  <a:pos x="4" y="44"/>
                </a:cxn>
                <a:cxn ang="0">
                  <a:pos x="6" y="44"/>
                </a:cxn>
                <a:cxn ang="0">
                  <a:pos x="8" y="44"/>
                </a:cxn>
                <a:cxn ang="0">
                  <a:pos x="10" y="44"/>
                </a:cxn>
                <a:cxn ang="0">
                  <a:pos x="10" y="42"/>
                </a:cxn>
                <a:cxn ang="0">
                  <a:pos x="12" y="42"/>
                </a:cxn>
                <a:cxn ang="0">
                  <a:pos x="12" y="40"/>
                </a:cxn>
                <a:cxn ang="0">
                  <a:pos x="18" y="42"/>
                </a:cxn>
                <a:cxn ang="0">
                  <a:pos x="22" y="42"/>
                </a:cxn>
                <a:cxn ang="0">
                  <a:pos x="40" y="42"/>
                </a:cxn>
                <a:cxn ang="0">
                  <a:pos x="48" y="42"/>
                </a:cxn>
                <a:cxn ang="0">
                  <a:pos x="54" y="44"/>
                </a:cxn>
                <a:cxn ang="0">
                  <a:pos x="56" y="46"/>
                </a:cxn>
                <a:cxn ang="0">
                  <a:pos x="60" y="48"/>
                </a:cxn>
                <a:cxn ang="0">
                  <a:pos x="66" y="50"/>
                </a:cxn>
                <a:cxn ang="0">
                  <a:pos x="66" y="50"/>
                </a:cxn>
                <a:cxn ang="0">
                  <a:pos x="76" y="58"/>
                </a:cxn>
                <a:cxn ang="0">
                  <a:pos x="86" y="56"/>
                </a:cxn>
                <a:cxn ang="0">
                  <a:pos x="88" y="56"/>
                </a:cxn>
                <a:cxn ang="0">
                  <a:pos x="92" y="50"/>
                </a:cxn>
                <a:cxn ang="0">
                  <a:pos x="96" y="46"/>
                </a:cxn>
                <a:cxn ang="0">
                  <a:pos x="98" y="42"/>
                </a:cxn>
                <a:cxn ang="0">
                  <a:pos x="96" y="36"/>
                </a:cxn>
                <a:cxn ang="0">
                  <a:pos x="92" y="24"/>
                </a:cxn>
                <a:cxn ang="0">
                  <a:pos x="92" y="20"/>
                </a:cxn>
                <a:cxn ang="0">
                  <a:pos x="92" y="18"/>
                </a:cxn>
                <a:cxn ang="0">
                  <a:pos x="86" y="12"/>
                </a:cxn>
                <a:cxn ang="0">
                  <a:pos x="78" y="10"/>
                </a:cxn>
                <a:cxn ang="0">
                  <a:pos x="68" y="8"/>
                </a:cxn>
                <a:cxn ang="0">
                  <a:pos x="60" y="0"/>
                </a:cxn>
                <a:cxn ang="0">
                  <a:pos x="54" y="0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6" y="20"/>
                </a:cxn>
                <a:cxn ang="0">
                  <a:pos x="40" y="24"/>
                </a:cxn>
                <a:cxn ang="0">
                  <a:pos x="30" y="24"/>
                </a:cxn>
                <a:cxn ang="0">
                  <a:pos x="28" y="20"/>
                </a:cxn>
                <a:cxn ang="0">
                  <a:pos x="24" y="14"/>
                </a:cxn>
                <a:cxn ang="0">
                  <a:pos x="18" y="8"/>
                </a:cxn>
                <a:cxn ang="0">
                  <a:pos x="10" y="12"/>
                </a:cxn>
                <a:cxn ang="0">
                  <a:pos x="6" y="20"/>
                </a:cxn>
                <a:cxn ang="0">
                  <a:pos x="0" y="32"/>
                </a:cxn>
                <a:cxn ang="0">
                  <a:pos x="0" y="44"/>
                </a:cxn>
                <a:cxn ang="0">
                  <a:pos x="0" y="50"/>
                </a:cxn>
                <a:cxn ang="0">
                  <a:pos x="2" y="48"/>
                </a:cxn>
                <a:cxn ang="0">
                  <a:pos x="2" y="48"/>
                </a:cxn>
              </a:cxnLst>
              <a:rect l="0" t="0" r="r" b="b"/>
              <a:pathLst>
                <a:path w="98" h="58">
                  <a:moveTo>
                    <a:pt x="2" y="48"/>
                  </a:moveTo>
                  <a:lnTo>
                    <a:pt x="2" y="46"/>
                  </a:lnTo>
                  <a:lnTo>
                    <a:pt x="4" y="44"/>
                  </a:lnTo>
                  <a:lnTo>
                    <a:pt x="6" y="44"/>
                  </a:lnTo>
                  <a:lnTo>
                    <a:pt x="8" y="44"/>
                  </a:lnTo>
                  <a:lnTo>
                    <a:pt x="10" y="44"/>
                  </a:lnTo>
                  <a:lnTo>
                    <a:pt x="10" y="42"/>
                  </a:lnTo>
                  <a:lnTo>
                    <a:pt x="12" y="42"/>
                  </a:lnTo>
                  <a:lnTo>
                    <a:pt x="12" y="40"/>
                  </a:lnTo>
                  <a:lnTo>
                    <a:pt x="18" y="42"/>
                  </a:lnTo>
                  <a:lnTo>
                    <a:pt x="22" y="42"/>
                  </a:lnTo>
                  <a:lnTo>
                    <a:pt x="40" y="42"/>
                  </a:lnTo>
                  <a:lnTo>
                    <a:pt x="48" y="42"/>
                  </a:lnTo>
                  <a:lnTo>
                    <a:pt x="54" y="44"/>
                  </a:lnTo>
                  <a:lnTo>
                    <a:pt x="56" y="46"/>
                  </a:lnTo>
                  <a:lnTo>
                    <a:pt x="60" y="48"/>
                  </a:lnTo>
                  <a:lnTo>
                    <a:pt x="66" y="50"/>
                  </a:lnTo>
                  <a:lnTo>
                    <a:pt x="66" y="50"/>
                  </a:lnTo>
                  <a:lnTo>
                    <a:pt x="76" y="58"/>
                  </a:lnTo>
                  <a:lnTo>
                    <a:pt x="86" y="56"/>
                  </a:lnTo>
                  <a:lnTo>
                    <a:pt x="88" y="56"/>
                  </a:lnTo>
                  <a:lnTo>
                    <a:pt x="92" y="50"/>
                  </a:lnTo>
                  <a:lnTo>
                    <a:pt x="96" y="46"/>
                  </a:lnTo>
                  <a:lnTo>
                    <a:pt x="98" y="42"/>
                  </a:lnTo>
                  <a:lnTo>
                    <a:pt x="96" y="36"/>
                  </a:lnTo>
                  <a:lnTo>
                    <a:pt x="92" y="24"/>
                  </a:lnTo>
                  <a:lnTo>
                    <a:pt x="92" y="20"/>
                  </a:lnTo>
                  <a:lnTo>
                    <a:pt x="92" y="18"/>
                  </a:lnTo>
                  <a:lnTo>
                    <a:pt x="86" y="12"/>
                  </a:lnTo>
                  <a:lnTo>
                    <a:pt x="78" y="10"/>
                  </a:lnTo>
                  <a:lnTo>
                    <a:pt x="68" y="8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6" y="20"/>
                  </a:lnTo>
                  <a:lnTo>
                    <a:pt x="40" y="24"/>
                  </a:lnTo>
                  <a:lnTo>
                    <a:pt x="30" y="24"/>
                  </a:lnTo>
                  <a:lnTo>
                    <a:pt x="28" y="20"/>
                  </a:lnTo>
                  <a:lnTo>
                    <a:pt x="24" y="14"/>
                  </a:lnTo>
                  <a:lnTo>
                    <a:pt x="18" y="8"/>
                  </a:lnTo>
                  <a:lnTo>
                    <a:pt x="10" y="12"/>
                  </a:lnTo>
                  <a:lnTo>
                    <a:pt x="6" y="20"/>
                  </a:lnTo>
                  <a:lnTo>
                    <a:pt x="0" y="32"/>
                  </a:lnTo>
                  <a:lnTo>
                    <a:pt x="0" y="44"/>
                  </a:lnTo>
                  <a:lnTo>
                    <a:pt x="0" y="50"/>
                  </a:lnTo>
                  <a:lnTo>
                    <a:pt x="2" y="48"/>
                  </a:lnTo>
                  <a:lnTo>
                    <a:pt x="2" y="48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1" name="Freeform 746">
              <a:extLst>
                <a:ext uri="{FF2B5EF4-FFF2-40B4-BE49-F238E27FC236}">
                  <a16:creationId xmlns:a16="http://schemas.microsoft.com/office/drawing/2014/main" id="{0B600010-D391-46A8-A10F-6285130F7C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2188" y="2724150"/>
              <a:ext cx="130175" cy="85725"/>
            </a:xfrm>
            <a:custGeom>
              <a:avLst/>
              <a:gdLst/>
              <a:ahLst/>
              <a:cxnLst/>
              <a:rect l="l" t="t" r="r" b="b"/>
              <a:pathLst>
                <a:path w="130175" h="85725">
                  <a:moveTo>
                    <a:pt x="6350" y="44450"/>
                  </a:moveTo>
                  <a:lnTo>
                    <a:pt x="22225" y="44450"/>
                  </a:lnTo>
                  <a:lnTo>
                    <a:pt x="25400" y="47625"/>
                  </a:lnTo>
                  <a:lnTo>
                    <a:pt x="22225" y="53975"/>
                  </a:lnTo>
                  <a:lnTo>
                    <a:pt x="15875" y="60325"/>
                  </a:lnTo>
                  <a:lnTo>
                    <a:pt x="3175" y="69850"/>
                  </a:lnTo>
                  <a:lnTo>
                    <a:pt x="0" y="69850"/>
                  </a:lnTo>
                  <a:lnTo>
                    <a:pt x="0" y="53975"/>
                  </a:lnTo>
                  <a:close/>
                  <a:moveTo>
                    <a:pt x="15875" y="22225"/>
                  </a:moveTo>
                  <a:lnTo>
                    <a:pt x="22225" y="28575"/>
                  </a:lnTo>
                  <a:lnTo>
                    <a:pt x="22225" y="34925"/>
                  </a:lnTo>
                  <a:lnTo>
                    <a:pt x="19050" y="34925"/>
                  </a:lnTo>
                  <a:lnTo>
                    <a:pt x="9525" y="34925"/>
                  </a:lnTo>
                  <a:close/>
                  <a:moveTo>
                    <a:pt x="88900" y="0"/>
                  </a:moveTo>
                  <a:lnTo>
                    <a:pt x="101600" y="3175"/>
                  </a:lnTo>
                  <a:lnTo>
                    <a:pt x="107950" y="6350"/>
                  </a:lnTo>
                  <a:lnTo>
                    <a:pt x="127000" y="9525"/>
                  </a:lnTo>
                  <a:lnTo>
                    <a:pt x="130175" y="6350"/>
                  </a:lnTo>
                  <a:lnTo>
                    <a:pt x="127000" y="19050"/>
                  </a:lnTo>
                  <a:lnTo>
                    <a:pt x="120650" y="41275"/>
                  </a:lnTo>
                  <a:lnTo>
                    <a:pt x="123825" y="66675"/>
                  </a:lnTo>
                  <a:lnTo>
                    <a:pt x="127000" y="69850"/>
                  </a:lnTo>
                  <a:lnTo>
                    <a:pt x="123825" y="76200"/>
                  </a:lnTo>
                  <a:lnTo>
                    <a:pt x="120650" y="76200"/>
                  </a:lnTo>
                  <a:lnTo>
                    <a:pt x="117475" y="85725"/>
                  </a:lnTo>
                  <a:lnTo>
                    <a:pt x="104775" y="82550"/>
                  </a:lnTo>
                  <a:lnTo>
                    <a:pt x="88900" y="79375"/>
                  </a:lnTo>
                  <a:lnTo>
                    <a:pt x="76200" y="66675"/>
                  </a:lnTo>
                  <a:lnTo>
                    <a:pt x="66675" y="66675"/>
                  </a:lnTo>
                  <a:lnTo>
                    <a:pt x="50800" y="73025"/>
                  </a:lnTo>
                  <a:lnTo>
                    <a:pt x="57150" y="53975"/>
                  </a:lnTo>
                  <a:lnTo>
                    <a:pt x="50800" y="53975"/>
                  </a:lnTo>
                  <a:lnTo>
                    <a:pt x="50800" y="57150"/>
                  </a:lnTo>
                  <a:lnTo>
                    <a:pt x="41275" y="53975"/>
                  </a:lnTo>
                  <a:lnTo>
                    <a:pt x="34925" y="44450"/>
                  </a:lnTo>
                  <a:lnTo>
                    <a:pt x="31750" y="34925"/>
                  </a:lnTo>
                  <a:lnTo>
                    <a:pt x="34925" y="15875"/>
                  </a:lnTo>
                  <a:lnTo>
                    <a:pt x="50800" y="9525"/>
                  </a:lnTo>
                  <a:lnTo>
                    <a:pt x="76200" y="635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2" name="Freeform 763">
              <a:extLst>
                <a:ext uri="{FF2B5EF4-FFF2-40B4-BE49-F238E27FC236}">
                  <a16:creationId xmlns:a16="http://schemas.microsoft.com/office/drawing/2014/main" id="{B01A4979-4216-4EDD-A6C8-635703B2B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5325" y="2806700"/>
              <a:ext cx="93663" cy="117475"/>
            </a:xfrm>
            <a:custGeom>
              <a:avLst/>
              <a:gdLst/>
              <a:ahLst/>
              <a:cxnLst/>
              <a:rect l="l" t="t" r="r" b="b"/>
              <a:pathLst>
                <a:path w="93663" h="117475">
                  <a:moveTo>
                    <a:pt x="63500" y="104775"/>
                  </a:moveTo>
                  <a:lnTo>
                    <a:pt x="65088" y="104775"/>
                  </a:lnTo>
                  <a:lnTo>
                    <a:pt x="71438" y="107950"/>
                  </a:lnTo>
                  <a:lnTo>
                    <a:pt x="74613" y="107950"/>
                  </a:lnTo>
                  <a:lnTo>
                    <a:pt x="77788" y="114300"/>
                  </a:lnTo>
                  <a:lnTo>
                    <a:pt x="74613" y="117475"/>
                  </a:lnTo>
                  <a:lnTo>
                    <a:pt x="68263" y="114300"/>
                  </a:lnTo>
                  <a:lnTo>
                    <a:pt x="63500" y="111125"/>
                  </a:lnTo>
                  <a:close/>
                  <a:moveTo>
                    <a:pt x="38100" y="82550"/>
                  </a:moveTo>
                  <a:lnTo>
                    <a:pt x="50800" y="82550"/>
                  </a:lnTo>
                  <a:lnTo>
                    <a:pt x="50800" y="85725"/>
                  </a:lnTo>
                  <a:lnTo>
                    <a:pt x="53975" y="82550"/>
                  </a:lnTo>
                  <a:lnTo>
                    <a:pt x="57150" y="92075"/>
                  </a:lnTo>
                  <a:lnTo>
                    <a:pt x="57150" y="98425"/>
                  </a:lnTo>
                  <a:lnTo>
                    <a:pt x="44450" y="98425"/>
                  </a:lnTo>
                  <a:lnTo>
                    <a:pt x="38100" y="92075"/>
                  </a:lnTo>
                  <a:close/>
                  <a:moveTo>
                    <a:pt x="93663" y="63500"/>
                  </a:moveTo>
                  <a:lnTo>
                    <a:pt x="93663" y="82550"/>
                  </a:lnTo>
                  <a:lnTo>
                    <a:pt x="90488" y="92075"/>
                  </a:lnTo>
                  <a:lnTo>
                    <a:pt x="87313" y="101600"/>
                  </a:lnTo>
                  <a:lnTo>
                    <a:pt x="77788" y="101600"/>
                  </a:lnTo>
                  <a:lnTo>
                    <a:pt x="77788" y="98425"/>
                  </a:lnTo>
                  <a:lnTo>
                    <a:pt x="74613" y="95250"/>
                  </a:lnTo>
                  <a:lnTo>
                    <a:pt x="68263" y="92075"/>
                  </a:lnTo>
                  <a:lnTo>
                    <a:pt x="63500" y="79375"/>
                  </a:lnTo>
                  <a:lnTo>
                    <a:pt x="71438" y="69850"/>
                  </a:lnTo>
                  <a:close/>
                  <a:moveTo>
                    <a:pt x="47625" y="0"/>
                  </a:moveTo>
                  <a:lnTo>
                    <a:pt x="50800" y="3175"/>
                  </a:lnTo>
                  <a:lnTo>
                    <a:pt x="50800" y="12700"/>
                  </a:lnTo>
                  <a:lnTo>
                    <a:pt x="44450" y="25400"/>
                  </a:lnTo>
                  <a:lnTo>
                    <a:pt x="47625" y="41275"/>
                  </a:lnTo>
                  <a:lnTo>
                    <a:pt x="50800" y="44450"/>
                  </a:lnTo>
                  <a:lnTo>
                    <a:pt x="57150" y="44450"/>
                  </a:lnTo>
                  <a:lnTo>
                    <a:pt x="60325" y="53975"/>
                  </a:lnTo>
                  <a:lnTo>
                    <a:pt x="50800" y="63500"/>
                  </a:lnTo>
                  <a:lnTo>
                    <a:pt x="34925" y="82550"/>
                  </a:lnTo>
                  <a:lnTo>
                    <a:pt x="28575" y="98425"/>
                  </a:lnTo>
                  <a:lnTo>
                    <a:pt x="31750" y="104775"/>
                  </a:lnTo>
                  <a:lnTo>
                    <a:pt x="28575" y="111125"/>
                  </a:lnTo>
                  <a:lnTo>
                    <a:pt x="12700" y="104775"/>
                  </a:lnTo>
                  <a:lnTo>
                    <a:pt x="12700" y="98425"/>
                  </a:lnTo>
                  <a:lnTo>
                    <a:pt x="9525" y="85725"/>
                  </a:lnTo>
                  <a:lnTo>
                    <a:pt x="3175" y="79375"/>
                  </a:lnTo>
                  <a:lnTo>
                    <a:pt x="0" y="60325"/>
                  </a:lnTo>
                  <a:lnTo>
                    <a:pt x="0" y="41275"/>
                  </a:lnTo>
                  <a:lnTo>
                    <a:pt x="3175" y="31750"/>
                  </a:lnTo>
                  <a:lnTo>
                    <a:pt x="9525" y="22225"/>
                  </a:lnTo>
                  <a:lnTo>
                    <a:pt x="19050" y="22225"/>
                  </a:lnTo>
                  <a:lnTo>
                    <a:pt x="28575" y="19050"/>
                  </a:lnTo>
                  <a:lnTo>
                    <a:pt x="38100" y="952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3" name="Freeform 710">
              <a:extLst>
                <a:ext uri="{FF2B5EF4-FFF2-40B4-BE49-F238E27FC236}">
                  <a16:creationId xmlns:a16="http://schemas.microsoft.com/office/drawing/2014/main" id="{D545C34D-8EE1-4A50-A0A2-183B9A8F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9963" y="2854325"/>
              <a:ext cx="123825" cy="95250"/>
            </a:xfrm>
            <a:custGeom>
              <a:avLst/>
              <a:gdLst/>
              <a:ahLst/>
              <a:cxnLst>
                <a:cxn ang="0">
                  <a:pos x="16" y="34"/>
                </a:cxn>
                <a:cxn ang="0">
                  <a:pos x="22" y="32"/>
                </a:cxn>
                <a:cxn ang="0">
                  <a:pos x="24" y="34"/>
                </a:cxn>
                <a:cxn ang="0">
                  <a:pos x="24" y="42"/>
                </a:cxn>
                <a:cxn ang="0">
                  <a:pos x="24" y="48"/>
                </a:cxn>
                <a:cxn ang="0">
                  <a:pos x="26" y="50"/>
                </a:cxn>
                <a:cxn ang="0">
                  <a:pos x="32" y="52"/>
                </a:cxn>
                <a:cxn ang="0">
                  <a:pos x="36" y="60"/>
                </a:cxn>
                <a:cxn ang="0">
                  <a:pos x="40" y="60"/>
                </a:cxn>
                <a:cxn ang="0">
                  <a:pos x="40" y="58"/>
                </a:cxn>
                <a:cxn ang="0">
                  <a:pos x="50" y="60"/>
                </a:cxn>
                <a:cxn ang="0">
                  <a:pos x="56" y="54"/>
                </a:cxn>
                <a:cxn ang="0">
                  <a:pos x="62" y="54"/>
                </a:cxn>
                <a:cxn ang="0">
                  <a:pos x="64" y="46"/>
                </a:cxn>
                <a:cxn ang="0">
                  <a:pos x="66" y="38"/>
                </a:cxn>
                <a:cxn ang="0">
                  <a:pos x="72" y="34"/>
                </a:cxn>
                <a:cxn ang="0">
                  <a:pos x="78" y="18"/>
                </a:cxn>
                <a:cxn ang="0">
                  <a:pos x="68" y="10"/>
                </a:cxn>
                <a:cxn ang="0">
                  <a:pos x="68" y="10"/>
                </a:cxn>
                <a:cxn ang="0">
                  <a:pos x="62" y="8"/>
                </a:cxn>
                <a:cxn ang="0">
                  <a:pos x="58" y="6"/>
                </a:cxn>
                <a:cxn ang="0">
                  <a:pos x="56" y="4"/>
                </a:cxn>
                <a:cxn ang="0">
                  <a:pos x="50" y="2"/>
                </a:cxn>
                <a:cxn ang="0">
                  <a:pos x="42" y="2"/>
                </a:cxn>
                <a:cxn ang="0">
                  <a:pos x="24" y="2"/>
                </a:cxn>
                <a:cxn ang="0">
                  <a:pos x="20" y="2"/>
                </a:cxn>
                <a:cxn ang="0">
                  <a:pos x="14" y="0"/>
                </a:cxn>
                <a:cxn ang="0">
                  <a:pos x="14" y="2"/>
                </a:cxn>
                <a:cxn ang="0">
                  <a:pos x="12" y="2"/>
                </a:cxn>
                <a:cxn ang="0">
                  <a:pos x="12" y="4"/>
                </a:cxn>
                <a:cxn ang="0">
                  <a:pos x="10" y="4"/>
                </a:cxn>
                <a:cxn ang="0">
                  <a:pos x="8" y="4"/>
                </a:cxn>
                <a:cxn ang="0">
                  <a:pos x="6" y="4"/>
                </a:cxn>
                <a:cxn ang="0">
                  <a:pos x="4" y="6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2" y="10"/>
                </a:cxn>
                <a:cxn ang="0">
                  <a:pos x="2" y="16"/>
                </a:cxn>
                <a:cxn ang="0">
                  <a:pos x="2" y="22"/>
                </a:cxn>
                <a:cxn ang="0">
                  <a:pos x="2" y="26"/>
                </a:cxn>
                <a:cxn ang="0">
                  <a:pos x="0" y="28"/>
                </a:cxn>
                <a:cxn ang="0">
                  <a:pos x="6" y="28"/>
                </a:cxn>
                <a:cxn ang="0">
                  <a:pos x="16" y="34"/>
                </a:cxn>
              </a:cxnLst>
              <a:rect l="0" t="0" r="r" b="b"/>
              <a:pathLst>
                <a:path w="78" h="60">
                  <a:moveTo>
                    <a:pt x="16" y="34"/>
                  </a:moveTo>
                  <a:lnTo>
                    <a:pt x="22" y="32"/>
                  </a:lnTo>
                  <a:lnTo>
                    <a:pt x="24" y="34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26" y="50"/>
                  </a:lnTo>
                  <a:lnTo>
                    <a:pt x="32" y="52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58"/>
                  </a:lnTo>
                  <a:lnTo>
                    <a:pt x="50" y="60"/>
                  </a:lnTo>
                  <a:lnTo>
                    <a:pt x="56" y="54"/>
                  </a:lnTo>
                  <a:lnTo>
                    <a:pt x="62" y="54"/>
                  </a:lnTo>
                  <a:lnTo>
                    <a:pt x="64" y="46"/>
                  </a:lnTo>
                  <a:lnTo>
                    <a:pt x="66" y="38"/>
                  </a:lnTo>
                  <a:lnTo>
                    <a:pt x="72" y="34"/>
                  </a:lnTo>
                  <a:lnTo>
                    <a:pt x="78" y="18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2" y="8"/>
                  </a:lnTo>
                  <a:lnTo>
                    <a:pt x="58" y="6"/>
                  </a:lnTo>
                  <a:lnTo>
                    <a:pt x="56" y="4"/>
                  </a:lnTo>
                  <a:lnTo>
                    <a:pt x="50" y="2"/>
                  </a:lnTo>
                  <a:lnTo>
                    <a:pt x="42" y="2"/>
                  </a:lnTo>
                  <a:lnTo>
                    <a:pt x="24" y="2"/>
                  </a:lnTo>
                  <a:lnTo>
                    <a:pt x="20" y="2"/>
                  </a:lnTo>
                  <a:lnTo>
                    <a:pt x="14" y="0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2" y="4"/>
                  </a:lnTo>
                  <a:lnTo>
                    <a:pt x="10" y="4"/>
                  </a:lnTo>
                  <a:lnTo>
                    <a:pt x="8" y="4"/>
                  </a:lnTo>
                  <a:lnTo>
                    <a:pt x="6" y="4"/>
                  </a:lnTo>
                  <a:lnTo>
                    <a:pt x="4" y="6"/>
                  </a:lnTo>
                  <a:lnTo>
                    <a:pt x="4" y="8"/>
                  </a:lnTo>
                  <a:lnTo>
                    <a:pt x="4" y="8"/>
                  </a:lnTo>
                  <a:lnTo>
                    <a:pt x="2" y="10"/>
                  </a:lnTo>
                  <a:lnTo>
                    <a:pt x="2" y="16"/>
                  </a:lnTo>
                  <a:lnTo>
                    <a:pt x="2" y="22"/>
                  </a:lnTo>
                  <a:lnTo>
                    <a:pt x="2" y="26"/>
                  </a:lnTo>
                  <a:lnTo>
                    <a:pt x="0" y="28"/>
                  </a:lnTo>
                  <a:lnTo>
                    <a:pt x="6" y="28"/>
                  </a:lnTo>
                  <a:lnTo>
                    <a:pt x="16" y="34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4" name="Freeform 711">
              <a:extLst>
                <a:ext uri="{FF2B5EF4-FFF2-40B4-BE49-F238E27FC236}">
                  <a16:creationId xmlns:a16="http://schemas.microsoft.com/office/drawing/2014/main" id="{8422CD29-A328-4973-A609-23444AC48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5363" y="3003550"/>
              <a:ext cx="390525" cy="260350"/>
            </a:xfrm>
            <a:custGeom>
              <a:avLst/>
              <a:gdLst/>
              <a:ahLst/>
              <a:cxnLst>
                <a:cxn ang="0">
                  <a:pos x="234" y="96"/>
                </a:cxn>
                <a:cxn ang="0">
                  <a:pos x="242" y="90"/>
                </a:cxn>
                <a:cxn ang="0">
                  <a:pos x="240" y="78"/>
                </a:cxn>
                <a:cxn ang="0">
                  <a:pos x="240" y="72"/>
                </a:cxn>
                <a:cxn ang="0">
                  <a:pos x="244" y="60"/>
                </a:cxn>
                <a:cxn ang="0">
                  <a:pos x="216" y="52"/>
                </a:cxn>
                <a:cxn ang="0">
                  <a:pos x="206" y="44"/>
                </a:cxn>
                <a:cxn ang="0">
                  <a:pos x="184" y="42"/>
                </a:cxn>
                <a:cxn ang="0">
                  <a:pos x="176" y="26"/>
                </a:cxn>
                <a:cxn ang="0">
                  <a:pos x="162" y="4"/>
                </a:cxn>
                <a:cxn ang="0">
                  <a:pos x="146" y="4"/>
                </a:cxn>
                <a:cxn ang="0">
                  <a:pos x="132" y="6"/>
                </a:cxn>
                <a:cxn ang="0">
                  <a:pos x="116" y="26"/>
                </a:cxn>
                <a:cxn ang="0">
                  <a:pos x="88" y="18"/>
                </a:cxn>
                <a:cxn ang="0">
                  <a:pos x="48" y="10"/>
                </a:cxn>
                <a:cxn ang="0">
                  <a:pos x="24" y="16"/>
                </a:cxn>
                <a:cxn ang="0">
                  <a:pos x="26" y="44"/>
                </a:cxn>
                <a:cxn ang="0">
                  <a:pos x="10" y="58"/>
                </a:cxn>
                <a:cxn ang="0">
                  <a:pos x="2" y="86"/>
                </a:cxn>
                <a:cxn ang="0">
                  <a:pos x="10" y="92"/>
                </a:cxn>
                <a:cxn ang="0">
                  <a:pos x="28" y="96"/>
                </a:cxn>
                <a:cxn ang="0">
                  <a:pos x="56" y="94"/>
                </a:cxn>
                <a:cxn ang="0">
                  <a:pos x="62" y="88"/>
                </a:cxn>
                <a:cxn ang="0">
                  <a:pos x="74" y="84"/>
                </a:cxn>
                <a:cxn ang="0">
                  <a:pos x="88" y="92"/>
                </a:cxn>
                <a:cxn ang="0">
                  <a:pos x="98" y="96"/>
                </a:cxn>
                <a:cxn ang="0">
                  <a:pos x="102" y="114"/>
                </a:cxn>
                <a:cxn ang="0">
                  <a:pos x="110" y="126"/>
                </a:cxn>
                <a:cxn ang="0">
                  <a:pos x="94" y="124"/>
                </a:cxn>
                <a:cxn ang="0">
                  <a:pos x="90" y="136"/>
                </a:cxn>
                <a:cxn ang="0">
                  <a:pos x="90" y="148"/>
                </a:cxn>
                <a:cxn ang="0">
                  <a:pos x="104" y="144"/>
                </a:cxn>
                <a:cxn ang="0">
                  <a:pos x="106" y="136"/>
                </a:cxn>
                <a:cxn ang="0">
                  <a:pos x="118" y="124"/>
                </a:cxn>
                <a:cxn ang="0">
                  <a:pos x="134" y="126"/>
                </a:cxn>
                <a:cxn ang="0">
                  <a:pos x="158" y="132"/>
                </a:cxn>
                <a:cxn ang="0">
                  <a:pos x="146" y="142"/>
                </a:cxn>
                <a:cxn ang="0">
                  <a:pos x="154" y="150"/>
                </a:cxn>
                <a:cxn ang="0">
                  <a:pos x="154" y="160"/>
                </a:cxn>
                <a:cxn ang="0">
                  <a:pos x="180" y="152"/>
                </a:cxn>
                <a:cxn ang="0">
                  <a:pos x="192" y="152"/>
                </a:cxn>
                <a:cxn ang="0">
                  <a:pos x="192" y="144"/>
                </a:cxn>
                <a:cxn ang="0">
                  <a:pos x="182" y="148"/>
                </a:cxn>
                <a:cxn ang="0">
                  <a:pos x="174" y="130"/>
                </a:cxn>
                <a:cxn ang="0">
                  <a:pos x="198" y="118"/>
                </a:cxn>
                <a:cxn ang="0">
                  <a:pos x="220" y="106"/>
                </a:cxn>
              </a:cxnLst>
              <a:rect l="0" t="0" r="r" b="b"/>
              <a:pathLst>
                <a:path w="246" h="164">
                  <a:moveTo>
                    <a:pt x="222" y="100"/>
                  </a:moveTo>
                  <a:lnTo>
                    <a:pt x="228" y="98"/>
                  </a:lnTo>
                  <a:lnTo>
                    <a:pt x="234" y="96"/>
                  </a:lnTo>
                  <a:lnTo>
                    <a:pt x="240" y="96"/>
                  </a:lnTo>
                  <a:lnTo>
                    <a:pt x="240" y="94"/>
                  </a:lnTo>
                  <a:lnTo>
                    <a:pt x="242" y="90"/>
                  </a:lnTo>
                  <a:lnTo>
                    <a:pt x="242" y="86"/>
                  </a:lnTo>
                  <a:lnTo>
                    <a:pt x="240" y="82"/>
                  </a:lnTo>
                  <a:lnTo>
                    <a:pt x="240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40" y="72"/>
                  </a:lnTo>
                  <a:lnTo>
                    <a:pt x="244" y="70"/>
                  </a:lnTo>
                  <a:lnTo>
                    <a:pt x="246" y="66"/>
                  </a:lnTo>
                  <a:lnTo>
                    <a:pt x="244" y="60"/>
                  </a:lnTo>
                  <a:lnTo>
                    <a:pt x="226" y="54"/>
                  </a:lnTo>
                  <a:lnTo>
                    <a:pt x="216" y="52"/>
                  </a:lnTo>
                  <a:lnTo>
                    <a:pt x="216" y="52"/>
                  </a:lnTo>
                  <a:lnTo>
                    <a:pt x="212" y="48"/>
                  </a:lnTo>
                  <a:lnTo>
                    <a:pt x="208" y="44"/>
                  </a:lnTo>
                  <a:lnTo>
                    <a:pt x="206" y="44"/>
                  </a:lnTo>
                  <a:lnTo>
                    <a:pt x="202" y="46"/>
                  </a:lnTo>
                  <a:lnTo>
                    <a:pt x="194" y="46"/>
                  </a:lnTo>
                  <a:lnTo>
                    <a:pt x="184" y="42"/>
                  </a:lnTo>
                  <a:lnTo>
                    <a:pt x="182" y="38"/>
                  </a:lnTo>
                  <a:lnTo>
                    <a:pt x="180" y="32"/>
                  </a:lnTo>
                  <a:lnTo>
                    <a:pt x="176" y="26"/>
                  </a:lnTo>
                  <a:lnTo>
                    <a:pt x="166" y="24"/>
                  </a:lnTo>
                  <a:lnTo>
                    <a:pt x="164" y="16"/>
                  </a:lnTo>
                  <a:lnTo>
                    <a:pt x="162" y="4"/>
                  </a:lnTo>
                  <a:lnTo>
                    <a:pt x="160" y="2"/>
                  </a:lnTo>
                  <a:lnTo>
                    <a:pt x="154" y="0"/>
                  </a:lnTo>
                  <a:lnTo>
                    <a:pt x="146" y="4"/>
                  </a:lnTo>
                  <a:lnTo>
                    <a:pt x="138" y="8"/>
                  </a:lnTo>
                  <a:lnTo>
                    <a:pt x="136" y="8"/>
                  </a:lnTo>
                  <a:lnTo>
                    <a:pt x="132" y="6"/>
                  </a:lnTo>
                  <a:lnTo>
                    <a:pt x="120" y="8"/>
                  </a:lnTo>
                  <a:lnTo>
                    <a:pt x="118" y="10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08" y="20"/>
                  </a:lnTo>
                  <a:lnTo>
                    <a:pt x="88" y="18"/>
                  </a:lnTo>
                  <a:lnTo>
                    <a:pt x="74" y="18"/>
                  </a:lnTo>
                  <a:lnTo>
                    <a:pt x="56" y="12"/>
                  </a:lnTo>
                  <a:lnTo>
                    <a:pt x="48" y="10"/>
                  </a:lnTo>
                  <a:lnTo>
                    <a:pt x="40" y="12"/>
                  </a:lnTo>
                  <a:lnTo>
                    <a:pt x="30" y="12"/>
                  </a:lnTo>
                  <a:lnTo>
                    <a:pt x="24" y="16"/>
                  </a:lnTo>
                  <a:lnTo>
                    <a:pt x="20" y="20"/>
                  </a:lnTo>
                  <a:lnTo>
                    <a:pt x="28" y="38"/>
                  </a:lnTo>
                  <a:lnTo>
                    <a:pt x="26" y="44"/>
                  </a:lnTo>
                  <a:lnTo>
                    <a:pt x="24" y="44"/>
                  </a:lnTo>
                  <a:lnTo>
                    <a:pt x="16" y="50"/>
                  </a:lnTo>
                  <a:lnTo>
                    <a:pt x="10" y="58"/>
                  </a:lnTo>
                  <a:lnTo>
                    <a:pt x="6" y="72"/>
                  </a:lnTo>
                  <a:lnTo>
                    <a:pt x="0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8" y="92"/>
                  </a:lnTo>
                  <a:lnTo>
                    <a:pt x="10" y="92"/>
                  </a:lnTo>
                  <a:lnTo>
                    <a:pt x="12" y="94"/>
                  </a:lnTo>
                  <a:lnTo>
                    <a:pt x="20" y="94"/>
                  </a:lnTo>
                  <a:lnTo>
                    <a:pt x="28" y="96"/>
                  </a:lnTo>
                  <a:lnTo>
                    <a:pt x="44" y="96"/>
                  </a:lnTo>
                  <a:lnTo>
                    <a:pt x="52" y="94"/>
                  </a:lnTo>
                  <a:lnTo>
                    <a:pt x="56" y="94"/>
                  </a:lnTo>
                  <a:lnTo>
                    <a:pt x="58" y="90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6" y="86"/>
                  </a:lnTo>
                  <a:lnTo>
                    <a:pt x="72" y="86"/>
                  </a:lnTo>
                  <a:lnTo>
                    <a:pt x="74" y="84"/>
                  </a:lnTo>
                  <a:lnTo>
                    <a:pt x="80" y="86"/>
                  </a:lnTo>
                  <a:lnTo>
                    <a:pt x="84" y="88"/>
                  </a:lnTo>
                  <a:lnTo>
                    <a:pt x="88" y="92"/>
                  </a:lnTo>
                  <a:lnTo>
                    <a:pt x="92" y="94"/>
                  </a:lnTo>
                  <a:lnTo>
                    <a:pt x="96" y="94"/>
                  </a:lnTo>
                  <a:lnTo>
                    <a:pt x="98" y="96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102" y="114"/>
                  </a:lnTo>
                  <a:lnTo>
                    <a:pt x="108" y="118"/>
                  </a:lnTo>
                  <a:lnTo>
                    <a:pt x="106" y="122"/>
                  </a:lnTo>
                  <a:lnTo>
                    <a:pt x="110" y="126"/>
                  </a:lnTo>
                  <a:lnTo>
                    <a:pt x="108" y="126"/>
                  </a:lnTo>
                  <a:lnTo>
                    <a:pt x="98" y="122"/>
                  </a:lnTo>
                  <a:lnTo>
                    <a:pt x="94" y="124"/>
                  </a:lnTo>
                  <a:lnTo>
                    <a:pt x="94" y="128"/>
                  </a:lnTo>
                  <a:lnTo>
                    <a:pt x="94" y="132"/>
                  </a:lnTo>
                  <a:lnTo>
                    <a:pt x="90" y="136"/>
                  </a:lnTo>
                  <a:lnTo>
                    <a:pt x="84" y="144"/>
                  </a:lnTo>
                  <a:lnTo>
                    <a:pt x="84" y="144"/>
                  </a:lnTo>
                  <a:lnTo>
                    <a:pt x="90" y="148"/>
                  </a:lnTo>
                  <a:lnTo>
                    <a:pt x="100" y="144"/>
                  </a:lnTo>
                  <a:lnTo>
                    <a:pt x="104" y="148"/>
                  </a:lnTo>
                  <a:lnTo>
                    <a:pt x="104" y="144"/>
                  </a:lnTo>
                  <a:lnTo>
                    <a:pt x="102" y="144"/>
                  </a:lnTo>
                  <a:lnTo>
                    <a:pt x="102" y="140"/>
                  </a:lnTo>
                  <a:lnTo>
                    <a:pt x="106" y="136"/>
                  </a:lnTo>
                  <a:lnTo>
                    <a:pt x="110" y="136"/>
                  </a:lnTo>
                  <a:lnTo>
                    <a:pt x="114" y="132"/>
                  </a:lnTo>
                  <a:lnTo>
                    <a:pt x="118" y="124"/>
                  </a:lnTo>
                  <a:lnTo>
                    <a:pt x="124" y="122"/>
                  </a:lnTo>
                  <a:lnTo>
                    <a:pt x="130" y="122"/>
                  </a:lnTo>
                  <a:lnTo>
                    <a:pt x="134" y="126"/>
                  </a:lnTo>
                  <a:lnTo>
                    <a:pt x="142" y="132"/>
                  </a:lnTo>
                  <a:lnTo>
                    <a:pt x="150" y="130"/>
                  </a:lnTo>
                  <a:lnTo>
                    <a:pt x="158" y="132"/>
                  </a:lnTo>
                  <a:lnTo>
                    <a:pt x="158" y="136"/>
                  </a:lnTo>
                  <a:lnTo>
                    <a:pt x="152" y="138"/>
                  </a:lnTo>
                  <a:lnTo>
                    <a:pt x="146" y="142"/>
                  </a:lnTo>
                  <a:lnTo>
                    <a:pt x="142" y="146"/>
                  </a:lnTo>
                  <a:lnTo>
                    <a:pt x="146" y="146"/>
                  </a:lnTo>
                  <a:lnTo>
                    <a:pt x="154" y="150"/>
                  </a:lnTo>
                  <a:lnTo>
                    <a:pt x="156" y="156"/>
                  </a:lnTo>
                  <a:lnTo>
                    <a:pt x="156" y="160"/>
                  </a:lnTo>
                  <a:lnTo>
                    <a:pt x="154" y="160"/>
                  </a:lnTo>
                  <a:lnTo>
                    <a:pt x="158" y="164"/>
                  </a:lnTo>
                  <a:lnTo>
                    <a:pt x="170" y="158"/>
                  </a:lnTo>
                  <a:lnTo>
                    <a:pt x="180" y="152"/>
                  </a:lnTo>
                  <a:lnTo>
                    <a:pt x="184" y="150"/>
                  </a:lnTo>
                  <a:lnTo>
                    <a:pt x="188" y="152"/>
                  </a:lnTo>
                  <a:lnTo>
                    <a:pt x="192" y="152"/>
                  </a:lnTo>
                  <a:lnTo>
                    <a:pt x="196" y="152"/>
                  </a:lnTo>
                  <a:lnTo>
                    <a:pt x="196" y="144"/>
                  </a:lnTo>
                  <a:lnTo>
                    <a:pt x="192" y="144"/>
                  </a:lnTo>
                  <a:lnTo>
                    <a:pt x="190" y="144"/>
                  </a:lnTo>
                  <a:lnTo>
                    <a:pt x="186" y="146"/>
                  </a:lnTo>
                  <a:lnTo>
                    <a:pt x="182" y="148"/>
                  </a:lnTo>
                  <a:lnTo>
                    <a:pt x="176" y="140"/>
                  </a:lnTo>
                  <a:lnTo>
                    <a:pt x="174" y="132"/>
                  </a:lnTo>
                  <a:lnTo>
                    <a:pt x="174" y="130"/>
                  </a:lnTo>
                  <a:lnTo>
                    <a:pt x="178" y="124"/>
                  </a:lnTo>
                  <a:lnTo>
                    <a:pt x="180" y="126"/>
                  </a:lnTo>
                  <a:lnTo>
                    <a:pt x="198" y="118"/>
                  </a:lnTo>
                  <a:lnTo>
                    <a:pt x="210" y="112"/>
                  </a:lnTo>
                  <a:lnTo>
                    <a:pt x="220" y="112"/>
                  </a:lnTo>
                  <a:lnTo>
                    <a:pt x="220" y="106"/>
                  </a:lnTo>
                  <a:lnTo>
                    <a:pt x="222" y="10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5" name="Freeform 773">
              <a:extLst>
                <a:ext uri="{FF2B5EF4-FFF2-40B4-BE49-F238E27FC236}">
                  <a16:creationId xmlns:a16="http://schemas.microsoft.com/office/drawing/2014/main" id="{23748176-ACA7-4AF3-9F4B-5DA74F3D46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1388" y="2898775"/>
              <a:ext cx="69850" cy="34925"/>
            </a:xfrm>
            <a:custGeom>
              <a:avLst/>
              <a:gdLst/>
              <a:ahLst/>
              <a:cxnLst>
                <a:cxn ang="0">
                  <a:pos x="24" y="22"/>
                </a:cxn>
                <a:cxn ang="0">
                  <a:pos x="34" y="22"/>
                </a:cxn>
                <a:cxn ang="0">
                  <a:pos x="44" y="22"/>
                </a:cxn>
                <a:cxn ang="0">
                  <a:pos x="42" y="20"/>
                </a:cxn>
                <a:cxn ang="0">
                  <a:pos x="42" y="14"/>
                </a:cxn>
                <a:cxn ang="0">
                  <a:pos x="42" y="6"/>
                </a:cxn>
                <a:cxn ang="0">
                  <a:pos x="40" y="4"/>
                </a:cxn>
                <a:cxn ang="0">
                  <a:pos x="34" y="6"/>
                </a:cxn>
                <a:cxn ang="0">
                  <a:pos x="24" y="0"/>
                </a:cxn>
                <a:cxn ang="0">
                  <a:pos x="18" y="0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6" y="8"/>
                </a:cxn>
                <a:cxn ang="0">
                  <a:pos x="6" y="12"/>
                </a:cxn>
                <a:cxn ang="0">
                  <a:pos x="0" y="20"/>
                </a:cxn>
                <a:cxn ang="0">
                  <a:pos x="2" y="20"/>
                </a:cxn>
                <a:cxn ang="0">
                  <a:pos x="24" y="22"/>
                </a:cxn>
              </a:cxnLst>
              <a:rect l="0" t="0" r="r" b="b"/>
              <a:pathLst>
                <a:path w="44" h="22">
                  <a:moveTo>
                    <a:pt x="24" y="22"/>
                  </a:moveTo>
                  <a:lnTo>
                    <a:pt x="34" y="22"/>
                  </a:lnTo>
                  <a:lnTo>
                    <a:pt x="44" y="22"/>
                  </a:lnTo>
                  <a:lnTo>
                    <a:pt x="42" y="20"/>
                  </a:lnTo>
                  <a:lnTo>
                    <a:pt x="42" y="14"/>
                  </a:lnTo>
                  <a:lnTo>
                    <a:pt x="42" y="6"/>
                  </a:lnTo>
                  <a:lnTo>
                    <a:pt x="40" y="4"/>
                  </a:lnTo>
                  <a:lnTo>
                    <a:pt x="34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2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12"/>
                  </a:lnTo>
                  <a:lnTo>
                    <a:pt x="0" y="20"/>
                  </a:lnTo>
                  <a:lnTo>
                    <a:pt x="2" y="20"/>
                  </a:lnTo>
                  <a:lnTo>
                    <a:pt x="24" y="22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6" name="Freeform 776">
              <a:extLst>
                <a:ext uri="{FF2B5EF4-FFF2-40B4-BE49-F238E27FC236}">
                  <a16:creationId xmlns:a16="http://schemas.microsoft.com/office/drawing/2014/main" id="{B096AFB6-D40E-4C44-BF8B-993A387B68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7588" y="2863850"/>
              <a:ext cx="209550" cy="180975"/>
            </a:xfrm>
            <a:custGeom>
              <a:avLst/>
              <a:gdLst/>
              <a:ahLst/>
              <a:cxnLst>
                <a:cxn ang="0">
                  <a:pos x="58" y="10"/>
                </a:cxn>
                <a:cxn ang="0">
                  <a:pos x="42" y="28"/>
                </a:cxn>
                <a:cxn ang="0">
                  <a:pos x="34" y="40"/>
                </a:cxn>
                <a:cxn ang="0">
                  <a:pos x="26" y="48"/>
                </a:cxn>
                <a:cxn ang="0">
                  <a:pos x="10" y="52"/>
                </a:cxn>
                <a:cxn ang="0">
                  <a:pos x="6" y="54"/>
                </a:cxn>
                <a:cxn ang="0">
                  <a:pos x="10" y="70"/>
                </a:cxn>
                <a:cxn ang="0">
                  <a:pos x="10" y="82"/>
                </a:cxn>
                <a:cxn ang="0">
                  <a:pos x="0" y="92"/>
                </a:cxn>
                <a:cxn ang="0">
                  <a:pos x="8" y="96"/>
                </a:cxn>
                <a:cxn ang="0">
                  <a:pos x="6" y="106"/>
                </a:cxn>
                <a:cxn ang="0">
                  <a:pos x="10" y="104"/>
                </a:cxn>
                <a:cxn ang="0">
                  <a:pos x="26" y="100"/>
                </a:cxn>
                <a:cxn ang="0">
                  <a:pos x="42" y="100"/>
                </a:cxn>
                <a:cxn ang="0">
                  <a:pos x="74" y="106"/>
                </a:cxn>
                <a:cxn ang="0">
                  <a:pos x="102" y="114"/>
                </a:cxn>
                <a:cxn ang="0">
                  <a:pos x="104" y="98"/>
                </a:cxn>
                <a:cxn ang="0">
                  <a:pos x="118" y="94"/>
                </a:cxn>
                <a:cxn ang="0">
                  <a:pos x="116" y="88"/>
                </a:cxn>
                <a:cxn ang="0">
                  <a:pos x="116" y="86"/>
                </a:cxn>
                <a:cxn ang="0">
                  <a:pos x="114" y="78"/>
                </a:cxn>
                <a:cxn ang="0">
                  <a:pos x="112" y="70"/>
                </a:cxn>
                <a:cxn ang="0">
                  <a:pos x="118" y="72"/>
                </a:cxn>
                <a:cxn ang="0">
                  <a:pos x="128" y="68"/>
                </a:cxn>
                <a:cxn ang="0">
                  <a:pos x="128" y="58"/>
                </a:cxn>
                <a:cxn ang="0">
                  <a:pos x="120" y="52"/>
                </a:cxn>
                <a:cxn ang="0">
                  <a:pos x="108" y="36"/>
                </a:cxn>
                <a:cxn ang="0">
                  <a:pos x="108" y="20"/>
                </a:cxn>
                <a:cxn ang="0">
                  <a:pos x="94" y="8"/>
                </a:cxn>
                <a:cxn ang="0">
                  <a:pos x="82" y="4"/>
                </a:cxn>
                <a:cxn ang="0">
                  <a:pos x="76" y="4"/>
                </a:cxn>
                <a:cxn ang="0">
                  <a:pos x="70" y="4"/>
                </a:cxn>
                <a:cxn ang="0">
                  <a:pos x="64" y="4"/>
                </a:cxn>
              </a:cxnLst>
              <a:rect l="0" t="0" r="r" b="b"/>
              <a:pathLst>
                <a:path w="132" h="114">
                  <a:moveTo>
                    <a:pt x="60" y="10"/>
                  </a:moveTo>
                  <a:lnTo>
                    <a:pt x="58" y="10"/>
                  </a:lnTo>
                  <a:lnTo>
                    <a:pt x="48" y="12"/>
                  </a:lnTo>
                  <a:lnTo>
                    <a:pt x="42" y="28"/>
                  </a:lnTo>
                  <a:lnTo>
                    <a:pt x="36" y="32"/>
                  </a:lnTo>
                  <a:lnTo>
                    <a:pt x="34" y="40"/>
                  </a:lnTo>
                  <a:lnTo>
                    <a:pt x="32" y="48"/>
                  </a:lnTo>
                  <a:lnTo>
                    <a:pt x="26" y="48"/>
                  </a:lnTo>
                  <a:lnTo>
                    <a:pt x="20" y="54"/>
                  </a:lnTo>
                  <a:lnTo>
                    <a:pt x="10" y="52"/>
                  </a:lnTo>
                  <a:lnTo>
                    <a:pt x="10" y="54"/>
                  </a:lnTo>
                  <a:lnTo>
                    <a:pt x="6" y="54"/>
                  </a:lnTo>
                  <a:lnTo>
                    <a:pt x="8" y="64"/>
                  </a:lnTo>
                  <a:lnTo>
                    <a:pt x="10" y="70"/>
                  </a:lnTo>
                  <a:lnTo>
                    <a:pt x="12" y="78"/>
                  </a:lnTo>
                  <a:lnTo>
                    <a:pt x="10" y="82"/>
                  </a:lnTo>
                  <a:lnTo>
                    <a:pt x="8" y="84"/>
                  </a:lnTo>
                  <a:lnTo>
                    <a:pt x="0" y="92"/>
                  </a:lnTo>
                  <a:lnTo>
                    <a:pt x="6" y="94"/>
                  </a:lnTo>
                  <a:lnTo>
                    <a:pt x="8" y="96"/>
                  </a:lnTo>
                  <a:lnTo>
                    <a:pt x="6" y="104"/>
                  </a:lnTo>
                  <a:lnTo>
                    <a:pt x="6" y="106"/>
                  </a:lnTo>
                  <a:lnTo>
                    <a:pt x="6" y="108"/>
                  </a:lnTo>
                  <a:lnTo>
                    <a:pt x="10" y="104"/>
                  </a:lnTo>
                  <a:lnTo>
                    <a:pt x="16" y="100"/>
                  </a:lnTo>
                  <a:lnTo>
                    <a:pt x="26" y="100"/>
                  </a:lnTo>
                  <a:lnTo>
                    <a:pt x="34" y="98"/>
                  </a:lnTo>
                  <a:lnTo>
                    <a:pt x="42" y="100"/>
                  </a:lnTo>
                  <a:lnTo>
                    <a:pt x="60" y="106"/>
                  </a:lnTo>
                  <a:lnTo>
                    <a:pt x="74" y="106"/>
                  </a:lnTo>
                  <a:lnTo>
                    <a:pt x="94" y="108"/>
                  </a:lnTo>
                  <a:lnTo>
                    <a:pt x="102" y="114"/>
                  </a:lnTo>
                  <a:lnTo>
                    <a:pt x="102" y="114"/>
                  </a:lnTo>
                  <a:lnTo>
                    <a:pt x="104" y="98"/>
                  </a:lnTo>
                  <a:lnTo>
                    <a:pt x="106" y="96"/>
                  </a:lnTo>
                  <a:lnTo>
                    <a:pt x="118" y="94"/>
                  </a:lnTo>
                  <a:lnTo>
                    <a:pt x="116" y="90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6"/>
                  </a:lnTo>
                  <a:lnTo>
                    <a:pt x="114" y="82"/>
                  </a:lnTo>
                  <a:lnTo>
                    <a:pt x="114" y="78"/>
                  </a:lnTo>
                  <a:lnTo>
                    <a:pt x="112" y="76"/>
                  </a:lnTo>
                  <a:lnTo>
                    <a:pt x="112" y="70"/>
                  </a:lnTo>
                  <a:lnTo>
                    <a:pt x="116" y="70"/>
                  </a:lnTo>
                  <a:lnTo>
                    <a:pt x="118" y="72"/>
                  </a:lnTo>
                  <a:lnTo>
                    <a:pt x="122" y="74"/>
                  </a:lnTo>
                  <a:lnTo>
                    <a:pt x="128" y="68"/>
                  </a:lnTo>
                  <a:lnTo>
                    <a:pt x="132" y="64"/>
                  </a:lnTo>
                  <a:lnTo>
                    <a:pt x="128" y="58"/>
                  </a:lnTo>
                  <a:lnTo>
                    <a:pt x="118" y="56"/>
                  </a:lnTo>
                  <a:lnTo>
                    <a:pt x="120" y="52"/>
                  </a:lnTo>
                  <a:lnTo>
                    <a:pt x="110" y="36"/>
                  </a:lnTo>
                  <a:lnTo>
                    <a:pt x="108" y="36"/>
                  </a:lnTo>
                  <a:lnTo>
                    <a:pt x="106" y="28"/>
                  </a:lnTo>
                  <a:lnTo>
                    <a:pt x="108" y="20"/>
                  </a:lnTo>
                  <a:lnTo>
                    <a:pt x="106" y="14"/>
                  </a:lnTo>
                  <a:lnTo>
                    <a:pt x="94" y="8"/>
                  </a:lnTo>
                  <a:lnTo>
                    <a:pt x="86" y="10"/>
                  </a:lnTo>
                  <a:lnTo>
                    <a:pt x="82" y="4"/>
                  </a:lnTo>
                  <a:lnTo>
                    <a:pt x="78" y="4"/>
                  </a:lnTo>
                  <a:lnTo>
                    <a:pt x="76" y="4"/>
                  </a:lnTo>
                  <a:lnTo>
                    <a:pt x="72" y="2"/>
                  </a:lnTo>
                  <a:lnTo>
                    <a:pt x="70" y="4"/>
                  </a:lnTo>
                  <a:lnTo>
                    <a:pt x="68" y="0"/>
                  </a:lnTo>
                  <a:lnTo>
                    <a:pt x="64" y="4"/>
                  </a:lnTo>
                  <a:lnTo>
                    <a:pt x="60" y="1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7" name="Freeform 712">
              <a:extLst>
                <a:ext uri="{FF2B5EF4-FFF2-40B4-BE49-F238E27FC236}">
                  <a16:creationId xmlns:a16="http://schemas.microsoft.com/office/drawing/2014/main" id="{62031603-99D7-4C21-A7A7-5B2B2AC84B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3913" y="2917825"/>
              <a:ext cx="215900" cy="200025"/>
            </a:xfrm>
            <a:custGeom>
              <a:avLst/>
              <a:gdLst/>
              <a:ahLst/>
              <a:cxnLst>
                <a:cxn ang="0">
                  <a:pos x="0" y="46"/>
                </a:cxn>
                <a:cxn ang="0">
                  <a:pos x="8" y="62"/>
                </a:cxn>
                <a:cxn ang="0">
                  <a:pos x="10" y="74"/>
                </a:cxn>
                <a:cxn ang="0">
                  <a:pos x="12" y="82"/>
                </a:cxn>
                <a:cxn ang="0">
                  <a:pos x="12" y="86"/>
                </a:cxn>
                <a:cxn ang="0">
                  <a:pos x="16" y="86"/>
                </a:cxn>
                <a:cxn ang="0">
                  <a:pos x="28" y="92"/>
                </a:cxn>
                <a:cxn ang="0">
                  <a:pos x="36" y="104"/>
                </a:cxn>
                <a:cxn ang="0">
                  <a:pos x="38" y="98"/>
                </a:cxn>
                <a:cxn ang="0">
                  <a:pos x="48" y="100"/>
                </a:cxn>
                <a:cxn ang="0">
                  <a:pos x="50" y="102"/>
                </a:cxn>
                <a:cxn ang="0">
                  <a:pos x="58" y="108"/>
                </a:cxn>
                <a:cxn ang="0">
                  <a:pos x="64" y="116"/>
                </a:cxn>
                <a:cxn ang="0">
                  <a:pos x="70" y="116"/>
                </a:cxn>
                <a:cxn ang="0">
                  <a:pos x="78" y="124"/>
                </a:cxn>
                <a:cxn ang="0">
                  <a:pos x="86" y="118"/>
                </a:cxn>
                <a:cxn ang="0">
                  <a:pos x="108" y="122"/>
                </a:cxn>
                <a:cxn ang="0">
                  <a:pos x="110" y="124"/>
                </a:cxn>
                <a:cxn ang="0">
                  <a:pos x="118" y="112"/>
                </a:cxn>
                <a:cxn ang="0">
                  <a:pos x="132" y="98"/>
                </a:cxn>
                <a:cxn ang="0">
                  <a:pos x="136" y="92"/>
                </a:cxn>
                <a:cxn ang="0">
                  <a:pos x="128" y="72"/>
                </a:cxn>
                <a:cxn ang="0">
                  <a:pos x="130" y="62"/>
                </a:cxn>
                <a:cxn ang="0">
                  <a:pos x="122" y="58"/>
                </a:cxn>
                <a:cxn ang="0">
                  <a:pos x="132" y="48"/>
                </a:cxn>
                <a:cxn ang="0">
                  <a:pos x="132" y="36"/>
                </a:cxn>
                <a:cxn ang="0">
                  <a:pos x="128" y="20"/>
                </a:cxn>
                <a:cxn ang="0">
                  <a:pos x="118" y="10"/>
                </a:cxn>
                <a:cxn ang="0">
                  <a:pos x="98" y="10"/>
                </a:cxn>
                <a:cxn ang="0">
                  <a:pos x="74" y="8"/>
                </a:cxn>
                <a:cxn ang="0">
                  <a:pos x="60" y="8"/>
                </a:cxn>
                <a:cxn ang="0">
                  <a:pos x="58" y="0"/>
                </a:cxn>
                <a:cxn ang="0">
                  <a:pos x="34" y="4"/>
                </a:cxn>
                <a:cxn ang="0">
                  <a:pos x="6" y="18"/>
                </a:cxn>
                <a:cxn ang="0">
                  <a:pos x="2" y="22"/>
                </a:cxn>
                <a:cxn ang="0">
                  <a:pos x="4" y="34"/>
                </a:cxn>
              </a:cxnLst>
              <a:rect l="0" t="0" r="r" b="b"/>
              <a:pathLst>
                <a:path w="136" h="126">
                  <a:moveTo>
                    <a:pt x="4" y="38"/>
                  </a:moveTo>
                  <a:lnTo>
                    <a:pt x="0" y="46"/>
                  </a:lnTo>
                  <a:lnTo>
                    <a:pt x="6" y="50"/>
                  </a:lnTo>
                  <a:lnTo>
                    <a:pt x="8" y="62"/>
                  </a:lnTo>
                  <a:lnTo>
                    <a:pt x="6" y="68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12" y="82"/>
                  </a:lnTo>
                  <a:lnTo>
                    <a:pt x="10" y="88"/>
                  </a:lnTo>
                  <a:lnTo>
                    <a:pt x="12" y="86"/>
                  </a:lnTo>
                  <a:lnTo>
                    <a:pt x="12" y="84"/>
                  </a:lnTo>
                  <a:lnTo>
                    <a:pt x="16" y="86"/>
                  </a:lnTo>
                  <a:lnTo>
                    <a:pt x="20" y="90"/>
                  </a:lnTo>
                  <a:lnTo>
                    <a:pt x="28" y="92"/>
                  </a:lnTo>
                  <a:lnTo>
                    <a:pt x="32" y="100"/>
                  </a:lnTo>
                  <a:lnTo>
                    <a:pt x="36" y="104"/>
                  </a:lnTo>
                  <a:lnTo>
                    <a:pt x="38" y="102"/>
                  </a:lnTo>
                  <a:lnTo>
                    <a:pt x="38" y="98"/>
                  </a:lnTo>
                  <a:lnTo>
                    <a:pt x="44" y="100"/>
                  </a:lnTo>
                  <a:lnTo>
                    <a:pt x="48" y="100"/>
                  </a:lnTo>
                  <a:lnTo>
                    <a:pt x="50" y="100"/>
                  </a:lnTo>
                  <a:lnTo>
                    <a:pt x="50" y="102"/>
                  </a:lnTo>
                  <a:lnTo>
                    <a:pt x="50" y="106"/>
                  </a:lnTo>
                  <a:lnTo>
                    <a:pt x="58" y="108"/>
                  </a:lnTo>
                  <a:lnTo>
                    <a:pt x="58" y="108"/>
                  </a:lnTo>
                  <a:lnTo>
                    <a:pt x="64" y="116"/>
                  </a:lnTo>
                  <a:lnTo>
                    <a:pt x="68" y="118"/>
                  </a:lnTo>
                  <a:lnTo>
                    <a:pt x="70" y="116"/>
                  </a:lnTo>
                  <a:lnTo>
                    <a:pt x="72" y="114"/>
                  </a:lnTo>
                  <a:lnTo>
                    <a:pt x="78" y="124"/>
                  </a:lnTo>
                  <a:lnTo>
                    <a:pt x="80" y="122"/>
                  </a:lnTo>
                  <a:lnTo>
                    <a:pt x="86" y="118"/>
                  </a:lnTo>
                  <a:lnTo>
                    <a:pt x="98" y="118"/>
                  </a:lnTo>
                  <a:lnTo>
                    <a:pt x="108" y="122"/>
                  </a:lnTo>
                  <a:lnTo>
                    <a:pt x="108" y="122"/>
                  </a:lnTo>
                  <a:lnTo>
                    <a:pt x="110" y="124"/>
                  </a:lnTo>
                  <a:lnTo>
                    <a:pt x="114" y="126"/>
                  </a:lnTo>
                  <a:lnTo>
                    <a:pt x="118" y="112"/>
                  </a:lnTo>
                  <a:lnTo>
                    <a:pt x="124" y="104"/>
                  </a:lnTo>
                  <a:lnTo>
                    <a:pt x="132" y="98"/>
                  </a:lnTo>
                  <a:lnTo>
                    <a:pt x="134" y="98"/>
                  </a:lnTo>
                  <a:lnTo>
                    <a:pt x="136" y="92"/>
                  </a:lnTo>
                  <a:lnTo>
                    <a:pt x="128" y="74"/>
                  </a:lnTo>
                  <a:lnTo>
                    <a:pt x="128" y="72"/>
                  </a:lnTo>
                  <a:lnTo>
                    <a:pt x="128" y="70"/>
                  </a:lnTo>
                  <a:lnTo>
                    <a:pt x="130" y="62"/>
                  </a:lnTo>
                  <a:lnTo>
                    <a:pt x="128" y="60"/>
                  </a:lnTo>
                  <a:lnTo>
                    <a:pt x="122" y="58"/>
                  </a:lnTo>
                  <a:lnTo>
                    <a:pt x="130" y="50"/>
                  </a:lnTo>
                  <a:lnTo>
                    <a:pt x="132" y="48"/>
                  </a:lnTo>
                  <a:lnTo>
                    <a:pt x="134" y="44"/>
                  </a:lnTo>
                  <a:lnTo>
                    <a:pt x="132" y="36"/>
                  </a:lnTo>
                  <a:lnTo>
                    <a:pt x="130" y="30"/>
                  </a:lnTo>
                  <a:lnTo>
                    <a:pt x="128" y="20"/>
                  </a:lnTo>
                  <a:lnTo>
                    <a:pt x="124" y="12"/>
                  </a:lnTo>
                  <a:lnTo>
                    <a:pt x="118" y="10"/>
                  </a:lnTo>
                  <a:lnTo>
                    <a:pt x="108" y="10"/>
                  </a:lnTo>
                  <a:lnTo>
                    <a:pt x="98" y="10"/>
                  </a:lnTo>
                  <a:lnTo>
                    <a:pt x="76" y="8"/>
                  </a:lnTo>
                  <a:lnTo>
                    <a:pt x="74" y="8"/>
                  </a:lnTo>
                  <a:lnTo>
                    <a:pt x="66" y="10"/>
                  </a:lnTo>
                  <a:lnTo>
                    <a:pt x="60" y="8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42" y="0"/>
                  </a:lnTo>
                  <a:lnTo>
                    <a:pt x="34" y="4"/>
                  </a:lnTo>
                  <a:lnTo>
                    <a:pt x="28" y="10"/>
                  </a:lnTo>
                  <a:lnTo>
                    <a:pt x="6" y="18"/>
                  </a:lnTo>
                  <a:lnTo>
                    <a:pt x="2" y="20"/>
                  </a:lnTo>
                  <a:lnTo>
                    <a:pt x="2" y="22"/>
                  </a:lnTo>
                  <a:lnTo>
                    <a:pt x="2" y="26"/>
                  </a:lnTo>
                  <a:lnTo>
                    <a:pt x="4" y="34"/>
                  </a:lnTo>
                  <a:lnTo>
                    <a:pt x="4" y="38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8" name="Freeform 754">
              <a:extLst>
                <a:ext uri="{FF2B5EF4-FFF2-40B4-BE49-F238E27FC236}">
                  <a16:creationId xmlns:a16="http://schemas.microsoft.com/office/drawing/2014/main" id="{D01A5A75-FFE9-4A0A-9EC2-DAFC2DC3B0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0874" y="2911475"/>
              <a:ext cx="192088" cy="260350"/>
            </a:xfrm>
            <a:custGeom>
              <a:avLst/>
              <a:gdLst/>
              <a:ahLst/>
              <a:cxnLst/>
              <a:rect l="l" t="t" r="r" b="b"/>
              <a:pathLst>
                <a:path w="192088" h="260350">
                  <a:moveTo>
                    <a:pt x="160338" y="9525"/>
                  </a:moveTo>
                  <a:lnTo>
                    <a:pt x="163513" y="19050"/>
                  </a:lnTo>
                  <a:lnTo>
                    <a:pt x="163513" y="22225"/>
                  </a:lnTo>
                  <a:lnTo>
                    <a:pt x="153988" y="22225"/>
                  </a:lnTo>
                  <a:close/>
                  <a:moveTo>
                    <a:pt x="57150" y="0"/>
                  </a:moveTo>
                  <a:lnTo>
                    <a:pt x="73025" y="6350"/>
                  </a:lnTo>
                  <a:lnTo>
                    <a:pt x="82550" y="9525"/>
                  </a:lnTo>
                  <a:lnTo>
                    <a:pt x="95250" y="19050"/>
                  </a:lnTo>
                  <a:lnTo>
                    <a:pt x="107950" y="22225"/>
                  </a:lnTo>
                  <a:lnTo>
                    <a:pt x="104775" y="38100"/>
                  </a:lnTo>
                  <a:lnTo>
                    <a:pt x="112713" y="34925"/>
                  </a:lnTo>
                  <a:lnTo>
                    <a:pt x="119063" y="34925"/>
                  </a:lnTo>
                  <a:lnTo>
                    <a:pt x="134938" y="22225"/>
                  </a:lnTo>
                  <a:lnTo>
                    <a:pt x="147638" y="19050"/>
                  </a:lnTo>
                  <a:lnTo>
                    <a:pt x="150813" y="22225"/>
                  </a:lnTo>
                  <a:lnTo>
                    <a:pt x="153988" y="25400"/>
                  </a:lnTo>
                  <a:lnTo>
                    <a:pt x="163513" y="28575"/>
                  </a:lnTo>
                  <a:lnTo>
                    <a:pt x="166688" y="41275"/>
                  </a:lnTo>
                  <a:lnTo>
                    <a:pt x="176213" y="47625"/>
                  </a:lnTo>
                  <a:lnTo>
                    <a:pt x="179388" y="60325"/>
                  </a:lnTo>
                  <a:lnTo>
                    <a:pt x="179388" y="66675"/>
                  </a:lnTo>
                  <a:lnTo>
                    <a:pt x="173038" y="79375"/>
                  </a:lnTo>
                  <a:lnTo>
                    <a:pt x="182563" y="85725"/>
                  </a:lnTo>
                  <a:lnTo>
                    <a:pt x="185738" y="104775"/>
                  </a:lnTo>
                  <a:lnTo>
                    <a:pt x="182563" y="114300"/>
                  </a:lnTo>
                  <a:lnTo>
                    <a:pt x="188913" y="123825"/>
                  </a:lnTo>
                  <a:lnTo>
                    <a:pt x="192088" y="136525"/>
                  </a:lnTo>
                  <a:lnTo>
                    <a:pt x="188913" y="146050"/>
                  </a:lnTo>
                  <a:lnTo>
                    <a:pt x="179388" y="139700"/>
                  </a:lnTo>
                  <a:lnTo>
                    <a:pt x="179388" y="142875"/>
                  </a:lnTo>
                  <a:lnTo>
                    <a:pt x="153988" y="155575"/>
                  </a:lnTo>
                  <a:lnTo>
                    <a:pt x="128588" y="165100"/>
                  </a:lnTo>
                  <a:lnTo>
                    <a:pt x="134938" y="174625"/>
                  </a:lnTo>
                  <a:lnTo>
                    <a:pt x="141288" y="190500"/>
                  </a:lnTo>
                  <a:lnTo>
                    <a:pt x="150813" y="200025"/>
                  </a:lnTo>
                  <a:lnTo>
                    <a:pt x="157163" y="209550"/>
                  </a:lnTo>
                  <a:lnTo>
                    <a:pt x="166688" y="215900"/>
                  </a:lnTo>
                  <a:lnTo>
                    <a:pt x="163513" y="225425"/>
                  </a:lnTo>
                  <a:lnTo>
                    <a:pt x="160338" y="222250"/>
                  </a:lnTo>
                  <a:lnTo>
                    <a:pt x="157163" y="222250"/>
                  </a:lnTo>
                  <a:lnTo>
                    <a:pt x="147638" y="234950"/>
                  </a:lnTo>
                  <a:lnTo>
                    <a:pt x="147638" y="244475"/>
                  </a:lnTo>
                  <a:lnTo>
                    <a:pt x="147638" y="257175"/>
                  </a:lnTo>
                  <a:lnTo>
                    <a:pt x="144463" y="254000"/>
                  </a:lnTo>
                  <a:lnTo>
                    <a:pt x="131763" y="250825"/>
                  </a:lnTo>
                  <a:lnTo>
                    <a:pt x="119063" y="254000"/>
                  </a:lnTo>
                  <a:lnTo>
                    <a:pt x="109538" y="260350"/>
                  </a:lnTo>
                  <a:lnTo>
                    <a:pt x="107950" y="260350"/>
                  </a:lnTo>
                  <a:lnTo>
                    <a:pt x="104775" y="257175"/>
                  </a:lnTo>
                  <a:lnTo>
                    <a:pt x="98425" y="254000"/>
                  </a:lnTo>
                  <a:lnTo>
                    <a:pt x="92075" y="254000"/>
                  </a:lnTo>
                  <a:lnTo>
                    <a:pt x="82550" y="254000"/>
                  </a:lnTo>
                  <a:lnTo>
                    <a:pt x="79375" y="257175"/>
                  </a:lnTo>
                  <a:lnTo>
                    <a:pt x="76200" y="257175"/>
                  </a:lnTo>
                  <a:lnTo>
                    <a:pt x="60325" y="250825"/>
                  </a:lnTo>
                  <a:lnTo>
                    <a:pt x="53975" y="250825"/>
                  </a:lnTo>
                  <a:lnTo>
                    <a:pt x="53975" y="254000"/>
                  </a:lnTo>
                  <a:lnTo>
                    <a:pt x="50800" y="254000"/>
                  </a:lnTo>
                  <a:lnTo>
                    <a:pt x="47625" y="254000"/>
                  </a:lnTo>
                  <a:lnTo>
                    <a:pt x="34925" y="254000"/>
                  </a:lnTo>
                  <a:lnTo>
                    <a:pt x="31750" y="254000"/>
                  </a:lnTo>
                  <a:lnTo>
                    <a:pt x="31750" y="247650"/>
                  </a:lnTo>
                  <a:lnTo>
                    <a:pt x="31750" y="238125"/>
                  </a:lnTo>
                  <a:lnTo>
                    <a:pt x="41275" y="219075"/>
                  </a:lnTo>
                  <a:lnTo>
                    <a:pt x="47625" y="209550"/>
                  </a:lnTo>
                  <a:lnTo>
                    <a:pt x="25400" y="203200"/>
                  </a:lnTo>
                  <a:lnTo>
                    <a:pt x="15875" y="200025"/>
                  </a:lnTo>
                  <a:lnTo>
                    <a:pt x="6350" y="193675"/>
                  </a:lnTo>
                  <a:lnTo>
                    <a:pt x="9525" y="184150"/>
                  </a:lnTo>
                  <a:lnTo>
                    <a:pt x="3175" y="171450"/>
                  </a:lnTo>
                  <a:lnTo>
                    <a:pt x="6350" y="158750"/>
                  </a:lnTo>
                  <a:lnTo>
                    <a:pt x="0" y="149225"/>
                  </a:lnTo>
                  <a:lnTo>
                    <a:pt x="3175" y="133350"/>
                  </a:lnTo>
                  <a:lnTo>
                    <a:pt x="3175" y="123825"/>
                  </a:lnTo>
                  <a:lnTo>
                    <a:pt x="0" y="117475"/>
                  </a:lnTo>
                  <a:lnTo>
                    <a:pt x="0" y="111125"/>
                  </a:lnTo>
                  <a:lnTo>
                    <a:pt x="3175" y="111125"/>
                  </a:lnTo>
                  <a:lnTo>
                    <a:pt x="6350" y="111125"/>
                  </a:lnTo>
                  <a:lnTo>
                    <a:pt x="22225" y="95250"/>
                  </a:lnTo>
                  <a:lnTo>
                    <a:pt x="25400" y="63500"/>
                  </a:lnTo>
                  <a:lnTo>
                    <a:pt x="22225" y="57150"/>
                  </a:lnTo>
                  <a:lnTo>
                    <a:pt x="28575" y="47625"/>
                  </a:lnTo>
                  <a:lnTo>
                    <a:pt x="41275" y="44450"/>
                  </a:lnTo>
                  <a:lnTo>
                    <a:pt x="50800" y="50800"/>
                  </a:lnTo>
                  <a:lnTo>
                    <a:pt x="57150" y="38100"/>
                  </a:lnTo>
                  <a:lnTo>
                    <a:pt x="63500" y="31750"/>
                  </a:lnTo>
                  <a:lnTo>
                    <a:pt x="63500" y="22225"/>
                  </a:lnTo>
                  <a:lnTo>
                    <a:pt x="60325" y="952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9" name="Freeform 768">
              <a:extLst>
                <a:ext uri="{FF2B5EF4-FFF2-40B4-BE49-F238E27FC236}">
                  <a16:creationId xmlns:a16="http://schemas.microsoft.com/office/drawing/2014/main" id="{CD4B63BE-D6A1-4992-9E92-4F21B4034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3725" y="2965450"/>
              <a:ext cx="82550" cy="95250"/>
            </a:xfrm>
            <a:custGeom>
              <a:avLst/>
              <a:gdLst/>
              <a:ahLst/>
              <a:cxnLst/>
              <a:rect l="l" t="t" r="r" b="b"/>
              <a:pathLst>
                <a:path w="82550" h="95250">
                  <a:moveTo>
                    <a:pt x="9525" y="66675"/>
                  </a:moveTo>
                  <a:lnTo>
                    <a:pt x="19050" y="73025"/>
                  </a:lnTo>
                  <a:lnTo>
                    <a:pt x="9525" y="79375"/>
                  </a:lnTo>
                  <a:lnTo>
                    <a:pt x="3175" y="79375"/>
                  </a:lnTo>
                  <a:lnTo>
                    <a:pt x="0" y="76200"/>
                  </a:lnTo>
                  <a:lnTo>
                    <a:pt x="0" y="73025"/>
                  </a:lnTo>
                  <a:close/>
                  <a:moveTo>
                    <a:pt x="73025" y="0"/>
                  </a:moveTo>
                  <a:lnTo>
                    <a:pt x="79375" y="3175"/>
                  </a:lnTo>
                  <a:lnTo>
                    <a:pt x="82550" y="9525"/>
                  </a:lnTo>
                  <a:lnTo>
                    <a:pt x="79375" y="41275"/>
                  </a:lnTo>
                  <a:lnTo>
                    <a:pt x="63500" y="57150"/>
                  </a:lnTo>
                  <a:lnTo>
                    <a:pt x="60325" y="57150"/>
                  </a:lnTo>
                  <a:lnTo>
                    <a:pt x="57150" y="57150"/>
                  </a:lnTo>
                  <a:lnTo>
                    <a:pt x="57150" y="63500"/>
                  </a:lnTo>
                  <a:lnTo>
                    <a:pt x="60325" y="69850"/>
                  </a:lnTo>
                  <a:lnTo>
                    <a:pt x="60325" y="79375"/>
                  </a:lnTo>
                  <a:lnTo>
                    <a:pt x="57150" y="95250"/>
                  </a:lnTo>
                  <a:lnTo>
                    <a:pt x="50800" y="95250"/>
                  </a:lnTo>
                  <a:lnTo>
                    <a:pt x="47625" y="92075"/>
                  </a:lnTo>
                  <a:lnTo>
                    <a:pt x="53975" y="82550"/>
                  </a:lnTo>
                  <a:lnTo>
                    <a:pt x="47625" y="79375"/>
                  </a:lnTo>
                  <a:lnTo>
                    <a:pt x="44450" y="76200"/>
                  </a:lnTo>
                  <a:lnTo>
                    <a:pt x="41275" y="79375"/>
                  </a:lnTo>
                  <a:lnTo>
                    <a:pt x="28575" y="73025"/>
                  </a:lnTo>
                  <a:lnTo>
                    <a:pt x="19050" y="73025"/>
                  </a:lnTo>
                  <a:lnTo>
                    <a:pt x="15875" y="53975"/>
                  </a:lnTo>
                  <a:lnTo>
                    <a:pt x="22225" y="41275"/>
                  </a:lnTo>
                  <a:lnTo>
                    <a:pt x="28575" y="28575"/>
                  </a:lnTo>
                  <a:lnTo>
                    <a:pt x="31750" y="19050"/>
                  </a:lnTo>
                  <a:lnTo>
                    <a:pt x="44450" y="12700"/>
                  </a:lnTo>
                  <a:lnTo>
                    <a:pt x="53975" y="317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0" name="Freeform 769">
              <a:extLst>
                <a:ext uri="{FF2B5EF4-FFF2-40B4-BE49-F238E27FC236}">
                  <a16:creationId xmlns:a16="http://schemas.microsoft.com/office/drawing/2014/main" id="{044045A6-FACD-4378-899A-95878D80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4675" y="3038475"/>
              <a:ext cx="82550" cy="63500"/>
            </a:xfrm>
            <a:custGeom>
              <a:avLst/>
              <a:gdLst/>
              <a:ahLst/>
              <a:cxnLst>
                <a:cxn ang="0">
                  <a:pos x="8" y="14"/>
                </a:cxn>
                <a:cxn ang="0">
                  <a:pos x="18" y="24"/>
                </a:cxn>
                <a:cxn ang="0">
                  <a:pos x="22" y="24"/>
                </a:cxn>
                <a:cxn ang="0">
                  <a:pos x="22" y="30"/>
                </a:cxn>
                <a:cxn ang="0">
                  <a:pos x="30" y="30"/>
                </a:cxn>
                <a:cxn ang="0">
                  <a:pos x="32" y="34"/>
                </a:cxn>
                <a:cxn ang="0">
                  <a:pos x="38" y="38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6" y="36"/>
                </a:cxn>
                <a:cxn ang="0">
                  <a:pos x="44" y="32"/>
                </a:cxn>
                <a:cxn ang="0">
                  <a:pos x="50" y="28"/>
                </a:cxn>
                <a:cxn ang="0">
                  <a:pos x="52" y="20"/>
                </a:cxn>
                <a:cxn ang="0">
                  <a:pos x="48" y="14"/>
                </a:cxn>
                <a:cxn ang="0">
                  <a:pos x="44" y="14"/>
                </a:cxn>
                <a:cxn ang="0">
                  <a:pos x="42" y="12"/>
                </a:cxn>
                <a:cxn ang="0">
                  <a:pos x="46" y="6"/>
                </a:cxn>
                <a:cxn ang="0">
                  <a:pos x="42" y="4"/>
                </a:cxn>
                <a:cxn ang="0">
                  <a:pos x="40" y="2"/>
                </a:cxn>
                <a:cxn ang="0">
                  <a:pos x="38" y="4"/>
                </a:cxn>
                <a:cxn ang="0">
                  <a:pos x="30" y="0"/>
                </a:cxn>
                <a:cxn ang="0">
                  <a:pos x="24" y="0"/>
                </a:cxn>
                <a:cxn ang="0">
                  <a:pos x="18" y="4"/>
                </a:cxn>
                <a:cxn ang="0">
                  <a:pos x="14" y="4"/>
                </a:cxn>
                <a:cxn ang="0">
                  <a:pos x="12" y="2"/>
                </a:cxn>
                <a:cxn ang="0">
                  <a:pos x="12" y="0"/>
                </a:cxn>
                <a:cxn ang="0">
                  <a:pos x="10" y="0"/>
                </a:cxn>
                <a:cxn ang="0">
                  <a:pos x="0" y="8"/>
                </a:cxn>
                <a:cxn ang="0">
                  <a:pos x="6" y="16"/>
                </a:cxn>
                <a:cxn ang="0">
                  <a:pos x="8" y="14"/>
                </a:cxn>
              </a:cxnLst>
              <a:rect l="0" t="0" r="r" b="b"/>
              <a:pathLst>
                <a:path w="52" h="40">
                  <a:moveTo>
                    <a:pt x="8" y="14"/>
                  </a:moveTo>
                  <a:lnTo>
                    <a:pt x="18" y="24"/>
                  </a:lnTo>
                  <a:lnTo>
                    <a:pt x="22" y="24"/>
                  </a:lnTo>
                  <a:lnTo>
                    <a:pt x="22" y="30"/>
                  </a:lnTo>
                  <a:lnTo>
                    <a:pt x="30" y="30"/>
                  </a:lnTo>
                  <a:lnTo>
                    <a:pt x="32" y="34"/>
                  </a:lnTo>
                  <a:lnTo>
                    <a:pt x="38" y="38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6" y="36"/>
                  </a:lnTo>
                  <a:lnTo>
                    <a:pt x="44" y="32"/>
                  </a:lnTo>
                  <a:lnTo>
                    <a:pt x="50" y="28"/>
                  </a:lnTo>
                  <a:lnTo>
                    <a:pt x="52" y="20"/>
                  </a:lnTo>
                  <a:lnTo>
                    <a:pt x="48" y="14"/>
                  </a:lnTo>
                  <a:lnTo>
                    <a:pt x="44" y="14"/>
                  </a:lnTo>
                  <a:lnTo>
                    <a:pt x="42" y="12"/>
                  </a:lnTo>
                  <a:lnTo>
                    <a:pt x="46" y="6"/>
                  </a:lnTo>
                  <a:lnTo>
                    <a:pt x="42" y="4"/>
                  </a:lnTo>
                  <a:lnTo>
                    <a:pt x="40" y="2"/>
                  </a:lnTo>
                  <a:lnTo>
                    <a:pt x="38" y="4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4"/>
                  </a:lnTo>
                  <a:lnTo>
                    <a:pt x="14" y="4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0" y="8"/>
                  </a:lnTo>
                  <a:lnTo>
                    <a:pt x="6" y="16"/>
                  </a:lnTo>
                  <a:lnTo>
                    <a:pt x="8" y="14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1" name="Freeform 770">
              <a:extLst>
                <a:ext uri="{FF2B5EF4-FFF2-40B4-BE49-F238E27FC236}">
                  <a16:creationId xmlns:a16="http://schemas.microsoft.com/office/drawing/2014/main" id="{CB45069F-71D6-4CDE-B060-A9FA3657A1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4525" y="3082925"/>
              <a:ext cx="15875" cy="222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4"/>
                </a:cxn>
                <a:cxn ang="0">
                  <a:pos x="2" y="8"/>
                </a:cxn>
                <a:cxn ang="0">
                  <a:pos x="0" y="12"/>
                </a:cxn>
                <a:cxn ang="0">
                  <a:pos x="8" y="14"/>
                </a:cxn>
                <a:cxn ang="0">
                  <a:pos x="10" y="8"/>
                </a:cxn>
                <a:cxn ang="0">
                  <a:pos x="6" y="0"/>
                </a:cxn>
              </a:cxnLst>
              <a:rect l="0" t="0" r="r" b="b"/>
              <a:pathLst>
                <a:path w="10" h="14">
                  <a:moveTo>
                    <a:pt x="6" y="0"/>
                  </a:moveTo>
                  <a:lnTo>
                    <a:pt x="0" y="4"/>
                  </a:lnTo>
                  <a:lnTo>
                    <a:pt x="2" y="8"/>
                  </a:lnTo>
                  <a:lnTo>
                    <a:pt x="0" y="12"/>
                  </a:lnTo>
                  <a:lnTo>
                    <a:pt x="8" y="14"/>
                  </a:lnTo>
                  <a:lnTo>
                    <a:pt x="10" y="8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2" name="Freeform 716">
              <a:extLst>
                <a:ext uri="{FF2B5EF4-FFF2-40B4-BE49-F238E27FC236}">
                  <a16:creationId xmlns:a16="http://schemas.microsoft.com/office/drawing/2014/main" id="{1FED748A-E440-4D93-8A24-1EE18D2E2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5188" y="3133725"/>
              <a:ext cx="149225" cy="88900"/>
            </a:xfrm>
            <a:custGeom>
              <a:avLst/>
              <a:gdLst/>
              <a:ahLst/>
              <a:cxnLst>
                <a:cxn ang="0">
                  <a:pos x="78" y="4"/>
                </a:cxn>
                <a:cxn ang="0">
                  <a:pos x="74" y="0"/>
                </a:cxn>
                <a:cxn ang="0">
                  <a:pos x="68" y="2"/>
                </a:cxn>
                <a:cxn ang="0">
                  <a:pos x="64" y="0"/>
                </a:cxn>
                <a:cxn ang="0">
                  <a:pos x="60" y="4"/>
                </a:cxn>
                <a:cxn ang="0">
                  <a:pos x="54" y="8"/>
                </a:cxn>
                <a:cxn ang="0">
                  <a:pos x="52" y="8"/>
                </a:cxn>
                <a:cxn ang="0">
                  <a:pos x="48" y="8"/>
                </a:cxn>
                <a:cxn ang="0">
                  <a:pos x="40" y="10"/>
                </a:cxn>
                <a:cxn ang="0">
                  <a:pos x="38" y="10"/>
                </a:cxn>
                <a:cxn ang="0">
                  <a:pos x="36" y="16"/>
                </a:cxn>
                <a:cxn ang="0">
                  <a:pos x="28" y="16"/>
                </a:cxn>
                <a:cxn ang="0">
                  <a:pos x="24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2" y="18"/>
                </a:cxn>
                <a:cxn ang="0">
                  <a:pos x="8" y="22"/>
                </a:cxn>
                <a:cxn ang="0">
                  <a:pos x="6" y="28"/>
                </a:cxn>
                <a:cxn ang="0">
                  <a:pos x="6" y="32"/>
                </a:cxn>
                <a:cxn ang="0">
                  <a:pos x="2" y="32"/>
                </a:cxn>
                <a:cxn ang="0">
                  <a:pos x="2" y="32"/>
                </a:cxn>
                <a:cxn ang="0">
                  <a:pos x="0" y="34"/>
                </a:cxn>
                <a:cxn ang="0">
                  <a:pos x="8" y="42"/>
                </a:cxn>
                <a:cxn ang="0">
                  <a:pos x="12" y="46"/>
                </a:cxn>
                <a:cxn ang="0">
                  <a:pos x="12" y="46"/>
                </a:cxn>
                <a:cxn ang="0">
                  <a:pos x="18" y="52"/>
                </a:cxn>
                <a:cxn ang="0">
                  <a:pos x="30" y="56"/>
                </a:cxn>
                <a:cxn ang="0">
                  <a:pos x="38" y="54"/>
                </a:cxn>
                <a:cxn ang="0">
                  <a:pos x="40" y="52"/>
                </a:cxn>
                <a:cxn ang="0">
                  <a:pos x="46" y="50"/>
                </a:cxn>
                <a:cxn ang="0">
                  <a:pos x="48" y="48"/>
                </a:cxn>
                <a:cxn ang="0">
                  <a:pos x="54" y="48"/>
                </a:cxn>
                <a:cxn ang="0">
                  <a:pos x="58" y="50"/>
                </a:cxn>
                <a:cxn ang="0">
                  <a:pos x="60" y="48"/>
                </a:cxn>
                <a:cxn ang="0">
                  <a:pos x="64" y="48"/>
                </a:cxn>
                <a:cxn ang="0">
                  <a:pos x="66" y="46"/>
                </a:cxn>
                <a:cxn ang="0">
                  <a:pos x="70" y="44"/>
                </a:cxn>
                <a:cxn ang="0">
                  <a:pos x="78" y="28"/>
                </a:cxn>
                <a:cxn ang="0">
                  <a:pos x="86" y="16"/>
                </a:cxn>
                <a:cxn ang="0">
                  <a:pos x="88" y="16"/>
                </a:cxn>
                <a:cxn ang="0">
                  <a:pos x="90" y="16"/>
                </a:cxn>
                <a:cxn ang="0">
                  <a:pos x="94" y="12"/>
                </a:cxn>
                <a:cxn ang="0">
                  <a:pos x="92" y="10"/>
                </a:cxn>
                <a:cxn ang="0">
                  <a:pos x="90" y="10"/>
                </a:cxn>
                <a:cxn ang="0">
                  <a:pos x="84" y="4"/>
                </a:cxn>
                <a:cxn ang="0">
                  <a:pos x="84" y="4"/>
                </a:cxn>
                <a:cxn ang="0">
                  <a:pos x="82" y="4"/>
                </a:cxn>
                <a:cxn ang="0">
                  <a:pos x="80" y="4"/>
                </a:cxn>
                <a:cxn ang="0">
                  <a:pos x="78" y="4"/>
                </a:cxn>
              </a:cxnLst>
              <a:rect l="0" t="0" r="r" b="b"/>
              <a:pathLst>
                <a:path w="94" h="56">
                  <a:moveTo>
                    <a:pt x="78" y="4"/>
                  </a:moveTo>
                  <a:lnTo>
                    <a:pt x="74" y="0"/>
                  </a:lnTo>
                  <a:lnTo>
                    <a:pt x="68" y="2"/>
                  </a:lnTo>
                  <a:lnTo>
                    <a:pt x="64" y="0"/>
                  </a:lnTo>
                  <a:lnTo>
                    <a:pt x="60" y="4"/>
                  </a:lnTo>
                  <a:lnTo>
                    <a:pt x="54" y="8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0" y="10"/>
                  </a:lnTo>
                  <a:lnTo>
                    <a:pt x="38" y="10"/>
                  </a:lnTo>
                  <a:lnTo>
                    <a:pt x="36" y="16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8"/>
                  </a:lnTo>
                  <a:lnTo>
                    <a:pt x="8" y="22"/>
                  </a:lnTo>
                  <a:lnTo>
                    <a:pt x="6" y="28"/>
                  </a:lnTo>
                  <a:lnTo>
                    <a:pt x="6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0" y="34"/>
                  </a:lnTo>
                  <a:lnTo>
                    <a:pt x="8" y="42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8" y="52"/>
                  </a:lnTo>
                  <a:lnTo>
                    <a:pt x="30" y="56"/>
                  </a:lnTo>
                  <a:lnTo>
                    <a:pt x="38" y="54"/>
                  </a:lnTo>
                  <a:lnTo>
                    <a:pt x="40" y="52"/>
                  </a:lnTo>
                  <a:lnTo>
                    <a:pt x="46" y="50"/>
                  </a:lnTo>
                  <a:lnTo>
                    <a:pt x="48" y="48"/>
                  </a:lnTo>
                  <a:lnTo>
                    <a:pt x="54" y="48"/>
                  </a:lnTo>
                  <a:lnTo>
                    <a:pt x="58" y="50"/>
                  </a:lnTo>
                  <a:lnTo>
                    <a:pt x="60" y="48"/>
                  </a:lnTo>
                  <a:lnTo>
                    <a:pt x="64" y="48"/>
                  </a:lnTo>
                  <a:lnTo>
                    <a:pt x="66" y="46"/>
                  </a:lnTo>
                  <a:lnTo>
                    <a:pt x="70" y="44"/>
                  </a:lnTo>
                  <a:lnTo>
                    <a:pt x="78" y="28"/>
                  </a:lnTo>
                  <a:lnTo>
                    <a:pt x="86" y="16"/>
                  </a:lnTo>
                  <a:lnTo>
                    <a:pt x="88" y="16"/>
                  </a:lnTo>
                  <a:lnTo>
                    <a:pt x="90" y="16"/>
                  </a:lnTo>
                  <a:lnTo>
                    <a:pt x="94" y="12"/>
                  </a:lnTo>
                  <a:lnTo>
                    <a:pt x="92" y="10"/>
                  </a:lnTo>
                  <a:lnTo>
                    <a:pt x="90" y="10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2" y="4"/>
                  </a:lnTo>
                  <a:lnTo>
                    <a:pt x="80" y="4"/>
                  </a:lnTo>
                  <a:lnTo>
                    <a:pt x="78" y="4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3" name="Freeform 774">
              <a:extLst>
                <a:ext uri="{FF2B5EF4-FFF2-40B4-BE49-F238E27FC236}">
                  <a16:creationId xmlns:a16="http://schemas.microsoft.com/office/drawing/2014/main" id="{F114E51E-B854-45D6-ACA3-5FC2CCB7E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4238" y="3098800"/>
              <a:ext cx="120650" cy="60325"/>
            </a:xfrm>
            <a:custGeom>
              <a:avLst/>
              <a:gdLst/>
              <a:ahLst/>
              <a:cxnLst>
                <a:cxn ang="0">
                  <a:pos x="70" y="8"/>
                </a:cxn>
                <a:cxn ang="0">
                  <a:pos x="70" y="8"/>
                </a:cxn>
                <a:cxn ang="0">
                  <a:pos x="60" y="4"/>
                </a:cxn>
                <a:cxn ang="0">
                  <a:pos x="48" y="4"/>
                </a:cxn>
                <a:cxn ang="0">
                  <a:pos x="42" y="8"/>
                </a:cxn>
                <a:cxn ang="0">
                  <a:pos x="40" y="10"/>
                </a:cxn>
                <a:cxn ang="0">
                  <a:pos x="34" y="0"/>
                </a:cxn>
                <a:cxn ang="0">
                  <a:pos x="32" y="2"/>
                </a:cxn>
                <a:cxn ang="0">
                  <a:pos x="30" y="4"/>
                </a:cxn>
                <a:cxn ang="0">
                  <a:pos x="26" y="2"/>
                </a:cxn>
                <a:cxn ang="0">
                  <a:pos x="20" y="6"/>
                </a:cxn>
                <a:cxn ang="0">
                  <a:pos x="18" y="8"/>
                </a:cxn>
                <a:cxn ang="0">
                  <a:pos x="16" y="12"/>
                </a:cxn>
                <a:cxn ang="0">
                  <a:pos x="10" y="18"/>
                </a:cxn>
                <a:cxn ang="0">
                  <a:pos x="4" y="16"/>
                </a:cxn>
                <a:cxn ang="0">
                  <a:pos x="0" y="22"/>
                </a:cxn>
                <a:cxn ang="0">
                  <a:pos x="0" y="30"/>
                </a:cxn>
                <a:cxn ang="0">
                  <a:pos x="2" y="30"/>
                </a:cxn>
                <a:cxn ang="0">
                  <a:pos x="4" y="34"/>
                </a:cxn>
                <a:cxn ang="0">
                  <a:pos x="4" y="34"/>
                </a:cxn>
                <a:cxn ang="0">
                  <a:pos x="12" y="38"/>
                </a:cxn>
                <a:cxn ang="0">
                  <a:pos x="16" y="38"/>
                </a:cxn>
                <a:cxn ang="0">
                  <a:pos x="24" y="38"/>
                </a:cxn>
                <a:cxn ang="0">
                  <a:pos x="26" y="32"/>
                </a:cxn>
                <a:cxn ang="0">
                  <a:pos x="28" y="32"/>
                </a:cxn>
                <a:cxn ang="0">
                  <a:pos x="36" y="30"/>
                </a:cxn>
                <a:cxn ang="0">
                  <a:pos x="40" y="30"/>
                </a:cxn>
                <a:cxn ang="0">
                  <a:pos x="42" y="30"/>
                </a:cxn>
                <a:cxn ang="0">
                  <a:pos x="48" y="26"/>
                </a:cxn>
                <a:cxn ang="0">
                  <a:pos x="52" y="22"/>
                </a:cxn>
                <a:cxn ang="0">
                  <a:pos x="56" y="24"/>
                </a:cxn>
                <a:cxn ang="0">
                  <a:pos x="62" y="22"/>
                </a:cxn>
                <a:cxn ang="0">
                  <a:pos x="66" y="26"/>
                </a:cxn>
                <a:cxn ang="0">
                  <a:pos x="68" y="26"/>
                </a:cxn>
                <a:cxn ang="0">
                  <a:pos x="70" y="26"/>
                </a:cxn>
                <a:cxn ang="0">
                  <a:pos x="76" y="12"/>
                </a:cxn>
                <a:cxn ang="0">
                  <a:pos x="72" y="10"/>
                </a:cxn>
                <a:cxn ang="0">
                  <a:pos x="70" y="8"/>
                </a:cxn>
              </a:cxnLst>
              <a:rect l="0" t="0" r="r" b="b"/>
              <a:pathLst>
                <a:path w="76" h="38">
                  <a:moveTo>
                    <a:pt x="70" y="8"/>
                  </a:moveTo>
                  <a:lnTo>
                    <a:pt x="70" y="8"/>
                  </a:lnTo>
                  <a:lnTo>
                    <a:pt x="60" y="4"/>
                  </a:lnTo>
                  <a:lnTo>
                    <a:pt x="48" y="4"/>
                  </a:lnTo>
                  <a:lnTo>
                    <a:pt x="42" y="8"/>
                  </a:lnTo>
                  <a:lnTo>
                    <a:pt x="40" y="10"/>
                  </a:lnTo>
                  <a:lnTo>
                    <a:pt x="34" y="0"/>
                  </a:lnTo>
                  <a:lnTo>
                    <a:pt x="32" y="2"/>
                  </a:lnTo>
                  <a:lnTo>
                    <a:pt x="30" y="4"/>
                  </a:lnTo>
                  <a:lnTo>
                    <a:pt x="26" y="2"/>
                  </a:lnTo>
                  <a:lnTo>
                    <a:pt x="20" y="6"/>
                  </a:lnTo>
                  <a:lnTo>
                    <a:pt x="18" y="8"/>
                  </a:lnTo>
                  <a:lnTo>
                    <a:pt x="16" y="12"/>
                  </a:lnTo>
                  <a:lnTo>
                    <a:pt x="10" y="18"/>
                  </a:lnTo>
                  <a:lnTo>
                    <a:pt x="4" y="16"/>
                  </a:lnTo>
                  <a:lnTo>
                    <a:pt x="0" y="22"/>
                  </a:lnTo>
                  <a:lnTo>
                    <a:pt x="0" y="30"/>
                  </a:lnTo>
                  <a:lnTo>
                    <a:pt x="2" y="30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12" y="38"/>
                  </a:lnTo>
                  <a:lnTo>
                    <a:pt x="16" y="38"/>
                  </a:lnTo>
                  <a:lnTo>
                    <a:pt x="24" y="38"/>
                  </a:lnTo>
                  <a:lnTo>
                    <a:pt x="26" y="32"/>
                  </a:lnTo>
                  <a:lnTo>
                    <a:pt x="28" y="32"/>
                  </a:lnTo>
                  <a:lnTo>
                    <a:pt x="36" y="30"/>
                  </a:lnTo>
                  <a:lnTo>
                    <a:pt x="40" y="30"/>
                  </a:lnTo>
                  <a:lnTo>
                    <a:pt x="42" y="30"/>
                  </a:lnTo>
                  <a:lnTo>
                    <a:pt x="48" y="26"/>
                  </a:lnTo>
                  <a:lnTo>
                    <a:pt x="52" y="22"/>
                  </a:lnTo>
                  <a:lnTo>
                    <a:pt x="56" y="24"/>
                  </a:lnTo>
                  <a:lnTo>
                    <a:pt x="62" y="22"/>
                  </a:lnTo>
                  <a:lnTo>
                    <a:pt x="66" y="26"/>
                  </a:lnTo>
                  <a:lnTo>
                    <a:pt x="68" y="26"/>
                  </a:lnTo>
                  <a:lnTo>
                    <a:pt x="70" y="26"/>
                  </a:lnTo>
                  <a:lnTo>
                    <a:pt x="76" y="12"/>
                  </a:lnTo>
                  <a:lnTo>
                    <a:pt x="72" y="10"/>
                  </a:lnTo>
                  <a:lnTo>
                    <a:pt x="70" y="8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4" name="Freeform 777">
              <a:extLst>
                <a:ext uri="{FF2B5EF4-FFF2-40B4-BE49-F238E27FC236}">
                  <a16:creationId xmlns:a16="http://schemas.microsoft.com/office/drawing/2014/main" id="{D680AAED-65C1-4B71-A576-8E62B83EBC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9463" y="3051175"/>
              <a:ext cx="146050" cy="82550"/>
            </a:xfrm>
            <a:custGeom>
              <a:avLst/>
              <a:gdLst/>
              <a:ahLst/>
              <a:cxnLst>
                <a:cxn ang="0">
                  <a:pos x="34" y="52"/>
                </a:cxn>
                <a:cxn ang="0">
                  <a:pos x="38" y="48"/>
                </a:cxn>
                <a:cxn ang="0">
                  <a:pos x="40" y="42"/>
                </a:cxn>
                <a:cxn ang="0">
                  <a:pos x="52" y="46"/>
                </a:cxn>
                <a:cxn ang="0">
                  <a:pos x="52" y="46"/>
                </a:cxn>
                <a:cxn ang="0">
                  <a:pos x="58" y="48"/>
                </a:cxn>
                <a:cxn ang="0">
                  <a:pos x="66" y="48"/>
                </a:cxn>
                <a:cxn ang="0">
                  <a:pos x="66" y="52"/>
                </a:cxn>
                <a:cxn ang="0">
                  <a:pos x="70" y="46"/>
                </a:cxn>
                <a:cxn ang="0">
                  <a:pos x="76" y="48"/>
                </a:cxn>
                <a:cxn ang="0">
                  <a:pos x="82" y="42"/>
                </a:cxn>
                <a:cxn ang="0">
                  <a:pos x="84" y="38"/>
                </a:cxn>
                <a:cxn ang="0">
                  <a:pos x="86" y="36"/>
                </a:cxn>
                <a:cxn ang="0">
                  <a:pos x="92" y="32"/>
                </a:cxn>
                <a:cxn ang="0">
                  <a:pos x="86" y="24"/>
                </a:cxn>
                <a:cxn ang="0">
                  <a:pos x="86" y="24"/>
                </a:cxn>
                <a:cxn ang="0">
                  <a:pos x="78" y="22"/>
                </a:cxn>
                <a:cxn ang="0">
                  <a:pos x="78" y="18"/>
                </a:cxn>
                <a:cxn ang="0">
                  <a:pos x="78" y="16"/>
                </a:cxn>
                <a:cxn ang="0">
                  <a:pos x="76" y="16"/>
                </a:cxn>
                <a:cxn ang="0">
                  <a:pos x="72" y="16"/>
                </a:cxn>
                <a:cxn ang="0">
                  <a:pos x="66" y="14"/>
                </a:cxn>
                <a:cxn ang="0">
                  <a:pos x="66" y="18"/>
                </a:cxn>
                <a:cxn ang="0">
                  <a:pos x="64" y="20"/>
                </a:cxn>
                <a:cxn ang="0">
                  <a:pos x="60" y="16"/>
                </a:cxn>
                <a:cxn ang="0">
                  <a:pos x="56" y="8"/>
                </a:cxn>
                <a:cxn ang="0">
                  <a:pos x="48" y="6"/>
                </a:cxn>
                <a:cxn ang="0">
                  <a:pos x="44" y="2"/>
                </a:cxn>
                <a:cxn ang="0">
                  <a:pos x="40" y="0"/>
                </a:cxn>
                <a:cxn ang="0">
                  <a:pos x="40" y="2"/>
                </a:cxn>
                <a:cxn ang="0">
                  <a:pos x="38" y="4"/>
                </a:cxn>
                <a:cxn ang="0">
                  <a:pos x="38" y="4"/>
                </a:cxn>
                <a:cxn ang="0">
                  <a:pos x="32" y="0"/>
                </a:cxn>
                <a:cxn ang="0">
                  <a:pos x="32" y="2"/>
                </a:cxn>
                <a:cxn ang="0">
                  <a:pos x="16" y="10"/>
                </a:cxn>
                <a:cxn ang="0">
                  <a:pos x="0" y="16"/>
                </a:cxn>
                <a:cxn ang="0">
                  <a:pos x="4" y="22"/>
                </a:cxn>
                <a:cxn ang="0">
                  <a:pos x="8" y="32"/>
                </a:cxn>
                <a:cxn ang="0">
                  <a:pos x="14" y="38"/>
                </a:cxn>
                <a:cxn ang="0">
                  <a:pos x="18" y="44"/>
                </a:cxn>
                <a:cxn ang="0">
                  <a:pos x="24" y="48"/>
                </a:cxn>
                <a:cxn ang="0">
                  <a:pos x="28" y="52"/>
                </a:cxn>
                <a:cxn ang="0">
                  <a:pos x="34" y="52"/>
                </a:cxn>
              </a:cxnLst>
              <a:rect l="0" t="0" r="r" b="b"/>
              <a:pathLst>
                <a:path w="92" h="52">
                  <a:moveTo>
                    <a:pt x="34" y="52"/>
                  </a:moveTo>
                  <a:lnTo>
                    <a:pt x="38" y="48"/>
                  </a:lnTo>
                  <a:lnTo>
                    <a:pt x="40" y="42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8" y="48"/>
                  </a:lnTo>
                  <a:lnTo>
                    <a:pt x="66" y="48"/>
                  </a:lnTo>
                  <a:lnTo>
                    <a:pt x="66" y="52"/>
                  </a:lnTo>
                  <a:lnTo>
                    <a:pt x="70" y="46"/>
                  </a:lnTo>
                  <a:lnTo>
                    <a:pt x="76" y="48"/>
                  </a:lnTo>
                  <a:lnTo>
                    <a:pt x="82" y="42"/>
                  </a:lnTo>
                  <a:lnTo>
                    <a:pt x="84" y="38"/>
                  </a:lnTo>
                  <a:lnTo>
                    <a:pt x="86" y="36"/>
                  </a:lnTo>
                  <a:lnTo>
                    <a:pt x="92" y="32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78" y="22"/>
                  </a:lnTo>
                  <a:lnTo>
                    <a:pt x="78" y="18"/>
                  </a:lnTo>
                  <a:lnTo>
                    <a:pt x="78" y="16"/>
                  </a:lnTo>
                  <a:lnTo>
                    <a:pt x="76" y="16"/>
                  </a:lnTo>
                  <a:lnTo>
                    <a:pt x="72" y="16"/>
                  </a:lnTo>
                  <a:lnTo>
                    <a:pt x="66" y="14"/>
                  </a:lnTo>
                  <a:lnTo>
                    <a:pt x="66" y="18"/>
                  </a:lnTo>
                  <a:lnTo>
                    <a:pt x="64" y="20"/>
                  </a:lnTo>
                  <a:lnTo>
                    <a:pt x="60" y="16"/>
                  </a:lnTo>
                  <a:lnTo>
                    <a:pt x="56" y="8"/>
                  </a:lnTo>
                  <a:lnTo>
                    <a:pt x="48" y="6"/>
                  </a:lnTo>
                  <a:lnTo>
                    <a:pt x="44" y="2"/>
                  </a:lnTo>
                  <a:lnTo>
                    <a:pt x="40" y="0"/>
                  </a:lnTo>
                  <a:lnTo>
                    <a:pt x="40" y="2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2" y="0"/>
                  </a:lnTo>
                  <a:lnTo>
                    <a:pt x="32" y="2"/>
                  </a:lnTo>
                  <a:lnTo>
                    <a:pt x="16" y="10"/>
                  </a:lnTo>
                  <a:lnTo>
                    <a:pt x="0" y="16"/>
                  </a:lnTo>
                  <a:lnTo>
                    <a:pt x="4" y="22"/>
                  </a:lnTo>
                  <a:lnTo>
                    <a:pt x="8" y="32"/>
                  </a:lnTo>
                  <a:lnTo>
                    <a:pt x="14" y="38"/>
                  </a:lnTo>
                  <a:lnTo>
                    <a:pt x="18" y="44"/>
                  </a:lnTo>
                  <a:lnTo>
                    <a:pt x="24" y="48"/>
                  </a:lnTo>
                  <a:lnTo>
                    <a:pt x="28" y="52"/>
                  </a:lnTo>
                  <a:lnTo>
                    <a:pt x="34" y="52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5" name="Freeform 780">
              <a:extLst>
                <a:ext uri="{FF2B5EF4-FFF2-40B4-BE49-F238E27FC236}">
                  <a16:creationId xmlns:a16="http://schemas.microsoft.com/office/drawing/2014/main" id="{2BC121B0-C797-4D65-B089-084F7327AE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7700" y="3162300"/>
              <a:ext cx="98425" cy="53975"/>
            </a:xfrm>
            <a:custGeom>
              <a:avLst/>
              <a:gdLst/>
              <a:ahLst/>
              <a:cxnLst>
                <a:cxn ang="0">
                  <a:pos x="62" y="14"/>
                </a:cxn>
                <a:cxn ang="0">
                  <a:pos x="50" y="12"/>
                </a:cxn>
                <a:cxn ang="0">
                  <a:pos x="48" y="12"/>
                </a:cxn>
                <a:cxn ang="0">
                  <a:pos x="50" y="8"/>
                </a:cxn>
                <a:cxn ang="0">
                  <a:pos x="50" y="4"/>
                </a:cxn>
                <a:cxn ang="0">
                  <a:pos x="50" y="4"/>
                </a:cxn>
                <a:cxn ang="0">
                  <a:pos x="40" y="0"/>
                </a:cxn>
                <a:cxn ang="0">
                  <a:pos x="36" y="0"/>
                </a:cxn>
                <a:cxn ang="0">
                  <a:pos x="36" y="2"/>
                </a:cxn>
                <a:cxn ang="0">
                  <a:pos x="36" y="2"/>
                </a:cxn>
                <a:cxn ang="0">
                  <a:pos x="34" y="2"/>
                </a:cxn>
                <a:cxn ang="0">
                  <a:pos x="32" y="2"/>
                </a:cxn>
                <a:cxn ang="0">
                  <a:pos x="24" y="2"/>
                </a:cxn>
                <a:cxn ang="0">
                  <a:pos x="22" y="2"/>
                </a:cxn>
                <a:cxn ang="0">
                  <a:pos x="20" y="4"/>
                </a:cxn>
                <a:cxn ang="0">
                  <a:pos x="14" y="6"/>
                </a:cxn>
                <a:cxn ang="0">
                  <a:pos x="14" y="8"/>
                </a:cxn>
                <a:cxn ang="0">
                  <a:pos x="10" y="12"/>
                </a:cxn>
                <a:cxn ang="0">
                  <a:pos x="6" y="20"/>
                </a:cxn>
                <a:cxn ang="0">
                  <a:pos x="4" y="26"/>
                </a:cxn>
                <a:cxn ang="0">
                  <a:pos x="2" y="30"/>
                </a:cxn>
                <a:cxn ang="0">
                  <a:pos x="0" y="30"/>
                </a:cxn>
                <a:cxn ang="0">
                  <a:pos x="4" y="28"/>
                </a:cxn>
                <a:cxn ang="0">
                  <a:pos x="12" y="26"/>
                </a:cxn>
                <a:cxn ang="0">
                  <a:pos x="16" y="34"/>
                </a:cxn>
                <a:cxn ang="0">
                  <a:pos x="22" y="34"/>
                </a:cxn>
                <a:cxn ang="0">
                  <a:pos x="24" y="34"/>
                </a:cxn>
                <a:cxn ang="0">
                  <a:pos x="24" y="34"/>
                </a:cxn>
                <a:cxn ang="0">
                  <a:pos x="26" y="34"/>
                </a:cxn>
                <a:cxn ang="0">
                  <a:pos x="26" y="34"/>
                </a:cxn>
                <a:cxn ang="0">
                  <a:pos x="28" y="34"/>
                </a:cxn>
                <a:cxn ang="0">
                  <a:pos x="30" y="30"/>
                </a:cxn>
                <a:cxn ang="0">
                  <a:pos x="32" y="28"/>
                </a:cxn>
                <a:cxn ang="0">
                  <a:pos x="34" y="26"/>
                </a:cxn>
                <a:cxn ang="0">
                  <a:pos x="34" y="30"/>
                </a:cxn>
                <a:cxn ang="0">
                  <a:pos x="40" y="32"/>
                </a:cxn>
                <a:cxn ang="0">
                  <a:pos x="42" y="34"/>
                </a:cxn>
                <a:cxn ang="0">
                  <a:pos x="42" y="32"/>
                </a:cxn>
                <a:cxn ang="0">
                  <a:pos x="46" y="28"/>
                </a:cxn>
                <a:cxn ang="0">
                  <a:pos x="54" y="28"/>
                </a:cxn>
                <a:cxn ang="0">
                  <a:pos x="58" y="28"/>
                </a:cxn>
                <a:cxn ang="0">
                  <a:pos x="58" y="22"/>
                </a:cxn>
                <a:cxn ang="0">
                  <a:pos x="60" y="22"/>
                </a:cxn>
                <a:cxn ang="0">
                  <a:pos x="62" y="22"/>
                </a:cxn>
                <a:cxn ang="0">
                  <a:pos x="62" y="22"/>
                </a:cxn>
                <a:cxn ang="0">
                  <a:pos x="62" y="16"/>
                </a:cxn>
                <a:cxn ang="0">
                  <a:pos x="62" y="16"/>
                </a:cxn>
                <a:cxn ang="0">
                  <a:pos x="62" y="14"/>
                </a:cxn>
              </a:cxnLst>
              <a:rect l="0" t="0" r="r" b="b"/>
              <a:pathLst>
                <a:path w="62" h="34">
                  <a:moveTo>
                    <a:pt x="62" y="14"/>
                  </a:moveTo>
                  <a:lnTo>
                    <a:pt x="50" y="12"/>
                  </a:lnTo>
                  <a:lnTo>
                    <a:pt x="48" y="12"/>
                  </a:lnTo>
                  <a:lnTo>
                    <a:pt x="50" y="8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4" y="2"/>
                  </a:lnTo>
                  <a:lnTo>
                    <a:pt x="32" y="2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0" y="4"/>
                  </a:lnTo>
                  <a:lnTo>
                    <a:pt x="14" y="6"/>
                  </a:lnTo>
                  <a:lnTo>
                    <a:pt x="14" y="8"/>
                  </a:lnTo>
                  <a:lnTo>
                    <a:pt x="10" y="12"/>
                  </a:lnTo>
                  <a:lnTo>
                    <a:pt x="6" y="20"/>
                  </a:lnTo>
                  <a:lnTo>
                    <a:pt x="4" y="26"/>
                  </a:lnTo>
                  <a:lnTo>
                    <a:pt x="2" y="30"/>
                  </a:lnTo>
                  <a:lnTo>
                    <a:pt x="0" y="30"/>
                  </a:lnTo>
                  <a:lnTo>
                    <a:pt x="4" y="28"/>
                  </a:lnTo>
                  <a:lnTo>
                    <a:pt x="12" y="26"/>
                  </a:lnTo>
                  <a:lnTo>
                    <a:pt x="16" y="34"/>
                  </a:lnTo>
                  <a:lnTo>
                    <a:pt x="22" y="34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8" y="34"/>
                  </a:lnTo>
                  <a:lnTo>
                    <a:pt x="30" y="30"/>
                  </a:lnTo>
                  <a:lnTo>
                    <a:pt x="32" y="28"/>
                  </a:lnTo>
                  <a:lnTo>
                    <a:pt x="34" y="26"/>
                  </a:lnTo>
                  <a:lnTo>
                    <a:pt x="34" y="30"/>
                  </a:lnTo>
                  <a:lnTo>
                    <a:pt x="40" y="32"/>
                  </a:lnTo>
                  <a:lnTo>
                    <a:pt x="42" y="34"/>
                  </a:lnTo>
                  <a:lnTo>
                    <a:pt x="42" y="32"/>
                  </a:lnTo>
                  <a:lnTo>
                    <a:pt x="46" y="28"/>
                  </a:lnTo>
                  <a:lnTo>
                    <a:pt x="54" y="28"/>
                  </a:lnTo>
                  <a:lnTo>
                    <a:pt x="58" y="28"/>
                  </a:lnTo>
                  <a:lnTo>
                    <a:pt x="58" y="22"/>
                  </a:lnTo>
                  <a:lnTo>
                    <a:pt x="60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16"/>
                  </a:lnTo>
                  <a:lnTo>
                    <a:pt x="62" y="16"/>
                  </a:lnTo>
                  <a:lnTo>
                    <a:pt x="62" y="14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6" name="Freeform 792">
              <a:extLst>
                <a:ext uri="{FF2B5EF4-FFF2-40B4-BE49-F238E27FC236}">
                  <a16:creationId xmlns:a16="http://schemas.microsoft.com/office/drawing/2014/main" id="{3D152A8D-9977-4ACD-A298-8591DCC3A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7263" y="3143250"/>
              <a:ext cx="203200" cy="142875"/>
            </a:xfrm>
            <a:custGeom>
              <a:avLst/>
              <a:gdLst/>
              <a:ahLst/>
              <a:cxnLst>
                <a:cxn ang="0">
                  <a:pos x="108" y="56"/>
                </a:cxn>
                <a:cxn ang="0">
                  <a:pos x="106" y="52"/>
                </a:cxn>
                <a:cxn ang="0">
                  <a:pos x="106" y="44"/>
                </a:cxn>
                <a:cxn ang="0">
                  <a:pos x="106" y="42"/>
                </a:cxn>
                <a:cxn ang="0">
                  <a:pos x="108" y="34"/>
                </a:cxn>
                <a:cxn ang="0">
                  <a:pos x="102" y="24"/>
                </a:cxn>
                <a:cxn ang="0">
                  <a:pos x="94" y="12"/>
                </a:cxn>
                <a:cxn ang="0">
                  <a:pos x="86" y="0"/>
                </a:cxn>
                <a:cxn ang="0">
                  <a:pos x="82" y="2"/>
                </a:cxn>
                <a:cxn ang="0">
                  <a:pos x="76" y="6"/>
                </a:cxn>
                <a:cxn ang="0">
                  <a:pos x="52" y="8"/>
                </a:cxn>
                <a:cxn ang="0">
                  <a:pos x="36" y="6"/>
                </a:cxn>
                <a:cxn ang="0">
                  <a:pos x="30" y="10"/>
                </a:cxn>
                <a:cxn ang="0">
                  <a:pos x="20" y="22"/>
                </a:cxn>
                <a:cxn ang="0">
                  <a:pos x="8" y="40"/>
                </a:cxn>
                <a:cxn ang="0">
                  <a:pos x="2" y="42"/>
                </a:cxn>
                <a:cxn ang="0">
                  <a:pos x="6" y="52"/>
                </a:cxn>
                <a:cxn ang="0">
                  <a:pos x="14" y="60"/>
                </a:cxn>
                <a:cxn ang="0">
                  <a:pos x="14" y="68"/>
                </a:cxn>
                <a:cxn ang="0">
                  <a:pos x="20" y="72"/>
                </a:cxn>
                <a:cxn ang="0">
                  <a:pos x="24" y="74"/>
                </a:cxn>
                <a:cxn ang="0">
                  <a:pos x="30" y="70"/>
                </a:cxn>
                <a:cxn ang="0">
                  <a:pos x="32" y="74"/>
                </a:cxn>
                <a:cxn ang="0">
                  <a:pos x="32" y="80"/>
                </a:cxn>
                <a:cxn ang="0">
                  <a:pos x="44" y="86"/>
                </a:cxn>
                <a:cxn ang="0">
                  <a:pos x="56" y="88"/>
                </a:cxn>
                <a:cxn ang="0">
                  <a:pos x="72" y="90"/>
                </a:cxn>
                <a:cxn ang="0">
                  <a:pos x="86" y="82"/>
                </a:cxn>
                <a:cxn ang="0">
                  <a:pos x="100" y="86"/>
                </a:cxn>
                <a:cxn ang="0">
                  <a:pos x="112" y="88"/>
                </a:cxn>
                <a:cxn ang="0">
                  <a:pos x="114" y="78"/>
                </a:cxn>
                <a:cxn ang="0">
                  <a:pos x="120" y="70"/>
                </a:cxn>
                <a:cxn ang="0">
                  <a:pos x="128" y="60"/>
                </a:cxn>
                <a:cxn ang="0">
                  <a:pos x="114" y="60"/>
                </a:cxn>
              </a:cxnLst>
              <a:rect l="0" t="0" r="r" b="b"/>
              <a:pathLst>
                <a:path w="128" h="90">
                  <a:moveTo>
                    <a:pt x="114" y="60"/>
                  </a:moveTo>
                  <a:lnTo>
                    <a:pt x="108" y="56"/>
                  </a:lnTo>
                  <a:lnTo>
                    <a:pt x="108" y="56"/>
                  </a:lnTo>
                  <a:lnTo>
                    <a:pt x="106" y="52"/>
                  </a:lnTo>
                  <a:lnTo>
                    <a:pt x="106" y="48"/>
                  </a:lnTo>
                  <a:lnTo>
                    <a:pt x="106" y="44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8" y="40"/>
                  </a:lnTo>
                  <a:lnTo>
                    <a:pt x="108" y="34"/>
                  </a:lnTo>
                  <a:lnTo>
                    <a:pt x="104" y="26"/>
                  </a:lnTo>
                  <a:lnTo>
                    <a:pt x="102" y="24"/>
                  </a:lnTo>
                  <a:lnTo>
                    <a:pt x="100" y="20"/>
                  </a:lnTo>
                  <a:lnTo>
                    <a:pt x="94" y="12"/>
                  </a:lnTo>
                  <a:lnTo>
                    <a:pt x="90" y="2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2" y="2"/>
                  </a:lnTo>
                  <a:lnTo>
                    <a:pt x="80" y="6"/>
                  </a:lnTo>
                  <a:lnTo>
                    <a:pt x="76" y="6"/>
                  </a:lnTo>
                  <a:lnTo>
                    <a:pt x="68" y="8"/>
                  </a:lnTo>
                  <a:lnTo>
                    <a:pt x="52" y="8"/>
                  </a:lnTo>
                  <a:lnTo>
                    <a:pt x="44" y="6"/>
                  </a:lnTo>
                  <a:lnTo>
                    <a:pt x="36" y="6"/>
                  </a:lnTo>
                  <a:lnTo>
                    <a:pt x="32" y="10"/>
                  </a:lnTo>
                  <a:lnTo>
                    <a:pt x="30" y="10"/>
                  </a:lnTo>
                  <a:lnTo>
                    <a:pt x="28" y="10"/>
                  </a:lnTo>
                  <a:lnTo>
                    <a:pt x="20" y="22"/>
                  </a:lnTo>
                  <a:lnTo>
                    <a:pt x="12" y="38"/>
                  </a:lnTo>
                  <a:lnTo>
                    <a:pt x="8" y="40"/>
                  </a:lnTo>
                  <a:lnTo>
                    <a:pt x="6" y="42"/>
                  </a:lnTo>
                  <a:lnTo>
                    <a:pt x="2" y="42"/>
                  </a:lnTo>
                  <a:lnTo>
                    <a:pt x="0" y="44"/>
                  </a:lnTo>
                  <a:lnTo>
                    <a:pt x="6" y="52"/>
                  </a:lnTo>
                  <a:lnTo>
                    <a:pt x="8" y="56"/>
                  </a:lnTo>
                  <a:lnTo>
                    <a:pt x="14" y="60"/>
                  </a:lnTo>
                  <a:lnTo>
                    <a:pt x="14" y="64"/>
                  </a:lnTo>
                  <a:lnTo>
                    <a:pt x="14" y="68"/>
                  </a:lnTo>
                  <a:lnTo>
                    <a:pt x="18" y="70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4" y="74"/>
                  </a:lnTo>
                  <a:lnTo>
                    <a:pt x="26" y="72"/>
                  </a:lnTo>
                  <a:lnTo>
                    <a:pt x="30" y="70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0" y="74"/>
                  </a:lnTo>
                  <a:lnTo>
                    <a:pt x="32" y="80"/>
                  </a:lnTo>
                  <a:lnTo>
                    <a:pt x="40" y="86"/>
                  </a:lnTo>
                  <a:lnTo>
                    <a:pt x="44" y="86"/>
                  </a:lnTo>
                  <a:lnTo>
                    <a:pt x="48" y="88"/>
                  </a:lnTo>
                  <a:lnTo>
                    <a:pt x="56" y="88"/>
                  </a:lnTo>
                  <a:lnTo>
                    <a:pt x="62" y="90"/>
                  </a:lnTo>
                  <a:lnTo>
                    <a:pt x="72" y="90"/>
                  </a:lnTo>
                  <a:lnTo>
                    <a:pt x="80" y="84"/>
                  </a:lnTo>
                  <a:lnTo>
                    <a:pt x="86" y="82"/>
                  </a:lnTo>
                  <a:lnTo>
                    <a:pt x="94" y="82"/>
                  </a:lnTo>
                  <a:lnTo>
                    <a:pt x="100" y="86"/>
                  </a:lnTo>
                  <a:lnTo>
                    <a:pt x="110" y="88"/>
                  </a:lnTo>
                  <a:lnTo>
                    <a:pt x="112" y="88"/>
                  </a:lnTo>
                  <a:lnTo>
                    <a:pt x="114" y="80"/>
                  </a:lnTo>
                  <a:lnTo>
                    <a:pt x="114" y="78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6" y="68"/>
                  </a:lnTo>
                  <a:lnTo>
                    <a:pt x="128" y="60"/>
                  </a:lnTo>
                  <a:lnTo>
                    <a:pt x="124" y="56"/>
                  </a:lnTo>
                  <a:lnTo>
                    <a:pt x="114" y="6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7" name="Freeform 794">
              <a:extLst>
                <a:ext uri="{FF2B5EF4-FFF2-40B4-BE49-F238E27FC236}">
                  <a16:creationId xmlns:a16="http://schemas.microsoft.com/office/drawing/2014/main" id="{69D6B726-40A1-4231-8CFD-78649F304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3788" y="3136900"/>
              <a:ext cx="76200" cy="95250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14" y="24"/>
                </a:cxn>
                <a:cxn ang="0">
                  <a:pos x="16" y="28"/>
                </a:cxn>
                <a:cxn ang="0">
                  <a:pos x="18" y="30"/>
                </a:cxn>
                <a:cxn ang="0">
                  <a:pos x="22" y="38"/>
                </a:cxn>
                <a:cxn ang="0">
                  <a:pos x="22" y="44"/>
                </a:cxn>
                <a:cxn ang="0">
                  <a:pos x="20" y="46"/>
                </a:cxn>
                <a:cxn ang="0">
                  <a:pos x="20" y="46"/>
                </a:cxn>
                <a:cxn ang="0">
                  <a:pos x="20" y="48"/>
                </a:cxn>
                <a:cxn ang="0">
                  <a:pos x="20" y="52"/>
                </a:cxn>
                <a:cxn ang="0">
                  <a:pos x="20" y="56"/>
                </a:cxn>
                <a:cxn ang="0">
                  <a:pos x="22" y="60"/>
                </a:cxn>
                <a:cxn ang="0">
                  <a:pos x="28" y="52"/>
                </a:cxn>
                <a:cxn ang="0">
                  <a:pos x="32" y="48"/>
                </a:cxn>
                <a:cxn ang="0">
                  <a:pos x="32" y="44"/>
                </a:cxn>
                <a:cxn ang="0">
                  <a:pos x="32" y="40"/>
                </a:cxn>
                <a:cxn ang="0">
                  <a:pos x="36" y="38"/>
                </a:cxn>
                <a:cxn ang="0">
                  <a:pos x="46" y="42"/>
                </a:cxn>
                <a:cxn ang="0">
                  <a:pos x="48" y="42"/>
                </a:cxn>
                <a:cxn ang="0">
                  <a:pos x="44" y="38"/>
                </a:cxn>
                <a:cxn ang="0">
                  <a:pos x="46" y="34"/>
                </a:cxn>
                <a:cxn ang="0">
                  <a:pos x="40" y="30"/>
                </a:cxn>
                <a:cxn ang="0">
                  <a:pos x="34" y="20"/>
                </a:cxn>
                <a:cxn ang="0">
                  <a:pos x="34" y="20"/>
                </a:cxn>
                <a:cxn ang="0">
                  <a:pos x="36" y="12"/>
                </a:cxn>
                <a:cxn ang="0">
                  <a:pos x="34" y="10"/>
                </a:cxn>
                <a:cxn ang="0">
                  <a:pos x="30" y="10"/>
                </a:cxn>
                <a:cxn ang="0">
                  <a:pos x="26" y="8"/>
                </a:cxn>
                <a:cxn ang="0">
                  <a:pos x="22" y="4"/>
                </a:cxn>
                <a:cxn ang="0">
                  <a:pos x="18" y="2"/>
                </a:cxn>
                <a:cxn ang="0">
                  <a:pos x="12" y="0"/>
                </a:cxn>
                <a:cxn ang="0">
                  <a:pos x="10" y="2"/>
                </a:cxn>
                <a:cxn ang="0">
                  <a:pos x="4" y="2"/>
                </a:cxn>
                <a:cxn ang="0">
                  <a:pos x="0" y="4"/>
                </a:cxn>
                <a:cxn ang="0">
                  <a:pos x="4" y="6"/>
                </a:cxn>
                <a:cxn ang="0">
                  <a:pos x="8" y="16"/>
                </a:cxn>
              </a:cxnLst>
              <a:rect l="0" t="0" r="r" b="b"/>
              <a:pathLst>
                <a:path w="48" h="60">
                  <a:moveTo>
                    <a:pt x="8" y="16"/>
                  </a:moveTo>
                  <a:lnTo>
                    <a:pt x="14" y="24"/>
                  </a:lnTo>
                  <a:lnTo>
                    <a:pt x="16" y="28"/>
                  </a:lnTo>
                  <a:lnTo>
                    <a:pt x="18" y="30"/>
                  </a:lnTo>
                  <a:lnTo>
                    <a:pt x="22" y="38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8"/>
                  </a:lnTo>
                  <a:lnTo>
                    <a:pt x="20" y="52"/>
                  </a:lnTo>
                  <a:lnTo>
                    <a:pt x="20" y="56"/>
                  </a:lnTo>
                  <a:lnTo>
                    <a:pt x="22" y="60"/>
                  </a:lnTo>
                  <a:lnTo>
                    <a:pt x="28" y="52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36" y="38"/>
                  </a:lnTo>
                  <a:lnTo>
                    <a:pt x="46" y="42"/>
                  </a:lnTo>
                  <a:lnTo>
                    <a:pt x="48" y="42"/>
                  </a:lnTo>
                  <a:lnTo>
                    <a:pt x="44" y="38"/>
                  </a:lnTo>
                  <a:lnTo>
                    <a:pt x="46" y="34"/>
                  </a:lnTo>
                  <a:lnTo>
                    <a:pt x="40" y="3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6" y="12"/>
                  </a:lnTo>
                  <a:lnTo>
                    <a:pt x="34" y="10"/>
                  </a:lnTo>
                  <a:lnTo>
                    <a:pt x="30" y="10"/>
                  </a:lnTo>
                  <a:lnTo>
                    <a:pt x="26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2" y="0"/>
                  </a:lnTo>
                  <a:lnTo>
                    <a:pt x="10" y="2"/>
                  </a:lnTo>
                  <a:lnTo>
                    <a:pt x="4" y="2"/>
                  </a:lnTo>
                  <a:lnTo>
                    <a:pt x="0" y="4"/>
                  </a:lnTo>
                  <a:lnTo>
                    <a:pt x="4" y="6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8" name="Freeform 783">
              <a:extLst>
                <a:ext uri="{FF2B5EF4-FFF2-40B4-BE49-F238E27FC236}">
                  <a16:creationId xmlns:a16="http://schemas.microsoft.com/office/drawing/2014/main" id="{393B01C8-AB53-4E57-AB3F-FFA0C9F1B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3574" y="3181349"/>
              <a:ext cx="255588" cy="300038"/>
            </a:xfrm>
            <a:custGeom>
              <a:avLst/>
              <a:gdLst/>
              <a:ahLst/>
              <a:cxnLst/>
              <a:rect l="l" t="t" r="r" b="b"/>
              <a:pathLst>
                <a:path w="255588" h="300038">
                  <a:moveTo>
                    <a:pt x="138113" y="258763"/>
                  </a:moveTo>
                  <a:lnTo>
                    <a:pt x="144463" y="261938"/>
                  </a:lnTo>
                  <a:lnTo>
                    <a:pt x="153988" y="265113"/>
                  </a:lnTo>
                  <a:lnTo>
                    <a:pt x="166688" y="265113"/>
                  </a:lnTo>
                  <a:lnTo>
                    <a:pt x="182563" y="261938"/>
                  </a:lnTo>
                  <a:lnTo>
                    <a:pt x="192088" y="258763"/>
                  </a:lnTo>
                  <a:lnTo>
                    <a:pt x="182563" y="274638"/>
                  </a:lnTo>
                  <a:lnTo>
                    <a:pt x="182563" y="280988"/>
                  </a:lnTo>
                  <a:lnTo>
                    <a:pt x="182563" y="287338"/>
                  </a:lnTo>
                  <a:lnTo>
                    <a:pt x="182563" y="293688"/>
                  </a:lnTo>
                  <a:lnTo>
                    <a:pt x="179388" y="300038"/>
                  </a:lnTo>
                  <a:lnTo>
                    <a:pt x="173038" y="300038"/>
                  </a:lnTo>
                  <a:lnTo>
                    <a:pt x="163513" y="293688"/>
                  </a:lnTo>
                  <a:lnTo>
                    <a:pt x="150813" y="287338"/>
                  </a:lnTo>
                  <a:lnTo>
                    <a:pt x="141288" y="280988"/>
                  </a:lnTo>
                  <a:lnTo>
                    <a:pt x="128588" y="274638"/>
                  </a:lnTo>
                  <a:lnTo>
                    <a:pt x="122238" y="271463"/>
                  </a:lnTo>
                  <a:lnTo>
                    <a:pt x="125413" y="265113"/>
                  </a:lnTo>
                  <a:close/>
                  <a:moveTo>
                    <a:pt x="57150" y="173038"/>
                  </a:moveTo>
                  <a:lnTo>
                    <a:pt x="63500" y="182563"/>
                  </a:lnTo>
                  <a:lnTo>
                    <a:pt x="69850" y="195263"/>
                  </a:lnTo>
                  <a:lnTo>
                    <a:pt x="63500" y="201613"/>
                  </a:lnTo>
                  <a:lnTo>
                    <a:pt x="66675" y="207963"/>
                  </a:lnTo>
                  <a:lnTo>
                    <a:pt x="66675" y="214313"/>
                  </a:lnTo>
                  <a:lnTo>
                    <a:pt x="60325" y="233363"/>
                  </a:lnTo>
                  <a:lnTo>
                    <a:pt x="47625" y="239713"/>
                  </a:lnTo>
                  <a:lnTo>
                    <a:pt x="41275" y="236538"/>
                  </a:lnTo>
                  <a:lnTo>
                    <a:pt x="41275" y="214313"/>
                  </a:lnTo>
                  <a:lnTo>
                    <a:pt x="41275" y="201613"/>
                  </a:lnTo>
                  <a:lnTo>
                    <a:pt x="34925" y="192088"/>
                  </a:lnTo>
                  <a:lnTo>
                    <a:pt x="34925" y="182563"/>
                  </a:lnTo>
                  <a:lnTo>
                    <a:pt x="44450" y="185738"/>
                  </a:lnTo>
                  <a:lnTo>
                    <a:pt x="50800" y="179388"/>
                  </a:lnTo>
                  <a:close/>
                  <a:moveTo>
                    <a:pt x="119063" y="0"/>
                  </a:moveTo>
                  <a:lnTo>
                    <a:pt x="115888" y="3175"/>
                  </a:lnTo>
                  <a:lnTo>
                    <a:pt x="119063" y="6350"/>
                  </a:lnTo>
                  <a:lnTo>
                    <a:pt x="119063" y="9525"/>
                  </a:lnTo>
                  <a:lnTo>
                    <a:pt x="122238" y="9525"/>
                  </a:lnTo>
                  <a:lnTo>
                    <a:pt x="122238" y="12700"/>
                  </a:lnTo>
                  <a:lnTo>
                    <a:pt x="134938" y="15875"/>
                  </a:lnTo>
                  <a:lnTo>
                    <a:pt x="150813" y="19050"/>
                  </a:lnTo>
                  <a:lnTo>
                    <a:pt x="147638" y="28575"/>
                  </a:lnTo>
                  <a:lnTo>
                    <a:pt x="147638" y="38100"/>
                  </a:lnTo>
                  <a:lnTo>
                    <a:pt x="150813" y="41275"/>
                  </a:lnTo>
                  <a:lnTo>
                    <a:pt x="153988" y="44450"/>
                  </a:lnTo>
                  <a:lnTo>
                    <a:pt x="150813" y="47625"/>
                  </a:lnTo>
                  <a:lnTo>
                    <a:pt x="150813" y="44450"/>
                  </a:lnTo>
                  <a:lnTo>
                    <a:pt x="147638" y="41275"/>
                  </a:lnTo>
                  <a:lnTo>
                    <a:pt x="131763" y="44450"/>
                  </a:lnTo>
                  <a:lnTo>
                    <a:pt x="119063" y="50800"/>
                  </a:lnTo>
                  <a:lnTo>
                    <a:pt x="115888" y="57150"/>
                  </a:lnTo>
                  <a:lnTo>
                    <a:pt x="122238" y="57150"/>
                  </a:lnTo>
                  <a:lnTo>
                    <a:pt x="122238" y="60325"/>
                  </a:lnTo>
                  <a:lnTo>
                    <a:pt x="122238" y="63500"/>
                  </a:lnTo>
                  <a:lnTo>
                    <a:pt x="125413" y="66675"/>
                  </a:lnTo>
                  <a:lnTo>
                    <a:pt x="122238" y="69850"/>
                  </a:lnTo>
                  <a:lnTo>
                    <a:pt x="119063" y="69850"/>
                  </a:lnTo>
                  <a:lnTo>
                    <a:pt x="119063" y="79375"/>
                  </a:lnTo>
                  <a:lnTo>
                    <a:pt x="125413" y="92075"/>
                  </a:lnTo>
                  <a:lnTo>
                    <a:pt x="141288" y="104775"/>
                  </a:lnTo>
                  <a:lnTo>
                    <a:pt x="144463" y="104775"/>
                  </a:lnTo>
                  <a:lnTo>
                    <a:pt x="147638" y="111125"/>
                  </a:lnTo>
                  <a:lnTo>
                    <a:pt x="153988" y="127000"/>
                  </a:lnTo>
                  <a:lnTo>
                    <a:pt x="160338" y="139700"/>
                  </a:lnTo>
                  <a:lnTo>
                    <a:pt x="185738" y="153988"/>
                  </a:lnTo>
                  <a:lnTo>
                    <a:pt x="195263" y="153988"/>
                  </a:lnTo>
                  <a:lnTo>
                    <a:pt x="204788" y="157163"/>
                  </a:lnTo>
                  <a:lnTo>
                    <a:pt x="198438" y="163513"/>
                  </a:lnTo>
                  <a:lnTo>
                    <a:pt x="204788" y="169863"/>
                  </a:lnTo>
                  <a:lnTo>
                    <a:pt x="217488" y="176213"/>
                  </a:lnTo>
                  <a:lnTo>
                    <a:pt x="230188" y="182563"/>
                  </a:lnTo>
                  <a:lnTo>
                    <a:pt x="242888" y="192088"/>
                  </a:lnTo>
                  <a:lnTo>
                    <a:pt x="252413" y="201613"/>
                  </a:lnTo>
                  <a:lnTo>
                    <a:pt x="255588" y="207963"/>
                  </a:lnTo>
                  <a:lnTo>
                    <a:pt x="252413" y="214313"/>
                  </a:lnTo>
                  <a:lnTo>
                    <a:pt x="246063" y="211138"/>
                  </a:lnTo>
                  <a:lnTo>
                    <a:pt x="242888" y="204788"/>
                  </a:lnTo>
                  <a:lnTo>
                    <a:pt x="239713" y="201613"/>
                  </a:lnTo>
                  <a:lnTo>
                    <a:pt x="223838" y="195263"/>
                  </a:lnTo>
                  <a:lnTo>
                    <a:pt x="217488" y="201613"/>
                  </a:lnTo>
                  <a:lnTo>
                    <a:pt x="211138" y="214313"/>
                  </a:lnTo>
                  <a:lnTo>
                    <a:pt x="217488" y="220663"/>
                  </a:lnTo>
                  <a:lnTo>
                    <a:pt x="223838" y="227013"/>
                  </a:lnTo>
                  <a:lnTo>
                    <a:pt x="220663" y="239713"/>
                  </a:lnTo>
                  <a:lnTo>
                    <a:pt x="214313" y="242888"/>
                  </a:lnTo>
                  <a:lnTo>
                    <a:pt x="214313" y="249238"/>
                  </a:lnTo>
                  <a:lnTo>
                    <a:pt x="207963" y="258763"/>
                  </a:lnTo>
                  <a:lnTo>
                    <a:pt x="201613" y="265113"/>
                  </a:lnTo>
                  <a:lnTo>
                    <a:pt x="192088" y="265113"/>
                  </a:lnTo>
                  <a:lnTo>
                    <a:pt x="195263" y="258763"/>
                  </a:lnTo>
                  <a:lnTo>
                    <a:pt x="198438" y="252413"/>
                  </a:lnTo>
                  <a:lnTo>
                    <a:pt x="201613" y="246063"/>
                  </a:lnTo>
                  <a:lnTo>
                    <a:pt x="204788" y="239713"/>
                  </a:lnTo>
                  <a:lnTo>
                    <a:pt x="201613" y="227013"/>
                  </a:lnTo>
                  <a:lnTo>
                    <a:pt x="195263" y="211138"/>
                  </a:lnTo>
                  <a:lnTo>
                    <a:pt x="188913" y="204788"/>
                  </a:lnTo>
                  <a:lnTo>
                    <a:pt x="176213" y="201613"/>
                  </a:lnTo>
                  <a:lnTo>
                    <a:pt x="176213" y="195263"/>
                  </a:lnTo>
                  <a:lnTo>
                    <a:pt x="173038" y="188913"/>
                  </a:lnTo>
                  <a:lnTo>
                    <a:pt x="153988" y="179388"/>
                  </a:lnTo>
                  <a:lnTo>
                    <a:pt x="147638" y="173038"/>
                  </a:lnTo>
                  <a:lnTo>
                    <a:pt x="134938" y="173038"/>
                  </a:lnTo>
                  <a:lnTo>
                    <a:pt x="119063" y="160338"/>
                  </a:lnTo>
                  <a:lnTo>
                    <a:pt x="109538" y="150813"/>
                  </a:lnTo>
                  <a:lnTo>
                    <a:pt x="100013" y="142875"/>
                  </a:lnTo>
                  <a:lnTo>
                    <a:pt x="88900" y="127000"/>
                  </a:lnTo>
                  <a:lnTo>
                    <a:pt x="85725" y="120650"/>
                  </a:lnTo>
                  <a:lnTo>
                    <a:pt x="82550" y="114300"/>
                  </a:lnTo>
                  <a:lnTo>
                    <a:pt x="79375" y="98425"/>
                  </a:lnTo>
                  <a:lnTo>
                    <a:pt x="69850" y="92075"/>
                  </a:lnTo>
                  <a:lnTo>
                    <a:pt x="57150" y="85725"/>
                  </a:lnTo>
                  <a:lnTo>
                    <a:pt x="47625" y="82550"/>
                  </a:lnTo>
                  <a:lnTo>
                    <a:pt x="38100" y="88900"/>
                  </a:lnTo>
                  <a:lnTo>
                    <a:pt x="31750" y="98425"/>
                  </a:lnTo>
                  <a:lnTo>
                    <a:pt x="19050" y="101600"/>
                  </a:lnTo>
                  <a:lnTo>
                    <a:pt x="15875" y="92075"/>
                  </a:lnTo>
                  <a:lnTo>
                    <a:pt x="9525" y="88900"/>
                  </a:lnTo>
                  <a:lnTo>
                    <a:pt x="6350" y="82550"/>
                  </a:lnTo>
                  <a:lnTo>
                    <a:pt x="6350" y="79375"/>
                  </a:lnTo>
                  <a:lnTo>
                    <a:pt x="9525" y="69850"/>
                  </a:lnTo>
                  <a:lnTo>
                    <a:pt x="6350" y="69850"/>
                  </a:lnTo>
                  <a:lnTo>
                    <a:pt x="3175" y="66675"/>
                  </a:lnTo>
                  <a:lnTo>
                    <a:pt x="0" y="60325"/>
                  </a:lnTo>
                  <a:lnTo>
                    <a:pt x="6350" y="57150"/>
                  </a:lnTo>
                  <a:lnTo>
                    <a:pt x="9525" y="57150"/>
                  </a:lnTo>
                  <a:lnTo>
                    <a:pt x="9525" y="50800"/>
                  </a:lnTo>
                  <a:lnTo>
                    <a:pt x="3175" y="41275"/>
                  </a:lnTo>
                  <a:lnTo>
                    <a:pt x="9525" y="34925"/>
                  </a:lnTo>
                  <a:lnTo>
                    <a:pt x="19050" y="34925"/>
                  </a:lnTo>
                  <a:lnTo>
                    <a:pt x="22225" y="34925"/>
                  </a:lnTo>
                  <a:lnTo>
                    <a:pt x="25400" y="34925"/>
                  </a:lnTo>
                  <a:lnTo>
                    <a:pt x="28575" y="34925"/>
                  </a:lnTo>
                  <a:lnTo>
                    <a:pt x="31750" y="28575"/>
                  </a:lnTo>
                  <a:lnTo>
                    <a:pt x="34925" y="25400"/>
                  </a:lnTo>
                  <a:lnTo>
                    <a:pt x="38100" y="22225"/>
                  </a:lnTo>
                  <a:lnTo>
                    <a:pt x="38100" y="28575"/>
                  </a:lnTo>
                  <a:lnTo>
                    <a:pt x="47625" y="31750"/>
                  </a:lnTo>
                  <a:lnTo>
                    <a:pt x="50800" y="34925"/>
                  </a:lnTo>
                  <a:lnTo>
                    <a:pt x="50800" y="31750"/>
                  </a:lnTo>
                  <a:lnTo>
                    <a:pt x="57150" y="25400"/>
                  </a:lnTo>
                  <a:lnTo>
                    <a:pt x="69850" y="25400"/>
                  </a:lnTo>
                  <a:lnTo>
                    <a:pt x="76200" y="25400"/>
                  </a:lnTo>
                  <a:lnTo>
                    <a:pt x="76200" y="15875"/>
                  </a:lnTo>
                  <a:lnTo>
                    <a:pt x="79375" y="15875"/>
                  </a:lnTo>
                  <a:lnTo>
                    <a:pt x="82550" y="15875"/>
                  </a:lnTo>
                  <a:lnTo>
                    <a:pt x="82550" y="6350"/>
                  </a:lnTo>
                  <a:lnTo>
                    <a:pt x="92075" y="9525"/>
                  </a:lnTo>
                  <a:lnTo>
                    <a:pt x="96838" y="3175"/>
                  </a:lnTo>
                  <a:lnTo>
                    <a:pt x="106363" y="317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9" name="Freeform 704">
              <a:extLst>
                <a:ext uri="{FF2B5EF4-FFF2-40B4-BE49-F238E27FC236}">
                  <a16:creationId xmlns:a16="http://schemas.microsoft.com/office/drawing/2014/main" id="{C923C860-73A2-4D7B-A5B6-08D95B0555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5513" y="3209925"/>
              <a:ext cx="88900" cy="117475"/>
            </a:xfrm>
            <a:custGeom>
              <a:avLst/>
              <a:gdLst/>
              <a:ahLst/>
              <a:cxnLst>
                <a:cxn ang="0">
                  <a:pos x="8" y="2"/>
                </a:cxn>
                <a:cxn ang="0">
                  <a:pos x="0" y="6"/>
                </a:cxn>
                <a:cxn ang="0">
                  <a:pos x="0" y="12"/>
                </a:cxn>
                <a:cxn ang="0">
                  <a:pos x="2" y="26"/>
                </a:cxn>
                <a:cxn ang="0">
                  <a:pos x="6" y="28"/>
                </a:cxn>
                <a:cxn ang="0">
                  <a:pos x="4" y="32"/>
                </a:cxn>
                <a:cxn ang="0">
                  <a:pos x="4" y="36"/>
                </a:cxn>
                <a:cxn ang="0">
                  <a:pos x="10" y="40"/>
                </a:cxn>
                <a:cxn ang="0">
                  <a:pos x="8" y="50"/>
                </a:cxn>
                <a:cxn ang="0">
                  <a:pos x="8" y="52"/>
                </a:cxn>
                <a:cxn ang="0">
                  <a:pos x="10" y="58"/>
                </a:cxn>
                <a:cxn ang="0">
                  <a:pos x="14" y="58"/>
                </a:cxn>
                <a:cxn ang="0">
                  <a:pos x="18" y="62"/>
                </a:cxn>
                <a:cxn ang="0">
                  <a:pos x="20" y="64"/>
                </a:cxn>
                <a:cxn ang="0">
                  <a:pos x="24" y="60"/>
                </a:cxn>
                <a:cxn ang="0">
                  <a:pos x="24" y="58"/>
                </a:cxn>
                <a:cxn ang="0">
                  <a:pos x="26" y="56"/>
                </a:cxn>
                <a:cxn ang="0">
                  <a:pos x="32" y="58"/>
                </a:cxn>
                <a:cxn ang="0">
                  <a:pos x="36" y="64"/>
                </a:cxn>
                <a:cxn ang="0">
                  <a:pos x="38" y="66"/>
                </a:cxn>
                <a:cxn ang="0">
                  <a:pos x="40" y="68"/>
                </a:cxn>
                <a:cxn ang="0">
                  <a:pos x="38" y="72"/>
                </a:cxn>
                <a:cxn ang="0">
                  <a:pos x="42" y="72"/>
                </a:cxn>
                <a:cxn ang="0">
                  <a:pos x="54" y="62"/>
                </a:cxn>
                <a:cxn ang="0">
                  <a:pos x="54" y="54"/>
                </a:cxn>
                <a:cxn ang="0">
                  <a:pos x="48" y="48"/>
                </a:cxn>
                <a:cxn ang="0">
                  <a:pos x="50" y="32"/>
                </a:cxn>
                <a:cxn ang="0">
                  <a:pos x="52" y="32"/>
                </a:cxn>
                <a:cxn ang="0">
                  <a:pos x="46" y="30"/>
                </a:cxn>
                <a:cxn ang="0">
                  <a:pos x="42" y="30"/>
                </a:cxn>
                <a:cxn ang="0">
                  <a:pos x="38" y="28"/>
                </a:cxn>
                <a:cxn ang="0">
                  <a:pos x="34" y="22"/>
                </a:cxn>
                <a:cxn ang="0">
                  <a:pos x="28" y="14"/>
                </a:cxn>
                <a:cxn ang="0">
                  <a:pos x="20" y="2"/>
                </a:cxn>
                <a:cxn ang="0">
                  <a:pos x="10" y="0"/>
                </a:cxn>
              </a:cxnLst>
              <a:rect l="0" t="0" r="r" b="b"/>
              <a:pathLst>
                <a:path w="56" h="74">
                  <a:moveTo>
                    <a:pt x="10" y="0"/>
                  </a:moveTo>
                  <a:lnTo>
                    <a:pt x="8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8" y="18"/>
                  </a:lnTo>
                  <a:lnTo>
                    <a:pt x="2" y="26"/>
                  </a:lnTo>
                  <a:lnTo>
                    <a:pt x="8" y="24"/>
                  </a:lnTo>
                  <a:lnTo>
                    <a:pt x="6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6" y="36"/>
                  </a:lnTo>
                  <a:lnTo>
                    <a:pt x="10" y="40"/>
                  </a:lnTo>
                  <a:lnTo>
                    <a:pt x="6" y="42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8" y="52"/>
                  </a:lnTo>
                  <a:lnTo>
                    <a:pt x="8" y="54"/>
                  </a:lnTo>
                  <a:lnTo>
                    <a:pt x="10" y="58"/>
                  </a:lnTo>
                  <a:lnTo>
                    <a:pt x="12" y="58"/>
                  </a:lnTo>
                  <a:lnTo>
                    <a:pt x="14" y="58"/>
                  </a:lnTo>
                  <a:lnTo>
                    <a:pt x="16" y="60"/>
                  </a:lnTo>
                  <a:lnTo>
                    <a:pt x="18" y="62"/>
                  </a:lnTo>
                  <a:lnTo>
                    <a:pt x="20" y="62"/>
                  </a:lnTo>
                  <a:lnTo>
                    <a:pt x="20" y="64"/>
                  </a:lnTo>
                  <a:lnTo>
                    <a:pt x="22" y="62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6" y="56"/>
                  </a:lnTo>
                  <a:lnTo>
                    <a:pt x="28" y="58"/>
                  </a:lnTo>
                  <a:lnTo>
                    <a:pt x="32" y="58"/>
                  </a:lnTo>
                  <a:lnTo>
                    <a:pt x="34" y="62"/>
                  </a:lnTo>
                  <a:lnTo>
                    <a:pt x="36" y="64"/>
                  </a:lnTo>
                  <a:lnTo>
                    <a:pt x="36" y="66"/>
                  </a:lnTo>
                  <a:lnTo>
                    <a:pt x="38" y="66"/>
                  </a:lnTo>
                  <a:lnTo>
                    <a:pt x="40" y="66"/>
                  </a:lnTo>
                  <a:lnTo>
                    <a:pt x="40" y="68"/>
                  </a:lnTo>
                  <a:lnTo>
                    <a:pt x="38" y="70"/>
                  </a:lnTo>
                  <a:lnTo>
                    <a:pt x="38" y="72"/>
                  </a:lnTo>
                  <a:lnTo>
                    <a:pt x="38" y="74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54" y="62"/>
                  </a:lnTo>
                  <a:lnTo>
                    <a:pt x="56" y="58"/>
                  </a:lnTo>
                  <a:lnTo>
                    <a:pt x="54" y="54"/>
                  </a:lnTo>
                  <a:lnTo>
                    <a:pt x="52" y="52"/>
                  </a:lnTo>
                  <a:lnTo>
                    <a:pt x="48" y="48"/>
                  </a:lnTo>
                  <a:lnTo>
                    <a:pt x="52" y="38"/>
                  </a:lnTo>
                  <a:lnTo>
                    <a:pt x="50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0" y="28"/>
                  </a:lnTo>
                  <a:lnTo>
                    <a:pt x="46" y="30"/>
                  </a:lnTo>
                  <a:lnTo>
                    <a:pt x="44" y="32"/>
                  </a:lnTo>
                  <a:lnTo>
                    <a:pt x="42" y="30"/>
                  </a:lnTo>
                  <a:lnTo>
                    <a:pt x="40" y="30"/>
                  </a:lnTo>
                  <a:lnTo>
                    <a:pt x="38" y="28"/>
                  </a:lnTo>
                  <a:lnTo>
                    <a:pt x="34" y="26"/>
                  </a:lnTo>
                  <a:lnTo>
                    <a:pt x="34" y="22"/>
                  </a:lnTo>
                  <a:lnTo>
                    <a:pt x="34" y="18"/>
                  </a:lnTo>
                  <a:lnTo>
                    <a:pt x="28" y="14"/>
                  </a:lnTo>
                  <a:lnTo>
                    <a:pt x="26" y="10"/>
                  </a:lnTo>
                  <a:lnTo>
                    <a:pt x="20" y="2"/>
                  </a:lnTo>
                  <a:lnTo>
                    <a:pt x="16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0" name="Freeform 715">
              <a:extLst>
                <a:ext uri="{FF2B5EF4-FFF2-40B4-BE49-F238E27FC236}">
                  <a16:creationId xmlns:a16="http://schemas.microsoft.com/office/drawing/2014/main" id="{4E938DA6-F96E-4627-BA71-B7E6D13268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1213" y="3187700"/>
              <a:ext cx="66675" cy="44450"/>
            </a:xfrm>
            <a:custGeom>
              <a:avLst/>
              <a:gdLst/>
              <a:ahLst/>
              <a:cxnLst>
                <a:cxn ang="0">
                  <a:pos x="22" y="28"/>
                </a:cxn>
                <a:cxn ang="0">
                  <a:pos x="24" y="26"/>
                </a:cxn>
                <a:cxn ang="0">
                  <a:pos x="28" y="18"/>
                </a:cxn>
                <a:cxn ang="0">
                  <a:pos x="30" y="12"/>
                </a:cxn>
                <a:cxn ang="0">
                  <a:pos x="34" y="10"/>
                </a:cxn>
                <a:cxn ang="0">
                  <a:pos x="36" y="10"/>
                </a:cxn>
                <a:cxn ang="0">
                  <a:pos x="38" y="6"/>
                </a:cxn>
                <a:cxn ang="0">
                  <a:pos x="42" y="8"/>
                </a:cxn>
                <a:cxn ang="0">
                  <a:pos x="34" y="0"/>
                </a:cxn>
                <a:cxn ang="0">
                  <a:pos x="34" y="4"/>
                </a:cxn>
                <a:cxn ang="0">
                  <a:pos x="28" y="4"/>
                </a:cxn>
                <a:cxn ang="0">
                  <a:pos x="28" y="6"/>
                </a:cxn>
                <a:cxn ang="0">
                  <a:pos x="26" y="4"/>
                </a:cxn>
                <a:cxn ang="0">
                  <a:pos x="20" y="6"/>
                </a:cxn>
                <a:cxn ang="0">
                  <a:pos x="20" y="6"/>
                </a:cxn>
                <a:cxn ang="0">
                  <a:pos x="12" y="10"/>
                </a:cxn>
                <a:cxn ang="0">
                  <a:pos x="2" y="8"/>
                </a:cxn>
                <a:cxn ang="0">
                  <a:pos x="0" y="14"/>
                </a:cxn>
                <a:cxn ang="0">
                  <a:pos x="0" y="20"/>
                </a:cxn>
                <a:cxn ang="0">
                  <a:pos x="2" y="22"/>
                </a:cxn>
                <a:cxn ang="0">
                  <a:pos x="4" y="24"/>
                </a:cxn>
                <a:cxn ang="0">
                  <a:pos x="2" y="26"/>
                </a:cxn>
                <a:cxn ang="0">
                  <a:pos x="2" y="26"/>
                </a:cxn>
                <a:cxn ang="0">
                  <a:pos x="10" y="28"/>
                </a:cxn>
                <a:cxn ang="0">
                  <a:pos x="22" y="28"/>
                </a:cxn>
              </a:cxnLst>
              <a:rect l="0" t="0" r="r" b="b"/>
              <a:pathLst>
                <a:path w="42" h="28">
                  <a:moveTo>
                    <a:pt x="22" y="28"/>
                  </a:moveTo>
                  <a:lnTo>
                    <a:pt x="24" y="26"/>
                  </a:lnTo>
                  <a:lnTo>
                    <a:pt x="28" y="18"/>
                  </a:lnTo>
                  <a:lnTo>
                    <a:pt x="30" y="12"/>
                  </a:lnTo>
                  <a:lnTo>
                    <a:pt x="34" y="10"/>
                  </a:lnTo>
                  <a:lnTo>
                    <a:pt x="36" y="10"/>
                  </a:lnTo>
                  <a:lnTo>
                    <a:pt x="38" y="6"/>
                  </a:lnTo>
                  <a:lnTo>
                    <a:pt x="42" y="8"/>
                  </a:lnTo>
                  <a:lnTo>
                    <a:pt x="34" y="0"/>
                  </a:lnTo>
                  <a:lnTo>
                    <a:pt x="34" y="4"/>
                  </a:lnTo>
                  <a:lnTo>
                    <a:pt x="28" y="4"/>
                  </a:lnTo>
                  <a:lnTo>
                    <a:pt x="28" y="6"/>
                  </a:lnTo>
                  <a:lnTo>
                    <a:pt x="26" y="4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12" y="10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20"/>
                  </a:lnTo>
                  <a:lnTo>
                    <a:pt x="2" y="22"/>
                  </a:lnTo>
                  <a:lnTo>
                    <a:pt x="4" y="24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10" y="28"/>
                  </a:lnTo>
                  <a:lnTo>
                    <a:pt x="22" y="28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1" name="Freeform 778">
              <a:extLst>
                <a:ext uri="{FF2B5EF4-FFF2-40B4-BE49-F238E27FC236}">
                  <a16:creationId xmlns:a16="http://schemas.microsoft.com/office/drawing/2014/main" id="{FD04EE47-FD9C-4930-95CA-8FF70A6CAE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3900" y="3175000"/>
              <a:ext cx="3175" cy="6350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2" y="4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2" name="Freeform 779">
              <a:extLst>
                <a:ext uri="{FF2B5EF4-FFF2-40B4-BE49-F238E27FC236}">
                  <a16:creationId xmlns:a16="http://schemas.microsoft.com/office/drawing/2014/main" id="{309BBF3A-51BC-4A24-AF39-46DF004E7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7075" y="3117850"/>
              <a:ext cx="163513" cy="85725"/>
            </a:xfrm>
            <a:custGeom>
              <a:avLst/>
              <a:gdLst/>
              <a:ahLst/>
              <a:cxnLst>
                <a:cxn ang="0">
                  <a:pos x="89" y="42"/>
                </a:cxn>
                <a:cxn ang="0">
                  <a:pos x="93" y="42"/>
                </a:cxn>
                <a:cxn ang="0">
                  <a:pos x="93" y="38"/>
                </a:cxn>
                <a:cxn ang="0">
                  <a:pos x="95" y="32"/>
                </a:cxn>
                <a:cxn ang="0">
                  <a:pos x="99" y="28"/>
                </a:cxn>
                <a:cxn ang="0">
                  <a:pos x="103" y="22"/>
                </a:cxn>
                <a:cxn ang="0">
                  <a:pos x="101" y="18"/>
                </a:cxn>
                <a:cxn ang="0">
                  <a:pos x="99" y="18"/>
                </a:cxn>
                <a:cxn ang="0">
                  <a:pos x="99" y="10"/>
                </a:cxn>
                <a:cxn ang="0">
                  <a:pos x="99" y="6"/>
                </a:cxn>
                <a:cxn ang="0">
                  <a:pos x="91" y="6"/>
                </a:cxn>
                <a:cxn ang="0">
                  <a:pos x="85" y="4"/>
                </a:cxn>
                <a:cxn ang="0">
                  <a:pos x="85" y="4"/>
                </a:cxn>
                <a:cxn ang="0">
                  <a:pos x="73" y="0"/>
                </a:cxn>
                <a:cxn ang="0">
                  <a:pos x="71" y="6"/>
                </a:cxn>
                <a:cxn ang="0">
                  <a:pos x="67" y="10"/>
                </a:cxn>
                <a:cxn ang="0">
                  <a:pos x="61" y="10"/>
                </a:cxn>
                <a:cxn ang="0">
                  <a:pos x="57" y="6"/>
                </a:cxn>
                <a:cxn ang="0">
                  <a:pos x="55" y="12"/>
                </a:cxn>
                <a:cxn ang="0">
                  <a:pos x="53" y="10"/>
                </a:cxn>
                <a:cxn ang="0">
                  <a:pos x="51" y="10"/>
                </a:cxn>
                <a:cxn ang="0">
                  <a:pos x="45" y="18"/>
                </a:cxn>
                <a:cxn ang="0">
                  <a:pos x="45" y="24"/>
                </a:cxn>
                <a:cxn ang="0">
                  <a:pos x="45" y="32"/>
                </a:cxn>
                <a:cxn ang="0">
                  <a:pos x="43" y="30"/>
                </a:cxn>
                <a:cxn ang="0">
                  <a:pos x="35" y="28"/>
                </a:cxn>
                <a:cxn ang="0">
                  <a:pos x="27" y="30"/>
                </a:cxn>
                <a:cxn ang="0">
                  <a:pos x="21" y="34"/>
                </a:cxn>
                <a:cxn ang="0">
                  <a:pos x="20" y="34"/>
                </a:cxn>
                <a:cxn ang="0">
                  <a:pos x="18" y="32"/>
                </a:cxn>
                <a:cxn ang="0">
                  <a:pos x="14" y="30"/>
                </a:cxn>
                <a:cxn ang="0">
                  <a:pos x="10" y="30"/>
                </a:cxn>
                <a:cxn ang="0">
                  <a:pos x="4" y="30"/>
                </a:cxn>
                <a:cxn ang="0">
                  <a:pos x="2" y="32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0" y="36"/>
                </a:cxn>
                <a:cxn ang="0">
                  <a:pos x="0" y="40"/>
                </a:cxn>
                <a:cxn ang="0">
                  <a:pos x="12" y="42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8" y="46"/>
                </a:cxn>
                <a:cxn ang="0">
                  <a:pos x="21" y="42"/>
                </a:cxn>
                <a:cxn ang="0">
                  <a:pos x="27" y="42"/>
                </a:cxn>
                <a:cxn ang="0">
                  <a:pos x="35" y="40"/>
                </a:cxn>
                <a:cxn ang="0">
                  <a:pos x="33" y="42"/>
                </a:cxn>
                <a:cxn ang="0">
                  <a:pos x="35" y="44"/>
                </a:cxn>
                <a:cxn ang="0">
                  <a:pos x="35" y="44"/>
                </a:cxn>
                <a:cxn ang="0">
                  <a:pos x="35" y="46"/>
                </a:cxn>
                <a:cxn ang="0">
                  <a:pos x="37" y="46"/>
                </a:cxn>
                <a:cxn ang="0">
                  <a:pos x="37" y="48"/>
                </a:cxn>
                <a:cxn ang="0">
                  <a:pos x="45" y="50"/>
                </a:cxn>
                <a:cxn ang="0">
                  <a:pos x="55" y="52"/>
                </a:cxn>
                <a:cxn ang="0">
                  <a:pos x="65" y="54"/>
                </a:cxn>
                <a:cxn ang="0">
                  <a:pos x="73" y="50"/>
                </a:cxn>
                <a:cxn ang="0">
                  <a:pos x="73" y="50"/>
                </a:cxn>
                <a:cxn ang="0">
                  <a:pos x="79" y="48"/>
                </a:cxn>
                <a:cxn ang="0">
                  <a:pos x="81" y="50"/>
                </a:cxn>
                <a:cxn ang="0">
                  <a:pos x="81" y="48"/>
                </a:cxn>
                <a:cxn ang="0">
                  <a:pos x="87" y="48"/>
                </a:cxn>
                <a:cxn ang="0">
                  <a:pos x="87" y="44"/>
                </a:cxn>
                <a:cxn ang="0">
                  <a:pos x="89" y="42"/>
                </a:cxn>
                <a:cxn ang="0">
                  <a:pos x="89" y="42"/>
                </a:cxn>
              </a:cxnLst>
              <a:rect l="0" t="0" r="r" b="b"/>
              <a:pathLst>
                <a:path w="103" h="54">
                  <a:moveTo>
                    <a:pt x="89" y="42"/>
                  </a:moveTo>
                  <a:lnTo>
                    <a:pt x="93" y="42"/>
                  </a:lnTo>
                  <a:lnTo>
                    <a:pt x="93" y="38"/>
                  </a:lnTo>
                  <a:lnTo>
                    <a:pt x="95" y="32"/>
                  </a:lnTo>
                  <a:lnTo>
                    <a:pt x="99" y="28"/>
                  </a:lnTo>
                  <a:lnTo>
                    <a:pt x="103" y="22"/>
                  </a:lnTo>
                  <a:lnTo>
                    <a:pt x="101" y="18"/>
                  </a:lnTo>
                  <a:lnTo>
                    <a:pt x="99" y="18"/>
                  </a:lnTo>
                  <a:lnTo>
                    <a:pt x="99" y="10"/>
                  </a:lnTo>
                  <a:lnTo>
                    <a:pt x="99" y="6"/>
                  </a:lnTo>
                  <a:lnTo>
                    <a:pt x="91" y="6"/>
                  </a:lnTo>
                  <a:lnTo>
                    <a:pt x="85" y="4"/>
                  </a:lnTo>
                  <a:lnTo>
                    <a:pt x="85" y="4"/>
                  </a:lnTo>
                  <a:lnTo>
                    <a:pt x="73" y="0"/>
                  </a:lnTo>
                  <a:lnTo>
                    <a:pt x="71" y="6"/>
                  </a:lnTo>
                  <a:lnTo>
                    <a:pt x="67" y="10"/>
                  </a:lnTo>
                  <a:lnTo>
                    <a:pt x="61" y="10"/>
                  </a:lnTo>
                  <a:lnTo>
                    <a:pt x="57" y="6"/>
                  </a:lnTo>
                  <a:lnTo>
                    <a:pt x="55" y="12"/>
                  </a:lnTo>
                  <a:lnTo>
                    <a:pt x="53" y="10"/>
                  </a:lnTo>
                  <a:lnTo>
                    <a:pt x="51" y="10"/>
                  </a:lnTo>
                  <a:lnTo>
                    <a:pt x="45" y="18"/>
                  </a:lnTo>
                  <a:lnTo>
                    <a:pt x="45" y="24"/>
                  </a:lnTo>
                  <a:lnTo>
                    <a:pt x="45" y="32"/>
                  </a:lnTo>
                  <a:lnTo>
                    <a:pt x="43" y="30"/>
                  </a:lnTo>
                  <a:lnTo>
                    <a:pt x="35" y="28"/>
                  </a:lnTo>
                  <a:lnTo>
                    <a:pt x="27" y="30"/>
                  </a:lnTo>
                  <a:lnTo>
                    <a:pt x="21" y="34"/>
                  </a:lnTo>
                  <a:lnTo>
                    <a:pt x="20" y="34"/>
                  </a:lnTo>
                  <a:lnTo>
                    <a:pt x="18" y="32"/>
                  </a:lnTo>
                  <a:lnTo>
                    <a:pt x="14" y="30"/>
                  </a:lnTo>
                  <a:lnTo>
                    <a:pt x="10" y="30"/>
                  </a:lnTo>
                  <a:lnTo>
                    <a:pt x="4" y="30"/>
                  </a:lnTo>
                  <a:lnTo>
                    <a:pt x="2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12" y="42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8" y="46"/>
                  </a:lnTo>
                  <a:lnTo>
                    <a:pt x="21" y="42"/>
                  </a:lnTo>
                  <a:lnTo>
                    <a:pt x="27" y="42"/>
                  </a:lnTo>
                  <a:lnTo>
                    <a:pt x="35" y="40"/>
                  </a:lnTo>
                  <a:lnTo>
                    <a:pt x="33" y="42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6"/>
                  </a:lnTo>
                  <a:lnTo>
                    <a:pt x="37" y="46"/>
                  </a:lnTo>
                  <a:lnTo>
                    <a:pt x="37" y="48"/>
                  </a:lnTo>
                  <a:lnTo>
                    <a:pt x="45" y="50"/>
                  </a:lnTo>
                  <a:lnTo>
                    <a:pt x="55" y="52"/>
                  </a:lnTo>
                  <a:lnTo>
                    <a:pt x="65" y="54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9" y="48"/>
                  </a:lnTo>
                  <a:lnTo>
                    <a:pt x="81" y="50"/>
                  </a:lnTo>
                  <a:lnTo>
                    <a:pt x="81" y="48"/>
                  </a:lnTo>
                  <a:lnTo>
                    <a:pt x="87" y="48"/>
                  </a:lnTo>
                  <a:lnTo>
                    <a:pt x="87" y="44"/>
                  </a:lnTo>
                  <a:lnTo>
                    <a:pt x="89" y="42"/>
                  </a:lnTo>
                  <a:lnTo>
                    <a:pt x="89" y="42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3" name="Freeform 793">
              <a:extLst>
                <a:ext uri="{FF2B5EF4-FFF2-40B4-BE49-F238E27FC236}">
                  <a16:creationId xmlns:a16="http://schemas.microsoft.com/office/drawing/2014/main" id="{B6343A15-7F34-4025-A8B6-C97883BDD3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4388" y="3197225"/>
              <a:ext cx="123825" cy="114300"/>
            </a:xfrm>
            <a:custGeom>
              <a:avLst/>
              <a:gdLst/>
              <a:ahLst/>
              <a:cxnLst>
                <a:cxn ang="0">
                  <a:pos x="50" y="62"/>
                </a:cxn>
                <a:cxn ang="0">
                  <a:pos x="44" y="58"/>
                </a:cxn>
                <a:cxn ang="0">
                  <a:pos x="34" y="40"/>
                </a:cxn>
                <a:cxn ang="0">
                  <a:pos x="30" y="36"/>
                </a:cxn>
                <a:cxn ang="0">
                  <a:pos x="28" y="28"/>
                </a:cxn>
                <a:cxn ang="0">
                  <a:pos x="32" y="26"/>
                </a:cxn>
                <a:cxn ang="0">
                  <a:pos x="36" y="30"/>
                </a:cxn>
                <a:cxn ang="0">
                  <a:pos x="44" y="26"/>
                </a:cxn>
                <a:cxn ang="0">
                  <a:pos x="50" y="28"/>
                </a:cxn>
                <a:cxn ang="0">
                  <a:pos x="58" y="30"/>
                </a:cxn>
                <a:cxn ang="0">
                  <a:pos x="66" y="30"/>
                </a:cxn>
                <a:cxn ang="0">
                  <a:pos x="72" y="34"/>
                </a:cxn>
                <a:cxn ang="0">
                  <a:pos x="78" y="26"/>
                </a:cxn>
                <a:cxn ang="0">
                  <a:pos x="70" y="20"/>
                </a:cxn>
                <a:cxn ang="0">
                  <a:pos x="70" y="14"/>
                </a:cxn>
                <a:cxn ang="0">
                  <a:pos x="70" y="14"/>
                </a:cxn>
                <a:cxn ang="0">
                  <a:pos x="62" y="16"/>
                </a:cxn>
                <a:cxn ang="0">
                  <a:pos x="50" y="12"/>
                </a:cxn>
                <a:cxn ang="0">
                  <a:pos x="44" y="6"/>
                </a:cxn>
                <a:cxn ang="0">
                  <a:pos x="44" y="6"/>
                </a:cxn>
                <a:cxn ang="0">
                  <a:pos x="40" y="2"/>
                </a:cxn>
                <a:cxn ang="0">
                  <a:pos x="36" y="0"/>
                </a:cxn>
                <a:cxn ang="0">
                  <a:pos x="34" y="4"/>
                </a:cxn>
                <a:cxn ang="0">
                  <a:pos x="32" y="4"/>
                </a:cxn>
                <a:cxn ang="0">
                  <a:pos x="28" y="6"/>
                </a:cxn>
                <a:cxn ang="0">
                  <a:pos x="26" y="12"/>
                </a:cxn>
                <a:cxn ang="0">
                  <a:pos x="22" y="20"/>
                </a:cxn>
                <a:cxn ang="0">
                  <a:pos x="20" y="22"/>
                </a:cxn>
                <a:cxn ang="0">
                  <a:pos x="8" y="22"/>
                </a:cxn>
                <a:cxn ang="0">
                  <a:pos x="0" y="20"/>
                </a:cxn>
                <a:cxn ang="0">
                  <a:pos x="0" y="30"/>
                </a:cxn>
                <a:cxn ang="0">
                  <a:pos x="2" y="34"/>
                </a:cxn>
                <a:cxn ang="0">
                  <a:pos x="6" y="32"/>
                </a:cxn>
                <a:cxn ang="0">
                  <a:pos x="8" y="26"/>
                </a:cxn>
                <a:cxn ang="0">
                  <a:pos x="14" y="26"/>
                </a:cxn>
                <a:cxn ang="0">
                  <a:pos x="16" y="34"/>
                </a:cxn>
                <a:cxn ang="0">
                  <a:pos x="18" y="42"/>
                </a:cxn>
                <a:cxn ang="0">
                  <a:pos x="22" y="50"/>
                </a:cxn>
                <a:cxn ang="0">
                  <a:pos x="34" y="58"/>
                </a:cxn>
                <a:cxn ang="0">
                  <a:pos x="54" y="70"/>
                </a:cxn>
                <a:cxn ang="0">
                  <a:pos x="54" y="72"/>
                </a:cxn>
                <a:cxn ang="0">
                  <a:pos x="54" y="68"/>
                </a:cxn>
                <a:cxn ang="0">
                  <a:pos x="50" y="62"/>
                </a:cxn>
              </a:cxnLst>
              <a:rect l="0" t="0" r="r" b="b"/>
              <a:pathLst>
                <a:path w="78" h="72">
                  <a:moveTo>
                    <a:pt x="50" y="62"/>
                  </a:moveTo>
                  <a:lnTo>
                    <a:pt x="44" y="58"/>
                  </a:lnTo>
                  <a:lnTo>
                    <a:pt x="34" y="40"/>
                  </a:lnTo>
                  <a:lnTo>
                    <a:pt x="30" y="36"/>
                  </a:lnTo>
                  <a:lnTo>
                    <a:pt x="28" y="28"/>
                  </a:lnTo>
                  <a:lnTo>
                    <a:pt x="32" y="26"/>
                  </a:lnTo>
                  <a:lnTo>
                    <a:pt x="36" y="30"/>
                  </a:lnTo>
                  <a:lnTo>
                    <a:pt x="44" y="26"/>
                  </a:lnTo>
                  <a:lnTo>
                    <a:pt x="50" y="28"/>
                  </a:lnTo>
                  <a:lnTo>
                    <a:pt x="58" y="30"/>
                  </a:lnTo>
                  <a:lnTo>
                    <a:pt x="66" y="30"/>
                  </a:lnTo>
                  <a:lnTo>
                    <a:pt x="72" y="34"/>
                  </a:lnTo>
                  <a:lnTo>
                    <a:pt x="78" y="26"/>
                  </a:lnTo>
                  <a:lnTo>
                    <a:pt x="70" y="20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62" y="16"/>
                  </a:lnTo>
                  <a:lnTo>
                    <a:pt x="50" y="12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0" y="2"/>
                  </a:lnTo>
                  <a:lnTo>
                    <a:pt x="36" y="0"/>
                  </a:lnTo>
                  <a:lnTo>
                    <a:pt x="34" y="4"/>
                  </a:lnTo>
                  <a:lnTo>
                    <a:pt x="32" y="4"/>
                  </a:lnTo>
                  <a:lnTo>
                    <a:pt x="28" y="6"/>
                  </a:lnTo>
                  <a:lnTo>
                    <a:pt x="26" y="12"/>
                  </a:lnTo>
                  <a:lnTo>
                    <a:pt x="22" y="20"/>
                  </a:lnTo>
                  <a:lnTo>
                    <a:pt x="20" y="22"/>
                  </a:lnTo>
                  <a:lnTo>
                    <a:pt x="8" y="22"/>
                  </a:lnTo>
                  <a:lnTo>
                    <a:pt x="0" y="20"/>
                  </a:lnTo>
                  <a:lnTo>
                    <a:pt x="0" y="30"/>
                  </a:lnTo>
                  <a:lnTo>
                    <a:pt x="2" y="34"/>
                  </a:lnTo>
                  <a:lnTo>
                    <a:pt x="6" y="32"/>
                  </a:lnTo>
                  <a:lnTo>
                    <a:pt x="8" y="26"/>
                  </a:lnTo>
                  <a:lnTo>
                    <a:pt x="14" y="26"/>
                  </a:lnTo>
                  <a:lnTo>
                    <a:pt x="16" y="34"/>
                  </a:lnTo>
                  <a:lnTo>
                    <a:pt x="18" y="42"/>
                  </a:lnTo>
                  <a:lnTo>
                    <a:pt x="22" y="50"/>
                  </a:lnTo>
                  <a:lnTo>
                    <a:pt x="34" y="58"/>
                  </a:lnTo>
                  <a:lnTo>
                    <a:pt x="54" y="70"/>
                  </a:lnTo>
                  <a:lnTo>
                    <a:pt x="54" y="72"/>
                  </a:lnTo>
                  <a:lnTo>
                    <a:pt x="54" y="68"/>
                  </a:lnTo>
                  <a:lnTo>
                    <a:pt x="50" y="62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4" name="Freeform 795">
              <a:extLst>
                <a:ext uri="{FF2B5EF4-FFF2-40B4-BE49-F238E27FC236}">
                  <a16:creationId xmlns:a16="http://schemas.microsoft.com/office/drawing/2014/main" id="{0CC35D93-761E-4EE3-875A-BD16A9941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8838" y="3238500"/>
              <a:ext cx="82550" cy="79375"/>
            </a:xfrm>
            <a:custGeom>
              <a:avLst/>
              <a:gdLst/>
              <a:ahLst/>
              <a:cxnLst>
                <a:cxn ang="0">
                  <a:pos x="42" y="36"/>
                </a:cxn>
                <a:cxn ang="0">
                  <a:pos x="44" y="38"/>
                </a:cxn>
                <a:cxn ang="0">
                  <a:pos x="48" y="34"/>
                </a:cxn>
                <a:cxn ang="0">
                  <a:pos x="48" y="34"/>
                </a:cxn>
                <a:cxn ang="0">
                  <a:pos x="50" y="32"/>
                </a:cxn>
                <a:cxn ang="0">
                  <a:pos x="48" y="24"/>
                </a:cxn>
                <a:cxn ang="0">
                  <a:pos x="52" y="22"/>
                </a:cxn>
                <a:cxn ang="0">
                  <a:pos x="48" y="18"/>
                </a:cxn>
                <a:cxn ang="0">
                  <a:pos x="46" y="18"/>
                </a:cxn>
                <a:cxn ang="0">
                  <a:pos x="46" y="18"/>
                </a:cxn>
                <a:cxn ang="0">
                  <a:pos x="46" y="14"/>
                </a:cxn>
                <a:cxn ang="0">
                  <a:pos x="46" y="14"/>
                </a:cxn>
                <a:cxn ang="0">
                  <a:pos x="48" y="10"/>
                </a:cxn>
                <a:cxn ang="0">
                  <a:pos x="50" y="6"/>
                </a:cxn>
                <a:cxn ang="0">
                  <a:pos x="44" y="8"/>
                </a:cxn>
                <a:cxn ang="0">
                  <a:pos x="38" y="4"/>
                </a:cxn>
                <a:cxn ang="0">
                  <a:pos x="30" y="4"/>
                </a:cxn>
                <a:cxn ang="0">
                  <a:pos x="22" y="2"/>
                </a:cxn>
                <a:cxn ang="0">
                  <a:pos x="16" y="0"/>
                </a:cxn>
                <a:cxn ang="0">
                  <a:pos x="8" y="4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2" y="10"/>
                </a:cxn>
                <a:cxn ang="0">
                  <a:pos x="6" y="14"/>
                </a:cxn>
                <a:cxn ang="0">
                  <a:pos x="16" y="32"/>
                </a:cxn>
                <a:cxn ang="0">
                  <a:pos x="22" y="36"/>
                </a:cxn>
                <a:cxn ang="0">
                  <a:pos x="26" y="42"/>
                </a:cxn>
                <a:cxn ang="0">
                  <a:pos x="26" y="46"/>
                </a:cxn>
                <a:cxn ang="0">
                  <a:pos x="36" y="50"/>
                </a:cxn>
                <a:cxn ang="0">
                  <a:pos x="38" y="42"/>
                </a:cxn>
                <a:cxn ang="0">
                  <a:pos x="42" y="36"/>
                </a:cxn>
              </a:cxnLst>
              <a:rect l="0" t="0" r="r" b="b"/>
              <a:pathLst>
                <a:path w="52" h="50">
                  <a:moveTo>
                    <a:pt x="42" y="36"/>
                  </a:moveTo>
                  <a:lnTo>
                    <a:pt x="44" y="38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50" y="32"/>
                  </a:lnTo>
                  <a:lnTo>
                    <a:pt x="48" y="24"/>
                  </a:lnTo>
                  <a:lnTo>
                    <a:pt x="52" y="22"/>
                  </a:lnTo>
                  <a:lnTo>
                    <a:pt x="48" y="18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8" y="10"/>
                  </a:lnTo>
                  <a:lnTo>
                    <a:pt x="50" y="6"/>
                  </a:lnTo>
                  <a:lnTo>
                    <a:pt x="44" y="8"/>
                  </a:lnTo>
                  <a:lnTo>
                    <a:pt x="38" y="4"/>
                  </a:lnTo>
                  <a:lnTo>
                    <a:pt x="30" y="4"/>
                  </a:lnTo>
                  <a:lnTo>
                    <a:pt x="22" y="2"/>
                  </a:lnTo>
                  <a:lnTo>
                    <a:pt x="16" y="0"/>
                  </a:lnTo>
                  <a:lnTo>
                    <a:pt x="8" y="4"/>
                  </a:lnTo>
                  <a:lnTo>
                    <a:pt x="4" y="0"/>
                  </a:lnTo>
                  <a:lnTo>
                    <a:pt x="0" y="2"/>
                  </a:lnTo>
                  <a:lnTo>
                    <a:pt x="2" y="10"/>
                  </a:lnTo>
                  <a:lnTo>
                    <a:pt x="6" y="14"/>
                  </a:lnTo>
                  <a:lnTo>
                    <a:pt x="16" y="32"/>
                  </a:lnTo>
                  <a:lnTo>
                    <a:pt x="22" y="36"/>
                  </a:lnTo>
                  <a:lnTo>
                    <a:pt x="26" y="42"/>
                  </a:lnTo>
                  <a:lnTo>
                    <a:pt x="26" y="46"/>
                  </a:lnTo>
                  <a:lnTo>
                    <a:pt x="36" y="50"/>
                  </a:lnTo>
                  <a:lnTo>
                    <a:pt x="38" y="42"/>
                  </a:lnTo>
                  <a:lnTo>
                    <a:pt x="42" y="36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5" name="Freeform 810">
              <a:extLst>
                <a:ext uri="{FF2B5EF4-FFF2-40B4-BE49-F238E27FC236}">
                  <a16:creationId xmlns:a16="http://schemas.microsoft.com/office/drawing/2014/main" id="{28A2BB57-2614-47E9-85E9-EE025A8A8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5688" y="3611563"/>
              <a:ext cx="260350" cy="231775"/>
            </a:xfrm>
            <a:custGeom>
              <a:avLst/>
              <a:gdLst/>
              <a:ahLst/>
              <a:cxnLst>
                <a:cxn ang="0">
                  <a:pos x="2" y="14"/>
                </a:cxn>
                <a:cxn ang="0">
                  <a:pos x="0" y="28"/>
                </a:cxn>
                <a:cxn ang="0">
                  <a:pos x="0" y="34"/>
                </a:cxn>
                <a:cxn ang="0">
                  <a:pos x="2" y="48"/>
                </a:cxn>
                <a:cxn ang="0">
                  <a:pos x="2" y="146"/>
                </a:cxn>
                <a:cxn ang="0">
                  <a:pos x="56" y="146"/>
                </a:cxn>
                <a:cxn ang="0">
                  <a:pos x="126" y="146"/>
                </a:cxn>
                <a:cxn ang="0">
                  <a:pos x="160" y="144"/>
                </a:cxn>
                <a:cxn ang="0">
                  <a:pos x="150" y="136"/>
                </a:cxn>
                <a:cxn ang="0">
                  <a:pos x="146" y="130"/>
                </a:cxn>
                <a:cxn ang="0">
                  <a:pos x="134" y="98"/>
                </a:cxn>
                <a:cxn ang="0">
                  <a:pos x="122" y="72"/>
                </a:cxn>
                <a:cxn ang="0">
                  <a:pos x="118" y="60"/>
                </a:cxn>
                <a:cxn ang="0">
                  <a:pos x="110" y="46"/>
                </a:cxn>
                <a:cxn ang="0">
                  <a:pos x="102" y="34"/>
                </a:cxn>
                <a:cxn ang="0">
                  <a:pos x="104" y="28"/>
                </a:cxn>
                <a:cxn ang="0">
                  <a:pos x="112" y="40"/>
                </a:cxn>
                <a:cxn ang="0">
                  <a:pos x="114" y="44"/>
                </a:cxn>
                <a:cxn ang="0">
                  <a:pos x="114" y="46"/>
                </a:cxn>
                <a:cxn ang="0">
                  <a:pos x="124" y="60"/>
                </a:cxn>
                <a:cxn ang="0">
                  <a:pos x="128" y="60"/>
                </a:cxn>
                <a:cxn ang="0">
                  <a:pos x="130" y="58"/>
                </a:cxn>
                <a:cxn ang="0">
                  <a:pos x="132" y="50"/>
                </a:cxn>
                <a:cxn ang="0">
                  <a:pos x="136" y="34"/>
                </a:cxn>
                <a:cxn ang="0">
                  <a:pos x="128" y="6"/>
                </a:cxn>
                <a:cxn ang="0">
                  <a:pos x="112" y="8"/>
                </a:cxn>
                <a:cxn ang="0">
                  <a:pos x="108" y="10"/>
                </a:cxn>
                <a:cxn ang="0">
                  <a:pos x="76" y="4"/>
                </a:cxn>
                <a:cxn ang="0">
                  <a:pos x="64" y="10"/>
                </a:cxn>
                <a:cxn ang="0">
                  <a:pos x="50" y="10"/>
                </a:cxn>
                <a:cxn ang="0">
                  <a:pos x="36" y="8"/>
                </a:cxn>
                <a:cxn ang="0">
                  <a:pos x="30" y="4"/>
                </a:cxn>
                <a:cxn ang="0">
                  <a:pos x="4" y="0"/>
                </a:cxn>
                <a:cxn ang="0">
                  <a:pos x="0" y="8"/>
                </a:cxn>
              </a:cxnLst>
              <a:rect l="0" t="0" r="r" b="b"/>
              <a:pathLst>
                <a:path w="164" h="146">
                  <a:moveTo>
                    <a:pt x="0" y="8"/>
                  </a:moveTo>
                  <a:lnTo>
                    <a:pt x="2" y="14"/>
                  </a:lnTo>
                  <a:lnTo>
                    <a:pt x="0" y="22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2" y="40"/>
                  </a:lnTo>
                  <a:lnTo>
                    <a:pt x="2" y="48"/>
                  </a:lnTo>
                  <a:lnTo>
                    <a:pt x="2" y="68"/>
                  </a:lnTo>
                  <a:lnTo>
                    <a:pt x="2" y="146"/>
                  </a:lnTo>
                  <a:lnTo>
                    <a:pt x="2" y="146"/>
                  </a:lnTo>
                  <a:lnTo>
                    <a:pt x="56" y="146"/>
                  </a:lnTo>
                  <a:lnTo>
                    <a:pt x="114" y="146"/>
                  </a:lnTo>
                  <a:lnTo>
                    <a:pt x="126" y="146"/>
                  </a:lnTo>
                  <a:lnTo>
                    <a:pt x="164" y="146"/>
                  </a:lnTo>
                  <a:lnTo>
                    <a:pt x="160" y="144"/>
                  </a:lnTo>
                  <a:lnTo>
                    <a:pt x="154" y="138"/>
                  </a:lnTo>
                  <a:lnTo>
                    <a:pt x="150" y="136"/>
                  </a:lnTo>
                  <a:lnTo>
                    <a:pt x="146" y="130"/>
                  </a:lnTo>
                  <a:lnTo>
                    <a:pt x="146" y="130"/>
                  </a:lnTo>
                  <a:lnTo>
                    <a:pt x="144" y="114"/>
                  </a:lnTo>
                  <a:lnTo>
                    <a:pt x="134" y="98"/>
                  </a:lnTo>
                  <a:lnTo>
                    <a:pt x="124" y="80"/>
                  </a:lnTo>
                  <a:lnTo>
                    <a:pt x="122" y="72"/>
                  </a:lnTo>
                  <a:lnTo>
                    <a:pt x="118" y="64"/>
                  </a:lnTo>
                  <a:lnTo>
                    <a:pt x="118" y="60"/>
                  </a:lnTo>
                  <a:lnTo>
                    <a:pt x="114" y="54"/>
                  </a:lnTo>
                  <a:lnTo>
                    <a:pt x="110" y="46"/>
                  </a:lnTo>
                  <a:lnTo>
                    <a:pt x="108" y="46"/>
                  </a:lnTo>
                  <a:lnTo>
                    <a:pt x="102" y="34"/>
                  </a:lnTo>
                  <a:lnTo>
                    <a:pt x="102" y="30"/>
                  </a:lnTo>
                  <a:lnTo>
                    <a:pt x="104" y="28"/>
                  </a:lnTo>
                  <a:lnTo>
                    <a:pt x="108" y="38"/>
                  </a:lnTo>
                  <a:lnTo>
                    <a:pt x="112" y="40"/>
                  </a:lnTo>
                  <a:lnTo>
                    <a:pt x="112" y="42"/>
                  </a:lnTo>
                  <a:lnTo>
                    <a:pt x="114" y="44"/>
                  </a:lnTo>
                  <a:lnTo>
                    <a:pt x="114" y="46"/>
                  </a:lnTo>
                  <a:lnTo>
                    <a:pt x="114" y="46"/>
                  </a:lnTo>
                  <a:lnTo>
                    <a:pt x="118" y="52"/>
                  </a:lnTo>
                  <a:lnTo>
                    <a:pt x="124" y="60"/>
                  </a:lnTo>
                  <a:lnTo>
                    <a:pt x="128" y="62"/>
                  </a:lnTo>
                  <a:lnTo>
                    <a:pt x="128" y="60"/>
                  </a:lnTo>
                  <a:lnTo>
                    <a:pt x="128" y="60"/>
                  </a:lnTo>
                  <a:lnTo>
                    <a:pt x="130" y="58"/>
                  </a:lnTo>
                  <a:lnTo>
                    <a:pt x="130" y="54"/>
                  </a:lnTo>
                  <a:lnTo>
                    <a:pt x="132" y="50"/>
                  </a:lnTo>
                  <a:lnTo>
                    <a:pt x="132" y="44"/>
                  </a:lnTo>
                  <a:lnTo>
                    <a:pt x="136" y="34"/>
                  </a:lnTo>
                  <a:lnTo>
                    <a:pt x="128" y="8"/>
                  </a:lnTo>
                  <a:lnTo>
                    <a:pt x="128" y="6"/>
                  </a:lnTo>
                  <a:lnTo>
                    <a:pt x="118" y="10"/>
                  </a:lnTo>
                  <a:lnTo>
                    <a:pt x="112" y="8"/>
                  </a:lnTo>
                  <a:lnTo>
                    <a:pt x="110" y="10"/>
                  </a:lnTo>
                  <a:lnTo>
                    <a:pt x="108" y="10"/>
                  </a:lnTo>
                  <a:lnTo>
                    <a:pt x="94" y="2"/>
                  </a:lnTo>
                  <a:lnTo>
                    <a:pt x="76" y="4"/>
                  </a:lnTo>
                  <a:lnTo>
                    <a:pt x="74" y="6"/>
                  </a:lnTo>
                  <a:lnTo>
                    <a:pt x="64" y="10"/>
                  </a:lnTo>
                  <a:lnTo>
                    <a:pt x="56" y="14"/>
                  </a:lnTo>
                  <a:lnTo>
                    <a:pt x="50" y="10"/>
                  </a:lnTo>
                  <a:lnTo>
                    <a:pt x="42" y="10"/>
                  </a:lnTo>
                  <a:lnTo>
                    <a:pt x="36" y="8"/>
                  </a:lnTo>
                  <a:lnTo>
                    <a:pt x="32" y="6"/>
                  </a:lnTo>
                  <a:lnTo>
                    <a:pt x="30" y="4"/>
                  </a:lnTo>
                  <a:lnTo>
                    <a:pt x="14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6" name="Freeform 816">
              <a:extLst>
                <a:ext uri="{FF2B5EF4-FFF2-40B4-BE49-F238E27FC236}">
                  <a16:creationId xmlns:a16="http://schemas.microsoft.com/office/drawing/2014/main" id="{006F4497-CF69-4003-90C3-FFF070D612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471863"/>
              <a:ext cx="442913" cy="441325"/>
            </a:xfrm>
            <a:custGeom>
              <a:avLst/>
              <a:gdLst/>
              <a:ahLst/>
              <a:cxnLst>
                <a:cxn ang="0">
                  <a:pos x="94" y="40"/>
                </a:cxn>
                <a:cxn ang="0">
                  <a:pos x="94" y="56"/>
                </a:cxn>
                <a:cxn ang="0">
                  <a:pos x="100" y="74"/>
                </a:cxn>
                <a:cxn ang="0">
                  <a:pos x="100" y="82"/>
                </a:cxn>
                <a:cxn ang="0">
                  <a:pos x="84" y="80"/>
                </a:cxn>
                <a:cxn ang="0">
                  <a:pos x="78" y="84"/>
                </a:cxn>
                <a:cxn ang="0">
                  <a:pos x="70" y="88"/>
                </a:cxn>
                <a:cxn ang="0">
                  <a:pos x="66" y="92"/>
                </a:cxn>
                <a:cxn ang="0">
                  <a:pos x="66" y="94"/>
                </a:cxn>
                <a:cxn ang="0">
                  <a:pos x="70" y="98"/>
                </a:cxn>
                <a:cxn ang="0">
                  <a:pos x="58" y="104"/>
                </a:cxn>
                <a:cxn ang="0">
                  <a:pos x="48" y="110"/>
                </a:cxn>
                <a:cxn ang="0">
                  <a:pos x="42" y="116"/>
                </a:cxn>
                <a:cxn ang="0">
                  <a:pos x="20" y="120"/>
                </a:cxn>
                <a:cxn ang="0">
                  <a:pos x="0" y="134"/>
                </a:cxn>
                <a:cxn ang="0">
                  <a:pos x="0" y="150"/>
                </a:cxn>
                <a:cxn ang="0">
                  <a:pos x="26" y="174"/>
                </a:cxn>
                <a:cxn ang="0">
                  <a:pos x="52" y="190"/>
                </a:cxn>
                <a:cxn ang="0">
                  <a:pos x="118" y="238"/>
                </a:cxn>
                <a:cxn ang="0">
                  <a:pos x="134" y="248"/>
                </a:cxn>
                <a:cxn ang="0">
                  <a:pos x="138" y="256"/>
                </a:cxn>
                <a:cxn ang="0">
                  <a:pos x="152" y="264"/>
                </a:cxn>
                <a:cxn ang="0">
                  <a:pos x="162" y="266"/>
                </a:cxn>
                <a:cxn ang="0">
                  <a:pos x="162" y="274"/>
                </a:cxn>
                <a:cxn ang="0">
                  <a:pos x="164" y="278"/>
                </a:cxn>
                <a:cxn ang="0">
                  <a:pos x="176" y="276"/>
                </a:cxn>
                <a:cxn ang="0">
                  <a:pos x="194" y="272"/>
                </a:cxn>
                <a:cxn ang="0">
                  <a:pos x="220" y="252"/>
                </a:cxn>
                <a:cxn ang="0">
                  <a:pos x="220" y="252"/>
                </a:cxn>
                <a:cxn ang="0">
                  <a:pos x="279" y="212"/>
                </a:cxn>
                <a:cxn ang="0">
                  <a:pos x="275" y="200"/>
                </a:cxn>
                <a:cxn ang="0">
                  <a:pos x="262" y="198"/>
                </a:cxn>
                <a:cxn ang="0">
                  <a:pos x="256" y="194"/>
                </a:cxn>
                <a:cxn ang="0">
                  <a:pos x="252" y="182"/>
                </a:cxn>
                <a:cxn ang="0">
                  <a:pos x="246" y="172"/>
                </a:cxn>
                <a:cxn ang="0">
                  <a:pos x="252" y="168"/>
                </a:cxn>
                <a:cxn ang="0">
                  <a:pos x="252" y="162"/>
                </a:cxn>
                <a:cxn ang="0">
                  <a:pos x="252" y="152"/>
                </a:cxn>
                <a:cxn ang="0">
                  <a:pos x="252" y="138"/>
                </a:cxn>
                <a:cxn ang="0">
                  <a:pos x="244" y="112"/>
                </a:cxn>
                <a:cxn ang="0">
                  <a:pos x="244" y="92"/>
                </a:cxn>
                <a:cxn ang="0">
                  <a:pos x="234" y="76"/>
                </a:cxn>
                <a:cxn ang="0">
                  <a:pos x="230" y="70"/>
                </a:cxn>
                <a:cxn ang="0">
                  <a:pos x="224" y="64"/>
                </a:cxn>
                <a:cxn ang="0">
                  <a:pos x="220" y="48"/>
                </a:cxn>
                <a:cxn ang="0">
                  <a:pos x="228" y="42"/>
                </a:cxn>
                <a:cxn ang="0">
                  <a:pos x="232" y="28"/>
                </a:cxn>
                <a:cxn ang="0">
                  <a:pos x="232" y="8"/>
                </a:cxn>
                <a:cxn ang="0">
                  <a:pos x="226" y="4"/>
                </a:cxn>
                <a:cxn ang="0">
                  <a:pos x="212" y="2"/>
                </a:cxn>
                <a:cxn ang="0">
                  <a:pos x="188" y="6"/>
                </a:cxn>
                <a:cxn ang="0">
                  <a:pos x="168" y="4"/>
                </a:cxn>
                <a:cxn ang="0">
                  <a:pos x="150" y="6"/>
                </a:cxn>
                <a:cxn ang="0">
                  <a:pos x="132" y="10"/>
                </a:cxn>
                <a:cxn ang="0">
                  <a:pos x="114" y="20"/>
                </a:cxn>
                <a:cxn ang="0">
                  <a:pos x="104" y="22"/>
                </a:cxn>
                <a:cxn ang="0">
                  <a:pos x="100" y="26"/>
                </a:cxn>
                <a:cxn ang="0">
                  <a:pos x="90" y="32"/>
                </a:cxn>
                <a:cxn ang="0">
                  <a:pos x="88" y="32"/>
                </a:cxn>
              </a:cxnLst>
              <a:rect l="0" t="0" r="r" b="b"/>
              <a:pathLst>
                <a:path w="279" h="278">
                  <a:moveTo>
                    <a:pt x="92" y="36"/>
                  </a:moveTo>
                  <a:lnTo>
                    <a:pt x="94" y="40"/>
                  </a:lnTo>
                  <a:lnTo>
                    <a:pt x="96" y="48"/>
                  </a:lnTo>
                  <a:lnTo>
                    <a:pt x="94" y="56"/>
                  </a:lnTo>
                  <a:lnTo>
                    <a:pt x="96" y="68"/>
                  </a:lnTo>
                  <a:lnTo>
                    <a:pt x="100" y="74"/>
                  </a:lnTo>
                  <a:lnTo>
                    <a:pt x="100" y="80"/>
                  </a:lnTo>
                  <a:lnTo>
                    <a:pt x="100" y="82"/>
                  </a:lnTo>
                  <a:lnTo>
                    <a:pt x="94" y="80"/>
                  </a:lnTo>
                  <a:lnTo>
                    <a:pt x="84" y="80"/>
                  </a:lnTo>
                  <a:lnTo>
                    <a:pt x="78" y="82"/>
                  </a:lnTo>
                  <a:lnTo>
                    <a:pt x="78" y="84"/>
                  </a:lnTo>
                  <a:lnTo>
                    <a:pt x="74" y="86"/>
                  </a:lnTo>
                  <a:lnTo>
                    <a:pt x="70" y="88"/>
                  </a:lnTo>
                  <a:lnTo>
                    <a:pt x="66" y="88"/>
                  </a:lnTo>
                  <a:lnTo>
                    <a:pt x="66" y="92"/>
                  </a:lnTo>
                  <a:lnTo>
                    <a:pt x="66" y="92"/>
                  </a:lnTo>
                  <a:lnTo>
                    <a:pt x="66" y="94"/>
                  </a:lnTo>
                  <a:lnTo>
                    <a:pt x="66" y="96"/>
                  </a:lnTo>
                  <a:lnTo>
                    <a:pt x="70" y="98"/>
                  </a:lnTo>
                  <a:lnTo>
                    <a:pt x="64" y="100"/>
                  </a:lnTo>
                  <a:lnTo>
                    <a:pt x="58" y="104"/>
                  </a:lnTo>
                  <a:lnTo>
                    <a:pt x="50" y="106"/>
                  </a:lnTo>
                  <a:lnTo>
                    <a:pt x="48" y="110"/>
                  </a:lnTo>
                  <a:lnTo>
                    <a:pt x="48" y="112"/>
                  </a:lnTo>
                  <a:lnTo>
                    <a:pt x="42" y="116"/>
                  </a:lnTo>
                  <a:lnTo>
                    <a:pt x="30" y="118"/>
                  </a:lnTo>
                  <a:lnTo>
                    <a:pt x="20" y="120"/>
                  </a:lnTo>
                  <a:lnTo>
                    <a:pt x="8" y="128"/>
                  </a:lnTo>
                  <a:lnTo>
                    <a:pt x="0" y="134"/>
                  </a:lnTo>
                  <a:lnTo>
                    <a:pt x="0" y="150"/>
                  </a:lnTo>
                  <a:lnTo>
                    <a:pt x="0" y="150"/>
                  </a:lnTo>
                  <a:lnTo>
                    <a:pt x="0" y="156"/>
                  </a:lnTo>
                  <a:lnTo>
                    <a:pt x="26" y="174"/>
                  </a:lnTo>
                  <a:lnTo>
                    <a:pt x="38" y="182"/>
                  </a:lnTo>
                  <a:lnTo>
                    <a:pt x="52" y="190"/>
                  </a:lnTo>
                  <a:lnTo>
                    <a:pt x="110" y="232"/>
                  </a:lnTo>
                  <a:lnTo>
                    <a:pt x="118" y="238"/>
                  </a:lnTo>
                  <a:lnTo>
                    <a:pt x="134" y="248"/>
                  </a:lnTo>
                  <a:lnTo>
                    <a:pt x="134" y="248"/>
                  </a:lnTo>
                  <a:lnTo>
                    <a:pt x="134" y="252"/>
                  </a:lnTo>
                  <a:lnTo>
                    <a:pt x="138" y="256"/>
                  </a:lnTo>
                  <a:lnTo>
                    <a:pt x="144" y="260"/>
                  </a:lnTo>
                  <a:lnTo>
                    <a:pt x="152" y="264"/>
                  </a:lnTo>
                  <a:lnTo>
                    <a:pt x="158" y="264"/>
                  </a:lnTo>
                  <a:lnTo>
                    <a:pt x="162" y="266"/>
                  </a:lnTo>
                  <a:lnTo>
                    <a:pt x="162" y="270"/>
                  </a:lnTo>
                  <a:lnTo>
                    <a:pt x="162" y="274"/>
                  </a:lnTo>
                  <a:lnTo>
                    <a:pt x="160" y="276"/>
                  </a:lnTo>
                  <a:lnTo>
                    <a:pt x="164" y="278"/>
                  </a:lnTo>
                  <a:lnTo>
                    <a:pt x="168" y="278"/>
                  </a:lnTo>
                  <a:lnTo>
                    <a:pt x="176" y="276"/>
                  </a:lnTo>
                  <a:lnTo>
                    <a:pt x="188" y="274"/>
                  </a:lnTo>
                  <a:lnTo>
                    <a:pt x="194" y="272"/>
                  </a:lnTo>
                  <a:lnTo>
                    <a:pt x="200" y="270"/>
                  </a:lnTo>
                  <a:lnTo>
                    <a:pt x="220" y="252"/>
                  </a:lnTo>
                  <a:lnTo>
                    <a:pt x="220" y="252"/>
                  </a:lnTo>
                  <a:lnTo>
                    <a:pt x="220" y="252"/>
                  </a:lnTo>
                  <a:lnTo>
                    <a:pt x="279" y="214"/>
                  </a:lnTo>
                  <a:lnTo>
                    <a:pt x="279" y="212"/>
                  </a:lnTo>
                  <a:lnTo>
                    <a:pt x="277" y="206"/>
                  </a:lnTo>
                  <a:lnTo>
                    <a:pt x="275" y="200"/>
                  </a:lnTo>
                  <a:lnTo>
                    <a:pt x="269" y="200"/>
                  </a:lnTo>
                  <a:lnTo>
                    <a:pt x="262" y="198"/>
                  </a:lnTo>
                  <a:lnTo>
                    <a:pt x="258" y="198"/>
                  </a:lnTo>
                  <a:lnTo>
                    <a:pt x="256" y="194"/>
                  </a:lnTo>
                  <a:lnTo>
                    <a:pt x="254" y="186"/>
                  </a:lnTo>
                  <a:lnTo>
                    <a:pt x="252" y="182"/>
                  </a:lnTo>
                  <a:lnTo>
                    <a:pt x="250" y="178"/>
                  </a:lnTo>
                  <a:lnTo>
                    <a:pt x="246" y="172"/>
                  </a:lnTo>
                  <a:lnTo>
                    <a:pt x="248" y="170"/>
                  </a:lnTo>
                  <a:lnTo>
                    <a:pt x="252" y="168"/>
                  </a:lnTo>
                  <a:lnTo>
                    <a:pt x="252" y="164"/>
                  </a:lnTo>
                  <a:lnTo>
                    <a:pt x="252" y="162"/>
                  </a:lnTo>
                  <a:lnTo>
                    <a:pt x="250" y="154"/>
                  </a:lnTo>
                  <a:lnTo>
                    <a:pt x="252" y="152"/>
                  </a:lnTo>
                  <a:lnTo>
                    <a:pt x="252" y="146"/>
                  </a:lnTo>
                  <a:lnTo>
                    <a:pt x="252" y="138"/>
                  </a:lnTo>
                  <a:lnTo>
                    <a:pt x="250" y="124"/>
                  </a:lnTo>
                  <a:lnTo>
                    <a:pt x="244" y="112"/>
                  </a:lnTo>
                  <a:lnTo>
                    <a:pt x="248" y="110"/>
                  </a:lnTo>
                  <a:lnTo>
                    <a:pt x="244" y="92"/>
                  </a:lnTo>
                  <a:lnTo>
                    <a:pt x="242" y="82"/>
                  </a:lnTo>
                  <a:lnTo>
                    <a:pt x="234" y="76"/>
                  </a:lnTo>
                  <a:lnTo>
                    <a:pt x="232" y="74"/>
                  </a:lnTo>
                  <a:lnTo>
                    <a:pt x="230" y="70"/>
                  </a:lnTo>
                  <a:lnTo>
                    <a:pt x="228" y="66"/>
                  </a:lnTo>
                  <a:lnTo>
                    <a:pt x="224" y="64"/>
                  </a:lnTo>
                  <a:lnTo>
                    <a:pt x="220" y="56"/>
                  </a:lnTo>
                  <a:lnTo>
                    <a:pt x="220" y="48"/>
                  </a:lnTo>
                  <a:lnTo>
                    <a:pt x="224" y="44"/>
                  </a:lnTo>
                  <a:lnTo>
                    <a:pt x="228" y="42"/>
                  </a:lnTo>
                  <a:lnTo>
                    <a:pt x="230" y="36"/>
                  </a:lnTo>
                  <a:lnTo>
                    <a:pt x="232" y="28"/>
                  </a:lnTo>
                  <a:lnTo>
                    <a:pt x="230" y="14"/>
                  </a:lnTo>
                  <a:lnTo>
                    <a:pt x="232" y="8"/>
                  </a:lnTo>
                  <a:lnTo>
                    <a:pt x="234" y="2"/>
                  </a:lnTo>
                  <a:lnTo>
                    <a:pt x="226" y="4"/>
                  </a:lnTo>
                  <a:lnTo>
                    <a:pt x="220" y="0"/>
                  </a:lnTo>
                  <a:lnTo>
                    <a:pt x="212" y="2"/>
                  </a:lnTo>
                  <a:lnTo>
                    <a:pt x="202" y="4"/>
                  </a:lnTo>
                  <a:lnTo>
                    <a:pt x="188" y="6"/>
                  </a:lnTo>
                  <a:lnTo>
                    <a:pt x="180" y="2"/>
                  </a:lnTo>
                  <a:lnTo>
                    <a:pt x="168" y="4"/>
                  </a:lnTo>
                  <a:lnTo>
                    <a:pt x="158" y="6"/>
                  </a:lnTo>
                  <a:lnTo>
                    <a:pt x="150" y="6"/>
                  </a:lnTo>
                  <a:lnTo>
                    <a:pt x="140" y="8"/>
                  </a:lnTo>
                  <a:lnTo>
                    <a:pt x="132" y="10"/>
                  </a:lnTo>
                  <a:lnTo>
                    <a:pt x="120" y="16"/>
                  </a:lnTo>
                  <a:lnTo>
                    <a:pt x="114" y="20"/>
                  </a:lnTo>
                  <a:lnTo>
                    <a:pt x="108" y="22"/>
                  </a:lnTo>
                  <a:lnTo>
                    <a:pt x="104" y="22"/>
                  </a:lnTo>
                  <a:lnTo>
                    <a:pt x="102" y="24"/>
                  </a:lnTo>
                  <a:lnTo>
                    <a:pt x="100" y="26"/>
                  </a:lnTo>
                  <a:lnTo>
                    <a:pt x="94" y="32"/>
                  </a:lnTo>
                  <a:lnTo>
                    <a:pt x="90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92" y="36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7" name="Freeform 817">
              <a:extLst>
                <a:ext uri="{FF2B5EF4-FFF2-40B4-BE49-F238E27FC236}">
                  <a16:creationId xmlns:a16="http://schemas.microsoft.com/office/drawing/2014/main" id="{571FD3B2-CB1C-42FC-97AD-2D01D9730A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4950" y="3500438"/>
              <a:ext cx="257175" cy="209550"/>
            </a:xfrm>
            <a:custGeom>
              <a:avLst/>
              <a:gdLst/>
              <a:ahLst/>
              <a:cxnLst>
                <a:cxn ang="0">
                  <a:pos x="2" y="130"/>
                </a:cxn>
                <a:cxn ang="0">
                  <a:pos x="0" y="132"/>
                </a:cxn>
                <a:cxn ang="0">
                  <a:pos x="62" y="132"/>
                </a:cxn>
                <a:cxn ang="0">
                  <a:pos x="62" y="132"/>
                </a:cxn>
                <a:cxn ang="0">
                  <a:pos x="62" y="116"/>
                </a:cxn>
                <a:cxn ang="0">
                  <a:pos x="70" y="110"/>
                </a:cxn>
                <a:cxn ang="0">
                  <a:pos x="82" y="102"/>
                </a:cxn>
                <a:cxn ang="0">
                  <a:pos x="92" y="100"/>
                </a:cxn>
                <a:cxn ang="0">
                  <a:pos x="104" y="98"/>
                </a:cxn>
                <a:cxn ang="0">
                  <a:pos x="110" y="94"/>
                </a:cxn>
                <a:cxn ang="0">
                  <a:pos x="110" y="92"/>
                </a:cxn>
                <a:cxn ang="0">
                  <a:pos x="112" y="88"/>
                </a:cxn>
                <a:cxn ang="0">
                  <a:pos x="120" y="86"/>
                </a:cxn>
                <a:cxn ang="0">
                  <a:pos x="126" y="82"/>
                </a:cxn>
                <a:cxn ang="0">
                  <a:pos x="132" y="80"/>
                </a:cxn>
                <a:cxn ang="0">
                  <a:pos x="128" y="78"/>
                </a:cxn>
                <a:cxn ang="0">
                  <a:pos x="128" y="76"/>
                </a:cxn>
                <a:cxn ang="0">
                  <a:pos x="128" y="74"/>
                </a:cxn>
                <a:cxn ang="0">
                  <a:pos x="128" y="74"/>
                </a:cxn>
                <a:cxn ang="0">
                  <a:pos x="128" y="70"/>
                </a:cxn>
                <a:cxn ang="0">
                  <a:pos x="132" y="70"/>
                </a:cxn>
                <a:cxn ang="0">
                  <a:pos x="136" y="68"/>
                </a:cxn>
                <a:cxn ang="0">
                  <a:pos x="140" y="66"/>
                </a:cxn>
                <a:cxn ang="0">
                  <a:pos x="140" y="64"/>
                </a:cxn>
                <a:cxn ang="0">
                  <a:pos x="146" y="62"/>
                </a:cxn>
                <a:cxn ang="0">
                  <a:pos x="156" y="62"/>
                </a:cxn>
                <a:cxn ang="0">
                  <a:pos x="162" y="64"/>
                </a:cxn>
                <a:cxn ang="0">
                  <a:pos x="162" y="62"/>
                </a:cxn>
                <a:cxn ang="0">
                  <a:pos x="162" y="56"/>
                </a:cxn>
                <a:cxn ang="0">
                  <a:pos x="158" y="50"/>
                </a:cxn>
                <a:cxn ang="0">
                  <a:pos x="156" y="38"/>
                </a:cxn>
                <a:cxn ang="0">
                  <a:pos x="158" y="30"/>
                </a:cxn>
                <a:cxn ang="0">
                  <a:pos x="156" y="22"/>
                </a:cxn>
                <a:cxn ang="0">
                  <a:pos x="154" y="18"/>
                </a:cxn>
                <a:cxn ang="0">
                  <a:pos x="150" y="14"/>
                </a:cxn>
                <a:cxn ang="0">
                  <a:pos x="150" y="14"/>
                </a:cxn>
                <a:cxn ang="0">
                  <a:pos x="148" y="14"/>
                </a:cxn>
                <a:cxn ang="0">
                  <a:pos x="142" y="14"/>
                </a:cxn>
                <a:cxn ang="0">
                  <a:pos x="138" y="12"/>
                </a:cxn>
                <a:cxn ang="0">
                  <a:pos x="134" y="14"/>
                </a:cxn>
                <a:cxn ang="0">
                  <a:pos x="126" y="14"/>
                </a:cxn>
                <a:cxn ang="0">
                  <a:pos x="114" y="12"/>
                </a:cxn>
                <a:cxn ang="0">
                  <a:pos x="106" y="2"/>
                </a:cxn>
                <a:cxn ang="0">
                  <a:pos x="106" y="0"/>
                </a:cxn>
                <a:cxn ang="0">
                  <a:pos x="100" y="4"/>
                </a:cxn>
                <a:cxn ang="0">
                  <a:pos x="90" y="28"/>
                </a:cxn>
                <a:cxn ang="0">
                  <a:pos x="88" y="32"/>
                </a:cxn>
                <a:cxn ang="0">
                  <a:pos x="66" y="44"/>
                </a:cxn>
                <a:cxn ang="0">
                  <a:pos x="56" y="54"/>
                </a:cxn>
                <a:cxn ang="0">
                  <a:pos x="54" y="58"/>
                </a:cxn>
                <a:cxn ang="0">
                  <a:pos x="52" y="64"/>
                </a:cxn>
                <a:cxn ang="0">
                  <a:pos x="46" y="76"/>
                </a:cxn>
                <a:cxn ang="0">
                  <a:pos x="50" y="90"/>
                </a:cxn>
                <a:cxn ang="0">
                  <a:pos x="42" y="106"/>
                </a:cxn>
                <a:cxn ang="0">
                  <a:pos x="36" y="112"/>
                </a:cxn>
                <a:cxn ang="0">
                  <a:pos x="30" y="116"/>
                </a:cxn>
                <a:cxn ang="0">
                  <a:pos x="24" y="120"/>
                </a:cxn>
                <a:cxn ang="0">
                  <a:pos x="18" y="126"/>
                </a:cxn>
                <a:cxn ang="0">
                  <a:pos x="10" y="128"/>
                </a:cxn>
                <a:cxn ang="0">
                  <a:pos x="2" y="130"/>
                </a:cxn>
              </a:cxnLst>
              <a:rect l="0" t="0" r="r" b="b"/>
              <a:pathLst>
                <a:path w="162" h="132">
                  <a:moveTo>
                    <a:pt x="2" y="130"/>
                  </a:moveTo>
                  <a:lnTo>
                    <a:pt x="0" y="132"/>
                  </a:lnTo>
                  <a:lnTo>
                    <a:pt x="62" y="132"/>
                  </a:lnTo>
                  <a:lnTo>
                    <a:pt x="62" y="132"/>
                  </a:lnTo>
                  <a:lnTo>
                    <a:pt x="62" y="116"/>
                  </a:lnTo>
                  <a:lnTo>
                    <a:pt x="70" y="110"/>
                  </a:lnTo>
                  <a:lnTo>
                    <a:pt x="82" y="102"/>
                  </a:lnTo>
                  <a:lnTo>
                    <a:pt x="92" y="100"/>
                  </a:lnTo>
                  <a:lnTo>
                    <a:pt x="104" y="98"/>
                  </a:lnTo>
                  <a:lnTo>
                    <a:pt x="110" y="94"/>
                  </a:lnTo>
                  <a:lnTo>
                    <a:pt x="110" y="92"/>
                  </a:lnTo>
                  <a:lnTo>
                    <a:pt x="112" y="88"/>
                  </a:lnTo>
                  <a:lnTo>
                    <a:pt x="120" y="86"/>
                  </a:lnTo>
                  <a:lnTo>
                    <a:pt x="126" y="82"/>
                  </a:lnTo>
                  <a:lnTo>
                    <a:pt x="132" y="80"/>
                  </a:lnTo>
                  <a:lnTo>
                    <a:pt x="128" y="78"/>
                  </a:lnTo>
                  <a:lnTo>
                    <a:pt x="128" y="76"/>
                  </a:lnTo>
                  <a:lnTo>
                    <a:pt x="128" y="74"/>
                  </a:lnTo>
                  <a:lnTo>
                    <a:pt x="128" y="74"/>
                  </a:lnTo>
                  <a:lnTo>
                    <a:pt x="128" y="70"/>
                  </a:lnTo>
                  <a:lnTo>
                    <a:pt x="132" y="70"/>
                  </a:lnTo>
                  <a:lnTo>
                    <a:pt x="136" y="68"/>
                  </a:lnTo>
                  <a:lnTo>
                    <a:pt x="140" y="66"/>
                  </a:lnTo>
                  <a:lnTo>
                    <a:pt x="140" y="64"/>
                  </a:lnTo>
                  <a:lnTo>
                    <a:pt x="146" y="62"/>
                  </a:lnTo>
                  <a:lnTo>
                    <a:pt x="156" y="62"/>
                  </a:lnTo>
                  <a:lnTo>
                    <a:pt x="162" y="64"/>
                  </a:lnTo>
                  <a:lnTo>
                    <a:pt x="162" y="62"/>
                  </a:lnTo>
                  <a:lnTo>
                    <a:pt x="162" y="56"/>
                  </a:lnTo>
                  <a:lnTo>
                    <a:pt x="158" y="50"/>
                  </a:lnTo>
                  <a:lnTo>
                    <a:pt x="156" y="38"/>
                  </a:lnTo>
                  <a:lnTo>
                    <a:pt x="158" y="30"/>
                  </a:lnTo>
                  <a:lnTo>
                    <a:pt x="156" y="22"/>
                  </a:lnTo>
                  <a:lnTo>
                    <a:pt x="154" y="18"/>
                  </a:lnTo>
                  <a:lnTo>
                    <a:pt x="150" y="14"/>
                  </a:lnTo>
                  <a:lnTo>
                    <a:pt x="150" y="14"/>
                  </a:lnTo>
                  <a:lnTo>
                    <a:pt x="148" y="14"/>
                  </a:lnTo>
                  <a:lnTo>
                    <a:pt x="142" y="14"/>
                  </a:lnTo>
                  <a:lnTo>
                    <a:pt x="138" y="12"/>
                  </a:lnTo>
                  <a:lnTo>
                    <a:pt x="134" y="14"/>
                  </a:lnTo>
                  <a:lnTo>
                    <a:pt x="126" y="14"/>
                  </a:lnTo>
                  <a:lnTo>
                    <a:pt x="114" y="12"/>
                  </a:lnTo>
                  <a:lnTo>
                    <a:pt x="106" y="2"/>
                  </a:lnTo>
                  <a:lnTo>
                    <a:pt x="106" y="0"/>
                  </a:lnTo>
                  <a:lnTo>
                    <a:pt x="100" y="4"/>
                  </a:lnTo>
                  <a:lnTo>
                    <a:pt x="90" y="28"/>
                  </a:lnTo>
                  <a:lnTo>
                    <a:pt x="88" y="32"/>
                  </a:lnTo>
                  <a:lnTo>
                    <a:pt x="66" y="44"/>
                  </a:lnTo>
                  <a:lnTo>
                    <a:pt x="56" y="54"/>
                  </a:lnTo>
                  <a:lnTo>
                    <a:pt x="54" y="58"/>
                  </a:lnTo>
                  <a:lnTo>
                    <a:pt x="52" y="64"/>
                  </a:lnTo>
                  <a:lnTo>
                    <a:pt x="46" y="76"/>
                  </a:lnTo>
                  <a:lnTo>
                    <a:pt x="50" y="90"/>
                  </a:lnTo>
                  <a:lnTo>
                    <a:pt x="42" y="106"/>
                  </a:lnTo>
                  <a:lnTo>
                    <a:pt x="36" y="112"/>
                  </a:lnTo>
                  <a:lnTo>
                    <a:pt x="30" y="116"/>
                  </a:lnTo>
                  <a:lnTo>
                    <a:pt x="24" y="120"/>
                  </a:lnTo>
                  <a:lnTo>
                    <a:pt x="18" y="126"/>
                  </a:lnTo>
                  <a:lnTo>
                    <a:pt x="10" y="128"/>
                  </a:lnTo>
                  <a:lnTo>
                    <a:pt x="2" y="13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8" name="Freeform 818">
              <a:extLst>
                <a:ext uri="{FF2B5EF4-FFF2-40B4-BE49-F238E27FC236}">
                  <a16:creationId xmlns:a16="http://schemas.microsoft.com/office/drawing/2014/main" id="{6264F3F7-DFE4-42DF-8A53-2F4BEE5E59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2625" y="3465513"/>
              <a:ext cx="87313" cy="180975"/>
            </a:xfrm>
            <a:custGeom>
              <a:avLst/>
              <a:gdLst/>
              <a:ahLst/>
              <a:cxnLst>
                <a:cxn ang="0">
                  <a:pos x="10" y="18"/>
                </a:cxn>
                <a:cxn ang="0">
                  <a:pos x="12" y="32"/>
                </a:cxn>
                <a:cxn ang="0">
                  <a:pos x="10" y="40"/>
                </a:cxn>
                <a:cxn ang="0">
                  <a:pos x="8" y="46"/>
                </a:cxn>
                <a:cxn ang="0">
                  <a:pos x="4" y="48"/>
                </a:cxn>
                <a:cxn ang="0">
                  <a:pos x="0" y="52"/>
                </a:cxn>
                <a:cxn ang="0">
                  <a:pos x="0" y="60"/>
                </a:cxn>
                <a:cxn ang="0">
                  <a:pos x="4" y="68"/>
                </a:cxn>
                <a:cxn ang="0">
                  <a:pos x="8" y="70"/>
                </a:cxn>
                <a:cxn ang="0">
                  <a:pos x="10" y="74"/>
                </a:cxn>
                <a:cxn ang="0">
                  <a:pos x="12" y="78"/>
                </a:cxn>
                <a:cxn ang="0">
                  <a:pos x="14" y="80"/>
                </a:cxn>
                <a:cxn ang="0">
                  <a:pos x="22" y="86"/>
                </a:cxn>
                <a:cxn ang="0">
                  <a:pos x="24" y="96"/>
                </a:cxn>
                <a:cxn ang="0">
                  <a:pos x="28" y="114"/>
                </a:cxn>
                <a:cxn ang="0">
                  <a:pos x="34" y="112"/>
                </a:cxn>
                <a:cxn ang="0">
                  <a:pos x="38" y="104"/>
                </a:cxn>
                <a:cxn ang="0">
                  <a:pos x="36" y="96"/>
                </a:cxn>
                <a:cxn ang="0">
                  <a:pos x="38" y="90"/>
                </a:cxn>
                <a:cxn ang="0">
                  <a:pos x="46" y="84"/>
                </a:cxn>
                <a:cxn ang="0">
                  <a:pos x="53" y="80"/>
                </a:cxn>
                <a:cxn ang="0">
                  <a:pos x="55" y="80"/>
                </a:cxn>
                <a:cxn ang="0">
                  <a:pos x="53" y="76"/>
                </a:cxn>
                <a:cxn ang="0">
                  <a:pos x="53" y="68"/>
                </a:cxn>
                <a:cxn ang="0">
                  <a:pos x="51" y="66"/>
                </a:cxn>
                <a:cxn ang="0">
                  <a:pos x="49" y="68"/>
                </a:cxn>
                <a:cxn ang="0">
                  <a:pos x="44" y="64"/>
                </a:cxn>
                <a:cxn ang="0">
                  <a:pos x="34" y="54"/>
                </a:cxn>
                <a:cxn ang="0">
                  <a:pos x="40" y="46"/>
                </a:cxn>
                <a:cxn ang="0">
                  <a:pos x="46" y="40"/>
                </a:cxn>
                <a:cxn ang="0">
                  <a:pos x="48" y="34"/>
                </a:cxn>
                <a:cxn ang="0">
                  <a:pos x="44" y="26"/>
                </a:cxn>
                <a:cxn ang="0">
                  <a:pos x="40" y="22"/>
                </a:cxn>
                <a:cxn ang="0">
                  <a:pos x="40" y="16"/>
                </a:cxn>
                <a:cxn ang="0">
                  <a:pos x="42" y="14"/>
                </a:cxn>
                <a:cxn ang="0">
                  <a:pos x="44" y="12"/>
                </a:cxn>
                <a:cxn ang="0">
                  <a:pos x="48" y="6"/>
                </a:cxn>
                <a:cxn ang="0">
                  <a:pos x="48" y="4"/>
                </a:cxn>
                <a:cxn ang="0">
                  <a:pos x="46" y="4"/>
                </a:cxn>
                <a:cxn ang="0">
                  <a:pos x="38" y="8"/>
                </a:cxn>
                <a:cxn ang="0">
                  <a:pos x="36" y="2"/>
                </a:cxn>
                <a:cxn ang="0">
                  <a:pos x="38" y="2"/>
                </a:cxn>
                <a:cxn ang="0">
                  <a:pos x="32" y="0"/>
                </a:cxn>
                <a:cxn ang="0">
                  <a:pos x="28" y="0"/>
                </a:cxn>
                <a:cxn ang="0">
                  <a:pos x="20" y="2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2" y="12"/>
                </a:cxn>
                <a:cxn ang="0">
                  <a:pos x="10" y="18"/>
                </a:cxn>
              </a:cxnLst>
              <a:rect l="0" t="0" r="r" b="b"/>
              <a:pathLst>
                <a:path w="55" h="114">
                  <a:moveTo>
                    <a:pt x="10" y="18"/>
                  </a:moveTo>
                  <a:lnTo>
                    <a:pt x="12" y="32"/>
                  </a:lnTo>
                  <a:lnTo>
                    <a:pt x="10" y="40"/>
                  </a:lnTo>
                  <a:lnTo>
                    <a:pt x="8" y="46"/>
                  </a:lnTo>
                  <a:lnTo>
                    <a:pt x="4" y="48"/>
                  </a:lnTo>
                  <a:lnTo>
                    <a:pt x="0" y="52"/>
                  </a:lnTo>
                  <a:lnTo>
                    <a:pt x="0" y="60"/>
                  </a:lnTo>
                  <a:lnTo>
                    <a:pt x="4" y="68"/>
                  </a:lnTo>
                  <a:lnTo>
                    <a:pt x="8" y="70"/>
                  </a:lnTo>
                  <a:lnTo>
                    <a:pt x="10" y="74"/>
                  </a:lnTo>
                  <a:lnTo>
                    <a:pt x="12" y="78"/>
                  </a:lnTo>
                  <a:lnTo>
                    <a:pt x="14" y="80"/>
                  </a:lnTo>
                  <a:lnTo>
                    <a:pt x="22" y="86"/>
                  </a:lnTo>
                  <a:lnTo>
                    <a:pt x="24" y="96"/>
                  </a:lnTo>
                  <a:lnTo>
                    <a:pt x="28" y="114"/>
                  </a:lnTo>
                  <a:lnTo>
                    <a:pt x="34" y="112"/>
                  </a:lnTo>
                  <a:lnTo>
                    <a:pt x="38" y="104"/>
                  </a:lnTo>
                  <a:lnTo>
                    <a:pt x="36" y="96"/>
                  </a:lnTo>
                  <a:lnTo>
                    <a:pt x="38" y="90"/>
                  </a:lnTo>
                  <a:lnTo>
                    <a:pt x="46" y="84"/>
                  </a:lnTo>
                  <a:lnTo>
                    <a:pt x="53" y="80"/>
                  </a:lnTo>
                  <a:lnTo>
                    <a:pt x="55" y="80"/>
                  </a:lnTo>
                  <a:lnTo>
                    <a:pt x="53" y="76"/>
                  </a:lnTo>
                  <a:lnTo>
                    <a:pt x="53" y="68"/>
                  </a:lnTo>
                  <a:lnTo>
                    <a:pt x="51" y="66"/>
                  </a:lnTo>
                  <a:lnTo>
                    <a:pt x="49" y="68"/>
                  </a:lnTo>
                  <a:lnTo>
                    <a:pt x="44" y="64"/>
                  </a:lnTo>
                  <a:lnTo>
                    <a:pt x="34" y="54"/>
                  </a:lnTo>
                  <a:lnTo>
                    <a:pt x="40" y="46"/>
                  </a:lnTo>
                  <a:lnTo>
                    <a:pt x="46" y="40"/>
                  </a:lnTo>
                  <a:lnTo>
                    <a:pt x="48" y="34"/>
                  </a:lnTo>
                  <a:lnTo>
                    <a:pt x="44" y="26"/>
                  </a:lnTo>
                  <a:lnTo>
                    <a:pt x="40" y="22"/>
                  </a:lnTo>
                  <a:lnTo>
                    <a:pt x="40" y="16"/>
                  </a:lnTo>
                  <a:lnTo>
                    <a:pt x="42" y="14"/>
                  </a:lnTo>
                  <a:lnTo>
                    <a:pt x="44" y="12"/>
                  </a:lnTo>
                  <a:lnTo>
                    <a:pt x="48" y="6"/>
                  </a:lnTo>
                  <a:lnTo>
                    <a:pt x="48" y="4"/>
                  </a:lnTo>
                  <a:lnTo>
                    <a:pt x="46" y="4"/>
                  </a:lnTo>
                  <a:lnTo>
                    <a:pt x="38" y="8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32" y="0"/>
                  </a:lnTo>
                  <a:lnTo>
                    <a:pt x="28" y="0"/>
                  </a:lnTo>
                  <a:lnTo>
                    <a:pt x="20" y="2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2" y="12"/>
                  </a:lnTo>
                  <a:lnTo>
                    <a:pt x="10" y="18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9" name="Freeform 820">
              <a:extLst>
                <a:ext uri="{FF2B5EF4-FFF2-40B4-BE49-F238E27FC236}">
                  <a16:creationId xmlns:a16="http://schemas.microsoft.com/office/drawing/2014/main" id="{61C73C90-0D4F-469E-9A60-A5C4C02621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225" y="3582987"/>
              <a:ext cx="79375" cy="127000"/>
            </a:xfrm>
            <a:custGeom>
              <a:avLst/>
              <a:gdLst/>
              <a:ahLst/>
              <a:cxnLst/>
              <a:rect l="l" t="t" r="r" b="b"/>
              <a:pathLst>
                <a:path w="79375" h="127000">
                  <a:moveTo>
                    <a:pt x="31750" y="117475"/>
                  </a:moveTo>
                  <a:lnTo>
                    <a:pt x="34925" y="117475"/>
                  </a:lnTo>
                  <a:lnTo>
                    <a:pt x="38100" y="117475"/>
                  </a:lnTo>
                  <a:lnTo>
                    <a:pt x="38100" y="120650"/>
                  </a:lnTo>
                  <a:lnTo>
                    <a:pt x="34925" y="127000"/>
                  </a:lnTo>
                  <a:lnTo>
                    <a:pt x="28575" y="120650"/>
                  </a:lnTo>
                  <a:close/>
                  <a:moveTo>
                    <a:pt x="22225" y="104775"/>
                  </a:moveTo>
                  <a:lnTo>
                    <a:pt x="19050" y="111125"/>
                  </a:lnTo>
                  <a:lnTo>
                    <a:pt x="15875" y="117475"/>
                  </a:lnTo>
                  <a:lnTo>
                    <a:pt x="12700" y="120650"/>
                  </a:lnTo>
                  <a:lnTo>
                    <a:pt x="9525" y="117475"/>
                  </a:lnTo>
                  <a:lnTo>
                    <a:pt x="6350" y="111125"/>
                  </a:lnTo>
                  <a:lnTo>
                    <a:pt x="9525" y="111125"/>
                  </a:lnTo>
                  <a:close/>
                  <a:moveTo>
                    <a:pt x="69850" y="101600"/>
                  </a:moveTo>
                  <a:lnTo>
                    <a:pt x="73025" y="107950"/>
                  </a:lnTo>
                  <a:lnTo>
                    <a:pt x="69850" y="114300"/>
                  </a:lnTo>
                  <a:lnTo>
                    <a:pt x="60325" y="117475"/>
                  </a:lnTo>
                  <a:lnTo>
                    <a:pt x="66675" y="107950"/>
                  </a:lnTo>
                  <a:close/>
                  <a:moveTo>
                    <a:pt x="79375" y="88900"/>
                  </a:moveTo>
                  <a:lnTo>
                    <a:pt x="79375" y="92075"/>
                  </a:lnTo>
                  <a:lnTo>
                    <a:pt x="76200" y="98425"/>
                  </a:lnTo>
                  <a:lnTo>
                    <a:pt x="73025" y="98425"/>
                  </a:lnTo>
                  <a:lnTo>
                    <a:pt x="73025" y="95250"/>
                  </a:lnTo>
                  <a:lnTo>
                    <a:pt x="76200" y="92075"/>
                  </a:lnTo>
                  <a:close/>
                  <a:moveTo>
                    <a:pt x="0" y="0"/>
                  </a:moveTo>
                  <a:lnTo>
                    <a:pt x="3175" y="0"/>
                  </a:lnTo>
                  <a:lnTo>
                    <a:pt x="9525" y="0"/>
                  </a:lnTo>
                  <a:lnTo>
                    <a:pt x="3175" y="317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0" name="Freeform 856">
              <a:extLst>
                <a:ext uri="{FF2B5EF4-FFF2-40B4-BE49-F238E27FC236}">
                  <a16:creationId xmlns:a16="http://schemas.microsoft.com/office/drawing/2014/main" id="{EEFF1E34-AA44-40B9-A44C-872DD9A63C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0725" y="3573463"/>
              <a:ext cx="341313" cy="327025"/>
            </a:xfrm>
            <a:custGeom>
              <a:avLst/>
              <a:gdLst/>
              <a:ahLst/>
              <a:cxnLst>
                <a:cxn ang="0">
                  <a:pos x="29" y="12"/>
                </a:cxn>
                <a:cxn ang="0">
                  <a:pos x="14" y="22"/>
                </a:cxn>
                <a:cxn ang="0">
                  <a:pos x="14" y="36"/>
                </a:cxn>
                <a:cxn ang="0">
                  <a:pos x="4" y="46"/>
                </a:cxn>
                <a:cxn ang="0">
                  <a:pos x="6" y="60"/>
                </a:cxn>
                <a:cxn ang="0">
                  <a:pos x="8" y="82"/>
                </a:cxn>
                <a:cxn ang="0">
                  <a:pos x="6" y="90"/>
                </a:cxn>
                <a:cxn ang="0">
                  <a:pos x="8" y="100"/>
                </a:cxn>
                <a:cxn ang="0">
                  <a:pos x="4" y="106"/>
                </a:cxn>
                <a:cxn ang="0">
                  <a:pos x="6" y="114"/>
                </a:cxn>
                <a:cxn ang="0">
                  <a:pos x="10" y="122"/>
                </a:cxn>
                <a:cxn ang="0">
                  <a:pos x="14" y="134"/>
                </a:cxn>
                <a:cxn ang="0">
                  <a:pos x="25" y="136"/>
                </a:cxn>
                <a:cxn ang="0">
                  <a:pos x="33" y="142"/>
                </a:cxn>
                <a:cxn ang="0">
                  <a:pos x="49" y="152"/>
                </a:cxn>
                <a:cxn ang="0">
                  <a:pos x="63" y="158"/>
                </a:cxn>
                <a:cxn ang="0">
                  <a:pos x="71" y="158"/>
                </a:cxn>
                <a:cxn ang="0">
                  <a:pos x="85" y="152"/>
                </a:cxn>
                <a:cxn ang="0">
                  <a:pos x="91" y="148"/>
                </a:cxn>
                <a:cxn ang="0">
                  <a:pos x="97" y="152"/>
                </a:cxn>
                <a:cxn ang="0">
                  <a:pos x="131" y="170"/>
                </a:cxn>
                <a:cxn ang="0">
                  <a:pos x="199" y="206"/>
                </a:cxn>
                <a:cxn ang="0">
                  <a:pos x="203" y="200"/>
                </a:cxn>
                <a:cxn ang="0">
                  <a:pos x="213" y="200"/>
                </a:cxn>
                <a:cxn ang="0">
                  <a:pos x="213" y="170"/>
                </a:cxn>
                <a:cxn ang="0">
                  <a:pos x="213" y="92"/>
                </a:cxn>
                <a:cxn ang="0">
                  <a:pos x="213" y="64"/>
                </a:cxn>
                <a:cxn ang="0">
                  <a:pos x="211" y="56"/>
                </a:cxn>
                <a:cxn ang="0">
                  <a:pos x="211" y="46"/>
                </a:cxn>
                <a:cxn ang="0">
                  <a:pos x="211" y="32"/>
                </a:cxn>
                <a:cxn ang="0">
                  <a:pos x="215" y="24"/>
                </a:cxn>
                <a:cxn ang="0">
                  <a:pos x="207" y="18"/>
                </a:cxn>
                <a:cxn ang="0">
                  <a:pos x="199" y="18"/>
                </a:cxn>
                <a:cxn ang="0">
                  <a:pos x="187" y="8"/>
                </a:cxn>
                <a:cxn ang="0">
                  <a:pos x="175" y="4"/>
                </a:cxn>
                <a:cxn ang="0">
                  <a:pos x="145" y="16"/>
                </a:cxn>
                <a:cxn ang="0">
                  <a:pos x="139" y="44"/>
                </a:cxn>
                <a:cxn ang="0">
                  <a:pos x="119" y="38"/>
                </a:cxn>
                <a:cxn ang="0">
                  <a:pos x="103" y="32"/>
                </a:cxn>
                <a:cxn ang="0">
                  <a:pos x="83" y="24"/>
                </a:cxn>
                <a:cxn ang="0">
                  <a:pos x="79" y="12"/>
                </a:cxn>
                <a:cxn ang="0">
                  <a:pos x="53" y="4"/>
                </a:cxn>
                <a:cxn ang="0">
                  <a:pos x="33" y="2"/>
                </a:cxn>
                <a:cxn ang="0">
                  <a:pos x="29" y="8"/>
                </a:cxn>
              </a:cxnLst>
              <a:rect l="0" t="0" r="r" b="b"/>
              <a:pathLst>
                <a:path w="215" h="206">
                  <a:moveTo>
                    <a:pt x="31" y="12"/>
                  </a:moveTo>
                  <a:lnTo>
                    <a:pt x="29" y="12"/>
                  </a:lnTo>
                  <a:lnTo>
                    <a:pt x="22" y="16"/>
                  </a:lnTo>
                  <a:lnTo>
                    <a:pt x="14" y="22"/>
                  </a:lnTo>
                  <a:lnTo>
                    <a:pt x="12" y="28"/>
                  </a:lnTo>
                  <a:lnTo>
                    <a:pt x="14" y="36"/>
                  </a:lnTo>
                  <a:lnTo>
                    <a:pt x="10" y="44"/>
                  </a:lnTo>
                  <a:lnTo>
                    <a:pt x="4" y="46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8" y="74"/>
                  </a:lnTo>
                  <a:lnTo>
                    <a:pt x="8" y="82"/>
                  </a:lnTo>
                  <a:lnTo>
                    <a:pt x="8" y="88"/>
                  </a:lnTo>
                  <a:lnTo>
                    <a:pt x="6" y="90"/>
                  </a:lnTo>
                  <a:lnTo>
                    <a:pt x="8" y="98"/>
                  </a:lnTo>
                  <a:lnTo>
                    <a:pt x="8" y="100"/>
                  </a:lnTo>
                  <a:lnTo>
                    <a:pt x="8" y="104"/>
                  </a:lnTo>
                  <a:lnTo>
                    <a:pt x="4" y="106"/>
                  </a:lnTo>
                  <a:lnTo>
                    <a:pt x="2" y="108"/>
                  </a:lnTo>
                  <a:lnTo>
                    <a:pt x="6" y="114"/>
                  </a:lnTo>
                  <a:lnTo>
                    <a:pt x="8" y="118"/>
                  </a:lnTo>
                  <a:lnTo>
                    <a:pt x="10" y="122"/>
                  </a:lnTo>
                  <a:lnTo>
                    <a:pt x="12" y="130"/>
                  </a:lnTo>
                  <a:lnTo>
                    <a:pt x="14" y="134"/>
                  </a:lnTo>
                  <a:lnTo>
                    <a:pt x="18" y="134"/>
                  </a:lnTo>
                  <a:lnTo>
                    <a:pt x="25" y="136"/>
                  </a:lnTo>
                  <a:lnTo>
                    <a:pt x="31" y="136"/>
                  </a:lnTo>
                  <a:lnTo>
                    <a:pt x="33" y="142"/>
                  </a:lnTo>
                  <a:lnTo>
                    <a:pt x="35" y="148"/>
                  </a:lnTo>
                  <a:lnTo>
                    <a:pt x="49" y="152"/>
                  </a:lnTo>
                  <a:lnTo>
                    <a:pt x="57" y="154"/>
                  </a:lnTo>
                  <a:lnTo>
                    <a:pt x="63" y="158"/>
                  </a:lnTo>
                  <a:lnTo>
                    <a:pt x="67" y="162"/>
                  </a:lnTo>
                  <a:lnTo>
                    <a:pt x="71" y="158"/>
                  </a:lnTo>
                  <a:lnTo>
                    <a:pt x="77" y="156"/>
                  </a:lnTo>
                  <a:lnTo>
                    <a:pt x="85" y="152"/>
                  </a:lnTo>
                  <a:lnTo>
                    <a:pt x="87" y="152"/>
                  </a:lnTo>
                  <a:lnTo>
                    <a:pt x="91" y="148"/>
                  </a:lnTo>
                  <a:lnTo>
                    <a:pt x="93" y="150"/>
                  </a:lnTo>
                  <a:lnTo>
                    <a:pt x="97" y="152"/>
                  </a:lnTo>
                  <a:lnTo>
                    <a:pt x="103" y="156"/>
                  </a:lnTo>
                  <a:lnTo>
                    <a:pt x="131" y="170"/>
                  </a:lnTo>
                  <a:lnTo>
                    <a:pt x="137" y="172"/>
                  </a:lnTo>
                  <a:lnTo>
                    <a:pt x="199" y="206"/>
                  </a:lnTo>
                  <a:lnTo>
                    <a:pt x="199" y="200"/>
                  </a:lnTo>
                  <a:lnTo>
                    <a:pt x="203" y="200"/>
                  </a:lnTo>
                  <a:lnTo>
                    <a:pt x="211" y="200"/>
                  </a:lnTo>
                  <a:lnTo>
                    <a:pt x="213" y="200"/>
                  </a:lnTo>
                  <a:lnTo>
                    <a:pt x="213" y="198"/>
                  </a:lnTo>
                  <a:lnTo>
                    <a:pt x="213" y="170"/>
                  </a:lnTo>
                  <a:lnTo>
                    <a:pt x="213" y="170"/>
                  </a:lnTo>
                  <a:lnTo>
                    <a:pt x="213" y="92"/>
                  </a:lnTo>
                  <a:lnTo>
                    <a:pt x="213" y="72"/>
                  </a:lnTo>
                  <a:lnTo>
                    <a:pt x="213" y="64"/>
                  </a:lnTo>
                  <a:lnTo>
                    <a:pt x="211" y="58"/>
                  </a:lnTo>
                  <a:lnTo>
                    <a:pt x="211" y="56"/>
                  </a:lnTo>
                  <a:lnTo>
                    <a:pt x="211" y="52"/>
                  </a:lnTo>
                  <a:lnTo>
                    <a:pt x="211" y="46"/>
                  </a:lnTo>
                  <a:lnTo>
                    <a:pt x="213" y="38"/>
                  </a:lnTo>
                  <a:lnTo>
                    <a:pt x="211" y="32"/>
                  </a:lnTo>
                  <a:lnTo>
                    <a:pt x="213" y="26"/>
                  </a:lnTo>
                  <a:lnTo>
                    <a:pt x="215" y="24"/>
                  </a:lnTo>
                  <a:lnTo>
                    <a:pt x="213" y="20"/>
                  </a:lnTo>
                  <a:lnTo>
                    <a:pt x="207" y="18"/>
                  </a:lnTo>
                  <a:lnTo>
                    <a:pt x="199" y="18"/>
                  </a:lnTo>
                  <a:lnTo>
                    <a:pt x="199" y="18"/>
                  </a:lnTo>
                  <a:lnTo>
                    <a:pt x="187" y="12"/>
                  </a:lnTo>
                  <a:lnTo>
                    <a:pt x="187" y="8"/>
                  </a:lnTo>
                  <a:lnTo>
                    <a:pt x="185" y="8"/>
                  </a:lnTo>
                  <a:lnTo>
                    <a:pt x="175" y="4"/>
                  </a:lnTo>
                  <a:lnTo>
                    <a:pt x="159" y="6"/>
                  </a:lnTo>
                  <a:lnTo>
                    <a:pt x="145" y="16"/>
                  </a:lnTo>
                  <a:lnTo>
                    <a:pt x="147" y="32"/>
                  </a:lnTo>
                  <a:lnTo>
                    <a:pt x="139" y="44"/>
                  </a:lnTo>
                  <a:lnTo>
                    <a:pt x="125" y="44"/>
                  </a:lnTo>
                  <a:lnTo>
                    <a:pt x="119" y="38"/>
                  </a:lnTo>
                  <a:lnTo>
                    <a:pt x="111" y="34"/>
                  </a:lnTo>
                  <a:lnTo>
                    <a:pt x="103" y="32"/>
                  </a:lnTo>
                  <a:lnTo>
                    <a:pt x="97" y="32"/>
                  </a:lnTo>
                  <a:lnTo>
                    <a:pt x="83" y="24"/>
                  </a:lnTo>
                  <a:lnTo>
                    <a:pt x="81" y="18"/>
                  </a:lnTo>
                  <a:lnTo>
                    <a:pt x="79" y="12"/>
                  </a:lnTo>
                  <a:lnTo>
                    <a:pt x="61" y="6"/>
                  </a:lnTo>
                  <a:lnTo>
                    <a:pt x="53" y="4"/>
                  </a:lnTo>
                  <a:lnTo>
                    <a:pt x="47" y="6"/>
                  </a:lnTo>
                  <a:lnTo>
                    <a:pt x="33" y="2"/>
                  </a:lnTo>
                  <a:lnTo>
                    <a:pt x="29" y="0"/>
                  </a:lnTo>
                  <a:lnTo>
                    <a:pt x="29" y="8"/>
                  </a:lnTo>
                  <a:lnTo>
                    <a:pt x="31" y="12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1" name="Freeform 814">
              <a:extLst>
                <a:ext uri="{FF2B5EF4-FFF2-40B4-BE49-F238E27FC236}">
                  <a16:creationId xmlns:a16="http://schemas.microsoft.com/office/drawing/2014/main" id="{94D76BBD-D811-441B-A6CC-695BCDE0F5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225" y="3967163"/>
              <a:ext cx="127000" cy="95250"/>
            </a:xfrm>
            <a:custGeom>
              <a:avLst/>
              <a:gdLst/>
              <a:ahLst/>
              <a:cxnLst>
                <a:cxn ang="0">
                  <a:pos x="20" y="58"/>
                </a:cxn>
                <a:cxn ang="0">
                  <a:pos x="26" y="56"/>
                </a:cxn>
                <a:cxn ang="0">
                  <a:pos x="36" y="56"/>
                </a:cxn>
                <a:cxn ang="0">
                  <a:pos x="48" y="56"/>
                </a:cxn>
                <a:cxn ang="0">
                  <a:pos x="56" y="56"/>
                </a:cxn>
                <a:cxn ang="0">
                  <a:pos x="58" y="58"/>
                </a:cxn>
                <a:cxn ang="0">
                  <a:pos x="64" y="60"/>
                </a:cxn>
                <a:cxn ang="0">
                  <a:pos x="72" y="58"/>
                </a:cxn>
                <a:cxn ang="0">
                  <a:pos x="80" y="58"/>
                </a:cxn>
                <a:cxn ang="0">
                  <a:pos x="80" y="58"/>
                </a:cxn>
                <a:cxn ang="0">
                  <a:pos x="78" y="56"/>
                </a:cxn>
                <a:cxn ang="0">
                  <a:pos x="78" y="54"/>
                </a:cxn>
                <a:cxn ang="0">
                  <a:pos x="80" y="50"/>
                </a:cxn>
                <a:cxn ang="0">
                  <a:pos x="78" y="50"/>
                </a:cxn>
                <a:cxn ang="0">
                  <a:pos x="76" y="46"/>
                </a:cxn>
                <a:cxn ang="0">
                  <a:pos x="72" y="46"/>
                </a:cxn>
                <a:cxn ang="0">
                  <a:pos x="70" y="40"/>
                </a:cxn>
                <a:cxn ang="0">
                  <a:pos x="68" y="32"/>
                </a:cxn>
                <a:cxn ang="0">
                  <a:pos x="68" y="26"/>
                </a:cxn>
                <a:cxn ang="0">
                  <a:pos x="60" y="20"/>
                </a:cxn>
                <a:cxn ang="0">
                  <a:pos x="56" y="14"/>
                </a:cxn>
                <a:cxn ang="0">
                  <a:pos x="50" y="6"/>
                </a:cxn>
                <a:cxn ang="0">
                  <a:pos x="46" y="6"/>
                </a:cxn>
                <a:cxn ang="0">
                  <a:pos x="42" y="4"/>
                </a:cxn>
                <a:cxn ang="0">
                  <a:pos x="40" y="0"/>
                </a:cxn>
                <a:cxn ang="0">
                  <a:pos x="36" y="0"/>
                </a:cxn>
                <a:cxn ang="0">
                  <a:pos x="30" y="0"/>
                </a:cxn>
                <a:cxn ang="0">
                  <a:pos x="26" y="0"/>
                </a:cxn>
                <a:cxn ang="0">
                  <a:pos x="22" y="2"/>
                </a:cxn>
                <a:cxn ang="0">
                  <a:pos x="20" y="2"/>
                </a:cxn>
                <a:cxn ang="0">
                  <a:pos x="14" y="2"/>
                </a:cxn>
                <a:cxn ang="0">
                  <a:pos x="12" y="4"/>
                </a:cxn>
                <a:cxn ang="0">
                  <a:pos x="10" y="8"/>
                </a:cxn>
                <a:cxn ang="0">
                  <a:pos x="8" y="12"/>
                </a:cxn>
                <a:cxn ang="0">
                  <a:pos x="6" y="18"/>
                </a:cxn>
                <a:cxn ang="0">
                  <a:pos x="2" y="26"/>
                </a:cxn>
                <a:cxn ang="0">
                  <a:pos x="0" y="28"/>
                </a:cxn>
                <a:cxn ang="0">
                  <a:pos x="4" y="34"/>
                </a:cxn>
                <a:cxn ang="0">
                  <a:pos x="6" y="36"/>
                </a:cxn>
                <a:cxn ang="0">
                  <a:pos x="10" y="36"/>
                </a:cxn>
                <a:cxn ang="0">
                  <a:pos x="8" y="42"/>
                </a:cxn>
                <a:cxn ang="0">
                  <a:pos x="20" y="42"/>
                </a:cxn>
                <a:cxn ang="0">
                  <a:pos x="24" y="42"/>
                </a:cxn>
                <a:cxn ang="0">
                  <a:pos x="26" y="40"/>
                </a:cxn>
                <a:cxn ang="0">
                  <a:pos x="36" y="40"/>
                </a:cxn>
                <a:cxn ang="0">
                  <a:pos x="42" y="42"/>
                </a:cxn>
                <a:cxn ang="0">
                  <a:pos x="46" y="44"/>
                </a:cxn>
                <a:cxn ang="0">
                  <a:pos x="46" y="46"/>
                </a:cxn>
                <a:cxn ang="0">
                  <a:pos x="40" y="48"/>
                </a:cxn>
                <a:cxn ang="0">
                  <a:pos x="36" y="46"/>
                </a:cxn>
                <a:cxn ang="0">
                  <a:pos x="30" y="44"/>
                </a:cxn>
                <a:cxn ang="0">
                  <a:pos x="22" y="46"/>
                </a:cxn>
                <a:cxn ang="0">
                  <a:pos x="18" y="48"/>
                </a:cxn>
                <a:cxn ang="0">
                  <a:pos x="12" y="48"/>
                </a:cxn>
                <a:cxn ang="0">
                  <a:pos x="6" y="50"/>
                </a:cxn>
                <a:cxn ang="0">
                  <a:pos x="6" y="56"/>
                </a:cxn>
                <a:cxn ang="0">
                  <a:pos x="6" y="56"/>
                </a:cxn>
                <a:cxn ang="0">
                  <a:pos x="6" y="60"/>
                </a:cxn>
                <a:cxn ang="0">
                  <a:pos x="16" y="58"/>
                </a:cxn>
                <a:cxn ang="0">
                  <a:pos x="20" y="58"/>
                </a:cxn>
              </a:cxnLst>
              <a:rect l="0" t="0" r="r" b="b"/>
              <a:pathLst>
                <a:path w="80" h="60">
                  <a:moveTo>
                    <a:pt x="20" y="58"/>
                  </a:moveTo>
                  <a:lnTo>
                    <a:pt x="26" y="56"/>
                  </a:lnTo>
                  <a:lnTo>
                    <a:pt x="36" y="56"/>
                  </a:lnTo>
                  <a:lnTo>
                    <a:pt x="48" y="56"/>
                  </a:lnTo>
                  <a:lnTo>
                    <a:pt x="56" y="56"/>
                  </a:lnTo>
                  <a:lnTo>
                    <a:pt x="58" y="58"/>
                  </a:lnTo>
                  <a:lnTo>
                    <a:pt x="64" y="60"/>
                  </a:lnTo>
                  <a:lnTo>
                    <a:pt x="72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78" y="56"/>
                  </a:lnTo>
                  <a:lnTo>
                    <a:pt x="78" y="54"/>
                  </a:lnTo>
                  <a:lnTo>
                    <a:pt x="80" y="50"/>
                  </a:lnTo>
                  <a:lnTo>
                    <a:pt x="78" y="50"/>
                  </a:lnTo>
                  <a:lnTo>
                    <a:pt x="76" y="46"/>
                  </a:lnTo>
                  <a:lnTo>
                    <a:pt x="72" y="46"/>
                  </a:lnTo>
                  <a:lnTo>
                    <a:pt x="70" y="40"/>
                  </a:lnTo>
                  <a:lnTo>
                    <a:pt x="68" y="32"/>
                  </a:lnTo>
                  <a:lnTo>
                    <a:pt x="68" y="26"/>
                  </a:lnTo>
                  <a:lnTo>
                    <a:pt x="60" y="20"/>
                  </a:lnTo>
                  <a:lnTo>
                    <a:pt x="56" y="14"/>
                  </a:lnTo>
                  <a:lnTo>
                    <a:pt x="50" y="6"/>
                  </a:lnTo>
                  <a:lnTo>
                    <a:pt x="46" y="6"/>
                  </a:lnTo>
                  <a:lnTo>
                    <a:pt x="42" y="4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14" y="2"/>
                  </a:lnTo>
                  <a:lnTo>
                    <a:pt x="12" y="4"/>
                  </a:lnTo>
                  <a:lnTo>
                    <a:pt x="10" y="8"/>
                  </a:lnTo>
                  <a:lnTo>
                    <a:pt x="8" y="12"/>
                  </a:lnTo>
                  <a:lnTo>
                    <a:pt x="6" y="18"/>
                  </a:lnTo>
                  <a:lnTo>
                    <a:pt x="2" y="26"/>
                  </a:lnTo>
                  <a:lnTo>
                    <a:pt x="0" y="28"/>
                  </a:lnTo>
                  <a:lnTo>
                    <a:pt x="4" y="34"/>
                  </a:lnTo>
                  <a:lnTo>
                    <a:pt x="6" y="36"/>
                  </a:lnTo>
                  <a:lnTo>
                    <a:pt x="10" y="36"/>
                  </a:lnTo>
                  <a:lnTo>
                    <a:pt x="8" y="42"/>
                  </a:lnTo>
                  <a:lnTo>
                    <a:pt x="20" y="42"/>
                  </a:lnTo>
                  <a:lnTo>
                    <a:pt x="24" y="42"/>
                  </a:lnTo>
                  <a:lnTo>
                    <a:pt x="26" y="40"/>
                  </a:lnTo>
                  <a:lnTo>
                    <a:pt x="36" y="40"/>
                  </a:lnTo>
                  <a:lnTo>
                    <a:pt x="42" y="42"/>
                  </a:lnTo>
                  <a:lnTo>
                    <a:pt x="46" y="44"/>
                  </a:lnTo>
                  <a:lnTo>
                    <a:pt x="46" y="46"/>
                  </a:lnTo>
                  <a:lnTo>
                    <a:pt x="40" y="48"/>
                  </a:lnTo>
                  <a:lnTo>
                    <a:pt x="36" y="46"/>
                  </a:lnTo>
                  <a:lnTo>
                    <a:pt x="30" y="44"/>
                  </a:lnTo>
                  <a:lnTo>
                    <a:pt x="22" y="46"/>
                  </a:lnTo>
                  <a:lnTo>
                    <a:pt x="18" y="48"/>
                  </a:lnTo>
                  <a:lnTo>
                    <a:pt x="12" y="48"/>
                  </a:lnTo>
                  <a:lnTo>
                    <a:pt x="6" y="50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60"/>
                  </a:lnTo>
                  <a:lnTo>
                    <a:pt x="16" y="58"/>
                  </a:lnTo>
                  <a:lnTo>
                    <a:pt x="20" y="58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2" name="Freeform 838">
              <a:extLst>
                <a:ext uri="{FF2B5EF4-FFF2-40B4-BE49-F238E27FC236}">
                  <a16:creationId xmlns:a16="http://schemas.microsoft.com/office/drawing/2014/main" id="{EBFA0B5F-5574-4BB5-8B9C-89E7EC7268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2400" y="3709988"/>
              <a:ext cx="180975" cy="152400"/>
            </a:xfrm>
            <a:custGeom>
              <a:avLst/>
              <a:gdLst/>
              <a:ahLst/>
              <a:cxnLst>
                <a:cxn ang="0">
                  <a:pos x="26" y="94"/>
                </a:cxn>
                <a:cxn ang="0">
                  <a:pos x="56" y="94"/>
                </a:cxn>
                <a:cxn ang="0">
                  <a:pos x="54" y="78"/>
                </a:cxn>
                <a:cxn ang="0">
                  <a:pos x="54" y="74"/>
                </a:cxn>
                <a:cxn ang="0">
                  <a:pos x="54" y="72"/>
                </a:cxn>
                <a:cxn ang="0">
                  <a:pos x="60" y="66"/>
                </a:cxn>
                <a:cxn ang="0">
                  <a:pos x="68" y="64"/>
                </a:cxn>
                <a:cxn ang="0">
                  <a:pos x="68" y="26"/>
                </a:cxn>
                <a:cxn ang="0">
                  <a:pos x="114" y="26"/>
                </a:cxn>
                <a:cxn ang="0">
                  <a:pos x="114" y="6"/>
                </a:cxn>
                <a:cxn ang="0">
                  <a:pos x="114" y="6"/>
                </a:cxn>
                <a:cxn ang="0">
                  <a:pos x="114" y="0"/>
                </a:cxn>
                <a:cxn ang="0">
                  <a:pos x="52" y="0"/>
                </a:cxn>
                <a:cxn ang="0">
                  <a:pos x="50" y="8"/>
                </a:cxn>
                <a:cxn ang="0">
                  <a:pos x="46" y="16"/>
                </a:cxn>
                <a:cxn ang="0">
                  <a:pos x="40" y="20"/>
                </a:cxn>
                <a:cxn ang="0">
                  <a:pos x="36" y="22"/>
                </a:cxn>
                <a:cxn ang="0">
                  <a:pos x="34" y="26"/>
                </a:cxn>
                <a:cxn ang="0">
                  <a:pos x="30" y="34"/>
                </a:cxn>
                <a:cxn ang="0">
                  <a:pos x="30" y="40"/>
                </a:cxn>
                <a:cxn ang="0">
                  <a:pos x="22" y="54"/>
                </a:cxn>
                <a:cxn ang="0">
                  <a:pos x="18" y="56"/>
                </a:cxn>
                <a:cxn ang="0">
                  <a:pos x="12" y="68"/>
                </a:cxn>
                <a:cxn ang="0">
                  <a:pos x="10" y="76"/>
                </a:cxn>
                <a:cxn ang="0">
                  <a:pos x="6" y="80"/>
                </a:cxn>
                <a:cxn ang="0">
                  <a:pos x="4" y="82"/>
                </a:cxn>
                <a:cxn ang="0">
                  <a:pos x="2" y="84"/>
                </a:cxn>
                <a:cxn ang="0">
                  <a:pos x="0" y="92"/>
                </a:cxn>
                <a:cxn ang="0">
                  <a:pos x="0" y="96"/>
                </a:cxn>
                <a:cxn ang="0">
                  <a:pos x="6" y="94"/>
                </a:cxn>
                <a:cxn ang="0">
                  <a:pos x="26" y="94"/>
                </a:cxn>
              </a:cxnLst>
              <a:rect l="0" t="0" r="r" b="b"/>
              <a:pathLst>
                <a:path w="114" h="96">
                  <a:moveTo>
                    <a:pt x="26" y="94"/>
                  </a:moveTo>
                  <a:lnTo>
                    <a:pt x="56" y="94"/>
                  </a:lnTo>
                  <a:lnTo>
                    <a:pt x="54" y="78"/>
                  </a:lnTo>
                  <a:lnTo>
                    <a:pt x="54" y="74"/>
                  </a:lnTo>
                  <a:lnTo>
                    <a:pt x="54" y="72"/>
                  </a:lnTo>
                  <a:lnTo>
                    <a:pt x="60" y="66"/>
                  </a:lnTo>
                  <a:lnTo>
                    <a:pt x="68" y="64"/>
                  </a:lnTo>
                  <a:lnTo>
                    <a:pt x="68" y="26"/>
                  </a:lnTo>
                  <a:lnTo>
                    <a:pt x="114" y="26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52" y="0"/>
                  </a:lnTo>
                  <a:lnTo>
                    <a:pt x="50" y="8"/>
                  </a:lnTo>
                  <a:lnTo>
                    <a:pt x="46" y="16"/>
                  </a:lnTo>
                  <a:lnTo>
                    <a:pt x="40" y="20"/>
                  </a:lnTo>
                  <a:lnTo>
                    <a:pt x="36" y="22"/>
                  </a:lnTo>
                  <a:lnTo>
                    <a:pt x="34" y="26"/>
                  </a:lnTo>
                  <a:lnTo>
                    <a:pt x="30" y="34"/>
                  </a:lnTo>
                  <a:lnTo>
                    <a:pt x="30" y="40"/>
                  </a:lnTo>
                  <a:lnTo>
                    <a:pt x="22" y="54"/>
                  </a:lnTo>
                  <a:lnTo>
                    <a:pt x="18" y="56"/>
                  </a:lnTo>
                  <a:lnTo>
                    <a:pt x="12" y="68"/>
                  </a:lnTo>
                  <a:lnTo>
                    <a:pt x="10" y="76"/>
                  </a:lnTo>
                  <a:lnTo>
                    <a:pt x="6" y="80"/>
                  </a:lnTo>
                  <a:lnTo>
                    <a:pt x="4" y="82"/>
                  </a:lnTo>
                  <a:lnTo>
                    <a:pt x="2" y="84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6" y="94"/>
                  </a:lnTo>
                  <a:lnTo>
                    <a:pt x="26" y="94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3" name="Freeform 841">
              <a:extLst>
                <a:ext uri="{FF2B5EF4-FFF2-40B4-BE49-F238E27FC236}">
                  <a16:creationId xmlns:a16="http://schemas.microsoft.com/office/drawing/2014/main" id="{50E4B488-D7DA-4170-A851-0A28AFBFB4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2400" y="3719513"/>
              <a:ext cx="263525" cy="288925"/>
            </a:xfrm>
            <a:custGeom>
              <a:avLst/>
              <a:gdLst/>
              <a:ahLst/>
              <a:cxnLst>
                <a:cxn ang="0">
                  <a:pos x="12" y="158"/>
                </a:cxn>
                <a:cxn ang="0">
                  <a:pos x="18" y="158"/>
                </a:cxn>
                <a:cxn ang="0">
                  <a:pos x="20" y="158"/>
                </a:cxn>
                <a:cxn ang="0">
                  <a:pos x="24" y="156"/>
                </a:cxn>
                <a:cxn ang="0">
                  <a:pos x="28" y="156"/>
                </a:cxn>
                <a:cxn ang="0">
                  <a:pos x="34" y="156"/>
                </a:cxn>
                <a:cxn ang="0">
                  <a:pos x="38" y="156"/>
                </a:cxn>
                <a:cxn ang="0">
                  <a:pos x="40" y="160"/>
                </a:cxn>
                <a:cxn ang="0">
                  <a:pos x="44" y="162"/>
                </a:cxn>
                <a:cxn ang="0">
                  <a:pos x="48" y="162"/>
                </a:cxn>
                <a:cxn ang="0">
                  <a:pos x="54" y="170"/>
                </a:cxn>
                <a:cxn ang="0">
                  <a:pos x="58" y="176"/>
                </a:cxn>
                <a:cxn ang="0">
                  <a:pos x="66" y="182"/>
                </a:cxn>
                <a:cxn ang="0">
                  <a:pos x="68" y="182"/>
                </a:cxn>
                <a:cxn ang="0">
                  <a:pos x="70" y="178"/>
                </a:cxn>
                <a:cxn ang="0">
                  <a:pos x="70" y="178"/>
                </a:cxn>
                <a:cxn ang="0">
                  <a:pos x="72" y="176"/>
                </a:cxn>
                <a:cxn ang="0">
                  <a:pos x="72" y="172"/>
                </a:cxn>
                <a:cxn ang="0">
                  <a:pos x="78" y="170"/>
                </a:cxn>
                <a:cxn ang="0">
                  <a:pos x="84" y="178"/>
                </a:cxn>
                <a:cxn ang="0">
                  <a:pos x="86" y="172"/>
                </a:cxn>
                <a:cxn ang="0">
                  <a:pos x="90" y="172"/>
                </a:cxn>
                <a:cxn ang="0">
                  <a:pos x="96" y="174"/>
                </a:cxn>
                <a:cxn ang="0">
                  <a:pos x="104" y="172"/>
                </a:cxn>
                <a:cxn ang="0">
                  <a:pos x="108" y="172"/>
                </a:cxn>
                <a:cxn ang="0">
                  <a:pos x="112" y="172"/>
                </a:cxn>
                <a:cxn ang="0">
                  <a:pos x="150" y="172"/>
                </a:cxn>
                <a:cxn ang="0">
                  <a:pos x="158" y="172"/>
                </a:cxn>
                <a:cxn ang="0">
                  <a:pos x="158" y="162"/>
                </a:cxn>
                <a:cxn ang="0">
                  <a:pos x="158" y="160"/>
                </a:cxn>
                <a:cxn ang="0">
                  <a:pos x="156" y="156"/>
                </a:cxn>
                <a:cxn ang="0">
                  <a:pos x="154" y="138"/>
                </a:cxn>
                <a:cxn ang="0">
                  <a:pos x="150" y="104"/>
                </a:cxn>
                <a:cxn ang="0">
                  <a:pos x="146" y="62"/>
                </a:cxn>
                <a:cxn ang="0">
                  <a:pos x="142" y="34"/>
                </a:cxn>
                <a:cxn ang="0">
                  <a:pos x="166" y="34"/>
                </a:cxn>
                <a:cxn ang="0">
                  <a:pos x="152" y="26"/>
                </a:cxn>
                <a:cxn ang="0">
                  <a:pos x="140" y="18"/>
                </a:cxn>
                <a:cxn ang="0">
                  <a:pos x="114" y="0"/>
                </a:cxn>
                <a:cxn ang="0">
                  <a:pos x="114" y="0"/>
                </a:cxn>
                <a:cxn ang="0">
                  <a:pos x="114" y="20"/>
                </a:cxn>
                <a:cxn ang="0">
                  <a:pos x="68" y="20"/>
                </a:cxn>
                <a:cxn ang="0">
                  <a:pos x="68" y="58"/>
                </a:cxn>
                <a:cxn ang="0">
                  <a:pos x="60" y="60"/>
                </a:cxn>
                <a:cxn ang="0">
                  <a:pos x="54" y="66"/>
                </a:cxn>
                <a:cxn ang="0">
                  <a:pos x="54" y="68"/>
                </a:cxn>
                <a:cxn ang="0">
                  <a:pos x="54" y="72"/>
                </a:cxn>
                <a:cxn ang="0">
                  <a:pos x="56" y="88"/>
                </a:cxn>
                <a:cxn ang="0">
                  <a:pos x="26" y="88"/>
                </a:cxn>
                <a:cxn ang="0">
                  <a:pos x="6" y="88"/>
                </a:cxn>
                <a:cxn ang="0">
                  <a:pos x="0" y="90"/>
                </a:cxn>
                <a:cxn ang="0">
                  <a:pos x="8" y="100"/>
                </a:cxn>
                <a:cxn ang="0">
                  <a:pos x="12" y="104"/>
                </a:cxn>
                <a:cxn ang="0">
                  <a:pos x="12" y="108"/>
                </a:cxn>
                <a:cxn ang="0">
                  <a:pos x="10" y="112"/>
                </a:cxn>
                <a:cxn ang="0">
                  <a:pos x="12" y="124"/>
                </a:cxn>
                <a:cxn ang="0">
                  <a:pos x="14" y="134"/>
                </a:cxn>
                <a:cxn ang="0">
                  <a:pos x="12" y="150"/>
                </a:cxn>
                <a:cxn ang="0">
                  <a:pos x="8" y="164"/>
                </a:cxn>
                <a:cxn ang="0">
                  <a:pos x="10" y="160"/>
                </a:cxn>
                <a:cxn ang="0">
                  <a:pos x="12" y="158"/>
                </a:cxn>
              </a:cxnLst>
              <a:rect l="0" t="0" r="r" b="b"/>
              <a:pathLst>
                <a:path w="166" h="182">
                  <a:moveTo>
                    <a:pt x="12" y="158"/>
                  </a:moveTo>
                  <a:lnTo>
                    <a:pt x="18" y="158"/>
                  </a:lnTo>
                  <a:lnTo>
                    <a:pt x="20" y="158"/>
                  </a:lnTo>
                  <a:lnTo>
                    <a:pt x="24" y="156"/>
                  </a:lnTo>
                  <a:lnTo>
                    <a:pt x="28" y="156"/>
                  </a:lnTo>
                  <a:lnTo>
                    <a:pt x="34" y="156"/>
                  </a:lnTo>
                  <a:lnTo>
                    <a:pt x="38" y="156"/>
                  </a:lnTo>
                  <a:lnTo>
                    <a:pt x="40" y="160"/>
                  </a:lnTo>
                  <a:lnTo>
                    <a:pt x="44" y="162"/>
                  </a:lnTo>
                  <a:lnTo>
                    <a:pt x="48" y="162"/>
                  </a:lnTo>
                  <a:lnTo>
                    <a:pt x="54" y="170"/>
                  </a:lnTo>
                  <a:lnTo>
                    <a:pt x="58" y="176"/>
                  </a:lnTo>
                  <a:lnTo>
                    <a:pt x="66" y="182"/>
                  </a:lnTo>
                  <a:lnTo>
                    <a:pt x="68" y="182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2" y="176"/>
                  </a:lnTo>
                  <a:lnTo>
                    <a:pt x="72" y="172"/>
                  </a:lnTo>
                  <a:lnTo>
                    <a:pt x="78" y="170"/>
                  </a:lnTo>
                  <a:lnTo>
                    <a:pt x="84" y="178"/>
                  </a:lnTo>
                  <a:lnTo>
                    <a:pt x="86" y="172"/>
                  </a:lnTo>
                  <a:lnTo>
                    <a:pt x="90" y="172"/>
                  </a:lnTo>
                  <a:lnTo>
                    <a:pt x="96" y="174"/>
                  </a:lnTo>
                  <a:lnTo>
                    <a:pt x="104" y="172"/>
                  </a:lnTo>
                  <a:lnTo>
                    <a:pt x="108" y="172"/>
                  </a:lnTo>
                  <a:lnTo>
                    <a:pt x="112" y="172"/>
                  </a:lnTo>
                  <a:lnTo>
                    <a:pt x="150" y="172"/>
                  </a:lnTo>
                  <a:lnTo>
                    <a:pt x="158" y="172"/>
                  </a:lnTo>
                  <a:lnTo>
                    <a:pt x="158" y="162"/>
                  </a:lnTo>
                  <a:lnTo>
                    <a:pt x="158" y="160"/>
                  </a:lnTo>
                  <a:lnTo>
                    <a:pt x="156" y="156"/>
                  </a:lnTo>
                  <a:lnTo>
                    <a:pt x="154" y="138"/>
                  </a:lnTo>
                  <a:lnTo>
                    <a:pt x="150" y="104"/>
                  </a:lnTo>
                  <a:lnTo>
                    <a:pt x="146" y="62"/>
                  </a:lnTo>
                  <a:lnTo>
                    <a:pt x="142" y="34"/>
                  </a:lnTo>
                  <a:lnTo>
                    <a:pt x="166" y="34"/>
                  </a:lnTo>
                  <a:lnTo>
                    <a:pt x="152" y="26"/>
                  </a:lnTo>
                  <a:lnTo>
                    <a:pt x="140" y="18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4" y="20"/>
                  </a:lnTo>
                  <a:lnTo>
                    <a:pt x="68" y="20"/>
                  </a:lnTo>
                  <a:lnTo>
                    <a:pt x="68" y="58"/>
                  </a:lnTo>
                  <a:lnTo>
                    <a:pt x="60" y="60"/>
                  </a:lnTo>
                  <a:lnTo>
                    <a:pt x="54" y="66"/>
                  </a:lnTo>
                  <a:lnTo>
                    <a:pt x="54" y="68"/>
                  </a:lnTo>
                  <a:lnTo>
                    <a:pt x="54" y="72"/>
                  </a:lnTo>
                  <a:lnTo>
                    <a:pt x="56" y="88"/>
                  </a:lnTo>
                  <a:lnTo>
                    <a:pt x="26" y="88"/>
                  </a:lnTo>
                  <a:lnTo>
                    <a:pt x="6" y="88"/>
                  </a:lnTo>
                  <a:lnTo>
                    <a:pt x="0" y="90"/>
                  </a:lnTo>
                  <a:lnTo>
                    <a:pt x="8" y="100"/>
                  </a:lnTo>
                  <a:lnTo>
                    <a:pt x="12" y="104"/>
                  </a:lnTo>
                  <a:lnTo>
                    <a:pt x="12" y="108"/>
                  </a:lnTo>
                  <a:lnTo>
                    <a:pt x="10" y="112"/>
                  </a:lnTo>
                  <a:lnTo>
                    <a:pt x="12" y="124"/>
                  </a:lnTo>
                  <a:lnTo>
                    <a:pt x="14" y="134"/>
                  </a:lnTo>
                  <a:lnTo>
                    <a:pt x="12" y="150"/>
                  </a:lnTo>
                  <a:lnTo>
                    <a:pt x="8" y="164"/>
                  </a:lnTo>
                  <a:lnTo>
                    <a:pt x="10" y="160"/>
                  </a:lnTo>
                  <a:lnTo>
                    <a:pt x="12" y="158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4" name="Freeform 857">
              <a:extLst>
                <a:ext uri="{FF2B5EF4-FFF2-40B4-BE49-F238E27FC236}">
                  <a16:creationId xmlns:a16="http://schemas.microsoft.com/office/drawing/2014/main" id="{DD2757B8-D1A7-4FD5-913B-12D6AB3897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6350" y="3976688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9050"/>
                  </a:moveTo>
                  <a:lnTo>
                    <a:pt x="6350" y="25400"/>
                  </a:lnTo>
                  <a:lnTo>
                    <a:pt x="3175" y="25400"/>
                  </a:lnTo>
                  <a:close/>
                  <a:moveTo>
                    <a:pt x="19050" y="0"/>
                  </a:moveTo>
                  <a:lnTo>
                    <a:pt x="22225" y="0"/>
                  </a:lnTo>
                  <a:lnTo>
                    <a:pt x="25400" y="3175"/>
                  </a:lnTo>
                  <a:lnTo>
                    <a:pt x="19050" y="317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5" name="Freeform 804">
              <a:extLst>
                <a:ext uri="{FF2B5EF4-FFF2-40B4-BE49-F238E27FC236}">
                  <a16:creationId xmlns:a16="http://schemas.microsoft.com/office/drawing/2014/main" id="{40EB6D8A-CD78-474B-98FE-1D9C2A2A8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0050" y="4002088"/>
              <a:ext cx="171450" cy="123825"/>
            </a:xfrm>
            <a:custGeom>
              <a:avLst/>
              <a:gdLst/>
              <a:ahLst/>
              <a:cxnLst>
                <a:cxn ang="0">
                  <a:pos x="94" y="32"/>
                </a:cxn>
                <a:cxn ang="0">
                  <a:pos x="90" y="28"/>
                </a:cxn>
                <a:cxn ang="0">
                  <a:pos x="90" y="24"/>
                </a:cxn>
                <a:cxn ang="0">
                  <a:pos x="94" y="24"/>
                </a:cxn>
                <a:cxn ang="0">
                  <a:pos x="86" y="20"/>
                </a:cxn>
                <a:cxn ang="0">
                  <a:pos x="84" y="18"/>
                </a:cxn>
                <a:cxn ang="0">
                  <a:pos x="82" y="16"/>
                </a:cxn>
                <a:cxn ang="0">
                  <a:pos x="78" y="8"/>
                </a:cxn>
                <a:cxn ang="0">
                  <a:pos x="80" y="4"/>
                </a:cxn>
                <a:cxn ang="0">
                  <a:pos x="80" y="0"/>
                </a:cxn>
                <a:cxn ang="0">
                  <a:pos x="76" y="0"/>
                </a:cxn>
                <a:cxn ang="0">
                  <a:pos x="72" y="0"/>
                </a:cxn>
                <a:cxn ang="0">
                  <a:pos x="66" y="0"/>
                </a:cxn>
                <a:cxn ang="0">
                  <a:pos x="60" y="2"/>
                </a:cxn>
                <a:cxn ang="0">
                  <a:pos x="56" y="4"/>
                </a:cxn>
                <a:cxn ang="0">
                  <a:pos x="42" y="10"/>
                </a:cxn>
                <a:cxn ang="0">
                  <a:pos x="38" y="14"/>
                </a:cxn>
                <a:cxn ang="0">
                  <a:pos x="32" y="20"/>
                </a:cxn>
                <a:cxn ang="0">
                  <a:pos x="28" y="24"/>
                </a:cxn>
                <a:cxn ang="0">
                  <a:pos x="28" y="26"/>
                </a:cxn>
                <a:cxn ang="0">
                  <a:pos x="24" y="24"/>
                </a:cxn>
                <a:cxn ang="0">
                  <a:pos x="20" y="22"/>
                </a:cxn>
                <a:cxn ang="0">
                  <a:pos x="18" y="26"/>
                </a:cxn>
                <a:cxn ang="0">
                  <a:pos x="18" y="28"/>
                </a:cxn>
                <a:cxn ang="0">
                  <a:pos x="18" y="32"/>
                </a:cxn>
                <a:cxn ang="0">
                  <a:pos x="12" y="42"/>
                </a:cxn>
                <a:cxn ang="0">
                  <a:pos x="2" y="44"/>
                </a:cxn>
                <a:cxn ang="0">
                  <a:pos x="6" y="48"/>
                </a:cxn>
                <a:cxn ang="0">
                  <a:pos x="4" y="54"/>
                </a:cxn>
                <a:cxn ang="0">
                  <a:pos x="2" y="56"/>
                </a:cxn>
                <a:cxn ang="0">
                  <a:pos x="2" y="60"/>
                </a:cxn>
                <a:cxn ang="0">
                  <a:pos x="0" y="64"/>
                </a:cxn>
                <a:cxn ang="0">
                  <a:pos x="8" y="70"/>
                </a:cxn>
                <a:cxn ang="0">
                  <a:pos x="14" y="74"/>
                </a:cxn>
                <a:cxn ang="0">
                  <a:pos x="18" y="76"/>
                </a:cxn>
                <a:cxn ang="0">
                  <a:pos x="20" y="72"/>
                </a:cxn>
                <a:cxn ang="0">
                  <a:pos x="24" y="72"/>
                </a:cxn>
                <a:cxn ang="0">
                  <a:pos x="32" y="72"/>
                </a:cxn>
                <a:cxn ang="0">
                  <a:pos x="36" y="76"/>
                </a:cxn>
                <a:cxn ang="0">
                  <a:pos x="40" y="78"/>
                </a:cxn>
                <a:cxn ang="0">
                  <a:pos x="38" y="76"/>
                </a:cxn>
                <a:cxn ang="0">
                  <a:pos x="38" y="72"/>
                </a:cxn>
                <a:cxn ang="0">
                  <a:pos x="38" y="66"/>
                </a:cxn>
                <a:cxn ang="0">
                  <a:pos x="36" y="62"/>
                </a:cxn>
                <a:cxn ang="0">
                  <a:pos x="38" y="56"/>
                </a:cxn>
                <a:cxn ang="0">
                  <a:pos x="66" y="56"/>
                </a:cxn>
                <a:cxn ang="0">
                  <a:pos x="68" y="58"/>
                </a:cxn>
                <a:cxn ang="0">
                  <a:pos x="72" y="56"/>
                </a:cxn>
                <a:cxn ang="0">
                  <a:pos x="74" y="54"/>
                </a:cxn>
                <a:cxn ang="0">
                  <a:pos x="88" y="56"/>
                </a:cxn>
                <a:cxn ang="0">
                  <a:pos x="88" y="56"/>
                </a:cxn>
                <a:cxn ang="0">
                  <a:pos x="94" y="50"/>
                </a:cxn>
                <a:cxn ang="0">
                  <a:pos x="102" y="50"/>
                </a:cxn>
                <a:cxn ang="0">
                  <a:pos x="108" y="46"/>
                </a:cxn>
                <a:cxn ang="0">
                  <a:pos x="108" y="44"/>
                </a:cxn>
                <a:cxn ang="0">
                  <a:pos x="104" y="38"/>
                </a:cxn>
                <a:cxn ang="0">
                  <a:pos x="94" y="32"/>
                </a:cxn>
              </a:cxnLst>
              <a:rect l="0" t="0" r="r" b="b"/>
              <a:pathLst>
                <a:path w="108" h="78">
                  <a:moveTo>
                    <a:pt x="94" y="32"/>
                  </a:moveTo>
                  <a:lnTo>
                    <a:pt x="90" y="28"/>
                  </a:lnTo>
                  <a:lnTo>
                    <a:pt x="90" y="24"/>
                  </a:lnTo>
                  <a:lnTo>
                    <a:pt x="94" y="24"/>
                  </a:lnTo>
                  <a:lnTo>
                    <a:pt x="86" y="20"/>
                  </a:lnTo>
                  <a:lnTo>
                    <a:pt x="84" y="18"/>
                  </a:lnTo>
                  <a:lnTo>
                    <a:pt x="82" y="16"/>
                  </a:lnTo>
                  <a:lnTo>
                    <a:pt x="78" y="8"/>
                  </a:lnTo>
                  <a:lnTo>
                    <a:pt x="80" y="4"/>
                  </a:lnTo>
                  <a:lnTo>
                    <a:pt x="80" y="0"/>
                  </a:lnTo>
                  <a:lnTo>
                    <a:pt x="76" y="0"/>
                  </a:lnTo>
                  <a:lnTo>
                    <a:pt x="72" y="0"/>
                  </a:lnTo>
                  <a:lnTo>
                    <a:pt x="66" y="0"/>
                  </a:lnTo>
                  <a:lnTo>
                    <a:pt x="60" y="2"/>
                  </a:lnTo>
                  <a:lnTo>
                    <a:pt x="56" y="4"/>
                  </a:lnTo>
                  <a:lnTo>
                    <a:pt x="42" y="10"/>
                  </a:lnTo>
                  <a:lnTo>
                    <a:pt x="38" y="14"/>
                  </a:lnTo>
                  <a:lnTo>
                    <a:pt x="32" y="20"/>
                  </a:lnTo>
                  <a:lnTo>
                    <a:pt x="28" y="24"/>
                  </a:lnTo>
                  <a:lnTo>
                    <a:pt x="28" y="26"/>
                  </a:lnTo>
                  <a:lnTo>
                    <a:pt x="24" y="24"/>
                  </a:lnTo>
                  <a:lnTo>
                    <a:pt x="20" y="22"/>
                  </a:lnTo>
                  <a:lnTo>
                    <a:pt x="18" y="26"/>
                  </a:lnTo>
                  <a:lnTo>
                    <a:pt x="18" y="28"/>
                  </a:lnTo>
                  <a:lnTo>
                    <a:pt x="18" y="32"/>
                  </a:lnTo>
                  <a:lnTo>
                    <a:pt x="12" y="42"/>
                  </a:lnTo>
                  <a:lnTo>
                    <a:pt x="2" y="44"/>
                  </a:lnTo>
                  <a:lnTo>
                    <a:pt x="6" y="48"/>
                  </a:lnTo>
                  <a:lnTo>
                    <a:pt x="4" y="54"/>
                  </a:lnTo>
                  <a:lnTo>
                    <a:pt x="2" y="56"/>
                  </a:lnTo>
                  <a:lnTo>
                    <a:pt x="2" y="60"/>
                  </a:lnTo>
                  <a:lnTo>
                    <a:pt x="0" y="64"/>
                  </a:lnTo>
                  <a:lnTo>
                    <a:pt x="8" y="70"/>
                  </a:lnTo>
                  <a:lnTo>
                    <a:pt x="14" y="74"/>
                  </a:lnTo>
                  <a:lnTo>
                    <a:pt x="18" y="76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32" y="72"/>
                  </a:lnTo>
                  <a:lnTo>
                    <a:pt x="36" y="76"/>
                  </a:lnTo>
                  <a:lnTo>
                    <a:pt x="40" y="78"/>
                  </a:lnTo>
                  <a:lnTo>
                    <a:pt x="38" y="76"/>
                  </a:lnTo>
                  <a:lnTo>
                    <a:pt x="38" y="72"/>
                  </a:lnTo>
                  <a:lnTo>
                    <a:pt x="38" y="66"/>
                  </a:lnTo>
                  <a:lnTo>
                    <a:pt x="36" y="62"/>
                  </a:lnTo>
                  <a:lnTo>
                    <a:pt x="38" y="56"/>
                  </a:lnTo>
                  <a:lnTo>
                    <a:pt x="66" y="56"/>
                  </a:lnTo>
                  <a:lnTo>
                    <a:pt x="68" y="58"/>
                  </a:lnTo>
                  <a:lnTo>
                    <a:pt x="72" y="56"/>
                  </a:lnTo>
                  <a:lnTo>
                    <a:pt x="74" y="54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94" y="50"/>
                  </a:lnTo>
                  <a:lnTo>
                    <a:pt x="102" y="50"/>
                  </a:lnTo>
                  <a:lnTo>
                    <a:pt x="108" y="46"/>
                  </a:lnTo>
                  <a:lnTo>
                    <a:pt x="108" y="44"/>
                  </a:lnTo>
                  <a:lnTo>
                    <a:pt x="104" y="38"/>
                  </a:lnTo>
                  <a:lnTo>
                    <a:pt x="94" y="32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6" name="Freeform 805">
              <a:extLst>
                <a:ext uri="{FF2B5EF4-FFF2-40B4-BE49-F238E27FC236}">
                  <a16:creationId xmlns:a16="http://schemas.microsoft.com/office/drawing/2014/main" id="{02D4C161-9061-49F8-B900-D8A4EBF2B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575" y="4062413"/>
              <a:ext cx="66675" cy="130175"/>
            </a:xfrm>
            <a:custGeom>
              <a:avLst/>
              <a:gdLst/>
              <a:ahLst/>
              <a:cxnLst>
                <a:cxn ang="0">
                  <a:pos x="26" y="60"/>
                </a:cxn>
                <a:cxn ang="0">
                  <a:pos x="28" y="52"/>
                </a:cxn>
                <a:cxn ang="0">
                  <a:pos x="28" y="44"/>
                </a:cxn>
                <a:cxn ang="0">
                  <a:pos x="32" y="44"/>
                </a:cxn>
                <a:cxn ang="0">
                  <a:pos x="36" y="38"/>
                </a:cxn>
                <a:cxn ang="0">
                  <a:pos x="40" y="28"/>
                </a:cxn>
                <a:cxn ang="0">
                  <a:pos x="42" y="24"/>
                </a:cxn>
                <a:cxn ang="0">
                  <a:pos x="40" y="18"/>
                </a:cxn>
                <a:cxn ang="0">
                  <a:pos x="38" y="12"/>
                </a:cxn>
                <a:cxn ang="0">
                  <a:pos x="38" y="8"/>
                </a:cxn>
                <a:cxn ang="0">
                  <a:pos x="38" y="8"/>
                </a:cxn>
                <a:cxn ang="0">
                  <a:pos x="28" y="0"/>
                </a:cxn>
                <a:cxn ang="0">
                  <a:pos x="26" y="0"/>
                </a:cxn>
                <a:cxn ang="0">
                  <a:pos x="22" y="0"/>
                </a:cxn>
                <a:cxn ang="0">
                  <a:pos x="22" y="6"/>
                </a:cxn>
                <a:cxn ang="0">
                  <a:pos x="22" y="8"/>
                </a:cxn>
                <a:cxn ang="0">
                  <a:pos x="16" y="12"/>
                </a:cxn>
                <a:cxn ang="0">
                  <a:pos x="8" y="12"/>
                </a:cxn>
                <a:cxn ang="0">
                  <a:pos x="2" y="18"/>
                </a:cxn>
                <a:cxn ang="0">
                  <a:pos x="2" y="18"/>
                </a:cxn>
                <a:cxn ang="0">
                  <a:pos x="0" y="24"/>
                </a:cxn>
                <a:cxn ang="0">
                  <a:pos x="2" y="28"/>
                </a:cxn>
                <a:cxn ang="0">
                  <a:pos x="6" y="30"/>
                </a:cxn>
                <a:cxn ang="0">
                  <a:pos x="8" y="32"/>
                </a:cxn>
                <a:cxn ang="0">
                  <a:pos x="8" y="34"/>
                </a:cxn>
                <a:cxn ang="0">
                  <a:pos x="12" y="44"/>
                </a:cxn>
                <a:cxn ang="0">
                  <a:pos x="12" y="58"/>
                </a:cxn>
                <a:cxn ang="0">
                  <a:pos x="12" y="68"/>
                </a:cxn>
                <a:cxn ang="0">
                  <a:pos x="12" y="70"/>
                </a:cxn>
                <a:cxn ang="0">
                  <a:pos x="10" y="74"/>
                </a:cxn>
                <a:cxn ang="0">
                  <a:pos x="14" y="82"/>
                </a:cxn>
                <a:cxn ang="0">
                  <a:pos x="16" y="82"/>
                </a:cxn>
                <a:cxn ang="0">
                  <a:pos x="24" y="82"/>
                </a:cxn>
                <a:cxn ang="0">
                  <a:pos x="26" y="82"/>
                </a:cxn>
                <a:cxn ang="0">
                  <a:pos x="28" y="70"/>
                </a:cxn>
                <a:cxn ang="0">
                  <a:pos x="26" y="60"/>
                </a:cxn>
              </a:cxnLst>
              <a:rect l="0" t="0" r="r" b="b"/>
              <a:pathLst>
                <a:path w="42" h="82">
                  <a:moveTo>
                    <a:pt x="26" y="60"/>
                  </a:moveTo>
                  <a:lnTo>
                    <a:pt x="28" y="52"/>
                  </a:lnTo>
                  <a:lnTo>
                    <a:pt x="28" y="44"/>
                  </a:lnTo>
                  <a:lnTo>
                    <a:pt x="32" y="44"/>
                  </a:lnTo>
                  <a:lnTo>
                    <a:pt x="36" y="38"/>
                  </a:lnTo>
                  <a:lnTo>
                    <a:pt x="40" y="28"/>
                  </a:lnTo>
                  <a:lnTo>
                    <a:pt x="42" y="24"/>
                  </a:lnTo>
                  <a:lnTo>
                    <a:pt x="40" y="18"/>
                  </a:lnTo>
                  <a:lnTo>
                    <a:pt x="38" y="12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28" y="0"/>
                  </a:lnTo>
                  <a:lnTo>
                    <a:pt x="26" y="0"/>
                  </a:lnTo>
                  <a:lnTo>
                    <a:pt x="22" y="0"/>
                  </a:lnTo>
                  <a:lnTo>
                    <a:pt x="22" y="6"/>
                  </a:lnTo>
                  <a:lnTo>
                    <a:pt x="22" y="8"/>
                  </a:lnTo>
                  <a:lnTo>
                    <a:pt x="16" y="12"/>
                  </a:lnTo>
                  <a:lnTo>
                    <a:pt x="8" y="12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6" y="30"/>
                  </a:lnTo>
                  <a:lnTo>
                    <a:pt x="8" y="32"/>
                  </a:lnTo>
                  <a:lnTo>
                    <a:pt x="8" y="34"/>
                  </a:lnTo>
                  <a:lnTo>
                    <a:pt x="12" y="44"/>
                  </a:lnTo>
                  <a:lnTo>
                    <a:pt x="12" y="58"/>
                  </a:lnTo>
                  <a:lnTo>
                    <a:pt x="12" y="68"/>
                  </a:lnTo>
                  <a:lnTo>
                    <a:pt x="12" y="70"/>
                  </a:lnTo>
                  <a:lnTo>
                    <a:pt x="10" y="74"/>
                  </a:lnTo>
                  <a:lnTo>
                    <a:pt x="14" y="82"/>
                  </a:lnTo>
                  <a:lnTo>
                    <a:pt x="16" y="82"/>
                  </a:lnTo>
                  <a:lnTo>
                    <a:pt x="24" y="82"/>
                  </a:lnTo>
                  <a:lnTo>
                    <a:pt x="26" y="82"/>
                  </a:lnTo>
                  <a:lnTo>
                    <a:pt x="28" y="70"/>
                  </a:lnTo>
                  <a:lnTo>
                    <a:pt x="26" y="6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7" name="Freeform 811">
              <a:extLst>
                <a:ext uri="{FF2B5EF4-FFF2-40B4-BE49-F238E27FC236}">
                  <a16:creationId xmlns:a16="http://schemas.microsoft.com/office/drawing/2014/main" id="{66C1ABCB-26FF-42B9-B998-6B514819B1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8750" y="4030663"/>
              <a:ext cx="63500" cy="15875"/>
            </a:xfrm>
            <a:custGeom>
              <a:avLst/>
              <a:gdLst/>
              <a:ahLst/>
              <a:cxnLst>
                <a:cxn ang="0">
                  <a:pos x="12" y="8"/>
                </a:cxn>
                <a:cxn ang="0">
                  <a:pos x="16" y="6"/>
                </a:cxn>
                <a:cxn ang="0">
                  <a:pos x="24" y="4"/>
                </a:cxn>
                <a:cxn ang="0">
                  <a:pos x="30" y="6"/>
                </a:cxn>
                <a:cxn ang="0">
                  <a:pos x="34" y="8"/>
                </a:cxn>
                <a:cxn ang="0">
                  <a:pos x="40" y="6"/>
                </a:cxn>
                <a:cxn ang="0">
                  <a:pos x="40" y="4"/>
                </a:cxn>
                <a:cxn ang="0">
                  <a:pos x="36" y="2"/>
                </a:cxn>
                <a:cxn ang="0">
                  <a:pos x="30" y="0"/>
                </a:cxn>
                <a:cxn ang="0">
                  <a:pos x="20" y="0"/>
                </a:cxn>
                <a:cxn ang="0">
                  <a:pos x="18" y="2"/>
                </a:cxn>
                <a:cxn ang="0">
                  <a:pos x="14" y="2"/>
                </a:cxn>
                <a:cxn ang="0">
                  <a:pos x="2" y="2"/>
                </a:cxn>
                <a:cxn ang="0">
                  <a:pos x="2" y="4"/>
                </a:cxn>
                <a:cxn ang="0">
                  <a:pos x="0" y="6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6" y="8"/>
                </a:cxn>
                <a:cxn ang="0">
                  <a:pos x="12" y="8"/>
                </a:cxn>
              </a:cxnLst>
              <a:rect l="0" t="0" r="r" b="b"/>
              <a:pathLst>
                <a:path w="40" h="10">
                  <a:moveTo>
                    <a:pt x="12" y="8"/>
                  </a:moveTo>
                  <a:lnTo>
                    <a:pt x="16" y="6"/>
                  </a:lnTo>
                  <a:lnTo>
                    <a:pt x="24" y="4"/>
                  </a:lnTo>
                  <a:lnTo>
                    <a:pt x="30" y="6"/>
                  </a:lnTo>
                  <a:lnTo>
                    <a:pt x="34" y="8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36" y="2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8" y="2"/>
                  </a:lnTo>
                  <a:lnTo>
                    <a:pt x="14" y="2"/>
                  </a:lnTo>
                  <a:lnTo>
                    <a:pt x="2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6" y="8"/>
                  </a:lnTo>
                  <a:lnTo>
                    <a:pt x="12" y="8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8" name="Freeform 812">
              <a:extLst>
                <a:ext uri="{FF2B5EF4-FFF2-40B4-BE49-F238E27FC236}">
                  <a16:creationId xmlns:a16="http://schemas.microsoft.com/office/drawing/2014/main" id="{8B584C6F-269A-4F9F-BE31-F11ECE355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8750" y="4056063"/>
              <a:ext cx="66675" cy="38100"/>
            </a:xfrm>
            <a:custGeom>
              <a:avLst/>
              <a:gdLst/>
              <a:ahLst/>
              <a:cxnLst>
                <a:cxn ang="0">
                  <a:pos x="30" y="16"/>
                </a:cxn>
                <a:cxn ang="0">
                  <a:pos x="34" y="12"/>
                </a:cxn>
                <a:cxn ang="0">
                  <a:pos x="36" y="14"/>
                </a:cxn>
                <a:cxn ang="0">
                  <a:pos x="40" y="12"/>
                </a:cxn>
                <a:cxn ang="0">
                  <a:pos x="42" y="8"/>
                </a:cxn>
                <a:cxn ang="0">
                  <a:pos x="42" y="4"/>
                </a:cxn>
                <a:cxn ang="0">
                  <a:pos x="42" y="0"/>
                </a:cxn>
                <a:cxn ang="0">
                  <a:pos x="30" y="0"/>
                </a:cxn>
                <a:cxn ang="0">
                  <a:pos x="20" y="0"/>
                </a:cxn>
                <a:cxn ang="0">
                  <a:pos x="14" y="2"/>
                </a:cxn>
                <a:cxn ang="0">
                  <a:pos x="10" y="2"/>
                </a:cxn>
                <a:cxn ang="0">
                  <a:pos x="0" y="4"/>
                </a:cxn>
                <a:cxn ang="0">
                  <a:pos x="10" y="4"/>
                </a:cxn>
                <a:cxn ang="0">
                  <a:pos x="6" y="8"/>
                </a:cxn>
                <a:cxn ang="0">
                  <a:pos x="12" y="12"/>
                </a:cxn>
                <a:cxn ang="0">
                  <a:pos x="16" y="10"/>
                </a:cxn>
                <a:cxn ang="0">
                  <a:pos x="16" y="12"/>
                </a:cxn>
                <a:cxn ang="0">
                  <a:pos x="18" y="14"/>
                </a:cxn>
                <a:cxn ang="0">
                  <a:pos x="18" y="16"/>
                </a:cxn>
                <a:cxn ang="0">
                  <a:pos x="18" y="20"/>
                </a:cxn>
                <a:cxn ang="0">
                  <a:pos x="22" y="22"/>
                </a:cxn>
                <a:cxn ang="0">
                  <a:pos x="24" y="22"/>
                </a:cxn>
                <a:cxn ang="0">
                  <a:pos x="24" y="24"/>
                </a:cxn>
                <a:cxn ang="0">
                  <a:pos x="28" y="16"/>
                </a:cxn>
                <a:cxn ang="0">
                  <a:pos x="30" y="16"/>
                </a:cxn>
              </a:cxnLst>
              <a:rect l="0" t="0" r="r" b="b"/>
              <a:pathLst>
                <a:path w="42" h="24">
                  <a:moveTo>
                    <a:pt x="30" y="16"/>
                  </a:moveTo>
                  <a:lnTo>
                    <a:pt x="34" y="12"/>
                  </a:lnTo>
                  <a:lnTo>
                    <a:pt x="36" y="14"/>
                  </a:lnTo>
                  <a:lnTo>
                    <a:pt x="40" y="12"/>
                  </a:lnTo>
                  <a:lnTo>
                    <a:pt x="42" y="8"/>
                  </a:lnTo>
                  <a:lnTo>
                    <a:pt x="42" y="4"/>
                  </a:lnTo>
                  <a:lnTo>
                    <a:pt x="42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4" y="2"/>
                  </a:lnTo>
                  <a:lnTo>
                    <a:pt x="10" y="2"/>
                  </a:lnTo>
                  <a:lnTo>
                    <a:pt x="0" y="4"/>
                  </a:lnTo>
                  <a:lnTo>
                    <a:pt x="10" y="4"/>
                  </a:lnTo>
                  <a:lnTo>
                    <a:pt x="6" y="8"/>
                  </a:lnTo>
                  <a:lnTo>
                    <a:pt x="12" y="12"/>
                  </a:lnTo>
                  <a:lnTo>
                    <a:pt x="16" y="10"/>
                  </a:lnTo>
                  <a:lnTo>
                    <a:pt x="16" y="12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18" y="20"/>
                  </a:lnTo>
                  <a:lnTo>
                    <a:pt x="22" y="22"/>
                  </a:lnTo>
                  <a:lnTo>
                    <a:pt x="24" y="22"/>
                  </a:lnTo>
                  <a:lnTo>
                    <a:pt x="24" y="24"/>
                  </a:lnTo>
                  <a:lnTo>
                    <a:pt x="28" y="16"/>
                  </a:lnTo>
                  <a:lnTo>
                    <a:pt x="30" y="16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9" name="Freeform 813">
              <a:extLst>
                <a:ext uri="{FF2B5EF4-FFF2-40B4-BE49-F238E27FC236}">
                  <a16:creationId xmlns:a16="http://schemas.microsoft.com/office/drawing/2014/main" id="{47DE1EA9-F4A1-4508-AFF4-0143EC1FB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6850" y="4056063"/>
              <a:ext cx="158750" cy="117475"/>
            </a:xfrm>
            <a:custGeom>
              <a:avLst/>
              <a:gdLst/>
              <a:ahLst/>
              <a:cxnLst>
                <a:cxn ang="0">
                  <a:pos x="38" y="36"/>
                </a:cxn>
                <a:cxn ang="0">
                  <a:pos x="52" y="36"/>
                </a:cxn>
                <a:cxn ang="0">
                  <a:pos x="60" y="48"/>
                </a:cxn>
                <a:cxn ang="0">
                  <a:pos x="64" y="56"/>
                </a:cxn>
                <a:cxn ang="0">
                  <a:pos x="74" y="58"/>
                </a:cxn>
                <a:cxn ang="0">
                  <a:pos x="76" y="64"/>
                </a:cxn>
                <a:cxn ang="0">
                  <a:pos x="74" y="72"/>
                </a:cxn>
                <a:cxn ang="0">
                  <a:pos x="80" y="74"/>
                </a:cxn>
                <a:cxn ang="0">
                  <a:pos x="88" y="70"/>
                </a:cxn>
                <a:cxn ang="0">
                  <a:pos x="94" y="64"/>
                </a:cxn>
                <a:cxn ang="0">
                  <a:pos x="92" y="60"/>
                </a:cxn>
                <a:cxn ang="0">
                  <a:pos x="100" y="58"/>
                </a:cxn>
                <a:cxn ang="0">
                  <a:pos x="96" y="48"/>
                </a:cxn>
                <a:cxn ang="0">
                  <a:pos x="96" y="44"/>
                </a:cxn>
                <a:cxn ang="0">
                  <a:pos x="94" y="42"/>
                </a:cxn>
                <a:cxn ang="0">
                  <a:pos x="94" y="36"/>
                </a:cxn>
                <a:cxn ang="0">
                  <a:pos x="94" y="30"/>
                </a:cxn>
                <a:cxn ang="0">
                  <a:pos x="90" y="22"/>
                </a:cxn>
                <a:cxn ang="0">
                  <a:pos x="90" y="18"/>
                </a:cxn>
                <a:cxn ang="0">
                  <a:pos x="84" y="8"/>
                </a:cxn>
                <a:cxn ang="0">
                  <a:pos x="78" y="2"/>
                </a:cxn>
                <a:cxn ang="0">
                  <a:pos x="72" y="6"/>
                </a:cxn>
                <a:cxn ang="0">
                  <a:pos x="58" y="10"/>
                </a:cxn>
                <a:cxn ang="0">
                  <a:pos x="56" y="6"/>
                </a:cxn>
                <a:cxn ang="0">
                  <a:pos x="50" y="8"/>
                </a:cxn>
                <a:cxn ang="0">
                  <a:pos x="50" y="2"/>
                </a:cxn>
                <a:cxn ang="0">
                  <a:pos x="34" y="4"/>
                </a:cxn>
                <a:cxn ang="0">
                  <a:pos x="26" y="0"/>
                </a:cxn>
                <a:cxn ang="0">
                  <a:pos x="18" y="4"/>
                </a:cxn>
                <a:cxn ang="0">
                  <a:pos x="16" y="12"/>
                </a:cxn>
                <a:cxn ang="0">
                  <a:pos x="10" y="12"/>
                </a:cxn>
                <a:cxn ang="0">
                  <a:pos x="4" y="16"/>
                </a:cxn>
                <a:cxn ang="0">
                  <a:pos x="0" y="26"/>
                </a:cxn>
                <a:cxn ang="0">
                  <a:pos x="6" y="30"/>
                </a:cxn>
                <a:cxn ang="0">
                  <a:pos x="14" y="34"/>
                </a:cxn>
                <a:cxn ang="0">
                  <a:pos x="18" y="38"/>
                </a:cxn>
                <a:cxn ang="0">
                  <a:pos x="28" y="46"/>
                </a:cxn>
              </a:cxnLst>
              <a:rect l="0" t="0" r="r" b="b"/>
              <a:pathLst>
                <a:path w="100" h="74">
                  <a:moveTo>
                    <a:pt x="34" y="38"/>
                  </a:moveTo>
                  <a:lnTo>
                    <a:pt x="38" y="36"/>
                  </a:lnTo>
                  <a:lnTo>
                    <a:pt x="42" y="36"/>
                  </a:lnTo>
                  <a:lnTo>
                    <a:pt x="52" y="36"/>
                  </a:lnTo>
                  <a:lnTo>
                    <a:pt x="56" y="42"/>
                  </a:lnTo>
                  <a:lnTo>
                    <a:pt x="60" y="48"/>
                  </a:lnTo>
                  <a:lnTo>
                    <a:pt x="58" y="60"/>
                  </a:lnTo>
                  <a:lnTo>
                    <a:pt x="64" y="56"/>
                  </a:lnTo>
                  <a:lnTo>
                    <a:pt x="72" y="56"/>
                  </a:lnTo>
                  <a:lnTo>
                    <a:pt x="74" y="58"/>
                  </a:lnTo>
                  <a:lnTo>
                    <a:pt x="76" y="62"/>
                  </a:lnTo>
                  <a:lnTo>
                    <a:pt x="76" y="64"/>
                  </a:lnTo>
                  <a:lnTo>
                    <a:pt x="76" y="68"/>
                  </a:lnTo>
                  <a:lnTo>
                    <a:pt x="74" y="72"/>
                  </a:lnTo>
                  <a:lnTo>
                    <a:pt x="78" y="72"/>
                  </a:lnTo>
                  <a:lnTo>
                    <a:pt x="80" y="74"/>
                  </a:lnTo>
                  <a:lnTo>
                    <a:pt x="86" y="68"/>
                  </a:lnTo>
                  <a:lnTo>
                    <a:pt x="88" y="70"/>
                  </a:lnTo>
                  <a:lnTo>
                    <a:pt x="94" y="68"/>
                  </a:lnTo>
                  <a:lnTo>
                    <a:pt x="94" y="64"/>
                  </a:lnTo>
                  <a:lnTo>
                    <a:pt x="94" y="62"/>
                  </a:lnTo>
                  <a:lnTo>
                    <a:pt x="92" y="60"/>
                  </a:lnTo>
                  <a:lnTo>
                    <a:pt x="92" y="58"/>
                  </a:lnTo>
                  <a:lnTo>
                    <a:pt x="100" y="58"/>
                  </a:lnTo>
                  <a:lnTo>
                    <a:pt x="96" y="52"/>
                  </a:lnTo>
                  <a:lnTo>
                    <a:pt x="96" y="48"/>
                  </a:lnTo>
                  <a:lnTo>
                    <a:pt x="98" y="44"/>
                  </a:lnTo>
                  <a:lnTo>
                    <a:pt x="96" y="44"/>
                  </a:lnTo>
                  <a:lnTo>
                    <a:pt x="94" y="44"/>
                  </a:lnTo>
                  <a:lnTo>
                    <a:pt x="94" y="42"/>
                  </a:lnTo>
                  <a:lnTo>
                    <a:pt x="94" y="38"/>
                  </a:lnTo>
                  <a:lnTo>
                    <a:pt x="94" y="36"/>
                  </a:lnTo>
                  <a:lnTo>
                    <a:pt x="96" y="34"/>
                  </a:lnTo>
                  <a:lnTo>
                    <a:pt x="94" y="30"/>
                  </a:lnTo>
                  <a:lnTo>
                    <a:pt x="92" y="26"/>
                  </a:lnTo>
                  <a:lnTo>
                    <a:pt x="90" y="22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4" y="14"/>
                  </a:lnTo>
                  <a:lnTo>
                    <a:pt x="84" y="8"/>
                  </a:lnTo>
                  <a:lnTo>
                    <a:pt x="82" y="6"/>
                  </a:lnTo>
                  <a:lnTo>
                    <a:pt x="78" y="2"/>
                  </a:lnTo>
                  <a:lnTo>
                    <a:pt x="76" y="4"/>
                  </a:lnTo>
                  <a:lnTo>
                    <a:pt x="72" y="6"/>
                  </a:lnTo>
                  <a:lnTo>
                    <a:pt x="64" y="6"/>
                  </a:lnTo>
                  <a:lnTo>
                    <a:pt x="58" y="10"/>
                  </a:lnTo>
                  <a:lnTo>
                    <a:pt x="58" y="8"/>
                  </a:lnTo>
                  <a:lnTo>
                    <a:pt x="56" y="6"/>
                  </a:lnTo>
                  <a:lnTo>
                    <a:pt x="54" y="6"/>
                  </a:lnTo>
                  <a:lnTo>
                    <a:pt x="50" y="8"/>
                  </a:lnTo>
                  <a:lnTo>
                    <a:pt x="48" y="6"/>
                  </a:lnTo>
                  <a:lnTo>
                    <a:pt x="50" y="2"/>
                  </a:lnTo>
                  <a:lnTo>
                    <a:pt x="42" y="2"/>
                  </a:lnTo>
                  <a:lnTo>
                    <a:pt x="34" y="4"/>
                  </a:lnTo>
                  <a:lnTo>
                    <a:pt x="28" y="2"/>
                  </a:lnTo>
                  <a:lnTo>
                    <a:pt x="26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8" y="8"/>
                  </a:lnTo>
                  <a:lnTo>
                    <a:pt x="16" y="12"/>
                  </a:lnTo>
                  <a:lnTo>
                    <a:pt x="12" y="14"/>
                  </a:lnTo>
                  <a:lnTo>
                    <a:pt x="10" y="12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4" y="28"/>
                  </a:lnTo>
                  <a:lnTo>
                    <a:pt x="6" y="30"/>
                  </a:lnTo>
                  <a:lnTo>
                    <a:pt x="10" y="34"/>
                  </a:lnTo>
                  <a:lnTo>
                    <a:pt x="14" y="34"/>
                  </a:lnTo>
                  <a:lnTo>
                    <a:pt x="18" y="36"/>
                  </a:lnTo>
                  <a:lnTo>
                    <a:pt x="18" y="38"/>
                  </a:lnTo>
                  <a:lnTo>
                    <a:pt x="24" y="50"/>
                  </a:lnTo>
                  <a:lnTo>
                    <a:pt x="28" y="46"/>
                  </a:lnTo>
                  <a:lnTo>
                    <a:pt x="34" y="38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0" name="Freeform 815">
              <a:extLst>
                <a:ext uri="{FF2B5EF4-FFF2-40B4-BE49-F238E27FC236}">
                  <a16:creationId xmlns:a16="http://schemas.microsoft.com/office/drawing/2014/main" id="{7BE40DA7-C6DB-41EC-9737-32446719C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4950" y="4113213"/>
              <a:ext cx="63500" cy="66675"/>
            </a:xfrm>
            <a:custGeom>
              <a:avLst/>
              <a:gdLst/>
              <a:ahLst/>
              <a:cxnLst>
                <a:cxn ang="0">
                  <a:pos x="34" y="32"/>
                </a:cxn>
                <a:cxn ang="0">
                  <a:pos x="36" y="30"/>
                </a:cxn>
                <a:cxn ang="0">
                  <a:pos x="36" y="26"/>
                </a:cxn>
                <a:cxn ang="0">
                  <a:pos x="40" y="24"/>
                </a:cxn>
                <a:cxn ang="0">
                  <a:pos x="40" y="20"/>
                </a:cxn>
                <a:cxn ang="0">
                  <a:pos x="34" y="24"/>
                </a:cxn>
                <a:cxn ang="0">
                  <a:pos x="36" y="12"/>
                </a:cxn>
                <a:cxn ang="0">
                  <a:pos x="32" y="6"/>
                </a:cxn>
                <a:cxn ang="0">
                  <a:pos x="28" y="0"/>
                </a:cxn>
                <a:cxn ang="0">
                  <a:pos x="18" y="0"/>
                </a:cxn>
                <a:cxn ang="0">
                  <a:pos x="14" y="0"/>
                </a:cxn>
                <a:cxn ang="0">
                  <a:pos x="10" y="2"/>
                </a:cxn>
                <a:cxn ang="0">
                  <a:pos x="4" y="10"/>
                </a:cxn>
                <a:cxn ang="0">
                  <a:pos x="0" y="14"/>
                </a:cxn>
                <a:cxn ang="0">
                  <a:pos x="0" y="20"/>
                </a:cxn>
                <a:cxn ang="0">
                  <a:pos x="2" y="28"/>
                </a:cxn>
                <a:cxn ang="0">
                  <a:pos x="8" y="32"/>
                </a:cxn>
                <a:cxn ang="0">
                  <a:pos x="12" y="36"/>
                </a:cxn>
                <a:cxn ang="0">
                  <a:pos x="22" y="42"/>
                </a:cxn>
                <a:cxn ang="0">
                  <a:pos x="24" y="42"/>
                </a:cxn>
                <a:cxn ang="0">
                  <a:pos x="28" y="36"/>
                </a:cxn>
                <a:cxn ang="0">
                  <a:pos x="34" y="32"/>
                </a:cxn>
              </a:cxnLst>
              <a:rect l="0" t="0" r="r" b="b"/>
              <a:pathLst>
                <a:path w="40" h="42">
                  <a:moveTo>
                    <a:pt x="34" y="32"/>
                  </a:moveTo>
                  <a:lnTo>
                    <a:pt x="36" y="30"/>
                  </a:lnTo>
                  <a:lnTo>
                    <a:pt x="36" y="26"/>
                  </a:lnTo>
                  <a:lnTo>
                    <a:pt x="40" y="24"/>
                  </a:lnTo>
                  <a:lnTo>
                    <a:pt x="40" y="20"/>
                  </a:lnTo>
                  <a:lnTo>
                    <a:pt x="34" y="24"/>
                  </a:lnTo>
                  <a:lnTo>
                    <a:pt x="36" y="12"/>
                  </a:lnTo>
                  <a:lnTo>
                    <a:pt x="32" y="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2"/>
                  </a:lnTo>
                  <a:lnTo>
                    <a:pt x="4" y="10"/>
                  </a:lnTo>
                  <a:lnTo>
                    <a:pt x="0" y="14"/>
                  </a:lnTo>
                  <a:lnTo>
                    <a:pt x="0" y="20"/>
                  </a:lnTo>
                  <a:lnTo>
                    <a:pt x="2" y="28"/>
                  </a:lnTo>
                  <a:lnTo>
                    <a:pt x="8" y="32"/>
                  </a:lnTo>
                  <a:lnTo>
                    <a:pt x="12" y="36"/>
                  </a:lnTo>
                  <a:lnTo>
                    <a:pt x="22" y="42"/>
                  </a:lnTo>
                  <a:lnTo>
                    <a:pt x="24" y="42"/>
                  </a:lnTo>
                  <a:lnTo>
                    <a:pt x="28" y="36"/>
                  </a:lnTo>
                  <a:lnTo>
                    <a:pt x="34" y="32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1" name="Freeform 835">
              <a:extLst>
                <a:ext uri="{FF2B5EF4-FFF2-40B4-BE49-F238E27FC236}">
                  <a16:creationId xmlns:a16="http://schemas.microsoft.com/office/drawing/2014/main" id="{9E97DF06-005D-4AC5-B5F6-97D2F1D5C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4097338"/>
              <a:ext cx="133350" cy="136525"/>
            </a:xfrm>
            <a:custGeom>
              <a:avLst/>
              <a:gdLst/>
              <a:ahLst/>
              <a:cxnLst>
                <a:cxn ang="0">
                  <a:pos x="78" y="70"/>
                </a:cxn>
                <a:cxn ang="0">
                  <a:pos x="74" y="60"/>
                </a:cxn>
                <a:cxn ang="0">
                  <a:pos x="76" y="48"/>
                </a:cxn>
                <a:cxn ang="0">
                  <a:pos x="84" y="34"/>
                </a:cxn>
                <a:cxn ang="0">
                  <a:pos x="82" y="26"/>
                </a:cxn>
                <a:cxn ang="0">
                  <a:pos x="80" y="24"/>
                </a:cxn>
                <a:cxn ang="0">
                  <a:pos x="78" y="16"/>
                </a:cxn>
                <a:cxn ang="0">
                  <a:pos x="66" y="12"/>
                </a:cxn>
                <a:cxn ang="0">
                  <a:pos x="60" y="16"/>
                </a:cxn>
                <a:cxn ang="0">
                  <a:pos x="50" y="10"/>
                </a:cxn>
                <a:cxn ang="0">
                  <a:pos x="38" y="6"/>
                </a:cxn>
                <a:cxn ang="0">
                  <a:pos x="34" y="6"/>
                </a:cxn>
                <a:cxn ang="0">
                  <a:pos x="28" y="0"/>
                </a:cxn>
                <a:cxn ang="0">
                  <a:pos x="26" y="6"/>
                </a:cxn>
                <a:cxn ang="0">
                  <a:pos x="12" y="4"/>
                </a:cxn>
                <a:cxn ang="0">
                  <a:pos x="10" y="8"/>
                </a:cxn>
                <a:cxn ang="0">
                  <a:pos x="8" y="12"/>
                </a:cxn>
                <a:cxn ang="0">
                  <a:pos x="8" y="18"/>
                </a:cxn>
                <a:cxn ang="0">
                  <a:pos x="12" y="18"/>
                </a:cxn>
                <a:cxn ang="0">
                  <a:pos x="10" y="26"/>
                </a:cxn>
                <a:cxn ang="0">
                  <a:pos x="14" y="32"/>
                </a:cxn>
                <a:cxn ang="0">
                  <a:pos x="14" y="32"/>
                </a:cxn>
                <a:cxn ang="0">
                  <a:pos x="6" y="34"/>
                </a:cxn>
                <a:cxn ang="0">
                  <a:pos x="8" y="38"/>
                </a:cxn>
                <a:cxn ang="0">
                  <a:pos x="2" y="44"/>
                </a:cxn>
                <a:cxn ang="0">
                  <a:pos x="4" y="48"/>
                </a:cxn>
                <a:cxn ang="0">
                  <a:pos x="0" y="58"/>
                </a:cxn>
                <a:cxn ang="0">
                  <a:pos x="10" y="62"/>
                </a:cxn>
                <a:cxn ang="0">
                  <a:pos x="16" y="66"/>
                </a:cxn>
                <a:cxn ang="0">
                  <a:pos x="18" y="72"/>
                </a:cxn>
                <a:cxn ang="0">
                  <a:pos x="16" y="76"/>
                </a:cxn>
                <a:cxn ang="0">
                  <a:pos x="14" y="78"/>
                </a:cxn>
                <a:cxn ang="0">
                  <a:pos x="14" y="80"/>
                </a:cxn>
                <a:cxn ang="0">
                  <a:pos x="16" y="86"/>
                </a:cxn>
                <a:cxn ang="0">
                  <a:pos x="36" y="78"/>
                </a:cxn>
                <a:cxn ang="0">
                  <a:pos x="78" y="76"/>
                </a:cxn>
                <a:cxn ang="0">
                  <a:pos x="80" y="70"/>
                </a:cxn>
              </a:cxnLst>
              <a:rect l="0" t="0" r="r" b="b"/>
              <a:pathLst>
                <a:path w="84" h="86">
                  <a:moveTo>
                    <a:pt x="80" y="70"/>
                  </a:moveTo>
                  <a:lnTo>
                    <a:pt x="78" y="70"/>
                  </a:lnTo>
                  <a:lnTo>
                    <a:pt x="76" y="64"/>
                  </a:lnTo>
                  <a:lnTo>
                    <a:pt x="74" y="60"/>
                  </a:lnTo>
                  <a:lnTo>
                    <a:pt x="74" y="54"/>
                  </a:lnTo>
                  <a:lnTo>
                    <a:pt x="76" y="48"/>
                  </a:lnTo>
                  <a:lnTo>
                    <a:pt x="80" y="38"/>
                  </a:lnTo>
                  <a:lnTo>
                    <a:pt x="84" y="34"/>
                  </a:lnTo>
                  <a:lnTo>
                    <a:pt x="84" y="32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0" y="24"/>
                  </a:lnTo>
                  <a:lnTo>
                    <a:pt x="82" y="18"/>
                  </a:lnTo>
                  <a:lnTo>
                    <a:pt x="78" y="16"/>
                  </a:lnTo>
                  <a:lnTo>
                    <a:pt x="74" y="12"/>
                  </a:lnTo>
                  <a:lnTo>
                    <a:pt x="66" y="12"/>
                  </a:lnTo>
                  <a:lnTo>
                    <a:pt x="62" y="12"/>
                  </a:lnTo>
                  <a:lnTo>
                    <a:pt x="60" y="16"/>
                  </a:lnTo>
                  <a:lnTo>
                    <a:pt x="56" y="14"/>
                  </a:lnTo>
                  <a:lnTo>
                    <a:pt x="50" y="10"/>
                  </a:lnTo>
                  <a:lnTo>
                    <a:pt x="42" y="4"/>
                  </a:lnTo>
                  <a:lnTo>
                    <a:pt x="38" y="6"/>
                  </a:lnTo>
                  <a:lnTo>
                    <a:pt x="36" y="8"/>
                  </a:lnTo>
                  <a:lnTo>
                    <a:pt x="34" y="6"/>
                  </a:lnTo>
                  <a:lnTo>
                    <a:pt x="3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6" y="6"/>
                  </a:lnTo>
                  <a:lnTo>
                    <a:pt x="20" y="4"/>
                  </a:lnTo>
                  <a:lnTo>
                    <a:pt x="12" y="4"/>
                  </a:lnTo>
                  <a:lnTo>
                    <a:pt x="12" y="6"/>
                  </a:lnTo>
                  <a:lnTo>
                    <a:pt x="10" y="8"/>
                  </a:lnTo>
                  <a:lnTo>
                    <a:pt x="8" y="10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2" y="18"/>
                  </a:lnTo>
                  <a:lnTo>
                    <a:pt x="10" y="22"/>
                  </a:lnTo>
                  <a:lnTo>
                    <a:pt x="10" y="26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6" y="32"/>
                  </a:lnTo>
                  <a:lnTo>
                    <a:pt x="6" y="34"/>
                  </a:lnTo>
                  <a:lnTo>
                    <a:pt x="8" y="36"/>
                  </a:lnTo>
                  <a:lnTo>
                    <a:pt x="8" y="38"/>
                  </a:lnTo>
                  <a:lnTo>
                    <a:pt x="8" y="42"/>
                  </a:lnTo>
                  <a:lnTo>
                    <a:pt x="2" y="44"/>
                  </a:lnTo>
                  <a:lnTo>
                    <a:pt x="4" y="44"/>
                  </a:lnTo>
                  <a:lnTo>
                    <a:pt x="4" y="48"/>
                  </a:lnTo>
                  <a:lnTo>
                    <a:pt x="4" y="54"/>
                  </a:lnTo>
                  <a:lnTo>
                    <a:pt x="0" y="58"/>
                  </a:lnTo>
                  <a:lnTo>
                    <a:pt x="4" y="58"/>
                  </a:lnTo>
                  <a:lnTo>
                    <a:pt x="10" y="62"/>
                  </a:lnTo>
                  <a:lnTo>
                    <a:pt x="14" y="66"/>
                  </a:lnTo>
                  <a:lnTo>
                    <a:pt x="16" y="66"/>
                  </a:lnTo>
                  <a:lnTo>
                    <a:pt x="16" y="68"/>
                  </a:lnTo>
                  <a:lnTo>
                    <a:pt x="18" y="72"/>
                  </a:lnTo>
                  <a:lnTo>
                    <a:pt x="18" y="74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4" y="78"/>
                  </a:lnTo>
                  <a:lnTo>
                    <a:pt x="16" y="78"/>
                  </a:lnTo>
                  <a:lnTo>
                    <a:pt x="14" y="80"/>
                  </a:lnTo>
                  <a:lnTo>
                    <a:pt x="14" y="84"/>
                  </a:lnTo>
                  <a:lnTo>
                    <a:pt x="16" y="86"/>
                  </a:lnTo>
                  <a:lnTo>
                    <a:pt x="26" y="82"/>
                  </a:lnTo>
                  <a:lnTo>
                    <a:pt x="36" y="78"/>
                  </a:lnTo>
                  <a:lnTo>
                    <a:pt x="46" y="76"/>
                  </a:lnTo>
                  <a:lnTo>
                    <a:pt x="78" y="76"/>
                  </a:lnTo>
                  <a:lnTo>
                    <a:pt x="80" y="74"/>
                  </a:lnTo>
                  <a:lnTo>
                    <a:pt x="80" y="7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2" name="Freeform 836">
              <a:extLst>
                <a:ext uri="{FF2B5EF4-FFF2-40B4-BE49-F238E27FC236}">
                  <a16:creationId xmlns:a16="http://schemas.microsoft.com/office/drawing/2014/main" id="{97D3E690-5768-40B2-A23D-77FA148A14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3050" y="4144963"/>
              <a:ext cx="88900" cy="88900"/>
            </a:xfrm>
            <a:custGeom>
              <a:avLst/>
              <a:gdLst/>
              <a:ahLst/>
              <a:cxnLst>
                <a:cxn ang="0">
                  <a:pos x="52" y="50"/>
                </a:cxn>
                <a:cxn ang="0">
                  <a:pos x="54" y="48"/>
                </a:cxn>
                <a:cxn ang="0">
                  <a:pos x="52" y="48"/>
                </a:cxn>
                <a:cxn ang="0">
                  <a:pos x="54" y="46"/>
                </a:cxn>
                <a:cxn ang="0">
                  <a:pos x="54" y="46"/>
                </a:cxn>
                <a:cxn ang="0">
                  <a:pos x="56" y="44"/>
                </a:cxn>
                <a:cxn ang="0">
                  <a:pos x="56" y="42"/>
                </a:cxn>
                <a:cxn ang="0">
                  <a:pos x="54" y="38"/>
                </a:cxn>
                <a:cxn ang="0">
                  <a:pos x="54" y="36"/>
                </a:cxn>
                <a:cxn ang="0">
                  <a:pos x="52" y="36"/>
                </a:cxn>
                <a:cxn ang="0">
                  <a:pos x="48" y="32"/>
                </a:cxn>
                <a:cxn ang="0">
                  <a:pos x="42" y="28"/>
                </a:cxn>
                <a:cxn ang="0">
                  <a:pos x="38" y="28"/>
                </a:cxn>
                <a:cxn ang="0">
                  <a:pos x="42" y="24"/>
                </a:cxn>
                <a:cxn ang="0">
                  <a:pos x="42" y="18"/>
                </a:cxn>
                <a:cxn ang="0">
                  <a:pos x="42" y="14"/>
                </a:cxn>
                <a:cxn ang="0">
                  <a:pos x="40" y="14"/>
                </a:cxn>
                <a:cxn ang="0">
                  <a:pos x="38" y="12"/>
                </a:cxn>
                <a:cxn ang="0">
                  <a:pos x="32" y="18"/>
                </a:cxn>
                <a:cxn ang="0">
                  <a:pos x="30" y="16"/>
                </a:cxn>
                <a:cxn ang="0">
                  <a:pos x="26" y="16"/>
                </a:cxn>
                <a:cxn ang="0">
                  <a:pos x="28" y="12"/>
                </a:cxn>
                <a:cxn ang="0">
                  <a:pos x="28" y="8"/>
                </a:cxn>
                <a:cxn ang="0">
                  <a:pos x="28" y="6"/>
                </a:cxn>
                <a:cxn ang="0">
                  <a:pos x="26" y="2"/>
                </a:cxn>
                <a:cxn ang="0">
                  <a:pos x="24" y="0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12" y="6"/>
                </a:cxn>
                <a:cxn ang="0">
                  <a:pos x="12" y="10"/>
                </a:cxn>
                <a:cxn ang="0">
                  <a:pos x="10" y="12"/>
                </a:cxn>
                <a:cxn ang="0">
                  <a:pos x="4" y="16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6" y="26"/>
                </a:cxn>
                <a:cxn ang="0">
                  <a:pos x="8" y="28"/>
                </a:cxn>
                <a:cxn ang="0">
                  <a:pos x="10" y="30"/>
                </a:cxn>
                <a:cxn ang="0">
                  <a:pos x="12" y="32"/>
                </a:cxn>
                <a:cxn ang="0">
                  <a:pos x="18" y="36"/>
                </a:cxn>
                <a:cxn ang="0">
                  <a:pos x="26" y="42"/>
                </a:cxn>
                <a:cxn ang="0">
                  <a:pos x="38" y="52"/>
                </a:cxn>
                <a:cxn ang="0">
                  <a:pos x="54" y="56"/>
                </a:cxn>
                <a:cxn ang="0">
                  <a:pos x="52" y="54"/>
                </a:cxn>
                <a:cxn ang="0">
                  <a:pos x="52" y="50"/>
                </a:cxn>
              </a:cxnLst>
              <a:rect l="0" t="0" r="r" b="b"/>
              <a:pathLst>
                <a:path w="56" h="56">
                  <a:moveTo>
                    <a:pt x="52" y="50"/>
                  </a:moveTo>
                  <a:lnTo>
                    <a:pt x="54" y="48"/>
                  </a:lnTo>
                  <a:lnTo>
                    <a:pt x="52" y="48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6" y="44"/>
                  </a:lnTo>
                  <a:lnTo>
                    <a:pt x="56" y="42"/>
                  </a:lnTo>
                  <a:lnTo>
                    <a:pt x="54" y="38"/>
                  </a:lnTo>
                  <a:lnTo>
                    <a:pt x="54" y="36"/>
                  </a:lnTo>
                  <a:lnTo>
                    <a:pt x="52" y="36"/>
                  </a:lnTo>
                  <a:lnTo>
                    <a:pt x="48" y="32"/>
                  </a:lnTo>
                  <a:lnTo>
                    <a:pt x="42" y="28"/>
                  </a:lnTo>
                  <a:lnTo>
                    <a:pt x="38" y="28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2" y="14"/>
                  </a:lnTo>
                  <a:lnTo>
                    <a:pt x="40" y="14"/>
                  </a:lnTo>
                  <a:lnTo>
                    <a:pt x="38" y="12"/>
                  </a:lnTo>
                  <a:lnTo>
                    <a:pt x="32" y="18"/>
                  </a:lnTo>
                  <a:lnTo>
                    <a:pt x="30" y="16"/>
                  </a:lnTo>
                  <a:lnTo>
                    <a:pt x="26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6"/>
                  </a:lnTo>
                  <a:lnTo>
                    <a:pt x="26" y="2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2" y="6"/>
                  </a:lnTo>
                  <a:lnTo>
                    <a:pt x="12" y="10"/>
                  </a:lnTo>
                  <a:lnTo>
                    <a:pt x="10" y="12"/>
                  </a:lnTo>
                  <a:lnTo>
                    <a:pt x="4" y="1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6" y="26"/>
                  </a:lnTo>
                  <a:lnTo>
                    <a:pt x="8" y="28"/>
                  </a:lnTo>
                  <a:lnTo>
                    <a:pt x="10" y="30"/>
                  </a:lnTo>
                  <a:lnTo>
                    <a:pt x="12" y="32"/>
                  </a:lnTo>
                  <a:lnTo>
                    <a:pt x="18" y="36"/>
                  </a:lnTo>
                  <a:lnTo>
                    <a:pt x="26" y="42"/>
                  </a:lnTo>
                  <a:lnTo>
                    <a:pt x="38" y="52"/>
                  </a:lnTo>
                  <a:lnTo>
                    <a:pt x="54" y="56"/>
                  </a:lnTo>
                  <a:lnTo>
                    <a:pt x="52" y="54"/>
                  </a:lnTo>
                  <a:lnTo>
                    <a:pt x="52" y="5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3" name="Freeform 839">
              <a:extLst>
                <a:ext uri="{FF2B5EF4-FFF2-40B4-BE49-F238E27FC236}">
                  <a16:creationId xmlns:a16="http://schemas.microsoft.com/office/drawing/2014/main" id="{5507A0E5-3457-41DB-A5E5-632EE9EBA5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0850" y="4087813"/>
              <a:ext cx="95250" cy="139700"/>
            </a:xfrm>
            <a:custGeom>
              <a:avLst/>
              <a:gdLst/>
              <a:ahLst/>
              <a:cxnLst>
                <a:cxn ang="0">
                  <a:pos x="50" y="60"/>
                </a:cxn>
                <a:cxn ang="0">
                  <a:pos x="50" y="36"/>
                </a:cxn>
                <a:cxn ang="0">
                  <a:pos x="48" y="32"/>
                </a:cxn>
                <a:cxn ang="0">
                  <a:pos x="50" y="28"/>
                </a:cxn>
                <a:cxn ang="0">
                  <a:pos x="50" y="24"/>
                </a:cxn>
                <a:cxn ang="0">
                  <a:pos x="48" y="24"/>
                </a:cxn>
                <a:cxn ang="0">
                  <a:pos x="48" y="20"/>
                </a:cxn>
                <a:cxn ang="0">
                  <a:pos x="48" y="16"/>
                </a:cxn>
                <a:cxn ang="0">
                  <a:pos x="48" y="16"/>
                </a:cxn>
                <a:cxn ang="0">
                  <a:pos x="50" y="14"/>
                </a:cxn>
                <a:cxn ang="0">
                  <a:pos x="48" y="14"/>
                </a:cxn>
                <a:cxn ang="0">
                  <a:pos x="48" y="12"/>
                </a:cxn>
                <a:cxn ang="0">
                  <a:pos x="46" y="10"/>
                </a:cxn>
                <a:cxn ang="0">
                  <a:pos x="44" y="6"/>
                </a:cxn>
                <a:cxn ang="0">
                  <a:pos x="44" y="2"/>
                </a:cxn>
                <a:cxn ang="0">
                  <a:pos x="42" y="0"/>
                </a:cxn>
                <a:cxn ang="0">
                  <a:pos x="40" y="2"/>
                </a:cxn>
                <a:cxn ang="0">
                  <a:pos x="36" y="4"/>
                </a:cxn>
                <a:cxn ang="0">
                  <a:pos x="34" y="2"/>
                </a:cxn>
                <a:cxn ang="0">
                  <a:pos x="6" y="2"/>
                </a:cxn>
                <a:cxn ang="0">
                  <a:pos x="4" y="8"/>
                </a:cxn>
                <a:cxn ang="0">
                  <a:pos x="6" y="12"/>
                </a:cxn>
                <a:cxn ang="0">
                  <a:pos x="6" y="18"/>
                </a:cxn>
                <a:cxn ang="0">
                  <a:pos x="6" y="22"/>
                </a:cxn>
                <a:cxn ang="0">
                  <a:pos x="8" y="24"/>
                </a:cxn>
                <a:cxn ang="0">
                  <a:pos x="6" y="30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10" y="38"/>
                </a:cxn>
                <a:cxn ang="0">
                  <a:pos x="10" y="40"/>
                </a:cxn>
                <a:cxn ang="0">
                  <a:pos x="6" y="44"/>
                </a:cxn>
                <a:cxn ang="0">
                  <a:pos x="2" y="54"/>
                </a:cxn>
                <a:cxn ang="0">
                  <a:pos x="0" y="60"/>
                </a:cxn>
                <a:cxn ang="0">
                  <a:pos x="0" y="66"/>
                </a:cxn>
                <a:cxn ang="0">
                  <a:pos x="2" y="70"/>
                </a:cxn>
                <a:cxn ang="0">
                  <a:pos x="4" y="76"/>
                </a:cxn>
                <a:cxn ang="0">
                  <a:pos x="6" y="76"/>
                </a:cxn>
                <a:cxn ang="0">
                  <a:pos x="6" y="80"/>
                </a:cxn>
                <a:cxn ang="0">
                  <a:pos x="4" y="82"/>
                </a:cxn>
                <a:cxn ang="0">
                  <a:pos x="12" y="86"/>
                </a:cxn>
                <a:cxn ang="0">
                  <a:pos x="18" y="88"/>
                </a:cxn>
                <a:cxn ang="0">
                  <a:pos x="22" y="84"/>
                </a:cxn>
                <a:cxn ang="0">
                  <a:pos x="44" y="76"/>
                </a:cxn>
                <a:cxn ang="0">
                  <a:pos x="50" y="74"/>
                </a:cxn>
                <a:cxn ang="0">
                  <a:pos x="52" y="74"/>
                </a:cxn>
                <a:cxn ang="0">
                  <a:pos x="54" y="74"/>
                </a:cxn>
                <a:cxn ang="0">
                  <a:pos x="56" y="74"/>
                </a:cxn>
                <a:cxn ang="0">
                  <a:pos x="60" y="70"/>
                </a:cxn>
                <a:cxn ang="0">
                  <a:pos x="60" y="70"/>
                </a:cxn>
                <a:cxn ang="0">
                  <a:pos x="54" y="62"/>
                </a:cxn>
                <a:cxn ang="0">
                  <a:pos x="50" y="60"/>
                </a:cxn>
              </a:cxnLst>
              <a:rect l="0" t="0" r="r" b="b"/>
              <a:pathLst>
                <a:path w="60" h="88">
                  <a:moveTo>
                    <a:pt x="50" y="60"/>
                  </a:moveTo>
                  <a:lnTo>
                    <a:pt x="50" y="36"/>
                  </a:lnTo>
                  <a:lnTo>
                    <a:pt x="48" y="32"/>
                  </a:lnTo>
                  <a:lnTo>
                    <a:pt x="50" y="28"/>
                  </a:lnTo>
                  <a:lnTo>
                    <a:pt x="50" y="24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0" y="14"/>
                  </a:lnTo>
                  <a:lnTo>
                    <a:pt x="48" y="14"/>
                  </a:lnTo>
                  <a:lnTo>
                    <a:pt x="48" y="12"/>
                  </a:lnTo>
                  <a:lnTo>
                    <a:pt x="46" y="10"/>
                  </a:lnTo>
                  <a:lnTo>
                    <a:pt x="44" y="6"/>
                  </a:lnTo>
                  <a:lnTo>
                    <a:pt x="44" y="2"/>
                  </a:lnTo>
                  <a:lnTo>
                    <a:pt x="42" y="0"/>
                  </a:lnTo>
                  <a:lnTo>
                    <a:pt x="40" y="2"/>
                  </a:lnTo>
                  <a:lnTo>
                    <a:pt x="36" y="4"/>
                  </a:lnTo>
                  <a:lnTo>
                    <a:pt x="34" y="2"/>
                  </a:lnTo>
                  <a:lnTo>
                    <a:pt x="6" y="2"/>
                  </a:lnTo>
                  <a:lnTo>
                    <a:pt x="4" y="8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22"/>
                  </a:lnTo>
                  <a:lnTo>
                    <a:pt x="8" y="24"/>
                  </a:lnTo>
                  <a:lnTo>
                    <a:pt x="6" y="30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0" y="38"/>
                  </a:lnTo>
                  <a:lnTo>
                    <a:pt x="10" y="40"/>
                  </a:lnTo>
                  <a:lnTo>
                    <a:pt x="6" y="44"/>
                  </a:lnTo>
                  <a:lnTo>
                    <a:pt x="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2" y="70"/>
                  </a:lnTo>
                  <a:lnTo>
                    <a:pt x="4" y="76"/>
                  </a:lnTo>
                  <a:lnTo>
                    <a:pt x="6" y="76"/>
                  </a:lnTo>
                  <a:lnTo>
                    <a:pt x="6" y="80"/>
                  </a:lnTo>
                  <a:lnTo>
                    <a:pt x="4" y="82"/>
                  </a:lnTo>
                  <a:lnTo>
                    <a:pt x="12" y="86"/>
                  </a:lnTo>
                  <a:lnTo>
                    <a:pt x="18" y="88"/>
                  </a:lnTo>
                  <a:lnTo>
                    <a:pt x="22" y="84"/>
                  </a:lnTo>
                  <a:lnTo>
                    <a:pt x="44" y="76"/>
                  </a:lnTo>
                  <a:lnTo>
                    <a:pt x="50" y="74"/>
                  </a:lnTo>
                  <a:lnTo>
                    <a:pt x="52" y="74"/>
                  </a:lnTo>
                  <a:lnTo>
                    <a:pt x="54" y="74"/>
                  </a:lnTo>
                  <a:lnTo>
                    <a:pt x="56" y="74"/>
                  </a:lnTo>
                  <a:lnTo>
                    <a:pt x="60" y="70"/>
                  </a:lnTo>
                  <a:lnTo>
                    <a:pt x="60" y="70"/>
                  </a:lnTo>
                  <a:lnTo>
                    <a:pt x="54" y="62"/>
                  </a:lnTo>
                  <a:lnTo>
                    <a:pt x="50" y="6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4" name="Freeform 840">
              <a:extLst>
                <a:ext uri="{FF2B5EF4-FFF2-40B4-BE49-F238E27FC236}">
                  <a16:creationId xmlns:a16="http://schemas.microsoft.com/office/drawing/2014/main" id="{3FC58BB6-C15F-4801-9924-C33E19096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7175" y="3773488"/>
              <a:ext cx="355600" cy="336550"/>
            </a:xfrm>
            <a:custGeom>
              <a:avLst/>
              <a:gdLst/>
              <a:ahLst/>
              <a:cxnLst>
                <a:cxn ang="0">
                  <a:pos x="84" y="70"/>
                </a:cxn>
                <a:cxn ang="0">
                  <a:pos x="90" y="122"/>
                </a:cxn>
                <a:cxn ang="0">
                  <a:pos x="92" y="128"/>
                </a:cxn>
                <a:cxn ang="0">
                  <a:pos x="84" y="138"/>
                </a:cxn>
                <a:cxn ang="0">
                  <a:pos x="42" y="138"/>
                </a:cxn>
                <a:cxn ang="0">
                  <a:pos x="30" y="140"/>
                </a:cxn>
                <a:cxn ang="0">
                  <a:pos x="20" y="138"/>
                </a:cxn>
                <a:cxn ang="0">
                  <a:pos x="12" y="136"/>
                </a:cxn>
                <a:cxn ang="0">
                  <a:pos x="6" y="142"/>
                </a:cxn>
                <a:cxn ang="0">
                  <a:pos x="4" y="144"/>
                </a:cxn>
                <a:cxn ang="0">
                  <a:pos x="0" y="148"/>
                </a:cxn>
                <a:cxn ang="0">
                  <a:pos x="2" y="162"/>
                </a:cxn>
                <a:cxn ang="0">
                  <a:pos x="8" y="168"/>
                </a:cxn>
                <a:cxn ang="0">
                  <a:pos x="12" y="172"/>
                </a:cxn>
                <a:cxn ang="0">
                  <a:pos x="10" y="178"/>
                </a:cxn>
                <a:cxn ang="0">
                  <a:pos x="12" y="180"/>
                </a:cxn>
                <a:cxn ang="0">
                  <a:pos x="12" y="186"/>
                </a:cxn>
                <a:cxn ang="0">
                  <a:pos x="18" y="184"/>
                </a:cxn>
                <a:cxn ang="0">
                  <a:pos x="20" y="188"/>
                </a:cxn>
                <a:cxn ang="0">
                  <a:pos x="34" y="184"/>
                </a:cxn>
                <a:cxn ang="0">
                  <a:pos x="40" y="180"/>
                </a:cxn>
                <a:cxn ang="0">
                  <a:pos x="46" y="186"/>
                </a:cxn>
                <a:cxn ang="0">
                  <a:pos x="52" y="196"/>
                </a:cxn>
                <a:cxn ang="0">
                  <a:pos x="52" y="200"/>
                </a:cxn>
                <a:cxn ang="0">
                  <a:pos x="56" y="208"/>
                </a:cxn>
                <a:cxn ang="0">
                  <a:pos x="60" y="210"/>
                </a:cxn>
                <a:cxn ang="0">
                  <a:pos x="68" y="208"/>
                </a:cxn>
                <a:cxn ang="0">
                  <a:pos x="76" y="204"/>
                </a:cxn>
                <a:cxn ang="0">
                  <a:pos x="82" y="204"/>
                </a:cxn>
                <a:cxn ang="0">
                  <a:pos x="84" y="212"/>
                </a:cxn>
                <a:cxn ang="0">
                  <a:pos x="90" y="208"/>
                </a:cxn>
                <a:cxn ang="0">
                  <a:pos x="92" y="200"/>
                </a:cxn>
                <a:cxn ang="0">
                  <a:pos x="96" y="192"/>
                </a:cxn>
                <a:cxn ang="0">
                  <a:pos x="102" y="186"/>
                </a:cxn>
                <a:cxn ang="0">
                  <a:pos x="108" y="172"/>
                </a:cxn>
                <a:cxn ang="0">
                  <a:pos x="110" y="166"/>
                </a:cxn>
                <a:cxn ang="0">
                  <a:pos x="118" y="170"/>
                </a:cxn>
                <a:cxn ang="0">
                  <a:pos x="122" y="164"/>
                </a:cxn>
                <a:cxn ang="0">
                  <a:pos x="132" y="154"/>
                </a:cxn>
                <a:cxn ang="0">
                  <a:pos x="150" y="146"/>
                </a:cxn>
                <a:cxn ang="0">
                  <a:pos x="162" y="144"/>
                </a:cxn>
                <a:cxn ang="0">
                  <a:pos x="170" y="144"/>
                </a:cxn>
                <a:cxn ang="0">
                  <a:pos x="180" y="144"/>
                </a:cxn>
                <a:cxn ang="0">
                  <a:pos x="192" y="140"/>
                </a:cxn>
                <a:cxn ang="0">
                  <a:pos x="208" y="138"/>
                </a:cxn>
                <a:cxn ang="0">
                  <a:pos x="216" y="136"/>
                </a:cxn>
                <a:cxn ang="0">
                  <a:pos x="224" y="116"/>
                </a:cxn>
                <a:cxn ang="0">
                  <a:pos x="216" y="88"/>
                </a:cxn>
                <a:cxn ang="0">
                  <a:pos x="208" y="86"/>
                </a:cxn>
                <a:cxn ang="0">
                  <a:pos x="210" y="80"/>
                </a:cxn>
                <a:cxn ang="0">
                  <a:pos x="206" y="74"/>
                </a:cxn>
                <a:cxn ang="0">
                  <a:pos x="192" y="70"/>
                </a:cxn>
                <a:cxn ang="0">
                  <a:pos x="182" y="62"/>
                </a:cxn>
                <a:cxn ang="0">
                  <a:pos x="182" y="58"/>
                </a:cxn>
                <a:cxn ang="0">
                  <a:pos x="158" y="42"/>
                </a:cxn>
                <a:cxn ang="0">
                  <a:pos x="76" y="0"/>
                </a:cxn>
              </a:cxnLst>
              <a:rect l="0" t="0" r="r" b="b"/>
              <a:pathLst>
                <a:path w="224" h="212">
                  <a:moveTo>
                    <a:pt x="80" y="28"/>
                  </a:moveTo>
                  <a:lnTo>
                    <a:pt x="84" y="70"/>
                  </a:lnTo>
                  <a:lnTo>
                    <a:pt x="88" y="104"/>
                  </a:lnTo>
                  <a:lnTo>
                    <a:pt x="90" y="122"/>
                  </a:lnTo>
                  <a:lnTo>
                    <a:pt x="92" y="126"/>
                  </a:lnTo>
                  <a:lnTo>
                    <a:pt x="92" y="128"/>
                  </a:lnTo>
                  <a:lnTo>
                    <a:pt x="92" y="138"/>
                  </a:lnTo>
                  <a:lnTo>
                    <a:pt x="84" y="138"/>
                  </a:lnTo>
                  <a:lnTo>
                    <a:pt x="46" y="138"/>
                  </a:lnTo>
                  <a:lnTo>
                    <a:pt x="42" y="138"/>
                  </a:lnTo>
                  <a:lnTo>
                    <a:pt x="38" y="138"/>
                  </a:lnTo>
                  <a:lnTo>
                    <a:pt x="30" y="140"/>
                  </a:lnTo>
                  <a:lnTo>
                    <a:pt x="24" y="138"/>
                  </a:lnTo>
                  <a:lnTo>
                    <a:pt x="20" y="138"/>
                  </a:lnTo>
                  <a:lnTo>
                    <a:pt x="18" y="144"/>
                  </a:lnTo>
                  <a:lnTo>
                    <a:pt x="12" y="136"/>
                  </a:lnTo>
                  <a:lnTo>
                    <a:pt x="6" y="138"/>
                  </a:lnTo>
                  <a:lnTo>
                    <a:pt x="6" y="142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2" y="148"/>
                  </a:lnTo>
                  <a:lnTo>
                    <a:pt x="0" y="148"/>
                  </a:lnTo>
                  <a:lnTo>
                    <a:pt x="0" y="154"/>
                  </a:lnTo>
                  <a:lnTo>
                    <a:pt x="2" y="162"/>
                  </a:lnTo>
                  <a:lnTo>
                    <a:pt x="4" y="168"/>
                  </a:lnTo>
                  <a:lnTo>
                    <a:pt x="8" y="168"/>
                  </a:lnTo>
                  <a:lnTo>
                    <a:pt x="10" y="172"/>
                  </a:lnTo>
                  <a:lnTo>
                    <a:pt x="12" y="172"/>
                  </a:lnTo>
                  <a:lnTo>
                    <a:pt x="10" y="176"/>
                  </a:lnTo>
                  <a:lnTo>
                    <a:pt x="10" y="178"/>
                  </a:lnTo>
                  <a:lnTo>
                    <a:pt x="12" y="180"/>
                  </a:lnTo>
                  <a:lnTo>
                    <a:pt x="12" y="180"/>
                  </a:lnTo>
                  <a:lnTo>
                    <a:pt x="10" y="184"/>
                  </a:lnTo>
                  <a:lnTo>
                    <a:pt x="12" y="186"/>
                  </a:lnTo>
                  <a:lnTo>
                    <a:pt x="16" y="184"/>
                  </a:lnTo>
                  <a:lnTo>
                    <a:pt x="18" y="184"/>
                  </a:lnTo>
                  <a:lnTo>
                    <a:pt x="20" y="186"/>
                  </a:lnTo>
                  <a:lnTo>
                    <a:pt x="20" y="188"/>
                  </a:lnTo>
                  <a:lnTo>
                    <a:pt x="26" y="184"/>
                  </a:lnTo>
                  <a:lnTo>
                    <a:pt x="34" y="184"/>
                  </a:lnTo>
                  <a:lnTo>
                    <a:pt x="38" y="182"/>
                  </a:lnTo>
                  <a:lnTo>
                    <a:pt x="40" y="180"/>
                  </a:lnTo>
                  <a:lnTo>
                    <a:pt x="44" y="184"/>
                  </a:lnTo>
                  <a:lnTo>
                    <a:pt x="46" y="186"/>
                  </a:lnTo>
                  <a:lnTo>
                    <a:pt x="46" y="192"/>
                  </a:lnTo>
                  <a:lnTo>
                    <a:pt x="52" y="196"/>
                  </a:lnTo>
                  <a:lnTo>
                    <a:pt x="52" y="196"/>
                  </a:lnTo>
                  <a:lnTo>
                    <a:pt x="52" y="200"/>
                  </a:lnTo>
                  <a:lnTo>
                    <a:pt x="54" y="204"/>
                  </a:lnTo>
                  <a:lnTo>
                    <a:pt x="56" y="208"/>
                  </a:lnTo>
                  <a:lnTo>
                    <a:pt x="58" y="212"/>
                  </a:lnTo>
                  <a:lnTo>
                    <a:pt x="60" y="210"/>
                  </a:lnTo>
                  <a:lnTo>
                    <a:pt x="60" y="208"/>
                  </a:lnTo>
                  <a:lnTo>
                    <a:pt x="68" y="208"/>
                  </a:lnTo>
                  <a:lnTo>
                    <a:pt x="74" y="210"/>
                  </a:lnTo>
                  <a:lnTo>
                    <a:pt x="76" y="204"/>
                  </a:lnTo>
                  <a:lnTo>
                    <a:pt x="76" y="204"/>
                  </a:lnTo>
                  <a:lnTo>
                    <a:pt x="82" y="204"/>
                  </a:lnTo>
                  <a:lnTo>
                    <a:pt x="82" y="210"/>
                  </a:lnTo>
                  <a:lnTo>
                    <a:pt x="84" y="212"/>
                  </a:lnTo>
                  <a:lnTo>
                    <a:pt x="86" y="210"/>
                  </a:lnTo>
                  <a:lnTo>
                    <a:pt x="90" y="208"/>
                  </a:lnTo>
                  <a:lnTo>
                    <a:pt x="92" y="204"/>
                  </a:lnTo>
                  <a:lnTo>
                    <a:pt x="92" y="200"/>
                  </a:lnTo>
                  <a:lnTo>
                    <a:pt x="94" y="198"/>
                  </a:lnTo>
                  <a:lnTo>
                    <a:pt x="96" y="192"/>
                  </a:lnTo>
                  <a:lnTo>
                    <a:pt x="92" y="188"/>
                  </a:lnTo>
                  <a:lnTo>
                    <a:pt x="102" y="186"/>
                  </a:lnTo>
                  <a:lnTo>
                    <a:pt x="108" y="176"/>
                  </a:lnTo>
                  <a:lnTo>
                    <a:pt x="108" y="172"/>
                  </a:lnTo>
                  <a:lnTo>
                    <a:pt x="108" y="170"/>
                  </a:lnTo>
                  <a:lnTo>
                    <a:pt x="110" y="166"/>
                  </a:lnTo>
                  <a:lnTo>
                    <a:pt x="114" y="168"/>
                  </a:lnTo>
                  <a:lnTo>
                    <a:pt x="118" y="170"/>
                  </a:lnTo>
                  <a:lnTo>
                    <a:pt x="118" y="168"/>
                  </a:lnTo>
                  <a:lnTo>
                    <a:pt x="122" y="164"/>
                  </a:lnTo>
                  <a:lnTo>
                    <a:pt x="128" y="158"/>
                  </a:lnTo>
                  <a:lnTo>
                    <a:pt x="132" y="154"/>
                  </a:lnTo>
                  <a:lnTo>
                    <a:pt x="146" y="148"/>
                  </a:lnTo>
                  <a:lnTo>
                    <a:pt x="150" y="146"/>
                  </a:lnTo>
                  <a:lnTo>
                    <a:pt x="156" y="144"/>
                  </a:lnTo>
                  <a:lnTo>
                    <a:pt x="162" y="144"/>
                  </a:lnTo>
                  <a:lnTo>
                    <a:pt x="166" y="144"/>
                  </a:lnTo>
                  <a:lnTo>
                    <a:pt x="170" y="144"/>
                  </a:lnTo>
                  <a:lnTo>
                    <a:pt x="174" y="146"/>
                  </a:lnTo>
                  <a:lnTo>
                    <a:pt x="180" y="144"/>
                  </a:lnTo>
                  <a:lnTo>
                    <a:pt x="184" y="140"/>
                  </a:lnTo>
                  <a:lnTo>
                    <a:pt x="192" y="140"/>
                  </a:lnTo>
                  <a:lnTo>
                    <a:pt x="202" y="140"/>
                  </a:lnTo>
                  <a:lnTo>
                    <a:pt x="208" y="138"/>
                  </a:lnTo>
                  <a:lnTo>
                    <a:pt x="214" y="140"/>
                  </a:lnTo>
                  <a:lnTo>
                    <a:pt x="216" y="136"/>
                  </a:lnTo>
                  <a:lnTo>
                    <a:pt x="220" y="128"/>
                  </a:lnTo>
                  <a:lnTo>
                    <a:pt x="224" y="116"/>
                  </a:lnTo>
                  <a:lnTo>
                    <a:pt x="224" y="86"/>
                  </a:lnTo>
                  <a:lnTo>
                    <a:pt x="216" y="88"/>
                  </a:lnTo>
                  <a:lnTo>
                    <a:pt x="212" y="88"/>
                  </a:lnTo>
                  <a:lnTo>
                    <a:pt x="208" y="86"/>
                  </a:lnTo>
                  <a:lnTo>
                    <a:pt x="210" y="84"/>
                  </a:lnTo>
                  <a:lnTo>
                    <a:pt x="210" y="80"/>
                  </a:lnTo>
                  <a:lnTo>
                    <a:pt x="210" y="76"/>
                  </a:lnTo>
                  <a:lnTo>
                    <a:pt x="206" y="74"/>
                  </a:lnTo>
                  <a:lnTo>
                    <a:pt x="200" y="74"/>
                  </a:lnTo>
                  <a:lnTo>
                    <a:pt x="192" y="70"/>
                  </a:lnTo>
                  <a:lnTo>
                    <a:pt x="186" y="66"/>
                  </a:lnTo>
                  <a:lnTo>
                    <a:pt x="182" y="62"/>
                  </a:lnTo>
                  <a:lnTo>
                    <a:pt x="182" y="58"/>
                  </a:lnTo>
                  <a:lnTo>
                    <a:pt x="182" y="58"/>
                  </a:lnTo>
                  <a:lnTo>
                    <a:pt x="166" y="48"/>
                  </a:lnTo>
                  <a:lnTo>
                    <a:pt x="158" y="42"/>
                  </a:lnTo>
                  <a:lnTo>
                    <a:pt x="100" y="0"/>
                  </a:lnTo>
                  <a:lnTo>
                    <a:pt x="76" y="0"/>
                  </a:lnTo>
                  <a:lnTo>
                    <a:pt x="80" y="28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5" name="Freeform 809">
              <a:extLst>
                <a:ext uri="{FF2B5EF4-FFF2-40B4-BE49-F238E27FC236}">
                  <a16:creationId xmlns:a16="http://schemas.microsoft.com/office/drawing/2014/main" id="{A900974E-531F-45DF-98E3-69BF22D8C8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9013" y="3843338"/>
              <a:ext cx="361950" cy="409575"/>
            </a:xfrm>
            <a:custGeom>
              <a:avLst/>
              <a:gdLst/>
              <a:ahLst/>
              <a:cxnLst>
                <a:cxn ang="0">
                  <a:pos x="44" y="0"/>
                </a:cxn>
                <a:cxn ang="0">
                  <a:pos x="42" y="30"/>
                </a:cxn>
                <a:cxn ang="0">
                  <a:pos x="30" y="36"/>
                </a:cxn>
                <a:cxn ang="0">
                  <a:pos x="18" y="90"/>
                </a:cxn>
                <a:cxn ang="0">
                  <a:pos x="14" y="100"/>
                </a:cxn>
                <a:cxn ang="0">
                  <a:pos x="6" y="114"/>
                </a:cxn>
                <a:cxn ang="0">
                  <a:pos x="0" y="132"/>
                </a:cxn>
                <a:cxn ang="0">
                  <a:pos x="8" y="136"/>
                </a:cxn>
                <a:cxn ang="0">
                  <a:pos x="14" y="150"/>
                </a:cxn>
                <a:cxn ang="0">
                  <a:pos x="26" y="172"/>
                </a:cxn>
                <a:cxn ang="0">
                  <a:pos x="32" y="188"/>
                </a:cxn>
                <a:cxn ang="0">
                  <a:pos x="36" y="194"/>
                </a:cxn>
                <a:cxn ang="0">
                  <a:pos x="46" y="204"/>
                </a:cxn>
                <a:cxn ang="0">
                  <a:pos x="60" y="212"/>
                </a:cxn>
                <a:cxn ang="0">
                  <a:pos x="70" y="226"/>
                </a:cxn>
                <a:cxn ang="0">
                  <a:pos x="80" y="240"/>
                </a:cxn>
                <a:cxn ang="0">
                  <a:pos x="84" y="244"/>
                </a:cxn>
                <a:cxn ang="0">
                  <a:pos x="96" y="246"/>
                </a:cxn>
                <a:cxn ang="0">
                  <a:pos x="114" y="250"/>
                </a:cxn>
                <a:cxn ang="0">
                  <a:pos x="124" y="258"/>
                </a:cxn>
                <a:cxn ang="0">
                  <a:pos x="136" y="254"/>
                </a:cxn>
                <a:cxn ang="0">
                  <a:pos x="142" y="258"/>
                </a:cxn>
                <a:cxn ang="0">
                  <a:pos x="148" y="254"/>
                </a:cxn>
                <a:cxn ang="0">
                  <a:pos x="160" y="254"/>
                </a:cxn>
                <a:cxn ang="0">
                  <a:pos x="186" y="244"/>
                </a:cxn>
                <a:cxn ang="0">
                  <a:pos x="192" y="244"/>
                </a:cxn>
                <a:cxn ang="0">
                  <a:pos x="186" y="232"/>
                </a:cxn>
                <a:cxn ang="0">
                  <a:pos x="180" y="224"/>
                </a:cxn>
                <a:cxn ang="0">
                  <a:pos x="170" y="212"/>
                </a:cxn>
                <a:cxn ang="0">
                  <a:pos x="162" y="202"/>
                </a:cxn>
                <a:cxn ang="0">
                  <a:pos x="156" y="196"/>
                </a:cxn>
                <a:cxn ang="0">
                  <a:pos x="168" y="190"/>
                </a:cxn>
                <a:cxn ang="0">
                  <a:pos x="168" y="170"/>
                </a:cxn>
                <a:cxn ang="0">
                  <a:pos x="178" y="160"/>
                </a:cxn>
                <a:cxn ang="0">
                  <a:pos x="184" y="140"/>
                </a:cxn>
                <a:cxn ang="0">
                  <a:pos x="200" y="112"/>
                </a:cxn>
                <a:cxn ang="0">
                  <a:pos x="206" y="84"/>
                </a:cxn>
                <a:cxn ang="0">
                  <a:pos x="208" y="72"/>
                </a:cxn>
                <a:cxn ang="0">
                  <a:pos x="218" y="66"/>
                </a:cxn>
                <a:cxn ang="0">
                  <a:pos x="228" y="58"/>
                </a:cxn>
                <a:cxn ang="0">
                  <a:pos x="222" y="52"/>
                </a:cxn>
                <a:cxn ang="0">
                  <a:pos x="218" y="48"/>
                </a:cxn>
                <a:cxn ang="0">
                  <a:pos x="210" y="30"/>
                </a:cxn>
                <a:cxn ang="0">
                  <a:pos x="206" y="0"/>
                </a:cxn>
              </a:cxnLst>
              <a:rect l="0" t="0" r="r" b="b"/>
              <a:pathLst>
                <a:path w="228" h="258">
                  <a:moveTo>
                    <a:pt x="156" y="0"/>
                  </a:moveTo>
                  <a:lnTo>
                    <a:pt x="98" y="0"/>
                  </a:lnTo>
                  <a:lnTo>
                    <a:pt x="44" y="0"/>
                  </a:lnTo>
                  <a:lnTo>
                    <a:pt x="44" y="28"/>
                  </a:lnTo>
                  <a:lnTo>
                    <a:pt x="44" y="30"/>
                  </a:lnTo>
                  <a:lnTo>
                    <a:pt x="42" y="30"/>
                  </a:lnTo>
                  <a:lnTo>
                    <a:pt x="34" y="30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30" y="92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16" y="92"/>
                  </a:lnTo>
                  <a:lnTo>
                    <a:pt x="16" y="94"/>
                  </a:lnTo>
                  <a:lnTo>
                    <a:pt x="14" y="100"/>
                  </a:lnTo>
                  <a:lnTo>
                    <a:pt x="12" y="102"/>
                  </a:lnTo>
                  <a:lnTo>
                    <a:pt x="8" y="106"/>
                  </a:lnTo>
                  <a:lnTo>
                    <a:pt x="6" y="114"/>
                  </a:lnTo>
                  <a:lnTo>
                    <a:pt x="6" y="122"/>
                  </a:lnTo>
                  <a:lnTo>
                    <a:pt x="4" y="126"/>
                  </a:lnTo>
                  <a:lnTo>
                    <a:pt x="0" y="132"/>
                  </a:lnTo>
                  <a:lnTo>
                    <a:pt x="2" y="134"/>
                  </a:lnTo>
                  <a:lnTo>
                    <a:pt x="4" y="134"/>
                  </a:lnTo>
                  <a:lnTo>
                    <a:pt x="8" y="136"/>
                  </a:lnTo>
                  <a:lnTo>
                    <a:pt x="10" y="140"/>
                  </a:lnTo>
                  <a:lnTo>
                    <a:pt x="10" y="146"/>
                  </a:lnTo>
                  <a:lnTo>
                    <a:pt x="14" y="150"/>
                  </a:lnTo>
                  <a:lnTo>
                    <a:pt x="14" y="158"/>
                  </a:lnTo>
                  <a:lnTo>
                    <a:pt x="20" y="164"/>
                  </a:lnTo>
                  <a:lnTo>
                    <a:pt x="26" y="172"/>
                  </a:lnTo>
                  <a:lnTo>
                    <a:pt x="26" y="180"/>
                  </a:lnTo>
                  <a:lnTo>
                    <a:pt x="24" y="188"/>
                  </a:lnTo>
                  <a:lnTo>
                    <a:pt x="32" y="188"/>
                  </a:lnTo>
                  <a:lnTo>
                    <a:pt x="34" y="190"/>
                  </a:lnTo>
                  <a:lnTo>
                    <a:pt x="36" y="194"/>
                  </a:lnTo>
                  <a:lnTo>
                    <a:pt x="36" y="194"/>
                  </a:lnTo>
                  <a:lnTo>
                    <a:pt x="42" y="196"/>
                  </a:lnTo>
                  <a:lnTo>
                    <a:pt x="48" y="200"/>
                  </a:lnTo>
                  <a:lnTo>
                    <a:pt x="46" y="204"/>
                  </a:lnTo>
                  <a:lnTo>
                    <a:pt x="48" y="206"/>
                  </a:lnTo>
                  <a:lnTo>
                    <a:pt x="54" y="208"/>
                  </a:lnTo>
                  <a:lnTo>
                    <a:pt x="60" y="212"/>
                  </a:lnTo>
                  <a:lnTo>
                    <a:pt x="62" y="218"/>
                  </a:lnTo>
                  <a:lnTo>
                    <a:pt x="64" y="222"/>
                  </a:lnTo>
                  <a:lnTo>
                    <a:pt x="70" y="226"/>
                  </a:lnTo>
                  <a:lnTo>
                    <a:pt x="74" y="230"/>
                  </a:lnTo>
                  <a:lnTo>
                    <a:pt x="78" y="238"/>
                  </a:lnTo>
                  <a:lnTo>
                    <a:pt x="80" y="240"/>
                  </a:lnTo>
                  <a:lnTo>
                    <a:pt x="82" y="242"/>
                  </a:lnTo>
                  <a:lnTo>
                    <a:pt x="82" y="244"/>
                  </a:lnTo>
                  <a:lnTo>
                    <a:pt x="84" y="244"/>
                  </a:lnTo>
                  <a:lnTo>
                    <a:pt x="86" y="246"/>
                  </a:lnTo>
                  <a:lnTo>
                    <a:pt x="88" y="248"/>
                  </a:lnTo>
                  <a:lnTo>
                    <a:pt x="96" y="246"/>
                  </a:lnTo>
                  <a:lnTo>
                    <a:pt x="104" y="242"/>
                  </a:lnTo>
                  <a:lnTo>
                    <a:pt x="110" y="244"/>
                  </a:lnTo>
                  <a:lnTo>
                    <a:pt x="114" y="250"/>
                  </a:lnTo>
                  <a:lnTo>
                    <a:pt x="118" y="252"/>
                  </a:lnTo>
                  <a:lnTo>
                    <a:pt x="122" y="256"/>
                  </a:lnTo>
                  <a:lnTo>
                    <a:pt x="124" y="258"/>
                  </a:lnTo>
                  <a:lnTo>
                    <a:pt x="128" y="254"/>
                  </a:lnTo>
                  <a:lnTo>
                    <a:pt x="132" y="256"/>
                  </a:lnTo>
                  <a:lnTo>
                    <a:pt x="136" y="254"/>
                  </a:lnTo>
                  <a:lnTo>
                    <a:pt x="138" y="256"/>
                  </a:lnTo>
                  <a:lnTo>
                    <a:pt x="138" y="256"/>
                  </a:lnTo>
                  <a:lnTo>
                    <a:pt x="142" y="258"/>
                  </a:lnTo>
                  <a:lnTo>
                    <a:pt x="142" y="256"/>
                  </a:lnTo>
                  <a:lnTo>
                    <a:pt x="144" y="256"/>
                  </a:lnTo>
                  <a:lnTo>
                    <a:pt x="148" y="254"/>
                  </a:lnTo>
                  <a:lnTo>
                    <a:pt x="156" y="254"/>
                  </a:lnTo>
                  <a:lnTo>
                    <a:pt x="158" y="256"/>
                  </a:lnTo>
                  <a:lnTo>
                    <a:pt x="160" y="254"/>
                  </a:lnTo>
                  <a:lnTo>
                    <a:pt x="166" y="248"/>
                  </a:lnTo>
                  <a:lnTo>
                    <a:pt x="172" y="244"/>
                  </a:lnTo>
                  <a:lnTo>
                    <a:pt x="186" y="244"/>
                  </a:lnTo>
                  <a:lnTo>
                    <a:pt x="188" y="244"/>
                  </a:lnTo>
                  <a:lnTo>
                    <a:pt x="190" y="244"/>
                  </a:lnTo>
                  <a:lnTo>
                    <a:pt x="192" y="244"/>
                  </a:lnTo>
                  <a:lnTo>
                    <a:pt x="190" y="240"/>
                  </a:lnTo>
                  <a:lnTo>
                    <a:pt x="190" y="236"/>
                  </a:lnTo>
                  <a:lnTo>
                    <a:pt x="186" y="232"/>
                  </a:lnTo>
                  <a:lnTo>
                    <a:pt x="184" y="234"/>
                  </a:lnTo>
                  <a:lnTo>
                    <a:pt x="180" y="230"/>
                  </a:lnTo>
                  <a:lnTo>
                    <a:pt x="180" y="224"/>
                  </a:lnTo>
                  <a:lnTo>
                    <a:pt x="176" y="216"/>
                  </a:lnTo>
                  <a:lnTo>
                    <a:pt x="172" y="212"/>
                  </a:lnTo>
                  <a:lnTo>
                    <a:pt x="170" y="212"/>
                  </a:lnTo>
                  <a:lnTo>
                    <a:pt x="166" y="208"/>
                  </a:lnTo>
                  <a:lnTo>
                    <a:pt x="166" y="206"/>
                  </a:lnTo>
                  <a:lnTo>
                    <a:pt x="162" y="202"/>
                  </a:lnTo>
                  <a:lnTo>
                    <a:pt x="158" y="202"/>
                  </a:lnTo>
                  <a:lnTo>
                    <a:pt x="152" y="198"/>
                  </a:lnTo>
                  <a:lnTo>
                    <a:pt x="156" y="196"/>
                  </a:lnTo>
                  <a:lnTo>
                    <a:pt x="156" y="192"/>
                  </a:lnTo>
                  <a:lnTo>
                    <a:pt x="162" y="192"/>
                  </a:lnTo>
                  <a:lnTo>
                    <a:pt x="168" y="190"/>
                  </a:lnTo>
                  <a:lnTo>
                    <a:pt x="168" y="184"/>
                  </a:lnTo>
                  <a:lnTo>
                    <a:pt x="168" y="178"/>
                  </a:lnTo>
                  <a:lnTo>
                    <a:pt x="168" y="170"/>
                  </a:lnTo>
                  <a:lnTo>
                    <a:pt x="170" y="162"/>
                  </a:lnTo>
                  <a:lnTo>
                    <a:pt x="174" y="158"/>
                  </a:lnTo>
                  <a:lnTo>
                    <a:pt x="178" y="160"/>
                  </a:lnTo>
                  <a:lnTo>
                    <a:pt x="180" y="154"/>
                  </a:lnTo>
                  <a:lnTo>
                    <a:pt x="182" y="146"/>
                  </a:lnTo>
                  <a:lnTo>
                    <a:pt x="184" y="140"/>
                  </a:lnTo>
                  <a:lnTo>
                    <a:pt x="190" y="134"/>
                  </a:lnTo>
                  <a:lnTo>
                    <a:pt x="196" y="132"/>
                  </a:lnTo>
                  <a:lnTo>
                    <a:pt x="200" y="112"/>
                  </a:lnTo>
                  <a:lnTo>
                    <a:pt x="200" y="98"/>
                  </a:lnTo>
                  <a:lnTo>
                    <a:pt x="202" y="92"/>
                  </a:lnTo>
                  <a:lnTo>
                    <a:pt x="206" y="84"/>
                  </a:lnTo>
                  <a:lnTo>
                    <a:pt x="206" y="80"/>
                  </a:lnTo>
                  <a:lnTo>
                    <a:pt x="206" y="74"/>
                  </a:lnTo>
                  <a:lnTo>
                    <a:pt x="208" y="72"/>
                  </a:lnTo>
                  <a:lnTo>
                    <a:pt x="212" y="72"/>
                  </a:lnTo>
                  <a:lnTo>
                    <a:pt x="214" y="68"/>
                  </a:lnTo>
                  <a:lnTo>
                    <a:pt x="218" y="66"/>
                  </a:lnTo>
                  <a:lnTo>
                    <a:pt x="222" y="66"/>
                  </a:lnTo>
                  <a:lnTo>
                    <a:pt x="228" y="58"/>
                  </a:lnTo>
                  <a:lnTo>
                    <a:pt x="228" y="58"/>
                  </a:lnTo>
                  <a:lnTo>
                    <a:pt x="222" y="54"/>
                  </a:lnTo>
                  <a:lnTo>
                    <a:pt x="222" y="54"/>
                  </a:lnTo>
                  <a:lnTo>
                    <a:pt x="222" y="52"/>
                  </a:lnTo>
                  <a:lnTo>
                    <a:pt x="220" y="50"/>
                  </a:lnTo>
                  <a:lnTo>
                    <a:pt x="218" y="50"/>
                  </a:lnTo>
                  <a:lnTo>
                    <a:pt x="218" y="48"/>
                  </a:lnTo>
                  <a:lnTo>
                    <a:pt x="214" y="48"/>
                  </a:lnTo>
                  <a:lnTo>
                    <a:pt x="212" y="44"/>
                  </a:lnTo>
                  <a:lnTo>
                    <a:pt x="210" y="30"/>
                  </a:lnTo>
                  <a:lnTo>
                    <a:pt x="210" y="22"/>
                  </a:lnTo>
                  <a:lnTo>
                    <a:pt x="208" y="10"/>
                  </a:lnTo>
                  <a:lnTo>
                    <a:pt x="206" y="0"/>
                  </a:lnTo>
                  <a:lnTo>
                    <a:pt x="168" y="0"/>
                  </a:lnTo>
                  <a:lnTo>
                    <a:pt x="156" y="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6" name="Freeform 833">
              <a:extLst>
                <a:ext uri="{FF2B5EF4-FFF2-40B4-BE49-F238E27FC236}">
                  <a16:creationId xmlns:a16="http://schemas.microsoft.com/office/drawing/2014/main" id="{603A8624-8BE4-403F-ACA0-22CC447F80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1675" y="4249737"/>
              <a:ext cx="61913" cy="57150"/>
            </a:xfrm>
            <a:custGeom>
              <a:avLst/>
              <a:gdLst/>
              <a:ahLst/>
              <a:cxnLst/>
              <a:rect l="l" t="t" r="r" b="b"/>
              <a:pathLst>
                <a:path w="61913" h="57150">
                  <a:moveTo>
                    <a:pt x="31750" y="28575"/>
                  </a:moveTo>
                  <a:lnTo>
                    <a:pt x="34925" y="31750"/>
                  </a:lnTo>
                  <a:lnTo>
                    <a:pt x="61913" y="31750"/>
                  </a:lnTo>
                  <a:lnTo>
                    <a:pt x="61913" y="57150"/>
                  </a:lnTo>
                  <a:lnTo>
                    <a:pt x="31750" y="57150"/>
                  </a:lnTo>
                  <a:lnTo>
                    <a:pt x="22225" y="53975"/>
                  </a:lnTo>
                  <a:lnTo>
                    <a:pt x="22225" y="47625"/>
                  </a:lnTo>
                  <a:lnTo>
                    <a:pt x="28575" y="44450"/>
                  </a:lnTo>
                  <a:lnTo>
                    <a:pt x="28575" y="34925"/>
                  </a:lnTo>
                  <a:close/>
                  <a:moveTo>
                    <a:pt x="9525" y="0"/>
                  </a:moveTo>
                  <a:lnTo>
                    <a:pt x="9525" y="6350"/>
                  </a:lnTo>
                  <a:lnTo>
                    <a:pt x="6350" y="9525"/>
                  </a:lnTo>
                  <a:lnTo>
                    <a:pt x="0" y="9525"/>
                  </a:lnTo>
                  <a:lnTo>
                    <a:pt x="3175" y="317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7" name="Freeform 837">
              <a:extLst>
                <a:ext uri="{FF2B5EF4-FFF2-40B4-BE49-F238E27FC236}">
                  <a16:creationId xmlns:a16="http://schemas.microsoft.com/office/drawing/2014/main" id="{B5530636-7703-4C1D-BB70-ADF8127B23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7525" y="4087813"/>
              <a:ext cx="41275" cy="111125"/>
            </a:xfrm>
            <a:custGeom>
              <a:avLst/>
              <a:gdLst/>
              <a:ahLst/>
              <a:cxnLst>
                <a:cxn ang="0">
                  <a:pos x="24" y="54"/>
                </a:cxn>
                <a:cxn ang="0">
                  <a:pos x="24" y="52"/>
                </a:cxn>
                <a:cxn ang="0">
                  <a:pos x="24" y="42"/>
                </a:cxn>
                <a:cxn ang="0">
                  <a:pos x="24" y="28"/>
                </a:cxn>
                <a:cxn ang="0">
                  <a:pos x="20" y="18"/>
                </a:cxn>
                <a:cxn ang="0">
                  <a:pos x="20" y="16"/>
                </a:cxn>
                <a:cxn ang="0">
                  <a:pos x="18" y="14"/>
                </a:cxn>
                <a:cxn ang="0">
                  <a:pos x="14" y="12"/>
                </a:cxn>
                <a:cxn ang="0">
                  <a:pos x="12" y="8"/>
                </a:cxn>
                <a:cxn ang="0">
                  <a:pos x="14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2" y="6"/>
                </a:cxn>
                <a:cxn ang="0">
                  <a:pos x="4" y="10"/>
                </a:cxn>
                <a:cxn ang="0">
                  <a:pos x="6" y="12"/>
                </a:cxn>
                <a:cxn ang="0">
                  <a:pos x="6" y="14"/>
                </a:cxn>
                <a:cxn ang="0">
                  <a:pos x="8" y="14"/>
                </a:cxn>
                <a:cxn ang="0">
                  <a:pos x="6" y="16"/>
                </a:cxn>
                <a:cxn ang="0">
                  <a:pos x="6" y="16"/>
                </a:cxn>
                <a:cxn ang="0">
                  <a:pos x="6" y="20"/>
                </a:cxn>
                <a:cxn ang="0">
                  <a:pos x="6" y="24"/>
                </a:cxn>
                <a:cxn ang="0">
                  <a:pos x="8" y="24"/>
                </a:cxn>
                <a:cxn ang="0">
                  <a:pos x="8" y="28"/>
                </a:cxn>
                <a:cxn ang="0">
                  <a:pos x="6" y="32"/>
                </a:cxn>
                <a:cxn ang="0">
                  <a:pos x="8" y="36"/>
                </a:cxn>
                <a:cxn ang="0">
                  <a:pos x="8" y="60"/>
                </a:cxn>
                <a:cxn ang="0">
                  <a:pos x="12" y="62"/>
                </a:cxn>
                <a:cxn ang="0">
                  <a:pos x="18" y="70"/>
                </a:cxn>
                <a:cxn ang="0">
                  <a:pos x="26" y="66"/>
                </a:cxn>
                <a:cxn ang="0">
                  <a:pos x="22" y="58"/>
                </a:cxn>
                <a:cxn ang="0">
                  <a:pos x="24" y="54"/>
                </a:cxn>
              </a:cxnLst>
              <a:rect l="0" t="0" r="r" b="b"/>
              <a:pathLst>
                <a:path w="26" h="70">
                  <a:moveTo>
                    <a:pt x="24" y="54"/>
                  </a:moveTo>
                  <a:lnTo>
                    <a:pt x="24" y="52"/>
                  </a:lnTo>
                  <a:lnTo>
                    <a:pt x="24" y="42"/>
                  </a:lnTo>
                  <a:lnTo>
                    <a:pt x="24" y="28"/>
                  </a:lnTo>
                  <a:lnTo>
                    <a:pt x="20" y="18"/>
                  </a:lnTo>
                  <a:lnTo>
                    <a:pt x="20" y="16"/>
                  </a:lnTo>
                  <a:lnTo>
                    <a:pt x="18" y="14"/>
                  </a:lnTo>
                  <a:lnTo>
                    <a:pt x="14" y="12"/>
                  </a:lnTo>
                  <a:lnTo>
                    <a:pt x="12" y="8"/>
                  </a:lnTo>
                  <a:lnTo>
                    <a:pt x="14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6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6" y="14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20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6" y="32"/>
                  </a:lnTo>
                  <a:lnTo>
                    <a:pt x="8" y="36"/>
                  </a:lnTo>
                  <a:lnTo>
                    <a:pt x="8" y="60"/>
                  </a:lnTo>
                  <a:lnTo>
                    <a:pt x="12" y="62"/>
                  </a:lnTo>
                  <a:lnTo>
                    <a:pt x="18" y="70"/>
                  </a:lnTo>
                  <a:lnTo>
                    <a:pt x="26" y="66"/>
                  </a:lnTo>
                  <a:lnTo>
                    <a:pt x="22" y="58"/>
                  </a:lnTo>
                  <a:lnTo>
                    <a:pt x="24" y="54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8" name="Freeform 844">
              <a:extLst>
                <a:ext uri="{FF2B5EF4-FFF2-40B4-BE49-F238E27FC236}">
                  <a16:creationId xmlns:a16="http://schemas.microsoft.com/office/drawing/2014/main" id="{F69A2383-A084-475C-9E99-5330B33FD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4938" y="4071938"/>
              <a:ext cx="219075" cy="292100"/>
            </a:xfrm>
            <a:custGeom>
              <a:avLst/>
              <a:gdLst/>
              <a:ahLst/>
              <a:cxnLst>
                <a:cxn ang="0">
                  <a:pos x="22" y="18"/>
                </a:cxn>
                <a:cxn ang="0">
                  <a:pos x="28" y="26"/>
                </a:cxn>
                <a:cxn ang="0">
                  <a:pos x="32" y="34"/>
                </a:cxn>
                <a:cxn ang="0">
                  <a:pos x="36" y="36"/>
                </a:cxn>
                <a:cxn ang="0">
                  <a:pos x="40" y="40"/>
                </a:cxn>
                <a:cxn ang="0">
                  <a:pos x="80" y="54"/>
                </a:cxn>
                <a:cxn ang="0">
                  <a:pos x="94" y="54"/>
                </a:cxn>
                <a:cxn ang="0">
                  <a:pos x="54" y="96"/>
                </a:cxn>
                <a:cxn ang="0">
                  <a:pos x="40" y="94"/>
                </a:cxn>
                <a:cxn ang="0">
                  <a:pos x="30" y="98"/>
                </a:cxn>
                <a:cxn ang="0">
                  <a:pos x="26" y="100"/>
                </a:cxn>
                <a:cxn ang="0">
                  <a:pos x="24" y="104"/>
                </a:cxn>
                <a:cxn ang="0">
                  <a:pos x="20" y="104"/>
                </a:cxn>
                <a:cxn ang="0">
                  <a:pos x="14" y="106"/>
                </a:cxn>
                <a:cxn ang="0">
                  <a:pos x="12" y="108"/>
                </a:cxn>
                <a:cxn ang="0">
                  <a:pos x="0" y="124"/>
                </a:cxn>
                <a:cxn ang="0">
                  <a:pos x="0" y="160"/>
                </a:cxn>
                <a:cxn ang="0">
                  <a:pos x="0" y="172"/>
                </a:cxn>
                <a:cxn ang="0">
                  <a:pos x="4" y="178"/>
                </a:cxn>
                <a:cxn ang="0">
                  <a:pos x="6" y="184"/>
                </a:cxn>
                <a:cxn ang="0">
                  <a:pos x="12" y="174"/>
                </a:cxn>
                <a:cxn ang="0">
                  <a:pos x="22" y="164"/>
                </a:cxn>
                <a:cxn ang="0">
                  <a:pos x="26" y="162"/>
                </a:cxn>
                <a:cxn ang="0">
                  <a:pos x="34" y="152"/>
                </a:cxn>
                <a:cxn ang="0">
                  <a:pos x="44" y="144"/>
                </a:cxn>
                <a:cxn ang="0">
                  <a:pos x="70" y="126"/>
                </a:cxn>
                <a:cxn ang="0">
                  <a:pos x="88" y="108"/>
                </a:cxn>
                <a:cxn ang="0">
                  <a:pos x="106" y="84"/>
                </a:cxn>
                <a:cxn ang="0">
                  <a:pos x="108" y="78"/>
                </a:cxn>
                <a:cxn ang="0">
                  <a:pos x="110" y="74"/>
                </a:cxn>
                <a:cxn ang="0">
                  <a:pos x="116" y="62"/>
                </a:cxn>
                <a:cxn ang="0">
                  <a:pos x="124" y="50"/>
                </a:cxn>
                <a:cxn ang="0">
                  <a:pos x="130" y="38"/>
                </a:cxn>
                <a:cxn ang="0">
                  <a:pos x="132" y="32"/>
                </a:cxn>
                <a:cxn ang="0">
                  <a:pos x="134" y="26"/>
                </a:cxn>
                <a:cxn ang="0">
                  <a:pos x="136" y="20"/>
                </a:cxn>
                <a:cxn ang="0">
                  <a:pos x="138" y="18"/>
                </a:cxn>
                <a:cxn ang="0">
                  <a:pos x="136" y="14"/>
                </a:cxn>
                <a:cxn ang="0">
                  <a:pos x="136" y="10"/>
                </a:cxn>
                <a:cxn ang="0">
                  <a:pos x="138" y="6"/>
                </a:cxn>
                <a:cxn ang="0">
                  <a:pos x="138" y="0"/>
                </a:cxn>
                <a:cxn ang="0">
                  <a:pos x="130" y="0"/>
                </a:cxn>
                <a:cxn ang="0">
                  <a:pos x="128" y="2"/>
                </a:cxn>
                <a:cxn ang="0">
                  <a:pos x="122" y="6"/>
                </a:cxn>
                <a:cxn ang="0">
                  <a:pos x="106" y="10"/>
                </a:cxn>
                <a:cxn ang="0">
                  <a:pos x="100" y="8"/>
                </a:cxn>
                <a:cxn ang="0">
                  <a:pos x="98" y="10"/>
                </a:cxn>
                <a:cxn ang="0">
                  <a:pos x="92" y="10"/>
                </a:cxn>
                <a:cxn ang="0">
                  <a:pos x="82" y="12"/>
                </a:cxn>
                <a:cxn ang="0">
                  <a:pos x="80" y="14"/>
                </a:cxn>
                <a:cxn ang="0">
                  <a:pos x="76" y="16"/>
                </a:cxn>
                <a:cxn ang="0">
                  <a:pos x="70" y="16"/>
                </a:cxn>
                <a:cxn ang="0">
                  <a:pos x="62" y="16"/>
                </a:cxn>
                <a:cxn ang="0">
                  <a:pos x="54" y="20"/>
                </a:cxn>
                <a:cxn ang="0">
                  <a:pos x="46" y="20"/>
                </a:cxn>
                <a:cxn ang="0">
                  <a:pos x="38" y="16"/>
                </a:cxn>
                <a:cxn ang="0">
                  <a:pos x="34" y="10"/>
                </a:cxn>
                <a:cxn ang="0">
                  <a:pos x="32" y="8"/>
                </a:cxn>
                <a:cxn ang="0">
                  <a:pos x="30" y="6"/>
                </a:cxn>
                <a:cxn ang="0">
                  <a:pos x="26" y="12"/>
                </a:cxn>
                <a:cxn ang="0">
                  <a:pos x="22" y="18"/>
                </a:cxn>
              </a:cxnLst>
              <a:rect l="0" t="0" r="r" b="b"/>
              <a:pathLst>
                <a:path w="138" h="184">
                  <a:moveTo>
                    <a:pt x="22" y="18"/>
                  </a:moveTo>
                  <a:lnTo>
                    <a:pt x="28" y="26"/>
                  </a:lnTo>
                  <a:lnTo>
                    <a:pt x="32" y="34"/>
                  </a:lnTo>
                  <a:lnTo>
                    <a:pt x="36" y="36"/>
                  </a:lnTo>
                  <a:lnTo>
                    <a:pt x="40" y="40"/>
                  </a:lnTo>
                  <a:lnTo>
                    <a:pt x="80" y="54"/>
                  </a:lnTo>
                  <a:lnTo>
                    <a:pt x="94" y="54"/>
                  </a:lnTo>
                  <a:lnTo>
                    <a:pt x="54" y="96"/>
                  </a:lnTo>
                  <a:lnTo>
                    <a:pt x="40" y="94"/>
                  </a:lnTo>
                  <a:lnTo>
                    <a:pt x="30" y="98"/>
                  </a:lnTo>
                  <a:lnTo>
                    <a:pt x="26" y="100"/>
                  </a:lnTo>
                  <a:lnTo>
                    <a:pt x="24" y="104"/>
                  </a:lnTo>
                  <a:lnTo>
                    <a:pt x="20" y="104"/>
                  </a:lnTo>
                  <a:lnTo>
                    <a:pt x="14" y="106"/>
                  </a:lnTo>
                  <a:lnTo>
                    <a:pt x="12" y="108"/>
                  </a:lnTo>
                  <a:lnTo>
                    <a:pt x="0" y="124"/>
                  </a:lnTo>
                  <a:lnTo>
                    <a:pt x="0" y="160"/>
                  </a:lnTo>
                  <a:lnTo>
                    <a:pt x="0" y="172"/>
                  </a:lnTo>
                  <a:lnTo>
                    <a:pt x="4" y="178"/>
                  </a:lnTo>
                  <a:lnTo>
                    <a:pt x="6" y="184"/>
                  </a:lnTo>
                  <a:lnTo>
                    <a:pt x="12" y="174"/>
                  </a:lnTo>
                  <a:lnTo>
                    <a:pt x="22" y="164"/>
                  </a:lnTo>
                  <a:lnTo>
                    <a:pt x="26" y="162"/>
                  </a:lnTo>
                  <a:lnTo>
                    <a:pt x="34" y="152"/>
                  </a:lnTo>
                  <a:lnTo>
                    <a:pt x="44" y="144"/>
                  </a:lnTo>
                  <a:lnTo>
                    <a:pt x="70" y="126"/>
                  </a:lnTo>
                  <a:lnTo>
                    <a:pt x="88" y="108"/>
                  </a:lnTo>
                  <a:lnTo>
                    <a:pt x="106" y="84"/>
                  </a:lnTo>
                  <a:lnTo>
                    <a:pt x="108" y="78"/>
                  </a:lnTo>
                  <a:lnTo>
                    <a:pt x="110" y="74"/>
                  </a:lnTo>
                  <a:lnTo>
                    <a:pt x="116" y="62"/>
                  </a:lnTo>
                  <a:lnTo>
                    <a:pt x="124" y="50"/>
                  </a:lnTo>
                  <a:lnTo>
                    <a:pt x="130" y="38"/>
                  </a:lnTo>
                  <a:lnTo>
                    <a:pt x="132" y="32"/>
                  </a:lnTo>
                  <a:lnTo>
                    <a:pt x="134" y="26"/>
                  </a:lnTo>
                  <a:lnTo>
                    <a:pt x="136" y="20"/>
                  </a:lnTo>
                  <a:lnTo>
                    <a:pt x="138" y="18"/>
                  </a:lnTo>
                  <a:lnTo>
                    <a:pt x="136" y="14"/>
                  </a:lnTo>
                  <a:lnTo>
                    <a:pt x="136" y="10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30" y="0"/>
                  </a:lnTo>
                  <a:lnTo>
                    <a:pt x="128" y="2"/>
                  </a:lnTo>
                  <a:lnTo>
                    <a:pt x="122" y="6"/>
                  </a:lnTo>
                  <a:lnTo>
                    <a:pt x="106" y="10"/>
                  </a:lnTo>
                  <a:lnTo>
                    <a:pt x="100" y="8"/>
                  </a:lnTo>
                  <a:lnTo>
                    <a:pt x="98" y="10"/>
                  </a:lnTo>
                  <a:lnTo>
                    <a:pt x="92" y="10"/>
                  </a:lnTo>
                  <a:lnTo>
                    <a:pt x="82" y="12"/>
                  </a:lnTo>
                  <a:lnTo>
                    <a:pt x="80" y="14"/>
                  </a:lnTo>
                  <a:lnTo>
                    <a:pt x="76" y="16"/>
                  </a:lnTo>
                  <a:lnTo>
                    <a:pt x="70" y="16"/>
                  </a:lnTo>
                  <a:lnTo>
                    <a:pt x="62" y="16"/>
                  </a:lnTo>
                  <a:lnTo>
                    <a:pt x="54" y="20"/>
                  </a:lnTo>
                  <a:lnTo>
                    <a:pt x="46" y="20"/>
                  </a:lnTo>
                  <a:lnTo>
                    <a:pt x="38" y="16"/>
                  </a:lnTo>
                  <a:lnTo>
                    <a:pt x="34" y="10"/>
                  </a:lnTo>
                  <a:lnTo>
                    <a:pt x="32" y="8"/>
                  </a:lnTo>
                  <a:lnTo>
                    <a:pt x="30" y="6"/>
                  </a:lnTo>
                  <a:lnTo>
                    <a:pt x="26" y="12"/>
                  </a:lnTo>
                  <a:lnTo>
                    <a:pt x="22" y="18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9" name="Freeform 846">
              <a:extLst>
                <a:ext uri="{FF2B5EF4-FFF2-40B4-BE49-F238E27FC236}">
                  <a16:creationId xmlns:a16="http://schemas.microsoft.com/office/drawing/2014/main" id="{4BD0523A-C4F2-4B89-B659-611A4C5FC1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4850" y="4046538"/>
              <a:ext cx="163513" cy="247650"/>
            </a:xfrm>
            <a:custGeom>
              <a:avLst/>
              <a:gdLst/>
              <a:ahLst/>
              <a:cxnLst>
                <a:cxn ang="0">
                  <a:pos x="37" y="148"/>
                </a:cxn>
                <a:cxn ang="0">
                  <a:pos x="45" y="146"/>
                </a:cxn>
                <a:cxn ang="0">
                  <a:pos x="53" y="146"/>
                </a:cxn>
                <a:cxn ang="0">
                  <a:pos x="63" y="148"/>
                </a:cxn>
                <a:cxn ang="0">
                  <a:pos x="89" y="150"/>
                </a:cxn>
                <a:cxn ang="0">
                  <a:pos x="101" y="152"/>
                </a:cxn>
                <a:cxn ang="0">
                  <a:pos x="103" y="142"/>
                </a:cxn>
                <a:cxn ang="0">
                  <a:pos x="97" y="134"/>
                </a:cxn>
                <a:cxn ang="0">
                  <a:pos x="87" y="124"/>
                </a:cxn>
                <a:cxn ang="0">
                  <a:pos x="85" y="116"/>
                </a:cxn>
                <a:cxn ang="0">
                  <a:pos x="83" y="108"/>
                </a:cxn>
                <a:cxn ang="0">
                  <a:pos x="81" y="98"/>
                </a:cxn>
                <a:cxn ang="0">
                  <a:pos x="79" y="96"/>
                </a:cxn>
                <a:cxn ang="0">
                  <a:pos x="87" y="86"/>
                </a:cxn>
                <a:cxn ang="0">
                  <a:pos x="93" y="76"/>
                </a:cxn>
                <a:cxn ang="0">
                  <a:pos x="93" y="72"/>
                </a:cxn>
                <a:cxn ang="0">
                  <a:pos x="77" y="52"/>
                </a:cxn>
                <a:cxn ang="0">
                  <a:pos x="75" y="44"/>
                </a:cxn>
                <a:cxn ang="0">
                  <a:pos x="79" y="42"/>
                </a:cxn>
                <a:cxn ang="0">
                  <a:pos x="91" y="36"/>
                </a:cxn>
                <a:cxn ang="0">
                  <a:pos x="89" y="22"/>
                </a:cxn>
                <a:cxn ang="0">
                  <a:pos x="87" y="14"/>
                </a:cxn>
                <a:cxn ang="0">
                  <a:pos x="75" y="0"/>
                </a:cxn>
                <a:cxn ang="0">
                  <a:pos x="77" y="10"/>
                </a:cxn>
                <a:cxn ang="0">
                  <a:pos x="81" y="18"/>
                </a:cxn>
                <a:cxn ang="0">
                  <a:pos x="75" y="24"/>
                </a:cxn>
                <a:cxn ang="0">
                  <a:pos x="73" y="26"/>
                </a:cxn>
                <a:cxn ang="0">
                  <a:pos x="63" y="40"/>
                </a:cxn>
                <a:cxn ang="0">
                  <a:pos x="63" y="48"/>
                </a:cxn>
                <a:cxn ang="0">
                  <a:pos x="57" y="56"/>
                </a:cxn>
                <a:cxn ang="0">
                  <a:pos x="51" y="62"/>
                </a:cxn>
                <a:cxn ang="0">
                  <a:pos x="47" y="72"/>
                </a:cxn>
                <a:cxn ang="0">
                  <a:pos x="41" y="88"/>
                </a:cxn>
                <a:cxn ang="0">
                  <a:pos x="34" y="90"/>
                </a:cxn>
                <a:cxn ang="0">
                  <a:pos x="28" y="82"/>
                </a:cxn>
                <a:cxn ang="0">
                  <a:pos x="24" y="84"/>
                </a:cxn>
                <a:cxn ang="0">
                  <a:pos x="6" y="98"/>
                </a:cxn>
                <a:cxn ang="0">
                  <a:pos x="4" y="108"/>
                </a:cxn>
                <a:cxn ang="0">
                  <a:pos x="2" y="114"/>
                </a:cxn>
                <a:cxn ang="0">
                  <a:pos x="10" y="124"/>
                </a:cxn>
                <a:cxn ang="0">
                  <a:pos x="14" y="128"/>
                </a:cxn>
                <a:cxn ang="0">
                  <a:pos x="18" y="134"/>
                </a:cxn>
                <a:cxn ang="0">
                  <a:pos x="18" y="146"/>
                </a:cxn>
                <a:cxn ang="0">
                  <a:pos x="20" y="148"/>
                </a:cxn>
              </a:cxnLst>
              <a:rect l="0" t="0" r="r" b="b"/>
              <a:pathLst>
                <a:path w="103" h="156">
                  <a:moveTo>
                    <a:pt x="20" y="148"/>
                  </a:moveTo>
                  <a:lnTo>
                    <a:pt x="37" y="148"/>
                  </a:lnTo>
                  <a:lnTo>
                    <a:pt x="37" y="146"/>
                  </a:lnTo>
                  <a:lnTo>
                    <a:pt x="45" y="146"/>
                  </a:lnTo>
                  <a:lnTo>
                    <a:pt x="51" y="146"/>
                  </a:lnTo>
                  <a:lnTo>
                    <a:pt x="53" y="146"/>
                  </a:lnTo>
                  <a:lnTo>
                    <a:pt x="57" y="148"/>
                  </a:lnTo>
                  <a:lnTo>
                    <a:pt x="63" y="148"/>
                  </a:lnTo>
                  <a:lnTo>
                    <a:pt x="81" y="148"/>
                  </a:lnTo>
                  <a:lnTo>
                    <a:pt x="89" y="150"/>
                  </a:lnTo>
                  <a:lnTo>
                    <a:pt x="101" y="156"/>
                  </a:lnTo>
                  <a:lnTo>
                    <a:pt x="101" y="152"/>
                  </a:lnTo>
                  <a:lnTo>
                    <a:pt x="103" y="148"/>
                  </a:lnTo>
                  <a:lnTo>
                    <a:pt x="103" y="142"/>
                  </a:lnTo>
                  <a:lnTo>
                    <a:pt x="99" y="136"/>
                  </a:lnTo>
                  <a:lnTo>
                    <a:pt x="97" y="134"/>
                  </a:lnTo>
                  <a:lnTo>
                    <a:pt x="91" y="130"/>
                  </a:lnTo>
                  <a:lnTo>
                    <a:pt x="87" y="124"/>
                  </a:lnTo>
                  <a:lnTo>
                    <a:pt x="87" y="118"/>
                  </a:lnTo>
                  <a:lnTo>
                    <a:pt x="85" y="116"/>
                  </a:lnTo>
                  <a:lnTo>
                    <a:pt x="83" y="114"/>
                  </a:lnTo>
                  <a:lnTo>
                    <a:pt x="83" y="108"/>
                  </a:lnTo>
                  <a:lnTo>
                    <a:pt x="81" y="106"/>
                  </a:lnTo>
                  <a:lnTo>
                    <a:pt x="81" y="98"/>
                  </a:lnTo>
                  <a:lnTo>
                    <a:pt x="79" y="96"/>
                  </a:lnTo>
                  <a:lnTo>
                    <a:pt x="79" y="96"/>
                  </a:lnTo>
                  <a:lnTo>
                    <a:pt x="85" y="92"/>
                  </a:lnTo>
                  <a:lnTo>
                    <a:pt x="87" y="86"/>
                  </a:lnTo>
                  <a:lnTo>
                    <a:pt x="89" y="80"/>
                  </a:lnTo>
                  <a:lnTo>
                    <a:pt x="93" y="76"/>
                  </a:lnTo>
                  <a:lnTo>
                    <a:pt x="95" y="72"/>
                  </a:lnTo>
                  <a:lnTo>
                    <a:pt x="93" y="72"/>
                  </a:lnTo>
                  <a:lnTo>
                    <a:pt x="87" y="60"/>
                  </a:lnTo>
                  <a:lnTo>
                    <a:pt x="77" y="52"/>
                  </a:lnTo>
                  <a:lnTo>
                    <a:pt x="73" y="48"/>
                  </a:lnTo>
                  <a:lnTo>
                    <a:pt x="75" y="44"/>
                  </a:lnTo>
                  <a:lnTo>
                    <a:pt x="77" y="42"/>
                  </a:lnTo>
                  <a:lnTo>
                    <a:pt x="79" y="42"/>
                  </a:lnTo>
                  <a:lnTo>
                    <a:pt x="95" y="42"/>
                  </a:lnTo>
                  <a:lnTo>
                    <a:pt x="91" y="36"/>
                  </a:lnTo>
                  <a:lnTo>
                    <a:pt x="87" y="28"/>
                  </a:lnTo>
                  <a:lnTo>
                    <a:pt x="89" y="22"/>
                  </a:lnTo>
                  <a:lnTo>
                    <a:pt x="87" y="14"/>
                  </a:lnTo>
                  <a:lnTo>
                    <a:pt x="87" y="14"/>
                  </a:lnTo>
                  <a:lnTo>
                    <a:pt x="81" y="4"/>
                  </a:lnTo>
                  <a:lnTo>
                    <a:pt x="75" y="0"/>
                  </a:lnTo>
                  <a:lnTo>
                    <a:pt x="75" y="8"/>
                  </a:lnTo>
                  <a:lnTo>
                    <a:pt x="77" y="10"/>
                  </a:lnTo>
                  <a:lnTo>
                    <a:pt x="83" y="12"/>
                  </a:lnTo>
                  <a:lnTo>
                    <a:pt x="81" y="18"/>
                  </a:lnTo>
                  <a:lnTo>
                    <a:pt x="79" y="24"/>
                  </a:lnTo>
                  <a:lnTo>
                    <a:pt x="75" y="24"/>
                  </a:lnTo>
                  <a:lnTo>
                    <a:pt x="75" y="24"/>
                  </a:lnTo>
                  <a:lnTo>
                    <a:pt x="73" y="26"/>
                  </a:lnTo>
                  <a:lnTo>
                    <a:pt x="71" y="28"/>
                  </a:lnTo>
                  <a:lnTo>
                    <a:pt x="63" y="40"/>
                  </a:lnTo>
                  <a:lnTo>
                    <a:pt x="63" y="44"/>
                  </a:lnTo>
                  <a:lnTo>
                    <a:pt x="63" y="48"/>
                  </a:lnTo>
                  <a:lnTo>
                    <a:pt x="57" y="50"/>
                  </a:lnTo>
                  <a:lnTo>
                    <a:pt x="57" y="56"/>
                  </a:lnTo>
                  <a:lnTo>
                    <a:pt x="53" y="62"/>
                  </a:lnTo>
                  <a:lnTo>
                    <a:pt x="51" y="62"/>
                  </a:lnTo>
                  <a:lnTo>
                    <a:pt x="49" y="64"/>
                  </a:lnTo>
                  <a:lnTo>
                    <a:pt x="47" y="72"/>
                  </a:lnTo>
                  <a:lnTo>
                    <a:pt x="45" y="80"/>
                  </a:lnTo>
                  <a:lnTo>
                    <a:pt x="41" y="88"/>
                  </a:lnTo>
                  <a:lnTo>
                    <a:pt x="35" y="90"/>
                  </a:lnTo>
                  <a:lnTo>
                    <a:pt x="34" y="90"/>
                  </a:lnTo>
                  <a:lnTo>
                    <a:pt x="34" y="86"/>
                  </a:lnTo>
                  <a:lnTo>
                    <a:pt x="28" y="82"/>
                  </a:lnTo>
                  <a:lnTo>
                    <a:pt x="26" y="84"/>
                  </a:lnTo>
                  <a:lnTo>
                    <a:pt x="24" y="84"/>
                  </a:lnTo>
                  <a:lnTo>
                    <a:pt x="22" y="82"/>
                  </a:lnTo>
                  <a:lnTo>
                    <a:pt x="6" y="98"/>
                  </a:lnTo>
                  <a:lnTo>
                    <a:pt x="4" y="98"/>
                  </a:lnTo>
                  <a:lnTo>
                    <a:pt x="4" y="108"/>
                  </a:lnTo>
                  <a:lnTo>
                    <a:pt x="0" y="112"/>
                  </a:lnTo>
                  <a:lnTo>
                    <a:pt x="2" y="114"/>
                  </a:lnTo>
                  <a:lnTo>
                    <a:pt x="6" y="120"/>
                  </a:lnTo>
                  <a:lnTo>
                    <a:pt x="10" y="124"/>
                  </a:lnTo>
                  <a:lnTo>
                    <a:pt x="14" y="126"/>
                  </a:lnTo>
                  <a:lnTo>
                    <a:pt x="14" y="128"/>
                  </a:lnTo>
                  <a:lnTo>
                    <a:pt x="18" y="128"/>
                  </a:lnTo>
                  <a:lnTo>
                    <a:pt x="18" y="134"/>
                  </a:lnTo>
                  <a:lnTo>
                    <a:pt x="18" y="146"/>
                  </a:lnTo>
                  <a:lnTo>
                    <a:pt x="18" y="146"/>
                  </a:lnTo>
                  <a:lnTo>
                    <a:pt x="18" y="146"/>
                  </a:lnTo>
                  <a:lnTo>
                    <a:pt x="20" y="148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0" name="Freeform 847">
              <a:extLst>
                <a:ext uri="{FF2B5EF4-FFF2-40B4-BE49-F238E27FC236}">
                  <a16:creationId xmlns:a16="http://schemas.microsoft.com/office/drawing/2014/main" id="{7BEC68F5-794E-492B-8FDC-7C226C363D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7850" y="4027488"/>
              <a:ext cx="258763" cy="206375"/>
            </a:xfrm>
            <a:custGeom>
              <a:avLst/>
              <a:gdLst/>
              <a:ahLst/>
              <a:cxnLst>
                <a:cxn ang="0">
                  <a:pos x="86" y="110"/>
                </a:cxn>
                <a:cxn ang="0">
                  <a:pos x="104" y="96"/>
                </a:cxn>
                <a:cxn ang="0">
                  <a:pos x="108" y="94"/>
                </a:cxn>
                <a:cxn ang="0">
                  <a:pos x="114" y="102"/>
                </a:cxn>
                <a:cxn ang="0">
                  <a:pos x="121" y="100"/>
                </a:cxn>
                <a:cxn ang="0">
                  <a:pos x="127" y="84"/>
                </a:cxn>
                <a:cxn ang="0">
                  <a:pos x="131" y="74"/>
                </a:cxn>
                <a:cxn ang="0">
                  <a:pos x="137" y="68"/>
                </a:cxn>
                <a:cxn ang="0">
                  <a:pos x="143" y="60"/>
                </a:cxn>
                <a:cxn ang="0">
                  <a:pos x="143" y="52"/>
                </a:cxn>
                <a:cxn ang="0">
                  <a:pos x="153" y="38"/>
                </a:cxn>
                <a:cxn ang="0">
                  <a:pos x="155" y="36"/>
                </a:cxn>
                <a:cxn ang="0">
                  <a:pos x="161" y="30"/>
                </a:cxn>
                <a:cxn ang="0">
                  <a:pos x="157" y="22"/>
                </a:cxn>
                <a:cxn ang="0">
                  <a:pos x="155" y="12"/>
                </a:cxn>
                <a:cxn ang="0">
                  <a:pos x="143" y="4"/>
                </a:cxn>
                <a:cxn ang="0">
                  <a:pos x="133" y="12"/>
                </a:cxn>
                <a:cxn ang="0">
                  <a:pos x="115" y="8"/>
                </a:cxn>
                <a:cxn ang="0">
                  <a:pos x="102" y="8"/>
                </a:cxn>
                <a:cxn ang="0">
                  <a:pos x="94" y="16"/>
                </a:cxn>
                <a:cxn ang="0">
                  <a:pos x="84" y="14"/>
                </a:cxn>
                <a:cxn ang="0">
                  <a:pos x="68" y="8"/>
                </a:cxn>
                <a:cxn ang="0">
                  <a:pos x="54" y="8"/>
                </a:cxn>
                <a:cxn ang="0">
                  <a:pos x="48" y="4"/>
                </a:cxn>
                <a:cxn ang="0">
                  <a:pos x="40" y="0"/>
                </a:cxn>
                <a:cxn ang="0">
                  <a:pos x="30" y="2"/>
                </a:cxn>
                <a:cxn ang="0">
                  <a:pos x="30" y="2"/>
                </a:cxn>
                <a:cxn ang="0">
                  <a:pos x="20" y="6"/>
                </a:cxn>
                <a:cxn ang="0">
                  <a:pos x="14" y="18"/>
                </a:cxn>
                <a:cxn ang="0">
                  <a:pos x="12" y="30"/>
                </a:cxn>
                <a:cxn ang="0">
                  <a:pos x="14" y="40"/>
                </a:cxn>
                <a:cxn ang="0">
                  <a:pos x="14" y="50"/>
                </a:cxn>
                <a:cxn ang="0">
                  <a:pos x="6" y="66"/>
                </a:cxn>
                <a:cxn ang="0">
                  <a:pos x="2" y="74"/>
                </a:cxn>
                <a:cxn ang="0">
                  <a:pos x="2" y="92"/>
                </a:cxn>
                <a:cxn ang="0">
                  <a:pos x="6" y="104"/>
                </a:cxn>
                <a:cxn ang="0">
                  <a:pos x="10" y="100"/>
                </a:cxn>
                <a:cxn ang="0">
                  <a:pos x="28" y="108"/>
                </a:cxn>
                <a:cxn ang="0">
                  <a:pos x="38" y="120"/>
                </a:cxn>
                <a:cxn ang="0">
                  <a:pos x="38" y="124"/>
                </a:cxn>
                <a:cxn ang="0">
                  <a:pos x="42" y="130"/>
                </a:cxn>
                <a:cxn ang="0">
                  <a:pos x="48" y="130"/>
                </a:cxn>
                <a:cxn ang="0">
                  <a:pos x="70" y="128"/>
                </a:cxn>
                <a:cxn ang="0">
                  <a:pos x="76" y="128"/>
                </a:cxn>
                <a:cxn ang="0">
                  <a:pos x="78" y="124"/>
                </a:cxn>
                <a:cxn ang="0">
                  <a:pos x="84" y="120"/>
                </a:cxn>
              </a:cxnLst>
              <a:rect l="0" t="0" r="r" b="b"/>
              <a:pathLst>
                <a:path w="163" h="130">
                  <a:moveTo>
                    <a:pt x="84" y="110"/>
                  </a:moveTo>
                  <a:lnTo>
                    <a:pt x="86" y="110"/>
                  </a:lnTo>
                  <a:lnTo>
                    <a:pt x="102" y="94"/>
                  </a:lnTo>
                  <a:lnTo>
                    <a:pt x="104" y="96"/>
                  </a:lnTo>
                  <a:lnTo>
                    <a:pt x="106" y="96"/>
                  </a:lnTo>
                  <a:lnTo>
                    <a:pt x="108" y="94"/>
                  </a:lnTo>
                  <a:lnTo>
                    <a:pt x="114" y="98"/>
                  </a:lnTo>
                  <a:lnTo>
                    <a:pt x="114" y="102"/>
                  </a:lnTo>
                  <a:lnTo>
                    <a:pt x="115" y="102"/>
                  </a:lnTo>
                  <a:lnTo>
                    <a:pt x="121" y="100"/>
                  </a:lnTo>
                  <a:lnTo>
                    <a:pt x="125" y="92"/>
                  </a:lnTo>
                  <a:lnTo>
                    <a:pt x="127" y="84"/>
                  </a:lnTo>
                  <a:lnTo>
                    <a:pt x="129" y="76"/>
                  </a:lnTo>
                  <a:lnTo>
                    <a:pt x="131" y="74"/>
                  </a:lnTo>
                  <a:lnTo>
                    <a:pt x="133" y="74"/>
                  </a:lnTo>
                  <a:lnTo>
                    <a:pt x="137" y="68"/>
                  </a:lnTo>
                  <a:lnTo>
                    <a:pt x="137" y="62"/>
                  </a:lnTo>
                  <a:lnTo>
                    <a:pt x="143" y="60"/>
                  </a:lnTo>
                  <a:lnTo>
                    <a:pt x="143" y="56"/>
                  </a:lnTo>
                  <a:lnTo>
                    <a:pt x="143" y="52"/>
                  </a:lnTo>
                  <a:lnTo>
                    <a:pt x="151" y="40"/>
                  </a:lnTo>
                  <a:lnTo>
                    <a:pt x="153" y="38"/>
                  </a:lnTo>
                  <a:lnTo>
                    <a:pt x="155" y="36"/>
                  </a:lnTo>
                  <a:lnTo>
                    <a:pt x="155" y="36"/>
                  </a:lnTo>
                  <a:lnTo>
                    <a:pt x="159" y="36"/>
                  </a:lnTo>
                  <a:lnTo>
                    <a:pt x="161" y="30"/>
                  </a:lnTo>
                  <a:lnTo>
                    <a:pt x="163" y="24"/>
                  </a:lnTo>
                  <a:lnTo>
                    <a:pt x="157" y="22"/>
                  </a:lnTo>
                  <a:lnTo>
                    <a:pt x="155" y="20"/>
                  </a:lnTo>
                  <a:lnTo>
                    <a:pt x="155" y="12"/>
                  </a:lnTo>
                  <a:lnTo>
                    <a:pt x="149" y="2"/>
                  </a:lnTo>
                  <a:lnTo>
                    <a:pt x="143" y="4"/>
                  </a:lnTo>
                  <a:lnTo>
                    <a:pt x="137" y="8"/>
                  </a:lnTo>
                  <a:lnTo>
                    <a:pt x="133" y="12"/>
                  </a:lnTo>
                  <a:lnTo>
                    <a:pt x="127" y="12"/>
                  </a:lnTo>
                  <a:lnTo>
                    <a:pt x="115" y="8"/>
                  </a:lnTo>
                  <a:lnTo>
                    <a:pt x="110" y="8"/>
                  </a:lnTo>
                  <a:lnTo>
                    <a:pt x="102" y="8"/>
                  </a:lnTo>
                  <a:lnTo>
                    <a:pt x="98" y="12"/>
                  </a:lnTo>
                  <a:lnTo>
                    <a:pt x="94" y="16"/>
                  </a:lnTo>
                  <a:lnTo>
                    <a:pt x="92" y="16"/>
                  </a:lnTo>
                  <a:lnTo>
                    <a:pt x="84" y="14"/>
                  </a:lnTo>
                  <a:lnTo>
                    <a:pt x="78" y="12"/>
                  </a:lnTo>
                  <a:lnTo>
                    <a:pt x="68" y="8"/>
                  </a:lnTo>
                  <a:lnTo>
                    <a:pt x="58" y="12"/>
                  </a:lnTo>
                  <a:lnTo>
                    <a:pt x="54" y="8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4" y="2"/>
                  </a:lnTo>
                  <a:lnTo>
                    <a:pt x="40" y="0"/>
                  </a:lnTo>
                  <a:lnTo>
                    <a:pt x="34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22" y="4"/>
                  </a:lnTo>
                  <a:lnTo>
                    <a:pt x="20" y="6"/>
                  </a:lnTo>
                  <a:lnTo>
                    <a:pt x="20" y="8"/>
                  </a:lnTo>
                  <a:lnTo>
                    <a:pt x="14" y="18"/>
                  </a:lnTo>
                  <a:lnTo>
                    <a:pt x="14" y="24"/>
                  </a:lnTo>
                  <a:lnTo>
                    <a:pt x="12" y="30"/>
                  </a:lnTo>
                  <a:lnTo>
                    <a:pt x="12" y="34"/>
                  </a:lnTo>
                  <a:lnTo>
                    <a:pt x="14" y="40"/>
                  </a:lnTo>
                  <a:lnTo>
                    <a:pt x="16" y="46"/>
                  </a:lnTo>
                  <a:lnTo>
                    <a:pt x="14" y="50"/>
                  </a:lnTo>
                  <a:lnTo>
                    <a:pt x="10" y="60"/>
                  </a:lnTo>
                  <a:lnTo>
                    <a:pt x="6" y="66"/>
                  </a:lnTo>
                  <a:lnTo>
                    <a:pt x="2" y="66"/>
                  </a:lnTo>
                  <a:lnTo>
                    <a:pt x="2" y="74"/>
                  </a:lnTo>
                  <a:lnTo>
                    <a:pt x="0" y="82"/>
                  </a:lnTo>
                  <a:lnTo>
                    <a:pt x="2" y="92"/>
                  </a:lnTo>
                  <a:lnTo>
                    <a:pt x="0" y="104"/>
                  </a:lnTo>
                  <a:lnTo>
                    <a:pt x="6" y="104"/>
                  </a:lnTo>
                  <a:lnTo>
                    <a:pt x="10" y="102"/>
                  </a:lnTo>
                  <a:lnTo>
                    <a:pt x="10" y="100"/>
                  </a:lnTo>
                  <a:lnTo>
                    <a:pt x="24" y="104"/>
                  </a:lnTo>
                  <a:lnTo>
                    <a:pt x="28" y="108"/>
                  </a:lnTo>
                  <a:lnTo>
                    <a:pt x="34" y="110"/>
                  </a:lnTo>
                  <a:lnTo>
                    <a:pt x="38" y="120"/>
                  </a:lnTo>
                  <a:lnTo>
                    <a:pt x="38" y="124"/>
                  </a:lnTo>
                  <a:lnTo>
                    <a:pt x="38" y="124"/>
                  </a:lnTo>
                  <a:lnTo>
                    <a:pt x="40" y="126"/>
                  </a:lnTo>
                  <a:lnTo>
                    <a:pt x="42" y="130"/>
                  </a:lnTo>
                  <a:lnTo>
                    <a:pt x="46" y="130"/>
                  </a:lnTo>
                  <a:lnTo>
                    <a:pt x="48" y="130"/>
                  </a:lnTo>
                  <a:lnTo>
                    <a:pt x="66" y="126"/>
                  </a:lnTo>
                  <a:lnTo>
                    <a:pt x="70" y="128"/>
                  </a:lnTo>
                  <a:lnTo>
                    <a:pt x="72" y="128"/>
                  </a:lnTo>
                  <a:lnTo>
                    <a:pt x="76" y="128"/>
                  </a:lnTo>
                  <a:lnTo>
                    <a:pt x="76" y="124"/>
                  </a:lnTo>
                  <a:lnTo>
                    <a:pt x="78" y="124"/>
                  </a:lnTo>
                  <a:lnTo>
                    <a:pt x="80" y="124"/>
                  </a:lnTo>
                  <a:lnTo>
                    <a:pt x="84" y="120"/>
                  </a:lnTo>
                  <a:lnTo>
                    <a:pt x="84" y="11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1" name="Freeform 862">
              <a:extLst>
                <a:ext uri="{FF2B5EF4-FFF2-40B4-BE49-F238E27FC236}">
                  <a16:creationId xmlns:a16="http://schemas.microsoft.com/office/drawing/2014/main" id="{7C7ECDAE-F85D-4065-B454-2A3BCE0C6E2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3875" y="3808413"/>
              <a:ext cx="341313" cy="266700"/>
            </a:xfrm>
            <a:custGeom>
              <a:avLst/>
              <a:gdLst/>
              <a:ahLst/>
              <a:cxnLst>
                <a:cxn ang="0">
                  <a:pos x="48" y="114"/>
                </a:cxn>
                <a:cxn ang="0">
                  <a:pos x="40" y="116"/>
                </a:cxn>
                <a:cxn ang="0">
                  <a:pos x="24" y="118"/>
                </a:cxn>
                <a:cxn ang="0">
                  <a:pos x="12" y="122"/>
                </a:cxn>
                <a:cxn ang="0">
                  <a:pos x="2" y="122"/>
                </a:cxn>
                <a:cxn ang="0">
                  <a:pos x="0" y="130"/>
                </a:cxn>
                <a:cxn ang="0">
                  <a:pos x="6" y="140"/>
                </a:cxn>
                <a:cxn ang="0">
                  <a:pos x="16" y="146"/>
                </a:cxn>
                <a:cxn ang="0">
                  <a:pos x="12" y="150"/>
                </a:cxn>
                <a:cxn ang="0">
                  <a:pos x="26" y="160"/>
                </a:cxn>
                <a:cxn ang="0">
                  <a:pos x="30" y="160"/>
                </a:cxn>
                <a:cxn ang="0">
                  <a:pos x="36" y="160"/>
                </a:cxn>
                <a:cxn ang="0">
                  <a:pos x="46" y="168"/>
                </a:cxn>
                <a:cxn ang="0">
                  <a:pos x="48" y="156"/>
                </a:cxn>
                <a:cxn ang="0">
                  <a:pos x="54" y="144"/>
                </a:cxn>
                <a:cxn ang="0">
                  <a:pos x="64" y="140"/>
                </a:cxn>
                <a:cxn ang="0">
                  <a:pos x="64" y="140"/>
                </a:cxn>
                <a:cxn ang="0">
                  <a:pos x="74" y="138"/>
                </a:cxn>
                <a:cxn ang="0">
                  <a:pos x="82" y="142"/>
                </a:cxn>
                <a:cxn ang="0">
                  <a:pos x="88" y="146"/>
                </a:cxn>
                <a:cxn ang="0">
                  <a:pos x="102" y="146"/>
                </a:cxn>
                <a:cxn ang="0">
                  <a:pos x="118" y="152"/>
                </a:cxn>
                <a:cxn ang="0">
                  <a:pos x="128" y="154"/>
                </a:cxn>
                <a:cxn ang="0">
                  <a:pos x="136" y="146"/>
                </a:cxn>
                <a:cxn ang="0">
                  <a:pos x="149" y="146"/>
                </a:cxn>
                <a:cxn ang="0">
                  <a:pos x="167" y="150"/>
                </a:cxn>
                <a:cxn ang="0">
                  <a:pos x="177" y="142"/>
                </a:cxn>
                <a:cxn ang="0">
                  <a:pos x="181" y="134"/>
                </a:cxn>
                <a:cxn ang="0">
                  <a:pos x="191" y="116"/>
                </a:cxn>
                <a:cxn ang="0">
                  <a:pos x="207" y="90"/>
                </a:cxn>
                <a:cxn ang="0">
                  <a:pos x="211" y="58"/>
                </a:cxn>
                <a:cxn ang="0">
                  <a:pos x="215" y="46"/>
                </a:cxn>
                <a:cxn ang="0">
                  <a:pos x="207" y="36"/>
                </a:cxn>
                <a:cxn ang="0">
                  <a:pos x="203" y="26"/>
                </a:cxn>
                <a:cxn ang="0">
                  <a:pos x="203" y="16"/>
                </a:cxn>
                <a:cxn ang="0">
                  <a:pos x="195" y="10"/>
                </a:cxn>
                <a:cxn ang="0">
                  <a:pos x="187" y="10"/>
                </a:cxn>
                <a:cxn ang="0">
                  <a:pos x="173" y="4"/>
                </a:cxn>
                <a:cxn ang="0">
                  <a:pos x="159" y="2"/>
                </a:cxn>
                <a:cxn ang="0">
                  <a:pos x="80" y="58"/>
                </a:cxn>
                <a:cxn ang="0">
                  <a:pos x="68" y="62"/>
                </a:cxn>
                <a:cxn ang="0">
                  <a:pos x="56" y="94"/>
                </a:cxn>
              </a:cxnLst>
              <a:rect l="0" t="0" r="r" b="b"/>
              <a:pathLst>
                <a:path w="215" h="168">
                  <a:moveTo>
                    <a:pt x="52" y="106"/>
                  </a:moveTo>
                  <a:lnTo>
                    <a:pt x="48" y="114"/>
                  </a:lnTo>
                  <a:lnTo>
                    <a:pt x="46" y="118"/>
                  </a:lnTo>
                  <a:lnTo>
                    <a:pt x="40" y="116"/>
                  </a:lnTo>
                  <a:lnTo>
                    <a:pt x="34" y="118"/>
                  </a:lnTo>
                  <a:lnTo>
                    <a:pt x="24" y="118"/>
                  </a:lnTo>
                  <a:lnTo>
                    <a:pt x="16" y="118"/>
                  </a:lnTo>
                  <a:lnTo>
                    <a:pt x="12" y="122"/>
                  </a:lnTo>
                  <a:lnTo>
                    <a:pt x="6" y="124"/>
                  </a:lnTo>
                  <a:lnTo>
                    <a:pt x="2" y="122"/>
                  </a:lnTo>
                  <a:lnTo>
                    <a:pt x="2" y="126"/>
                  </a:lnTo>
                  <a:lnTo>
                    <a:pt x="0" y="130"/>
                  </a:lnTo>
                  <a:lnTo>
                    <a:pt x="4" y="138"/>
                  </a:lnTo>
                  <a:lnTo>
                    <a:pt x="6" y="140"/>
                  </a:lnTo>
                  <a:lnTo>
                    <a:pt x="8" y="142"/>
                  </a:lnTo>
                  <a:lnTo>
                    <a:pt x="16" y="146"/>
                  </a:lnTo>
                  <a:lnTo>
                    <a:pt x="12" y="146"/>
                  </a:lnTo>
                  <a:lnTo>
                    <a:pt x="12" y="150"/>
                  </a:lnTo>
                  <a:lnTo>
                    <a:pt x="16" y="154"/>
                  </a:lnTo>
                  <a:lnTo>
                    <a:pt x="26" y="160"/>
                  </a:lnTo>
                  <a:lnTo>
                    <a:pt x="30" y="166"/>
                  </a:lnTo>
                  <a:lnTo>
                    <a:pt x="30" y="160"/>
                  </a:lnTo>
                  <a:lnTo>
                    <a:pt x="34" y="160"/>
                  </a:lnTo>
                  <a:lnTo>
                    <a:pt x="36" y="160"/>
                  </a:lnTo>
                  <a:lnTo>
                    <a:pt x="46" y="168"/>
                  </a:lnTo>
                  <a:lnTo>
                    <a:pt x="46" y="168"/>
                  </a:lnTo>
                  <a:lnTo>
                    <a:pt x="48" y="162"/>
                  </a:lnTo>
                  <a:lnTo>
                    <a:pt x="48" y="156"/>
                  </a:lnTo>
                  <a:lnTo>
                    <a:pt x="54" y="146"/>
                  </a:lnTo>
                  <a:lnTo>
                    <a:pt x="54" y="144"/>
                  </a:lnTo>
                  <a:lnTo>
                    <a:pt x="56" y="142"/>
                  </a:lnTo>
                  <a:lnTo>
                    <a:pt x="64" y="140"/>
                  </a:lnTo>
                  <a:lnTo>
                    <a:pt x="64" y="140"/>
                  </a:lnTo>
                  <a:lnTo>
                    <a:pt x="64" y="140"/>
                  </a:lnTo>
                  <a:lnTo>
                    <a:pt x="68" y="140"/>
                  </a:lnTo>
                  <a:lnTo>
                    <a:pt x="74" y="138"/>
                  </a:lnTo>
                  <a:lnTo>
                    <a:pt x="78" y="140"/>
                  </a:lnTo>
                  <a:lnTo>
                    <a:pt x="82" y="142"/>
                  </a:lnTo>
                  <a:lnTo>
                    <a:pt x="84" y="142"/>
                  </a:lnTo>
                  <a:lnTo>
                    <a:pt x="88" y="146"/>
                  </a:lnTo>
                  <a:lnTo>
                    <a:pt x="92" y="150"/>
                  </a:lnTo>
                  <a:lnTo>
                    <a:pt x="102" y="146"/>
                  </a:lnTo>
                  <a:lnTo>
                    <a:pt x="112" y="150"/>
                  </a:lnTo>
                  <a:lnTo>
                    <a:pt x="118" y="152"/>
                  </a:lnTo>
                  <a:lnTo>
                    <a:pt x="126" y="154"/>
                  </a:lnTo>
                  <a:lnTo>
                    <a:pt x="128" y="154"/>
                  </a:lnTo>
                  <a:lnTo>
                    <a:pt x="132" y="150"/>
                  </a:lnTo>
                  <a:lnTo>
                    <a:pt x="136" y="146"/>
                  </a:lnTo>
                  <a:lnTo>
                    <a:pt x="144" y="146"/>
                  </a:lnTo>
                  <a:lnTo>
                    <a:pt x="149" y="146"/>
                  </a:lnTo>
                  <a:lnTo>
                    <a:pt x="161" y="150"/>
                  </a:lnTo>
                  <a:lnTo>
                    <a:pt x="167" y="150"/>
                  </a:lnTo>
                  <a:lnTo>
                    <a:pt x="171" y="146"/>
                  </a:lnTo>
                  <a:lnTo>
                    <a:pt x="177" y="142"/>
                  </a:lnTo>
                  <a:lnTo>
                    <a:pt x="183" y="140"/>
                  </a:lnTo>
                  <a:lnTo>
                    <a:pt x="181" y="134"/>
                  </a:lnTo>
                  <a:lnTo>
                    <a:pt x="181" y="128"/>
                  </a:lnTo>
                  <a:lnTo>
                    <a:pt x="191" y="116"/>
                  </a:lnTo>
                  <a:lnTo>
                    <a:pt x="207" y="96"/>
                  </a:lnTo>
                  <a:lnTo>
                    <a:pt x="207" y="90"/>
                  </a:lnTo>
                  <a:lnTo>
                    <a:pt x="209" y="76"/>
                  </a:lnTo>
                  <a:lnTo>
                    <a:pt x="211" y="58"/>
                  </a:lnTo>
                  <a:lnTo>
                    <a:pt x="213" y="50"/>
                  </a:lnTo>
                  <a:lnTo>
                    <a:pt x="215" y="46"/>
                  </a:lnTo>
                  <a:lnTo>
                    <a:pt x="213" y="44"/>
                  </a:lnTo>
                  <a:lnTo>
                    <a:pt x="207" y="36"/>
                  </a:lnTo>
                  <a:lnTo>
                    <a:pt x="205" y="32"/>
                  </a:lnTo>
                  <a:lnTo>
                    <a:pt x="203" y="26"/>
                  </a:lnTo>
                  <a:lnTo>
                    <a:pt x="203" y="22"/>
                  </a:lnTo>
                  <a:lnTo>
                    <a:pt x="203" y="16"/>
                  </a:lnTo>
                  <a:lnTo>
                    <a:pt x="201" y="8"/>
                  </a:lnTo>
                  <a:lnTo>
                    <a:pt x="195" y="10"/>
                  </a:lnTo>
                  <a:lnTo>
                    <a:pt x="191" y="14"/>
                  </a:lnTo>
                  <a:lnTo>
                    <a:pt x="187" y="10"/>
                  </a:lnTo>
                  <a:lnTo>
                    <a:pt x="181" y="6"/>
                  </a:lnTo>
                  <a:lnTo>
                    <a:pt x="173" y="4"/>
                  </a:lnTo>
                  <a:lnTo>
                    <a:pt x="159" y="0"/>
                  </a:lnTo>
                  <a:lnTo>
                    <a:pt x="159" y="2"/>
                  </a:lnTo>
                  <a:lnTo>
                    <a:pt x="100" y="40"/>
                  </a:lnTo>
                  <a:lnTo>
                    <a:pt x="80" y="58"/>
                  </a:lnTo>
                  <a:lnTo>
                    <a:pt x="74" y="60"/>
                  </a:lnTo>
                  <a:lnTo>
                    <a:pt x="68" y="62"/>
                  </a:lnTo>
                  <a:lnTo>
                    <a:pt x="56" y="64"/>
                  </a:lnTo>
                  <a:lnTo>
                    <a:pt x="56" y="94"/>
                  </a:lnTo>
                  <a:lnTo>
                    <a:pt x="52" y="106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2" name="Freeform 863">
              <a:extLst>
                <a:ext uri="{FF2B5EF4-FFF2-40B4-BE49-F238E27FC236}">
                  <a16:creationId xmlns:a16="http://schemas.microsoft.com/office/drawing/2014/main" id="{AA6BF7B1-7B53-47D9-9D50-8DBBE5EF68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1213" y="3808413"/>
              <a:ext cx="225425" cy="358775"/>
            </a:xfrm>
            <a:custGeom>
              <a:avLst/>
              <a:gdLst/>
              <a:ahLst/>
              <a:cxnLst>
                <a:cxn ang="0">
                  <a:pos x="22" y="26"/>
                </a:cxn>
                <a:cxn ang="0">
                  <a:pos x="26" y="36"/>
                </a:cxn>
                <a:cxn ang="0">
                  <a:pos x="34" y="46"/>
                </a:cxn>
                <a:cxn ang="0">
                  <a:pos x="30" y="58"/>
                </a:cxn>
                <a:cxn ang="0">
                  <a:pos x="26" y="90"/>
                </a:cxn>
                <a:cxn ang="0">
                  <a:pos x="10" y="116"/>
                </a:cxn>
                <a:cxn ang="0">
                  <a:pos x="0" y="134"/>
                </a:cxn>
                <a:cxn ang="0">
                  <a:pos x="8" y="150"/>
                </a:cxn>
                <a:cxn ang="0">
                  <a:pos x="20" y="164"/>
                </a:cxn>
                <a:cxn ang="0">
                  <a:pos x="22" y="172"/>
                </a:cxn>
                <a:cxn ang="0">
                  <a:pos x="24" y="186"/>
                </a:cxn>
                <a:cxn ang="0">
                  <a:pos x="12" y="192"/>
                </a:cxn>
                <a:cxn ang="0">
                  <a:pos x="8" y="194"/>
                </a:cxn>
                <a:cxn ang="0">
                  <a:pos x="10" y="202"/>
                </a:cxn>
                <a:cxn ang="0">
                  <a:pos x="26" y="222"/>
                </a:cxn>
                <a:cxn ang="0">
                  <a:pos x="26" y="226"/>
                </a:cxn>
                <a:cxn ang="0">
                  <a:pos x="44" y="226"/>
                </a:cxn>
                <a:cxn ang="0">
                  <a:pos x="56" y="220"/>
                </a:cxn>
                <a:cxn ang="0">
                  <a:pos x="70" y="216"/>
                </a:cxn>
                <a:cxn ang="0">
                  <a:pos x="72" y="208"/>
                </a:cxn>
                <a:cxn ang="0">
                  <a:pos x="82" y="206"/>
                </a:cxn>
                <a:cxn ang="0">
                  <a:pos x="94" y="202"/>
                </a:cxn>
                <a:cxn ang="0">
                  <a:pos x="106" y="192"/>
                </a:cxn>
                <a:cxn ang="0">
                  <a:pos x="108" y="190"/>
                </a:cxn>
                <a:cxn ang="0">
                  <a:pos x="112" y="184"/>
                </a:cxn>
                <a:cxn ang="0">
                  <a:pos x="122" y="178"/>
                </a:cxn>
                <a:cxn ang="0">
                  <a:pos x="126" y="180"/>
                </a:cxn>
                <a:cxn ang="0">
                  <a:pos x="122" y="168"/>
                </a:cxn>
                <a:cxn ang="0">
                  <a:pos x="120" y="158"/>
                </a:cxn>
                <a:cxn ang="0">
                  <a:pos x="114" y="156"/>
                </a:cxn>
                <a:cxn ang="0">
                  <a:pos x="116" y="148"/>
                </a:cxn>
                <a:cxn ang="0">
                  <a:pos x="118" y="136"/>
                </a:cxn>
                <a:cxn ang="0">
                  <a:pos x="124" y="124"/>
                </a:cxn>
                <a:cxn ang="0">
                  <a:pos x="128" y="116"/>
                </a:cxn>
                <a:cxn ang="0">
                  <a:pos x="130" y="112"/>
                </a:cxn>
                <a:cxn ang="0">
                  <a:pos x="142" y="114"/>
                </a:cxn>
                <a:cxn ang="0">
                  <a:pos x="80" y="24"/>
                </a:cxn>
                <a:cxn ang="0">
                  <a:pos x="46" y="8"/>
                </a:cxn>
                <a:cxn ang="0">
                  <a:pos x="36" y="2"/>
                </a:cxn>
                <a:cxn ang="0">
                  <a:pos x="30" y="4"/>
                </a:cxn>
                <a:cxn ang="0">
                  <a:pos x="20" y="8"/>
                </a:cxn>
                <a:cxn ang="0">
                  <a:pos x="22" y="22"/>
                </a:cxn>
              </a:cxnLst>
              <a:rect l="0" t="0" r="r" b="b"/>
              <a:pathLst>
                <a:path w="142" h="226">
                  <a:moveTo>
                    <a:pt x="22" y="22"/>
                  </a:moveTo>
                  <a:lnTo>
                    <a:pt x="22" y="26"/>
                  </a:lnTo>
                  <a:lnTo>
                    <a:pt x="24" y="32"/>
                  </a:lnTo>
                  <a:lnTo>
                    <a:pt x="26" y="36"/>
                  </a:lnTo>
                  <a:lnTo>
                    <a:pt x="32" y="44"/>
                  </a:lnTo>
                  <a:lnTo>
                    <a:pt x="34" y="46"/>
                  </a:lnTo>
                  <a:lnTo>
                    <a:pt x="32" y="50"/>
                  </a:lnTo>
                  <a:lnTo>
                    <a:pt x="30" y="58"/>
                  </a:lnTo>
                  <a:lnTo>
                    <a:pt x="28" y="76"/>
                  </a:lnTo>
                  <a:lnTo>
                    <a:pt x="26" y="90"/>
                  </a:lnTo>
                  <a:lnTo>
                    <a:pt x="26" y="96"/>
                  </a:lnTo>
                  <a:lnTo>
                    <a:pt x="10" y="116"/>
                  </a:lnTo>
                  <a:lnTo>
                    <a:pt x="0" y="128"/>
                  </a:lnTo>
                  <a:lnTo>
                    <a:pt x="0" y="134"/>
                  </a:lnTo>
                  <a:lnTo>
                    <a:pt x="2" y="140"/>
                  </a:lnTo>
                  <a:lnTo>
                    <a:pt x="8" y="150"/>
                  </a:lnTo>
                  <a:lnTo>
                    <a:pt x="14" y="154"/>
                  </a:lnTo>
                  <a:lnTo>
                    <a:pt x="20" y="164"/>
                  </a:lnTo>
                  <a:lnTo>
                    <a:pt x="20" y="164"/>
                  </a:lnTo>
                  <a:lnTo>
                    <a:pt x="22" y="172"/>
                  </a:lnTo>
                  <a:lnTo>
                    <a:pt x="20" y="178"/>
                  </a:lnTo>
                  <a:lnTo>
                    <a:pt x="24" y="186"/>
                  </a:lnTo>
                  <a:lnTo>
                    <a:pt x="28" y="192"/>
                  </a:lnTo>
                  <a:lnTo>
                    <a:pt x="12" y="192"/>
                  </a:lnTo>
                  <a:lnTo>
                    <a:pt x="10" y="192"/>
                  </a:lnTo>
                  <a:lnTo>
                    <a:pt x="8" y="194"/>
                  </a:lnTo>
                  <a:lnTo>
                    <a:pt x="6" y="198"/>
                  </a:lnTo>
                  <a:lnTo>
                    <a:pt x="10" y="202"/>
                  </a:lnTo>
                  <a:lnTo>
                    <a:pt x="20" y="210"/>
                  </a:lnTo>
                  <a:lnTo>
                    <a:pt x="26" y="222"/>
                  </a:lnTo>
                  <a:lnTo>
                    <a:pt x="28" y="222"/>
                  </a:lnTo>
                  <a:lnTo>
                    <a:pt x="26" y="226"/>
                  </a:lnTo>
                  <a:lnTo>
                    <a:pt x="34" y="226"/>
                  </a:lnTo>
                  <a:lnTo>
                    <a:pt x="44" y="226"/>
                  </a:lnTo>
                  <a:lnTo>
                    <a:pt x="50" y="222"/>
                  </a:lnTo>
                  <a:lnTo>
                    <a:pt x="56" y="220"/>
                  </a:lnTo>
                  <a:lnTo>
                    <a:pt x="68" y="218"/>
                  </a:lnTo>
                  <a:lnTo>
                    <a:pt x="70" y="216"/>
                  </a:lnTo>
                  <a:lnTo>
                    <a:pt x="76" y="212"/>
                  </a:lnTo>
                  <a:lnTo>
                    <a:pt x="72" y="208"/>
                  </a:lnTo>
                  <a:lnTo>
                    <a:pt x="76" y="206"/>
                  </a:lnTo>
                  <a:lnTo>
                    <a:pt x="82" y="206"/>
                  </a:lnTo>
                  <a:lnTo>
                    <a:pt x="88" y="204"/>
                  </a:lnTo>
                  <a:lnTo>
                    <a:pt x="94" y="202"/>
                  </a:lnTo>
                  <a:lnTo>
                    <a:pt x="102" y="196"/>
                  </a:lnTo>
                  <a:lnTo>
                    <a:pt x="106" y="192"/>
                  </a:lnTo>
                  <a:lnTo>
                    <a:pt x="106" y="192"/>
                  </a:lnTo>
                  <a:lnTo>
                    <a:pt x="108" y="190"/>
                  </a:lnTo>
                  <a:lnTo>
                    <a:pt x="110" y="188"/>
                  </a:lnTo>
                  <a:lnTo>
                    <a:pt x="112" y="184"/>
                  </a:lnTo>
                  <a:lnTo>
                    <a:pt x="118" y="180"/>
                  </a:lnTo>
                  <a:lnTo>
                    <a:pt x="122" y="178"/>
                  </a:lnTo>
                  <a:lnTo>
                    <a:pt x="126" y="180"/>
                  </a:lnTo>
                  <a:lnTo>
                    <a:pt x="126" y="180"/>
                  </a:lnTo>
                  <a:lnTo>
                    <a:pt x="126" y="172"/>
                  </a:lnTo>
                  <a:lnTo>
                    <a:pt x="122" y="168"/>
                  </a:lnTo>
                  <a:lnTo>
                    <a:pt x="122" y="162"/>
                  </a:lnTo>
                  <a:lnTo>
                    <a:pt x="120" y="158"/>
                  </a:lnTo>
                  <a:lnTo>
                    <a:pt x="116" y="156"/>
                  </a:lnTo>
                  <a:lnTo>
                    <a:pt x="114" y="156"/>
                  </a:lnTo>
                  <a:lnTo>
                    <a:pt x="112" y="154"/>
                  </a:lnTo>
                  <a:lnTo>
                    <a:pt x="116" y="148"/>
                  </a:lnTo>
                  <a:lnTo>
                    <a:pt x="118" y="144"/>
                  </a:lnTo>
                  <a:lnTo>
                    <a:pt x="118" y="136"/>
                  </a:lnTo>
                  <a:lnTo>
                    <a:pt x="120" y="128"/>
                  </a:lnTo>
                  <a:lnTo>
                    <a:pt x="124" y="124"/>
                  </a:lnTo>
                  <a:lnTo>
                    <a:pt x="126" y="122"/>
                  </a:lnTo>
                  <a:lnTo>
                    <a:pt x="128" y="116"/>
                  </a:lnTo>
                  <a:lnTo>
                    <a:pt x="128" y="114"/>
                  </a:lnTo>
                  <a:lnTo>
                    <a:pt x="130" y="112"/>
                  </a:lnTo>
                  <a:lnTo>
                    <a:pt x="136" y="112"/>
                  </a:lnTo>
                  <a:lnTo>
                    <a:pt x="142" y="114"/>
                  </a:lnTo>
                  <a:lnTo>
                    <a:pt x="142" y="58"/>
                  </a:lnTo>
                  <a:lnTo>
                    <a:pt x="80" y="24"/>
                  </a:lnTo>
                  <a:lnTo>
                    <a:pt x="74" y="22"/>
                  </a:lnTo>
                  <a:lnTo>
                    <a:pt x="46" y="8"/>
                  </a:lnTo>
                  <a:lnTo>
                    <a:pt x="40" y="4"/>
                  </a:lnTo>
                  <a:lnTo>
                    <a:pt x="36" y="2"/>
                  </a:lnTo>
                  <a:lnTo>
                    <a:pt x="34" y="0"/>
                  </a:lnTo>
                  <a:lnTo>
                    <a:pt x="30" y="4"/>
                  </a:lnTo>
                  <a:lnTo>
                    <a:pt x="28" y="4"/>
                  </a:lnTo>
                  <a:lnTo>
                    <a:pt x="20" y="8"/>
                  </a:lnTo>
                  <a:lnTo>
                    <a:pt x="22" y="16"/>
                  </a:lnTo>
                  <a:lnTo>
                    <a:pt x="22" y="22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3" name="Freeform 864">
              <a:extLst>
                <a:ext uri="{FF2B5EF4-FFF2-40B4-BE49-F238E27FC236}">
                  <a16:creationId xmlns:a16="http://schemas.microsoft.com/office/drawing/2014/main" id="{03C06D0A-4996-4E13-9B5D-B5A5F4E8A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0313" y="4008438"/>
              <a:ext cx="323850" cy="244475"/>
            </a:xfrm>
            <a:custGeom>
              <a:avLst/>
              <a:gdLst/>
              <a:ahLst/>
              <a:cxnLst>
                <a:cxn ang="0">
                  <a:pos x="66" y="150"/>
                </a:cxn>
                <a:cxn ang="0">
                  <a:pos x="72" y="152"/>
                </a:cxn>
                <a:cxn ang="0">
                  <a:pos x="88" y="154"/>
                </a:cxn>
                <a:cxn ang="0">
                  <a:pos x="106" y="144"/>
                </a:cxn>
                <a:cxn ang="0">
                  <a:pos x="114" y="148"/>
                </a:cxn>
                <a:cxn ang="0">
                  <a:pos x="122" y="148"/>
                </a:cxn>
                <a:cxn ang="0">
                  <a:pos x="130" y="144"/>
                </a:cxn>
                <a:cxn ang="0">
                  <a:pos x="136" y="140"/>
                </a:cxn>
                <a:cxn ang="0">
                  <a:pos x="150" y="134"/>
                </a:cxn>
                <a:cxn ang="0">
                  <a:pos x="204" y="94"/>
                </a:cxn>
                <a:cxn ang="0">
                  <a:pos x="150" y="80"/>
                </a:cxn>
                <a:cxn ang="0">
                  <a:pos x="142" y="74"/>
                </a:cxn>
                <a:cxn ang="0">
                  <a:pos x="132" y="58"/>
                </a:cxn>
                <a:cxn ang="0">
                  <a:pos x="132" y="50"/>
                </a:cxn>
                <a:cxn ang="0">
                  <a:pos x="122" y="54"/>
                </a:cxn>
                <a:cxn ang="0">
                  <a:pos x="122" y="40"/>
                </a:cxn>
                <a:cxn ang="0">
                  <a:pos x="130" y="32"/>
                </a:cxn>
                <a:cxn ang="0">
                  <a:pos x="114" y="20"/>
                </a:cxn>
                <a:cxn ang="0">
                  <a:pos x="102" y="8"/>
                </a:cxn>
                <a:cxn ang="0">
                  <a:pos x="88" y="6"/>
                </a:cxn>
                <a:cxn ang="0">
                  <a:pos x="72" y="2"/>
                </a:cxn>
                <a:cxn ang="0">
                  <a:pos x="70" y="0"/>
                </a:cxn>
                <a:cxn ang="0">
                  <a:pos x="66" y="6"/>
                </a:cxn>
                <a:cxn ang="0">
                  <a:pos x="56" y="4"/>
                </a:cxn>
                <a:cxn ang="0">
                  <a:pos x="48" y="8"/>
                </a:cxn>
                <a:cxn ang="0">
                  <a:pos x="38" y="30"/>
                </a:cxn>
                <a:cxn ang="0">
                  <a:pos x="30" y="42"/>
                </a:cxn>
                <a:cxn ang="0">
                  <a:pos x="26" y="56"/>
                </a:cxn>
                <a:cxn ang="0">
                  <a:pos x="18" y="58"/>
                </a:cxn>
                <a:cxn ang="0">
                  <a:pos x="16" y="74"/>
                </a:cxn>
                <a:cxn ang="0">
                  <a:pos x="16" y="86"/>
                </a:cxn>
                <a:cxn ang="0">
                  <a:pos x="4" y="88"/>
                </a:cxn>
                <a:cxn ang="0">
                  <a:pos x="0" y="94"/>
                </a:cxn>
                <a:cxn ang="0">
                  <a:pos x="10" y="98"/>
                </a:cxn>
                <a:cxn ang="0">
                  <a:pos x="14" y="104"/>
                </a:cxn>
                <a:cxn ang="0">
                  <a:pos x="20" y="108"/>
                </a:cxn>
                <a:cxn ang="0">
                  <a:pos x="28" y="120"/>
                </a:cxn>
                <a:cxn ang="0">
                  <a:pos x="32" y="130"/>
                </a:cxn>
                <a:cxn ang="0">
                  <a:pos x="38" y="132"/>
                </a:cxn>
                <a:cxn ang="0">
                  <a:pos x="40" y="140"/>
                </a:cxn>
                <a:cxn ang="0">
                  <a:pos x="52" y="142"/>
                </a:cxn>
              </a:cxnLst>
              <a:rect l="0" t="0" r="r" b="b"/>
              <a:pathLst>
                <a:path w="204" h="154">
                  <a:moveTo>
                    <a:pt x="52" y="142"/>
                  </a:moveTo>
                  <a:lnTo>
                    <a:pt x="66" y="150"/>
                  </a:lnTo>
                  <a:lnTo>
                    <a:pt x="70" y="152"/>
                  </a:lnTo>
                  <a:lnTo>
                    <a:pt x="72" y="152"/>
                  </a:lnTo>
                  <a:lnTo>
                    <a:pt x="80" y="154"/>
                  </a:lnTo>
                  <a:lnTo>
                    <a:pt x="88" y="154"/>
                  </a:lnTo>
                  <a:lnTo>
                    <a:pt x="94" y="150"/>
                  </a:lnTo>
                  <a:lnTo>
                    <a:pt x="106" y="144"/>
                  </a:lnTo>
                  <a:lnTo>
                    <a:pt x="110" y="148"/>
                  </a:lnTo>
                  <a:lnTo>
                    <a:pt x="114" y="148"/>
                  </a:lnTo>
                  <a:lnTo>
                    <a:pt x="120" y="148"/>
                  </a:lnTo>
                  <a:lnTo>
                    <a:pt x="122" y="148"/>
                  </a:lnTo>
                  <a:lnTo>
                    <a:pt x="124" y="146"/>
                  </a:lnTo>
                  <a:lnTo>
                    <a:pt x="130" y="144"/>
                  </a:lnTo>
                  <a:lnTo>
                    <a:pt x="134" y="144"/>
                  </a:lnTo>
                  <a:lnTo>
                    <a:pt x="136" y="140"/>
                  </a:lnTo>
                  <a:lnTo>
                    <a:pt x="140" y="138"/>
                  </a:lnTo>
                  <a:lnTo>
                    <a:pt x="150" y="134"/>
                  </a:lnTo>
                  <a:lnTo>
                    <a:pt x="164" y="136"/>
                  </a:lnTo>
                  <a:lnTo>
                    <a:pt x="204" y="94"/>
                  </a:lnTo>
                  <a:lnTo>
                    <a:pt x="190" y="94"/>
                  </a:lnTo>
                  <a:lnTo>
                    <a:pt x="150" y="80"/>
                  </a:lnTo>
                  <a:lnTo>
                    <a:pt x="146" y="76"/>
                  </a:lnTo>
                  <a:lnTo>
                    <a:pt x="142" y="74"/>
                  </a:lnTo>
                  <a:lnTo>
                    <a:pt x="138" y="66"/>
                  </a:lnTo>
                  <a:lnTo>
                    <a:pt x="132" y="58"/>
                  </a:lnTo>
                  <a:lnTo>
                    <a:pt x="136" y="52"/>
                  </a:lnTo>
                  <a:lnTo>
                    <a:pt x="132" y="50"/>
                  </a:lnTo>
                  <a:lnTo>
                    <a:pt x="126" y="52"/>
                  </a:lnTo>
                  <a:lnTo>
                    <a:pt x="122" y="54"/>
                  </a:lnTo>
                  <a:lnTo>
                    <a:pt x="120" y="48"/>
                  </a:lnTo>
                  <a:lnTo>
                    <a:pt x="122" y="40"/>
                  </a:lnTo>
                  <a:lnTo>
                    <a:pt x="126" y="34"/>
                  </a:lnTo>
                  <a:lnTo>
                    <a:pt x="130" y="32"/>
                  </a:lnTo>
                  <a:lnTo>
                    <a:pt x="122" y="26"/>
                  </a:lnTo>
                  <a:lnTo>
                    <a:pt x="114" y="20"/>
                  </a:lnTo>
                  <a:lnTo>
                    <a:pt x="110" y="12"/>
                  </a:lnTo>
                  <a:lnTo>
                    <a:pt x="102" y="8"/>
                  </a:lnTo>
                  <a:lnTo>
                    <a:pt x="94" y="4"/>
                  </a:lnTo>
                  <a:lnTo>
                    <a:pt x="88" y="6"/>
                  </a:lnTo>
                  <a:lnTo>
                    <a:pt x="78" y="4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0" y="0"/>
                  </a:lnTo>
                  <a:lnTo>
                    <a:pt x="68" y="2"/>
                  </a:lnTo>
                  <a:lnTo>
                    <a:pt x="66" y="6"/>
                  </a:lnTo>
                  <a:lnTo>
                    <a:pt x="62" y="10"/>
                  </a:lnTo>
                  <a:lnTo>
                    <a:pt x="56" y="4"/>
                  </a:lnTo>
                  <a:lnTo>
                    <a:pt x="52" y="6"/>
                  </a:lnTo>
                  <a:lnTo>
                    <a:pt x="48" y="8"/>
                  </a:lnTo>
                  <a:lnTo>
                    <a:pt x="44" y="28"/>
                  </a:lnTo>
                  <a:lnTo>
                    <a:pt x="38" y="30"/>
                  </a:lnTo>
                  <a:lnTo>
                    <a:pt x="32" y="36"/>
                  </a:lnTo>
                  <a:lnTo>
                    <a:pt x="30" y="42"/>
                  </a:lnTo>
                  <a:lnTo>
                    <a:pt x="28" y="50"/>
                  </a:lnTo>
                  <a:lnTo>
                    <a:pt x="26" y="56"/>
                  </a:lnTo>
                  <a:lnTo>
                    <a:pt x="22" y="54"/>
                  </a:lnTo>
                  <a:lnTo>
                    <a:pt x="18" y="58"/>
                  </a:lnTo>
                  <a:lnTo>
                    <a:pt x="16" y="66"/>
                  </a:lnTo>
                  <a:lnTo>
                    <a:pt x="16" y="74"/>
                  </a:lnTo>
                  <a:lnTo>
                    <a:pt x="16" y="80"/>
                  </a:lnTo>
                  <a:lnTo>
                    <a:pt x="16" y="86"/>
                  </a:lnTo>
                  <a:lnTo>
                    <a:pt x="10" y="88"/>
                  </a:lnTo>
                  <a:lnTo>
                    <a:pt x="4" y="88"/>
                  </a:lnTo>
                  <a:lnTo>
                    <a:pt x="4" y="92"/>
                  </a:lnTo>
                  <a:lnTo>
                    <a:pt x="0" y="94"/>
                  </a:lnTo>
                  <a:lnTo>
                    <a:pt x="6" y="98"/>
                  </a:lnTo>
                  <a:lnTo>
                    <a:pt x="10" y="98"/>
                  </a:lnTo>
                  <a:lnTo>
                    <a:pt x="14" y="102"/>
                  </a:lnTo>
                  <a:lnTo>
                    <a:pt x="14" y="104"/>
                  </a:lnTo>
                  <a:lnTo>
                    <a:pt x="18" y="108"/>
                  </a:lnTo>
                  <a:lnTo>
                    <a:pt x="20" y="108"/>
                  </a:lnTo>
                  <a:lnTo>
                    <a:pt x="24" y="112"/>
                  </a:lnTo>
                  <a:lnTo>
                    <a:pt x="28" y="120"/>
                  </a:lnTo>
                  <a:lnTo>
                    <a:pt x="28" y="126"/>
                  </a:lnTo>
                  <a:lnTo>
                    <a:pt x="32" y="130"/>
                  </a:lnTo>
                  <a:lnTo>
                    <a:pt x="34" y="128"/>
                  </a:lnTo>
                  <a:lnTo>
                    <a:pt x="38" y="132"/>
                  </a:lnTo>
                  <a:lnTo>
                    <a:pt x="38" y="136"/>
                  </a:lnTo>
                  <a:lnTo>
                    <a:pt x="40" y="140"/>
                  </a:lnTo>
                  <a:lnTo>
                    <a:pt x="46" y="142"/>
                  </a:lnTo>
                  <a:lnTo>
                    <a:pt x="52" y="142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4" name="Freeform 540">
              <a:extLst>
                <a:ext uri="{FF2B5EF4-FFF2-40B4-BE49-F238E27FC236}">
                  <a16:creationId xmlns:a16="http://schemas.microsoft.com/office/drawing/2014/main" id="{61486C15-2AF8-499C-AD08-3AAEBF9C2C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8412" y="3598863"/>
              <a:ext cx="450850" cy="374650"/>
            </a:xfrm>
            <a:custGeom>
              <a:avLst/>
              <a:gdLst/>
              <a:ahLst/>
              <a:cxnLst/>
              <a:rect l="l" t="t" r="r" b="b"/>
              <a:pathLst>
                <a:path w="450850" h="374650">
                  <a:moveTo>
                    <a:pt x="152400" y="361950"/>
                  </a:moveTo>
                  <a:lnTo>
                    <a:pt x="155575" y="365125"/>
                  </a:lnTo>
                  <a:lnTo>
                    <a:pt x="158750" y="365125"/>
                  </a:lnTo>
                  <a:lnTo>
                    <a:pt x="161925" y="368300"/>
                  </a:lnTo>
                  <a:lnTo>
                    <a:pt x="155575" y="368300"/>
                  </a:lnTo>
                  <a:close/>
                  <a:moveTo>
                    <a:pt x="95250" y="0"/>
                  </a:moveTo>
                  <a:lnTo>
                    <a:pt x="114300" y="3175"/>
                  </a:lnTo>
                  <a:lnTo>
                    <a:pt x="127000" y="9525"/>
                  </a:lnTo>
                  <a:lnTo>
                    <a:pt x="142875" y="19050"/>
                  </a:lnTo>
                  <a:lnTo>
                    <a:pt x="158750" y="25400"/>
                  </a:lnTo>
                  <a:lnTo>
                    <a:pt x="168275" y="34925"/>
                  </a:lnTo>
                  <a:lnTo>
                    <a:pt x="180975" y="44450"/>
                  </a:lnTo>
                  <a:lnTo>
                    <a:pt x="206375" y="66675"/>
                  </a:lnTo>
                  <a:lnTo>
                    <a:pt x="215900" y="73025"/>
                  </a:lnTo>
                  <a:lnTo>
                    <a:pt x="225425" y="76200"/>
                  </a:lnTo>
                  <a:lnTo>
                    <a:pt x="244475" y="79375"/>
                  </a:lnTo>
                  <a:lnTo>
                    <a:pt x="250825" y="79375"/>
                  </a:lnTo>
                  <a:lnTo>
                    <a:pt x="254000" y="76200"/>
                  </a:lnTo>
                  <a:lnTo>
                    <a:pt x="269875" y="79375"/>
                  </a:lnTo>
                  <a:lnTo>
                    <a:pt x="276225" y="79375"/>
                  </a:lnTo>
                  <a:lnTo>
                    <a:pt x="276225" y="85725"/>
                  </a:lnTo>
                  <a:lnTo>
                    <a:pt x="282575" y="92075"/>
                  </a:lnTo>
                  <a:lnTo>
                    <a:pt x="295275" y="92075"/>
                  </a:lnTo>
                  <a:lnTo>
                    <a:pt x="298450" y="92075"/>
                  </a:lnTo>
                  <a:lnTo>
                    <a:pt x="298450" y="101600"/>
                  </a:lnTo>
                  <a:lnTo>
                    <a:pt x="304800" y="111125"/>
                  </a:lnTo>
                  <a:lnTo>
                    <a:pt x="311150" y="114300"/>
                  </a:lnTo>
                  <a:lnTo>
                    <a:pt x="317500" y="123825"/>
                  </a:lnTo>
                  <a:lnTo>
                    <a:pt x="330200" y="133350"/>
                  </a:lnTo>
                  <a:lnTo>
                    <a:pt x="333375" y="149225"/>
                  </a:lnTo>
                  <a:lnTo>
                    <a:pt x="330200" y="149225"/>
                  </a:lnTo>
                  <a:lnTo>
                    <a:pt x="333375" y="158750"/>
                  </a:lnTo>
                  <a:lnTo>
                    <a:pt x="342900" y="174625"/>
                  </a:lnTo>
                  <a:lnTo>
                    <a:pt x="346075" y="180975"/>
                  </a:lnTo>
                  <a:lnTo>
                    <a:pt x="352425" y="187325"/>
                  </a:lnTo>
                  <a:lnTo>
                    <a:pt x="361950" y="184150"/>
                  </a:lnTo>
                  <a:lnTo>
                    <a:pt x="361950" y="190500"/>
                  </a:lnTo>
                  <a:lnTo>
                    <a:pt x="368300" y="196850"/>
                  </a:lnTo>
                  <a:lnTo>
                    <a:pt x="368300" y="203200"/>
                  </a:lnTo>
                  <a:lnTo>
                    <a:pt x="377825" y="212725"/>
                  </a:lnTo>
                  <a:lnTo>
                    <a:pt x="384175" y="222250"/>
                  </a:lnTo>
                  <a:lnTo>
                    <a:pt x="390525" y="225425"/>
                  </a:lnTo>
                  <a:lnTo>
                    <a:pt x="425450" y="228600"/>
                  </a:lnTo>
                  <a:lnTo>
                    <a:pt x="431800" y="231775"/>
                  </a:lnTo>
                  <a:lnTo>
                    <a:pt x="441325" y="228600"/>
                  </a:lnTo>
                  <a:lnTo>
                    <a:pt x="450850" y="241300"/>
                  </a:lnTo>
                  <a:lnTo>
                    <a:pt x="450850" y="247650"/>
                  </a:lnTo>
                  <a:lnTo>
                    <a:pt x="450850" y="254000"/>
                  </a:lnTo>
                  <a:lnTo>
                    <a:pt x="441325" y="282575"/>
                  </a:lnTo>
                  <a:lnTo>
                    <a:pt x="434975" y="292100"/>
                  </a:lnTo>
                  <a:lnTo>
                    <a:pt x="422275" y="298450"/>
                  </a:lnTo>
                  <a:lnTo>
                    <a:pt x="393700" y="307975"/>
                  </a:lnTo>
                  <a:lnTo>
                    <a:pt x="371475" y="314325"/>
                  </a:lnTo>
                  <a:lnTo>
                    <a:pt x="327025" y="320675"/>
                  </a:lnTo>
                  <a:lnTo>
                    <a:pt x="304800" y="327025"/>
                  </a:lnTo>
                  <a:lnTo>
                    <a:pt x="292100" y="333375"/>
                  </a:lnTo>
                  <a:lnTo>
                    <a:pt x="282575" y="342900"/>
                  </a:lnTo>
                  <a:lnTo>
                    <a:pt x="276225" y="352425"/>
                  </a:lnTo>
                  <a:lnTo>
                    <a:pt x="269875" y="361950"/>
                  </a:lnTo>
                  <a:lnTo>
                    <a:pt x="260350" y="355600"/>
                  </a:lnTo>
                  <a:lnTo>
                    <a:pt x="250825" y="355600"/>
                  </a:lnTo>
                  <a:lnTo>
                    <a:pt x="234950" y="352425"/>
                  </a:lnTo>
                  <a:lnTo>
                    <a:pt x="228600" y="352425"/>
                  </a:lnTo>
                  <a:lnTo>
                    <a:pt x="222250" y="349250"/>
                  </a:lnTo>
                  <a:lnTo>
                    <a:pt x="193675" y="349250"/>
                  </a:lnTo>
                  <a:lnTo>
                    <a:pt x="187325" y="349250"/>
                  </a:lnTo>
                  <a:lnTo>
                    <a:pt x="180975" y="358775"/>
                  </a:lnTo>
                  <a:lnTo>
                    <a:pt x="180975" y="365125"/>
                  </a:lnTo>
                  <a:lnTo>
                    <a:pt x="184150" y="368300"/>
                  </a:lnTo>
                  <a:lnTo>
                    <a:pt x="177800" y="371475"/>
                  </a:lnTo>
                  <a:lnTo>
                    <a:pt x="174625" y="374650"/>
                  </a:lnTo>
                  <a:lnTo>
                    <a:pt x="171450" y="361950"/>
                  </a:lnTo>
                  <a:lnTo>
                    <a:pt x="161925" y="349250"/>
                  </a:lnTo>
                  <a:lnTo>
                    <a:pt x="152400" y="339725"/>
                  </a:lnTo>
                  <a:lnTo>
                    <a:pt x="142875" y="327025"/>
                  </a:lnTo>
                  <a:lnTo>
                    <a:pt x="139700" y="314325"/>
                  </a:lnTo>
                  <a:lnTo>
                    <a:pt x="123825" y="292100"/>
                  </a:lnTo>
                  <a:lnTo>
                    <a:pt x="114300" y="285750"/>
                  </a:lnTo>
                  <a:lnTo>
                    <a:pt x="104775" y="279400"/>
                  </a:lnTo>
                  <a:lnTo>
                    <a:pt x="98425" y="269875"/>
                  </a:lnTo>
                  <a:lnTo>
                    <a:pt x="95250" y="260350"/>
                  </a:lnTo>
                  <a:lnTo>
                    <a:pt x="95250" y="231775"/>
                  </a:lnTo>
                  <a:lnTo>
                    <a:pt x="92075" y="228600"/>
                  </a:lnTo>
                  <a:lnTo>
                    <a:pt x="88900" y="219075"/>
                  </a:lnTo>
                  <a:lnTo>
                    <a:pt x="82550" y="209550"/>
                  </a:lnTo>
                  <a:lnTo>
                    <a:pt x="76200" y="200025"/>
                  </a:lnTo>
                  <a:lnTo>
                    <a:pt x="66675" y="196850"/>
                  </a:lnTo>
                  <a:lnTo>
                    <a:pt x="57150" y="187325"/>
                  </a:lnTo>
                  <a:lnTo>
                    <a:pt x="53975" y="180975"/>
                  </a:lnTo>
                  <a:lnTo>
                    <a:pt x="53975" y="174625"/>
                  </a:lnTo>
                  <a:lnTo>
                    <a:pt x="38100" y="149225"/>
                  </a:lnTo>
                  <a:lnTo>
                    <a:pt x="22225" y="127000"/>
                  </a:lnTo>
                  <a:lnTo>
                    <a:pt x="19050" y="117475"/>
                  </a:lnTo>
                  <a:lnTo>
                    <a:pt x="15875" y="114300"/>
                  </a:lnTo>
                  <a:lnTo>
                    <a:pt x="9525" y="104775"/>
                  </a:lnTo>
                  <a:lnTo>
                    <a:pt x="3175" y="101600"/>
                  </a:lnTo>
                  <a:lnTo>
                    <a:pt x="0" y="101600"/>
                  </a:lnTo>
                  <a:lnTo>
                    <a:pt x="0" y="98425"/>
                  </a:lnTo>
                  <a:lnTo>
                    <a:pt x="3175" y="88900"/>
                  </a:lnTo>
                  <a:lnTo>
                    <a:pt x="6350" y="69850"/>
                  </a:lnTo>
                  <a:lnTo>
                    <a:pt x="25400" y="73025"/>
                  </a:lnTo>
                  <a:lnTo>
                    <a:pt x="31750" y="73025"/>
                  </a:lnTo>
                  <a:lnTo>
                    <a:pt x="41275" y="63500"/>
                  </a:lnTo>
                  <a:lnTo>
                    <a:pt x="44450" y="57150"/>
                  </a:lnTo>
                  <a:lnTo>
                    <a:pt x="47625" y="57150"/>
                  </a:lnTo>
                  <a:lnTo>
                    <a:pt x="57150" y="53975"/>
                  </a:lnTo>
                  <a:lnTo>
                    <a:pt x="60325" y="53975"/>
                  </a:lnTo>
                  <a:lnTo>
                    <a:pt x="63500" y="47625"/>
                  </a:lnTo>
                  <a:lnTo>
                    <a:pt x="69850" y="41275"/>
                  </a:lnTo>
                  <a:lnTo>
                    <a:pt x="53975" y="22225"/>
                  </a:lnTo>
                  <a:lnTo>
                    <a:pt x="47625" y="15875"/>
                  </a:lnTo>
                  <a:lnTo>
                    <a:pt x="73025" y="9525"/>
                  </a:lnTo>
                  <a:lnTo>
                    <a:pt x="85725" y="6350"/>
                  </a:lnTo>
                  <a:lnTo>
                    <a:pt x="92075" y="317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5" name="Freeform 697">
              <a:extLst>
                <a:ext uri="{FF2B5EF4-FFF2-40B4-BE49-F238E27FC236}">
                  <a16:creationId xmlns:a16="http://schemas.microsoft.com/office/drawing/2014/main" id="{EF33AB2F-646A-4D42-8DEF-5461843E74D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3038" y="3913188"/>
              <a:ext cx="254000" cy="149225"/>
            </a:xfrm>
            <a:custGeom>
              <a:avLst/>
              <a:gdLst/>
              <a:ahLst/>
              <a:cxnLst/>
              <a:rect l="l" t="t" r="r" b="b"/>
              <a:pathLst>
                <a:path w="254000" h="149225">
                  <a:moveTo>
                    <a:pt x="231775" y="139700"/>
                  </a:moveTo>
                  <a:lnTo>
                    <a:pt x="241300" y="139700"/>
                  </a:lnTo>
                  <a:lnTo>
                    <a:pt x="254000" y="146050"/>
                  </a:lnTo>
                  <a:lnTo>
                    <a:pt x="238125" y="149225"/>
                  </a:lnTo>
                  <a:lnTo>
                    <a:pt x="225425" y="146050"/>
                  </a:lnTo>
                  <a:close/>
                  <a:moveTo>
                    <a:pt x="196850" y="0"/>
                  </a:moveTo>
                  <a:lnTo>
                    <a:pt x="222250" y="53975"/>
                  </a:lnTo>
                  <a:lnTo>
                    <a:pt x="209550" y="60325"/>
                  </a:lnTo>
                  <a:lnTo>
                    <a:pt x="203200" y="69850"/>
                  </a:lnTo>
                  <a:lnTo>
                    <a:pt x="203200" y="76200"/>
                  </a:lnTo>
                  <a:lnTo>
                    <a:pt x="200025" y="79375"/>
                  </a:lnTo>
                  <a:lnTo>
                    <a:pt x="193675" y="82550"/>
                  </a:lnTo>
                  <a:lnTo>
                    <a:pt x="174625" y="88900"/>
                  </a:lnTo>
                  <a:lnTo>
                    <a:pt x="158750" y="92075"/>
                  </a:lnTo>
                  <a:lnTo>
                    <a:pt x="155575" y="92075"/>
                  </a:lnTo>
                  <a:lnTo>
                    <a:pt x="152400" y="92075"/>
                  </a:lnTo>
                  <a:lnTo>
                    <a:pt x="136525" y="101600"/>
                  </a:lnTo>
                  <a:lnTo>
                    <a:pt x="133350" y="104775"/>
                  </a:lnTo>
                  <a:lnTo>
                    <a:pt x="127000" y="111125"/>
                  </a:lnTo>
                  <a:lnTo>
                    <a:pt x="117475" y="111125"/>
                  </a:lnTo>
                  <a:lnTo>
                    <a:pt x="111125" y="111125"/>
                  </a:lnTo>
                  <a:lnTo>
                    <a:pt x="101600" y="117475"/>
                  </a:lnTo>
                  <a:lnTo>
                    <a:pt x="98425" y="120650"/>
                  </a:lnTo>
                  <a:lnTo>
                    <a:pt x="92075" y="120650"/>
                  </a:lnTo>
                  <a:lnTo>
                    <a:pt x="79375" y="123825"/>
                  </a:lnTo>
                  <a:lnTo>
                    <a:pt x="73025" y="127000"/>
                  </a:lnTo>
                  <a:lnTo>
                    <a:pt x="60325" y="127000"/>
                  </a:lnTo>
                  <a:lnTo>
                    <a:pt x="57150" y="130175"/>
                  </a:lnTo>
                  <a:lnTo>
                    <a:pt x="53975" y="133350"/>
                  </a:lnTo>
                  <a:lnTo>
                    <a:pt x="41275" y="139700"/>
                  </a:lnTo>
                  <a:lnTo>
                    <a:pt x="28575" y="142875"/>
                  </a:lnTo>
                  <a:lnTo>
                    <a:pt x="15875" y="139700"/>
                  </a:lnTo>
                  <a:lnTo>
                    <a:pt x="9525" y="127000"/>
                  </a:lnTo>
                  <a:lnTo>
                    <a:pt x="9525" y="117475"/>
                  </a:lnTo>
                  <a:lnTo>
                    <a:pt x="6350" y="101600"/>
                  </a:lnTo>
                  <a:lnTo>
                    <a:pt x="3175" y="88900"/>
                  </a:lnTo>
                  <a:lnTo>
                    <a:pt x="0" y="69850"/>
                  </a:lnTo>
                  <a:lnTo>
                    <a:pt x="0" y="60325"/>
                  </a:lnTo>
                  <a:lnTo>
                    <a:pt x="3175" y="57150"/>
                  </a:lnTo>
                  <a:lnTo>
                    <a:pt x="9525" y="53975"/>
                  </a:lnTo>
                  <a:lnTo>
                    <a:pt x="6350" y="50800"/>
                  </a:lnTo>
                  <a:lnTo>
                    <a:pt x="6350" y="44450"/>
                  </a:lnTo>
                  <a:lnTo>
                    <a:pt x="12700" y="34925"/>
                  </a:lnTo>
                  <a:lnTo>
                    <a:pt x="19050" y="34925"/>
                  </a:lnTo>
                  <a:lnTo>
                    <a:pt x="47625" y="34925"/>
                  </a:lnTo>
                  <a:lnTo>
                    <a:pt x="53975" y="38100"/>
                  </a:lnTo>
                  <a:lnTo>
                    <a:pt x="60325" y="38100"/>
                  </a:lnTo>
                  <a:lnTo>
                    <a:pt x="76200" y="41275"/>
                  </a:lnTo>
                  <a:lnTo>
                    <a:pt x="85725" y="41275"/>
                  </a:lnTo>
                  <a:lnTo>
                    <a:pt x="95250" y="47625"/>
                  </a:lnTo>
                  <a:lnTo>
                    <a:pt x="101600" y="38100"/>
                  </a:lnTo>
                  <a:lnTo>
                    <a:pt x="107950" y="28575"/>
                  </a:lnTo>
                  <a:lnTo>
                    <a:pt x="117475" y="19050"/>
                  </a:lnTo>
                  <a:lnTo>
                    <a:pt x="130175" y="12700"/>
                  </a:lnTo>
                  <a:lnTo>
                    <a:pt x="152400" y="635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6" name="Freeform 821">
              <a:extLst>
                <a:ext uri="{FF2B5EF4-FFF2-40B4-BE49-F238E27FC236}">
                  <a16:creationId xmlns:a16="http://schemas.microsoft.com/office/drawing/2014/main" id="{E9A893DA-94F7-412A-BB27-062B59F54B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6513" y="3935413"/>
              <a:ext cx="142875" cy="123825"/>
            </a:xfrm>
            <a:custGeom>
              <a:avLst/>
              <a:gdLst/>
              <a:ahLst/>
              <a:cxnLst/>
              <a:rect l="l" t="t" r="r" b="b"/>
              <a:pathLst>
                <a:path w="142875" h="123825">
                  <a:moveTo>
                    <a:pt x="76200" y="47625"/>
                  </a:moveTo>
                  <a:lnTo>
                    <a:pt x="85725" y="53975"/>
                  </a:lnTo>
                  <a:lnTo>
                    <a:pt x="79375" y="53975"/>
                  </a:lnTo>
                  <a:lnTo>
                    <a:pt x="76200" y="53975"/>
                  </a:lnTo>
                  <a:close/>
                  <a:moveTo>
                    <a:pt x="44450" y="0"/>
                  </a:moveTo>
                  <a:lnTo>
                    <a:pt x="53975" y="15875"/>
                  </a:lnTo>
                  <a:lnTo>
                    <a:pt x="57150" y="31750"/>
                  </a:lnTo>
                  <a:lnTo>
                    <a:pt x="60325" y="47625"/>
                  </a:lnTo>
                  <a:lnTo>
                    <a:pt x="73025" y="63500"/>
                  </a:lnTo>
                  <a:lnTo>
                    <a:pt x="79375" y="69850"/>
                  </a:lnTo>
                  <a:lnTo>
                    <a:pt x="82550" y="69850"/>
                  </a:lnTo>
                  <a:lnTo>
                    <a:pt x="85725" y="69850"/>
                  </a:lnTo>
                  <a:lnTo>
                    <a:pt x="101600" y="79375"/>
                  </a:lnTo>
                  <a:lnTo>
                    <a:pt x="114300" y="92075"/>
                  </a:lnTo>
                  <a:lnTo>
                    <a:pt x="120650" y="98425"/>
                  </a:lnTo>
                  <a:lnTo>
                    <a:pt x="133350" y="111125"/>
                  </a:lnTo>
                  <a:lnTo>
                    <a:pt x="142875" y="117475"/>
                  </a:lnTo>
                  <a:lnTo>
                    <a:pt x="136525" y="123825"/>
                  </a:lnTo>
                  <a:lnTo>
                    <a:pt x="130175" y="123825"/>
                  </a:lnTo>
                  <a:lnTo>
                    <a:pt x="117475" y="114300"/>
                  </a:lnTo>
                  <a:lnTo>
                    <a:pt x="104775" y="104775"/>
                  </a:lnTo>
                  <a:lnTo>
                    <a:pt x="98425" y="92075"/>
                  </a:lnTo>
                  <a:lnTo>
                    <a:pt x="85725" y="85725"/>
                  </a:lnTo>
                  <a:lnTo>
                    <a:pt x="73025" y="79375"/>
                  </a:lnTo>
                  <a:lnTo>
                    <a:pt x="63500" y="82550"/>
                  </a:lnTo>
                  <a:lnTo>
                    <a:pt x="47625" y="79375"/>
                  </a:lnTo>
                  <a:lnTo>
                    <a:pt x="38100" y="76200"/>
                  </a:lnTo>
                  <a:lnTo>
                    <a:pt x="34925" y="73025"/>
                  </a:lnTo>
                  <a:lnTo>
                    <a:pt x="31750" y="76200"/>
                  </a:lnTo>
                  <a:lnTo>
                    <a:pt x="28575" y="82550"/>
                  </a:lnTo>
                  <a:lnTo>
                    <a:pt x="22225" y="88900"/>
                  </a:lnTo>
                  <a:lnTo>
                    <a:pt x="12700" y="79375"/>
                  </a:lnTo>
                  <a:lnTo>
                    <a:pt x="6350" y="82550"/>
                  </a:lnTo>
                  <a:lnTo>
                    <a:pt x="0" y="85725"/>
                  </a:lnTo>
                  <a:lnTo>
                    <a:pt x="0" y="63500"/>
                  </a:lnTo>
                  <a:lnTo>
                    <a:pt x="3175" y="53975"/>
                  </a:lnTo>
                  <a:lnTo>
                    <a:pt x="9525" y="41275"/>
                  </a:lnTo>
                  <a:lnTo>
                    <a:pt x="9525" y="34925"/>
                  </a:lnTo>
                  <a:lnTo>
                    <a:pt x="9525" y="25400"/>
                  </a:lnTo>
                  <a:lnTo>
                    <a:pt x="12700" y="22225"/>
                  </a:lnTo>
                  <a:lnTo>
                    <a:pt x="19050" y="22225"/>
                  </a:lnTo>
                  <a:lnTo>
                    <a:pt x="22225" y="15875"/>
                  </a:lnTo>
                  <a:lnTo>
                    <a:pt x="28575" y="12700"/>
                  </a:lnTo>
                  <a:lnTo>
                    <a:pt x="34925" y="1270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7" name="Freeform 865">
              <a:extLst>
                <a:ext uri="{FF2B5EF4-FFF2-40B4-BE49-F238E27FC236}">
                  <a16:creationId xmlns:a16="http://schemas.microsoft.com/office/drawing/2014/main" id="{41EF2B11-B5B7-4CD3-B9A3-4392E4D32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0813" y="4052888"/>
              <a:ext cx="34925" cy="41275"/>
            </a:xfrm>
            <a:custGeom>
              <a:avLst/>
              <a:gdLst/>
              <a:ahLst/>
              <a:cxnLst>
                <a:cxn ang="0">
                  <a:pos x="10" y="4"/>
                </a:cxn>
                <a:cxn ang="0">
                  <a:pos x="6" y="6"/>
                </a:cxn>
                <a:cxn ang="0">
                  <a:pos x="2" y="12"/>
                </a:cxn>
                <a:cxn ang="0">
                  <a:pos x="0" y="20"/>
                </a:cxn>
                <a:cxn ang="0">
                  <a:pos x="2" y="26"/>
                </a:cxn>
                <a:cxn ang="0">
                  <a:pos x="6" y="24"/>
                </a:cxn>
                <a:cxn ang="0">
                  <a:pos x="12" y="22"/>
                </a:cxn>
                <a:cxn ang="0">
                  <a:pos x="16" y="24"/>
                </a:cxn>
                <a:cxn ang="0">
                  <a:pos x="20" y="18"/>
                </a:cxn>
                <a:cxn ang="0">
                  <a:pos x="12" y="16"/>
                </a:cxn>
                <a:cxn ang="0">
                  <a:pos x="12" y="14"/>
                </a:cxn>
                <a:cxn ang="0">
                  <a:pos x="18" y="12"/>
                </a:cxn>
                <a:cxn ang="0">
                  <a:pos x="22" y="10"/>
                </a:cxn>
                <a:cxn ang="0">
                  <a:pos x="18" y="0"/>
                </a:cxn>
                <a:cxn ang="0">
                  <a:pos x="14" y="4"/>
                </a:cxn>
                <a:cxn ang="0">
                  <a:pos x="10" y="4"/>
                </a:cxn>
              </a:cxnLst>
              <a:rect l="0" t="0" r="r" b="b"/>
              <a:pathLst>
                <a:path w="22" h="26">
                  <a:moveTo>
                    <a:pt x="10" y="4"/>
                  </a:moveTo>
                  <a:lnTo>
                    <a:pt x="6" y="6"/>
                  </a:lnTo>
                  <a:lnTo>
                    <a:pt x="2" y="12"/>
                  </a:lnTo>
                  <a:lnTo>
                    <a:pt x="0" y="20"/>
                  </a:lnTo>
                  <a:lnTo>
                    <a:pt x="2" y="26"/>
                  </a:lnTo>
                  <a:lnTo>
                    <a:pt x="6" y="24"/>
                  </a:lnTo>
                  <a:lnTo>
                    <a:pt x="12" y="22"/>
                  </a:lnTo>
                  <a:lnTo>
                    <a:pt x="16" y="24"/>
                  </a:lnTo>
                  <a:lnTo>
                    <a:pt x="20" y="18"/>
                  </a:lnTo>
                  <a:lnTo>
                    <a:pt x="12" y="16"/>
                  </a:lnTo>
                  <a:lnTo>
                    <a:pt x="12" y="14"/>
                  </a:lnTo>
                  <a:lnTo>
                    <a:pt x="18" y="12"/>
                  </a:lnTo>
                  <a:lnTo>
                    <a:pt x="22" y="10"/>
                  </a:lnTo>
                  <a:lnTo>
                    <a:pt x="18" y="0"/>
                  </a:lnTo>
                  <a:lnTo>
                    <a:pt x="14" y="4"/>
                  </a:lnTo>
                  <a:lnTo>
                    <a:pt x="10" y="4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8" name="Freeform 695">
              <a:extLst>
                <a:ext uri="{FF2B5EF4-FFF2-40B4-BE49-F238E27FC236}">
                  <a16:creationId xmlns:a16="http://schemas.microsoft.com/office/drawing/2014/main" id="{2D70959D-C793-457F-A7A2-D5B0B52C0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6713" y="3748088"/>
              <a:ext cx="98425" cy="82550"/>
            </a:xfrm>
            <a:custGeom>
              <a:avLst/>
              <a:gdLst/>
              <a:ahLst/>
              <a:cxnLst>
                <a:cxn ang="0">
                  <a:pos x="6" y="40"/>
                </a:cxn>
                <a:cxn ang="0">
                  <a:pos x="10" y="46"/>
                </a:cxn>
                <a:cxn ang="0">
                  <a:pos x="14" y="48"/>
                </a:cxn>
                <a:cxn ang="0">
                  <a:pos x="36" y="50"/>
                </a:cxn>
                <a:cxn ang="0">
                  <a:pos x="40" y="52"/>
                </a:cxn>
                <a:cxn ang="0">
                  <a:pos x="46" y="50"/>
                </a:cxn>
                <a:cxn ang="0">
                  <a:pos x="48" y="42"/>
                </a:cxn>
                <a:cxn ang="0">
                  <a:pos x="52" y="30"/>
                </a:cxn>
                <a:cxn ang="0">
                  <a:pos x="54" y="26"/>
                </a:cxn>
                <a:cxn ang="0">
                  <a:pos x="54" y="20"/>
                </a:cxn>
                <a:cxn ang="0">
                  <a:pos x="58" y="18"/>
                </a:cxn>
                <a:cxn ang="0">
                  <a:pos x="58" y="20"/>
                </a:cxn>
                <a:cxn ang="0">
                  <a:pos x="62" y="18"/>
                </a:cxn>
                <a:cxn ang="0">
                  <a:pos x="62" y="14"/>
                </a:cxn>
                <a:cxn ang="0">
                  <a:pos x="60" y="8"/>
                </a:cxn>
                <a:cxn ang="0">
                  <a:pos x="60" y="4"/>
                </a:cxn>
                <a:cxn ang="0">
                  <a:pos x="58" y="0"/>
                </a:cxn>
                <a:cxn ang="0">
                  <a:pos x="54" y="8"/>
                </a:cxn>
                <a:cxn ang="0">
                  <a:pos x="48" y="12"/>
                </a:cxn>
                <a:cxn ang="0">
                  <a:pos x="40" y="20"/>
                </a:cxn>
                <a:cxn ang="0">
                  <a:pos x="38" y="22"/>
                </a:cxn>
                <a:cxn ang="0">
                  <a:pos x="36" y="26"/>
                </a:cxn>
                <a:cxn ang="0">
                  <a:pos x="24" y="30"/>
                </a:cxn>
                <a:cxn ang="0">
                  <a:pos x="16" y="30"/>
                </a:cxn>
                <a:cxn ang="0">
                  <a:pos x="12" y="30"/>
                </a:cxn>
                <a:cxn ang="0">
                  <a:pos x="8" y="32"/>
                </a:cxn>
                <a:cxn ang="0">
                  <a:pos x="0" y="30"/>
                </a:cxn>
                <a:cxn ang="0">
                  <a:pos x="0" y="34"/>
                </a:cxn>
                <a:cxn ang="0">
                  <a:pos x="6" y="40"/>
                </a:cxn>
              </a:cxnLst>
              <a:rect l="0" t="0" r="r" b="b"/>
              <a:pathLst>
                <a:path w="62" h="52">
                  <a:moveTo>
                    <a:pt x="6" y="40"/>
                  </a:moveTo>
                  <a:lnTo>
                    <a:pt x="10" y="46"/>
                  </a:lnTo>
                  <a:lnTo>
                    <a:pt x="14" y="48"/>
                  </a:lnTo>
                  <a:lnTo>
                    <a:pt x="36" y="50"/>
                  </a:lnTo>
                  <a:lnTo>
                    <a:pt x="40" y="52"/>
                  </a:lnTo>
                  <a:lnTo>
                    <a:pt x="46" y="50"/>
                  </a:lnTo>
                  <a:lnTo>
                    <a:pt x="48" y="42"/>
                  </a:lnTo>
                  <a:lnTo>
                    <a:pt x="52" y="30"/>
                  </a:lnTo>
                  <a:lnTo>
                    <a:pt x="54" y="26"/>
                  </a:lnTo>
                  <a:lnTo>
                    <a:pt x="54" y="20"/>
                  </a:lnTo>
                  <a:lnTo>
                    <a:pt x="58" y="18"/>
                  </a:lnTo>
                  <a:lnTo>
                    <a:pt x="58" y="20"/>
                  </a:lnTo>
                  <a:lnTo>
                    <a:pt x="62" y="18"/>
                  </a:lnTo>
                  <a:lnTo>
                    <a:pt x="62" y="14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58" y="0"/>
                  </a:lnTo>
                  <a:lnTo>
                    <a:pt x="54" y="8"/>
                  </a:lnTo>
                  <a:lnTo>
                    <a:pt x="48" y="12"/>
                  </a:lnTo>
                  <a:lnTo>
                    <a:pt x="40" y="20"/>
                  </a:lnTo>
                  <a:lnTo>
                    <a:pt x="38" y="22"/>
                  </a:lnTo>
                  <a:lnTo>
                    <a:pt x="36" y="26"/>
                  </a:lnTo>
                  <a:lnTo>
                    <a:pt x="24" y="30"/>
                  </a:lnTo>
                  <a:lnTo>
                    <a:pt x="16" y="30"/>
                  </a:lnTo>
                  <a:lnTo>
                    <a:pt x="12" y="30"/>
                  </a:lnTo>
                  <a:lnTo>
                    <a:pt x="8" y="32"/>
                  </a:lnTo>
                  <a:lnTo>
                    <a:pt x="0" y="30"/>
                  </a:lnTo>
                  <a:lnTo>
                    <a:pt x="0" y="34"/>
                  </a:lnTo>
                  <a:lnTo>
                    <a:pt x="6" y="4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9" name="Freeform 702">
              <a:extLst>
                <a:ext uri="{FF2B5EF4-FFF2-40B4-BE49-F238E27FC236}">
                  <a16:creationId xmlns:a16="http://schemas.microsoft.com/office/drawing/2014/main" id="{1EF0954C-5DF6-45BB-A7CF-D53A881259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9888" y="3776663"/>
              <a:ext cx="171450" cy="190500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52" y="2"/>
                </a:cxn>
                <a:cxn ang="0">
                  <a:pos x="52" y="8"/>
                </a:cxn>
                <a:cxn ang="0">
                  <a:pos x="50" y="12"/>
                </a:cxn>
                <a:cxn ang="0">
                  <a:pos x="46" y="24"/>
                </a:cxn>
                <a:cxn ang="0">
                  <a:pos x="44" y="32"/>
                </a:cxn>
                <a:cxn ang="0">
                  <a:pos x="50" y="40"/>
                </a:cxn>
                <a:cxn ang="0">
                  <a:pos x="50" y="44"/>
                </a:cxn>
                <a:cxn ang="0">
                  <a:pos x="50" y="48"/>
                </a:cxn>
                <a:cxn ang="0">
                  <a:pos x="44" y="66"/>
                </a:cxn>
                <a:cxn ang="0">
                  <a:pos x="40" y="72"/>
                </a:cxn>
                <a:cxn ang="0">
                  <a:pos x="32" y="76"/>
                </a:cxn>
                <a:cxn ang="0">
                  <a:pos x="14" y="82"/>
                </a:cxn>
                <a:cxn ang="0">
                  <a:pos x="0" y="86"/>
                </a:cxn>
                <a:cxn ang="0">
                  <a:pos x="16" y="120"/>
                </a:cxn>
                <a:cxn ang="0">
                  <a:pos x="32" y="114"/>
                </a:cxn>
                <a:cxn ang="0">
                  <a:pos x="38" y="114"/>
                </a:cxn>
                <a:cxn ang="0">
                  <a:pos x="38" y="116"/>
                </a:cxn>
                <a:cxn ang="0">
                  <a:pos x="40" y="114"/>
                </a:cxn>
                <a:cxn ang="0">
                  <a:pos x="40" y="116"/>
                </a:cxn>
                <a:cxn ang="0">
                  <a:pos x="42" y="114"/>
                </a:cxn>
                <a:cxn ang="0">
                  <a:pos x="46" y="108"/>
                </a:cxn>
                <a:cxn ang="0">
                  <a:pos x="44" y="108"/>
                </a:cxn>
                <a:cxn ang="0">
                  <a:pos x="46" y="106"/>
                </a:cxn>
                <a:cxn ang="0">
                  <a:pos x="52" y="102"/>
                </a:cxn>
                <a:cxn ang="0">
                  <a:pos x="60" y="100"/>
                </a:cxn>
                <a:cxn ang="0">
                  <a:pos x="64" y="94"/>
                </a:cxn>
                <a:cxn ang="0">
                  <a:pos x="68" y="88"/>
                </a:cxn>
                <a:cxn ang="0">
                  <a:pos x="76" y="86"/>
                </a:cxn>
                <a:cxn ang="0">
                  <a:pos x="80" y="86"/>
                </a:cxn>
                <a:cxn ang="0">
                  <a:pos x="78" y="78"/>
                </a:cxn>
                <a:cxn ang="0">
                  <a:pos x="80" y="72"/>
                </a:cxn>
                <a:cxn ang="0">
                  <a:pos x="82" y="66"/>
                </a:cxn>
                <a:cxn ang="0">
                  <a:pos x="86" y="64"/>
                </a:cxn>
                <a:cxn ang="0">
                  <a:pos x="86" y="66"/>
                </a:cxn>
                <a:cxn ang="0">
                  <a:pos x="90" y="66"/>
                </a:cxn>
                <a:cxn ang="0">
                  <a:pos x="98" y="52"/>
                </a:cxn>
                <a:cxn ang="0">
                  <a:pos x="100" y="52"/>
                </a:cxn>
                <a:cxn ang="0">
                  <a:pos x="102" y="48"/>
                </a:cxn>
                <a:cxn ang="0">
                  <a:pos x="108" y="40"/>
                </a:cxn>
                <a:cxn ang="0">
                  <a:pos x="108" y="36"/>
                </a:cxn>
                <a:cxn ang="0">
                  <a:pos x="104" y="34"/>
                </a:cxn>
                <a:cxn ang="0">
                  <a:pos x="102" y="34"/>
                </a:cxn>
                <a:cxn ang="0">
                  <a:pos x="100" y="30"/>
                </a:cxn>
                <a:cxn ang="0">
                  <a:pos x="96" y="26"/>
                </a:cxn>
                <a:cxn ang="0">
                  <a:pos x="90" y="20"/>
                </a:cxn>
                <a:cxn ang="0">
                  <a:pos x="84" y="18"/>
                </a:cxn>
                <a:cxn ang="0">
                  <a:pos x="80" y="18"/>
                </a:cxn>
                <a:cxn ang="0">
                  <a:pos x="68" y="12"/>
                </a:cxn>
                <a:cxn ang="0">
                  <a:pos x="60" y="0"/>
                </a:cxn>
                <a:cxn ang="0">
                  <a:pos x="56" y="2"/>
                </a:cxn>
                <a:cxn ang="0">
                  <a:pos x="56" y="0"/>
                </a:cxn>
              </a:cxnLst>
              <a:rect l="0" t="0" r="r" b="b"/>
              <a:pathLst>
                <a:path w="108" h="120">
                  <a:moveTo>
                    <a:pt x="56" y="0"/>
                  </a:moveTo>
                  <a:lnTo>
                    <a:pt x="52" y="2"/>
                  </a:lnTo>
                  <a:lnTo>
                    <a:pt x="52" y="8"/>
                  </a:lnTo>
                  <a:lnTo>
                    <a:pt x="50" y="12"/>
                  </a:lnTo>
                  <a:lnTo>
                    <a:pt x="46" y="24"/>
                  </a:lnTo>
                  <a:lnTo>
                    <a:pt x="44" y="32"/>
                  </a:lnTo>
                  <a:lnTo>
                    <a:pt x="50" y="40"/>
                  </a:lnTo>
                  <a:lnTo>
                    <a:pt x="50" y="44"/>
                  </a:lnTo>
                  <a:lnTo>
                    <a:pt x="50" y="48"/>
                  </a:lnTo>
                  <a:lnTo>
                    <a:pt x="44" y="66"/>
                  </a:lnTo>
                  <a:lnTo>
                    <a:pt x="40" y="72"/>
                  </a:lnTo>
                  <a:lnTo>
                    <a:pt x="32" y="76"/>
                  </a:lnTo>
                  <a:lnTo>
                    <a:pt x="14" y="82"/>
                  </a:lnTo>
                  <a:lnTo>
                    <a:pt x="0" y="86"/>
                  </a:lnTo>
                  <a:lnTo>
                    <a:pt x="16" y="120"/>
                  </a:lnTo>
                  <a:lnTo>
                    <a:pt x="32" y="114"/>
                  </a:lnTo>
                  <a:lnTo>
                    <a:pt x="38" y="114"/>
                  </a:lnTo>
                  <a:lnTo>
                    <a:pt x="38" y="116"/>
                  </a:lnTo>
                  <a:lnTo>
                    <a:pt x="40" y="114"/>
                  </a:lnTo>
                  <a:lnTo>
                    <a:pt x="40" y="116"/>
                  </a:lnTo>
                  <a:lnTo>
                    <a:pt x="42" y="114"/>
                  </a:lnTo>
                  <a:lnTo>
                    <a:pt x="46" y="108"/>
                  </a:lnTo>
                  <a:lnTo>
                    <a:pt x="44" y="108"/>
                  </a:lnTo>
                  <a:lnTo>
                    <a:pt x="46" y="106"/>
                  </a:lnTo>
                  <a:lnTo>
                    <a:pt x="52" y="102"/>
                  </a:lnTo>
                  <a:lnTo>
                    <a:pt x="60" y="100"/>
                  </a:lnTo>
                  <a:lnTo>
                    <a:pt x="64" y="94"/>
                  </a:lnTo>
                  <a:lnTo>
                    <a:pt x="68" y="88"/>
                  </a:lnTo>
                  <a:lnTo>
                    <a:pt x="76" y="86"/>
                  </a:lnTo>
                  <a:lnTo>
                    <a:pt x="80" y="86"/>
                  </a:lnTo>
                  <a:lnTo>
                    <a:pt x="78" y="78"/>
                  </a:lnTo>
                  <a:lnTo>
                    <a:pt x="80" y="72"/>
                  </a:lnTo>
                  <a:lnTo>
                    <a:pt x="82" y="66"/>
                  </a:lnTo>
                  <a:lnTo>
                    <a:pt x="86" y="64"/>
                  </a:lnTo>
                  <a:lnTo>
                    <a:pt x="86" y="66"/>
                  </a:lnTo>
                  <a:lnTo>
                    <a:pt x="90" y="66"/>
                  </a:lnTo>
                  <a:lnTo>
                    <a:pt x="98" y="52"/>
                  </a:lnTo>
                  <a:lnTo>
                    <a:pt x="100" y="52"/>
                  </a:lnTo>
                  <a:lnTo>
                    <a:pt x="102" y="48"/>
                  </a:lnTo>
                  <a:lnTo>
                    <a:pt x="108" y="40"/>
                  </a:lnTo>
                  <a:lnTo>
                    <a:pt x="108" y="36"/>
                  </a:lnTo>
                  <a:lnTo>
                    <a:pt x="104" y="34"/>
                  </a:lnTo>
                  <a:lnTo>
                    <a:pt x="102" y="34"/>
                  </a:lnTo>
                  <a:lnTo>
                    <a:pt x="100" y="30"/>
                  </a:lnTo>
                  <a:lnTo>
                    <a:pt x="96" y="26"/>
                  </a:lnTo>
                  <a:lnTo>
                    <a:pt x="90" y="20"/>
                  </a:lnTo>
                  <a:lnTo>
                    <a:pt x="84" y="18"/>
                  </a:lnTo>
                  <a:lnTo>
                    <a:pt x="80" y="18"/>
                  </a:lnTo>
                  <a:lnTo>
                    <a:pt x="68" y="12"/>
                  </a:lnTo>
                  <a:lnTo>
                    <a:pt x="60" y="0"/>
                  </a:lnTo>
                  <a:lnTo>
                    <a:pt x="56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0" name="Freeform 479">
              <a:extLst>
                <a:ext uri="{FF2B5EF4-FFF2-40B4-BE49-F238E27FC236}">
                  <a16:creationId xmlns:a16="http://schemas.microsoft.com/office/drawing/2014/main" id="{61B64111-27C1-4E74-A6B4-6579C94EC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7313" y="3462338"/>
              <a:ext cx="209550" cy="215900"/>
            </a:xfrm>
            <a:custGeom>
              <a:avLst/>
              <a:gdLst/>
              <a:ahLst/>
              <a:cxnLst>
                <a:cxn ang="0">
                  <a:pos x="126" y="114"/>
                </a:cxn>
                <a:cxn ang="0">
                  <a:pos x="124" y="104"/>
                </a:cxn>
                <a:cxn ang="0">
                  <a:pos x="122" y="104"/>
                </a:cxn>
                <a:cxn ang="0">
                  <a:pos x="120" y="100"/>
                </a:cxn>
                <a:cxn ang="0">
                  <a:pos x="122" y="92"/>
                </a:cxn>
                <a:cxn ang="0">
                  <a:pos x="118" y="84"/>
                </a:cxn>
                <a:cxn ang="0">
                  <a:pos x="116" y="82"/>
                </a:cxn>
                <a:cxn ang="0">
                  <a:pos x="114" y="80"/>
                </a:cxn>
                <a:cxn ang="0">
                  <a:pos x="106" y="76"/>
                </a:cxn>
                <a:cxn ang="0">
                  <a:pos x="102" y="74"/>
                </a:cxn>
                <a:cxn ang="0">
                  <a:pos x="100" y="70"/>
                </a:cxn>
                <a:cxn ang="0">
                  <a:pos x="96" y="62"/>
                </a:cxn>
                <a:cxn ang="0">
                  <a:pos x="94" y="64"/>
                </a:cxn>
                <a:cxn ang="0">
                  <a:pos x="92" y="60"/>
                </a:cxn>
                <a:cxn ang="0">
                  <a:pos x="90" y="58"/>
                </a:cxn>
                <a:cxn ang="0">
                  <a:pos x="90" y="54"/>
                </a:cxn>
                <a:cxn ang="0">
                  <a:pos x="96" y="42"/>
                </a:cxn>
                <a:cxn ang="0">
                  <a:pos x="96" y="38"/>
                </a:cxn>
                <a:cxn ang="0">
                  <a:pos x="100" y="38"/>
                </a:cxn>
                <a:cxn ang="0">
                  <a:pos x="98" y="34"/>
                </a:cxn>
                <a:cxn ang="0">
                  <a:pos x="98" y="28"/>
                </a:cxn>
                <a:cxn ang="0">
                  <a:pos x="90" y="22"/>
                </a:cxn>
                <a:cxn ang="0">
                  <a:pos x="88" y="24"/>
                </a:cxn>
                <a:cxn ang="0">
                  <a:pos x="88" y="18"/>
                </a:cxn>
                <a:cxn ang="0">
                  <a:pos x="84" y="16"/>
                </a:cxn>
                <a:cxn ang="0">
                  <a:pos x="82" y="10"/>
                </a:cxn>
                <a:cxn ang="0">
                  <a:pos x="80" y="4"/>
                </a:cxn>
                <a:cxn ang="0">
                  <a:pos x="78" y="4"/>
                </a:cxn>
                <a:cxn ang="0">
                  <a:pos x="72" y="2"/>
                </a:cxn>
                <a:cxn ang="0">
                  <a:pos x="70" y="2"/>
                </a:cxn>
                <a:cxn ang="0">
                  <a:pos x="66" y="2"/>
                </a:cxn>
                <a:cxn ang="0">
                  <a:pos x="60" y="0"/>
                </a:cxn>
                <a:cxn ang="0">
                  <a:pos x="56" y="0"/>
                </a:cxn>
                <a:cxn ang="0">
                  <a:pos x="52" y="2"/>
                </a:cxn>
                <a:cxn ang="0">
                  <a:pos x="48" y="4"/>
                </a:cxn>
                <a:cxn ang="0">
                  <a:pos x="48" y="6"/>
                </a:cxn>
                <a:cxn ang="0">
                  <a:pos x="40" y="14"/>
                </a:cxn>
                <a:cxn ang="0">
                  <a:pos x="34" y="16"/>
                </a:cxn>
                <a:cxn ang="0">
                  <a:pos x="32" y="22"/>
                </a:cxn>
                <a:cxn ang="0">
                  <a:pos x="30" y="50"/>
                </a:cxn>
                <a:cxn ang="0">
                  <a:pos x="0" y="66"/>
                </a:cxn>
                <a:cxn ang="0">
                  <a:pos x="2" y="78"/>
                </a:cxn>
                <a:cxn ang="0">
                  <a:pos x="4" y="82"/>
                </a:cxn>
                <a:cxn ang="0">
                  <a:pos x="6" y="84"/>
                </a:cxn>
                <a:cxn ang="0">
                  <a:pos x="4" y="86"/>
                </a:cxn>
                <a:cxn ang="0">
                  <a:pos x="16" y="88"/>
                </a:cxn>
                <a:cxn ang="0">
                  <a:pos x="24" y="92"/>
                </a:cxn>
                <a:cxn ang="0">
                  <a:pos x="34" y="98"/>
                </a:cxn>
                <a:cxn ang="0">
                  <a:pos x="44" y="102"/>
                </a:cxn>
                <a:cxn ang="0">
                  <a:pos x="50" y="108"/>
                </a:cxn>
                <a:cxn ang="0">
                  <a:pos x="58" y="114"/>
                </a:cxn>
                <a:cxn ang="0">
                  <a:pos x="74" y="128"/>
                </a:cxn>
                <a:cxn ang="0">
                  <a:pos x="80" y="132"/>
                </a:cxn>
                <a:cxn ang="0">
                  <a:pos x="86" y="134"/>
                </a:cxn>
                <a:cxn ang="0">
                  <a:pos x="98" y="136"/>
                </a:cxn>
                <a:cxn ang="0">
                  <a:pos x="102" y="136"/>
                </a:cxn>
                <a:cxn ang="0">
                  <a:pos x="104" y="134"/>
                </a:cxn>
                <a:cxn ang="0">
                  <a:pos x="112" y="122"/>
                </a:cxn>
                <a:cxn ang="0">
                  <a:pos x="116" y="120"/>
                </a:cxn>
                <a:cxn ang="0">
                  <a:pos x="124" y="120"/>
                </a:cxn>
                <a:cxn ang="0">
                  <a:pos x="132" y="122"/>
                </a:cxn>
                <a:cxn ang="0">
                  <a:pos x="126" y="114"/>
                </a:cxn>
                <a:cxn ang="0">
                  <a:pos x="126" y="114"/>
                </a:cxn>
              </a:cxnLst>
              <a:rect l="0" t="0" r="r" b="b"/>
              <a:pathLst>
                <a:path w="132" h="136">
                  <a:moveTo>
                    <a:pt x="126" y="114"/>
                  </a:moveTo>
                  <a:lnTo>
                    <a:pt x="124" y="104"/>
                  </a:lnTo>
                  <a:lnTo>
                    <a:pt x="122" y="104"/>
                  </a:lnTo>
                  <a:lnTo>
                    <a:pt x="120" y="100"/>
                  </a:lnTo>
                  <a:lnTo>
                    <a:pt x="122" y="92"/>
                  </a:lnTo>
                  <a:lnTo>
                    <a:pt x="118" y="84"/>
                  </a:lnTo>
                  <a:lnTo>
                    <a:pt x="116" y="82"/>
                  </a:lnTo>
                  <a:lnTo>
                    <a:pt x="114" y="80"/>
                  </a:lnTo>
                  <a:lnTo>
                    <a:pt x="106" y="76"/>
                  </a:lnTo>
                  <a:lnTo>
                    <a:pt x="102" y="74"/>
                  </a:lnTo>
                  <a:lnTo>
                    <a:pt x="100" y="70"/>
                  </a:lnTo>
                  <a:lnTo>
                    <a:pt x="96" y="62"/>
                  </a:lnTo>
                  <a:lnTo>
                    <a:pt x="94" y="64"/>
                  </a:lnTo>
                  <a:lnTo>
                    <a:pt x="92" y="60"/>
                  </a:lnTo>
                  <a:lnTo>
                    <a:pt x="90" y="58"/>
                  </a:lnTo>
                  <a:lnTo>
                    <a:pt x="90" y="54"/>
                  </a:lnTo>
                  <a:lnTo>
                    <a:pt x="96" y="42"/>
                  </a:lnTo>
                  <a:lnTo>
                    <a:pt x="96" y="38"/>
                  </a:lnTo>
                  <a:lnTo>
                    <a:pt x="100" y="38"/>
                  </a:lnTo>
                  <a:lnTo>
                    <a:pt x="98" y="34"/>
                  </a:lnTo>
                  <a:lnTo>
                    <a:pt x="98" y="28"/>
                  </a:lnTo>
                  <a:lnTo>
                    <a:pt x="90" y="22"/>
                  </a:lnTo>
                  <a:lnTo>
                    <a:pt x="88" y="24"/>
                  </a:lnTo>
                  <a:lnTo>
                    <a:pt x="88" y="18"/>
                  </a:lnTo>
                  <a:lnTo>
                    <a:pt x="84" y="16"/>
                  </a:lnTo>
                  <a:lnTo>
                    <a:pt x="82" y="10"/>
                  </a:lnTo>
                  <a:lnTo>
                    <a:pt x="80" y="4"/>
                  </a:lnTo>
                  <a:lnTo>
                    <a:pt x="78" y="4"/>
                  </a:lnTo>
                  <a:lnTo>
                    <a:pt x="72" y="2"/>
                  </a:lnTo>
                  <a:lnTo>
                    <a:pt x="70" y="2"/>
                  </a:lnTo>
                  <a:lnTo>
                    <a:pt x="66" y="2"/>
                  </a:lnTo>
                  <a:lnTo>
                    <a:pt x="60" y="0"/>
                  </a:lnTo>
                  <a:lnTo>
                    <a:pt x="56" y="0"/>
                  </a:lnTo>
                  <a:lnTo>
                    <a:pt x="52" y="2"/>
                  </a:lnTo>
                  <a:lnTo>
                    <a:pt x="48" y="4"/>
                  </a:lnTo>
                  <a:lnTo>
                    <a:pt x="48" y="6"/>
                  </a:lnTo>
                  <a:lnTo>
                    <a:pt x="40" y="14"/>
                  </a:lnTo>
                  <a:lnTo>
                    <a:pt x="34" y="16"/>
                  </a:lnTo>
                  <a:lnTo>
                    <a:pt x="32" y="22"/>
                  </a:lnTo>
                  <a:lnTo>
                    <a:pt x="30" y="50"/>
                  </a:lnTo>
                  <a:lnTo>
                    <a:pt x="0" y="66"/>
                  </a:lnTo>
                  <a:lnTo>
                    <a:pt x="2" y="78"/>
                  </a:lnTo>
                  <a:lnTo>
                    <a:pt x="4" y="82"/>
                  </a:lnTo>
                  <a:lnTo>
                    <a:pt x="6" y="84"/>
                  </a:lnTo>
                  <a:lnTo>
                    <a:pt x="4" y="86"/>
                  </a:lnTo>
                  <a:lnTo>
                    <a:pt x="16" y="88"/>
                  </a:lnTo>
                  <a:lnTo>
                    <a:pt x="24" y="92"/>
                  </a:lnTo>
                  <a:lnTo>
                    <a:pt x="34" y="98"/>
                  </a:lnTo>
                  <a:lnTo>
                    <a:pt x="44" y="102"/>
                  </a:lnTo>
                  <a:lnTo>
                    <a:pt x="50" y="108"/>
                  </a:lnTo>
                  <a:lnTo>
                    <a:pt x="58" y="114"/>
                  </a:lnTo>
                  <a:lnTo>
                    <a:pt x="74" y="128"/>
                  </a:lnTo>
                  <a:lnTo>
                    <a:pt x="80" y="132"/>
                  </a:lnTo>
                  <a:lnTo>
                    <a:pt x="86" y="134"/>
                  </a:lnTo>
                  <a:lnTo>
                    <a:pt x="98" y="136"/>
                  </a:lnTo>
                  <a:lnTo>
                    <a:pt x="102" y="136"/>
                  </a:lnTo>
                  <a:lnTo>
                    <a:pt x="104" y="134"/>
                  </a:lnTo>
                  <a:lnTo>
                    <a:pt x="112" y="122"/>
                  </a:lnTo>
                  <a:lnTo>
                    <a:pt x="116" y="120"/>
                  </a:lnTo>
                  <a:lnTo>
                    <a:pt x="124" y="120"/>
                  </a:lnTo>
                  <a:lnTo>
                    <a:pt x="132" y="122"/>
                  </a:lnTo>
                  <a:lnTo>
                    <a:pt x="126" y="114"/>
                  </a:lnTo>
                  <a:lnTo>
                    <a:pt x="126" y="114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1" name="Freeform 484">
              <a:extLst>
                <a:ext uri="{FF2B5EF4-FFF2-40B4-BE49-F238E27FC236}">
                  <a16:creationId xmlns:a16="http://schemas.microsoft.com/office/drawing/2014/main" id="{19535C06-9085-4F59-A9E7-94E0F1C015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7463" y="3465513"/>
              <a:ext cx="146050" cy="130175"/>
            </a:xfrm>
            <a:custGeom>
              <a:avLst/>
              <a:gdLst/>
              <a:ahLst/>
              <a:cxnLst>
                <a:cxn ang="0">
                  <a:pos x="12" y="44"/>
                </a:cxn>
                <a:cxn ang="0">
                  <a:pos x="10" y="46"/>
                </a:cxn>
                <a:cxn ang="0">
                  <a:pos x="12" y="46"/>
                </a:cxn>
                <a:cxn ang="0">
                  <a:pos x="12" y="46"/>
                </a:cxn>
                <a:cxn ang="0">
                  <a:pos x="14" y="50"/>
                </a:cxn>
                <a:cxn ang="0">
                  <a:pos x="14" y="52"/>
                </a:cxn>
                <a:cxn ang="0">
                  <a:pos x="6" y="62"/>
                </a:cxn>
                <a:cxn ang="0">
                  <a:pos x="4" y="64"/>
                </a:cxn>
                <a:cxn ang="0">
                  <a:pos x="0" y="66"/>
                </a:cxn>
                <a:cxn ang="0">
                  <a:pos x="0" y="72"/>
                </a:cxn>
                <a:cxn ang="0">
                  <a:pos x="0" y="76"/>
                </a:cxn>
                <a:cxn ang="0">
                  <a:pos x="4" y="76"/>
                </a:cxn>
                <a:cxn ang="0">
                  <a:pos x="10" y="80"/>
                </a:cxn>
                <a:cxn ang="0">
                  <a:pos x="14" y="82"/>
                </a:cxn>
                <a:cxn ang="0">
                  <a:pos x="16" y="82"/>
                </a:cxn>
                <a:cxn ang="0">
                  <a:pos x="20" y="80"/>
                </a:cxn>
                <a:cxn ang="0">
                  <a:pos x="24" y="76"/>
                </a:cxn>
                <a:cxn ang="0">
                  <a:pos x="44" y="64"/>
                </a:cxn>
                <a:cxn ang="0">
                  <a:pos x="74" y="48"/>
                </a:cxn>
                <a:cxn ang="0">
                  <a:pos x="76" y="20"/>
                </a:cxn>
                <a:cxn ang="0">
                  <a:pos x="78" y="14"/>
                </a:cxn>
                <a:cxn ang="0">
                  <a:pos x="84" y="12"/>
                </a:cxn>
                <a:cxn ang="0">
                  <a:pos x="92" y="4"/>
                </a:cxn>
                <a:cxn ang="0">
                  <a:pos x="92" y="2"/>
                </a:cxn>
                <a:cxn ang="0">
                  <a:pos x="90" y="0"/>
                </a:cxn>
                <a:cxn ang="0">
                  <a:pos x="80" y="4"/>
                </a:cxn>
                <a:cxn ang="0">
                  <a:pos x="72" y="2"/>
                </a:cxn>
                <a:cxn ang="0">
                  <a:pos x="62" y="6"/>
                </a:cxn>
                <a:cxn ang="0">
                  <a:pos x="52" y="10"/>
                </a:cxn>
                <a:cxn ang="0">
                  <a:pos x="48" y="10"/>
                </a:cxn>
                <a:cxn ang="0">
                  <a:pos x="42" y="10"/>
                </a:cxn>
                <a:cxn ang="0">
                  <a:pos x="40" y="8"/>
                </a:cxn>
                <a:cxn ang="0">
                  <a:pos x="36" y="6"/>
                </a:cxn>
                <a:cxn ang="0">
                  <a:pos x="26" y="8"/>
                </a:cxn>
                <a:cxn ang="0">
                  <a:pos x="14" y="8"/>
                </a:cxn>
                <a:cxn ang="0">
                  <a:pos x="14" y="16"/>
                </a:cxn>
                <a:cxn ang="0">
                  <a:pos x="14" y="18"/>
                </a:cxn>
                <a:cxn ang="0">
                  <a:pos x="10" y="18"/>
                </a:cxn>
                <a:cxn ang="0">
                  <a:pos x="10" y="22"/>
                </a:cxn>
                <a:cxn ang="0">
                  <a:pos x="4" y="22"/>
                </a:cxn>
                <a:cxn ang="0">
                  <a:pos x="2" y="28"/>
                </a:cxn>
                <a:cxn ang="0">
                  <a:pos x="4" y="30"/>
                </a:cxn>
                <a:cxn ang="0">
                  <a:pos x="4" y="38"/>
                </a:cxn>
                <a:cxn ang="0">
                  <a:pos x="4" y="38"/>
                </a:cxn>
                <a:cxn ang="0">
                  <a:pos x="4" y="42"/>
                </a:cxn>
                <a:cxn ang="0">
                  <a:pos x="4" y="44"/>
                </a:cxn>
                <a:cxn ang="0">
                  <a:pos x="10" y="44"/>
                </a:cxn>
                <a:cxn ang="0">
                  <a:pos x="12" y="44"/>
                </a:cxn>
              </a:cxnLst>
              <a:rect l="0" t="0" r="r" b="b"/>
              <a:pathLst>
                <a:path w="92" h="82">
                  <a:moveTo>
                    <a:pt x="12" y="44"/>
                  </a:moveTo>
                  <a:lnTo>
                    <a:pt x="10" y="46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4" y="50"/>
                  </a:lnTo>
                  <a:lnTo>
                    <a:pt x="14" y="52"/>
                  </a:lnTo>
                  <a:lnTo>
                    <a:pt x="6" y="62"/>
                  </a:lnTo>
                  <a:lnTo>
                    <a:pt x="4" y="64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10" y="80"/>
                  </a:lnTo>
                  <a:lnTo>
                    <a:pt x="14" y="82"/>
                  </a:lnTo>
                  <a:lnTo>
                    <a:pt x="16" y="82"/>
                  </a:lnTo>
                  <a:lnTo>
                    <a:pt x="20" y="80"/>
                  </a:lnTo>
                  <a:lnTo>
                    <a:pt x="24" y="76"/>
                  </a:lnTo>
                  <a:lnTo>
                    <a:pt x="44" y="64"/>
                  </a:lnTo>
                  <a:lnTo>
                    <a:pt x="74" y="48"/>
                  </a:lnTo>
                  <a:lnTo>
                    <a:pt x="76" y="20"/>
                  </a:lnTo>
                  <a:lnTo>
                    <a:pt x="78" y="14"/>
                  </a:lnTo>
                  <a:lnTo>
                    <a:pt x="84" y="12"/>
                  </a:lnTo>
                  <a:lnTo>
                    <a:pt x="92" y="4"/>
                  </a:lnTo>
                  <a:lnTo>
                    <a:pt x="92" y="2"/>
                  </a:lnTo>
                  <a:lnTo>
                    <a:pt x="90" y="0"/>
                  </a:lnTo>
                  <a:lnTo>
                    <a:pt x="80" y="4"/>
                  </a:lnTo>
                  <a:lnTo>
                    <a:pt x="72" y="2"/>
                  </a:lnTo>
                  <a:lnTo>
                    <a:pt x="62" y="6"/>
                  </a:lnTo>
                  <a:lnTo>
                    <a:pt x="52" y="10"/>
                  </a:lnTo>
                  <a:lnTo>
                    <a:pt x="48" y="10"/>
                  </a:lnTo>
                  <a:lnTo>
                    <a:pt x="42" y="10"/>
                  </a:lnTo>
                  <a:lnTo>
                    <a:pt x="40" y="8"/>
                  </a:lnTo>
                  <a:lnTo>
                    <a:pt x="36" y="6"/>
                  </a:lnTo>
                  <a:lnTo>
                    <a:pt x="26" y="8"/>
                  </a:lnTo>
                  <a:lnTo>
                    <a:pt x="14" y="8"/>
                  </a:lnTo>
                  <a:lnTo>
                    <a:pt x="14" y="16"/>
                  </a:lnTo>
                  <a:lnTo>
                    <a:pt x="14" y="18"/>
                  </a:lnTo>
                  <a:lnTo>
                    <a:pt x="10" y="18"/>
                  </a:lnTo>
                  <a:lnTo>
                    <a:pt x="10" y="22"/>
                  </a:lnTo>
                  <a:lnTo>
                    <a:pt x="4" y="22"/>
                  </a:lnTo>
                  <a:lnTo>
                    <a:pt x="2" y="28"/>
                  </a:lnTo>
                  <a:lnTo>
                    <a:pt x="4" y="30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42"/>
                  </a:lnTo>
                  <a:lnTo>
                    <a:pt x="4" y="44"/>
                  </a:lnTo>
                  <a:lnTo>
                    <a:pt x="10" y="44"/>
                  </a:lnTo>
                  <a:lnTo>
                    <a:pt x="12" y="44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2" name="Freeform 539">
              <a:extLst>
                <a:ext uri="{FF2B5EF4-FFF2-40B4-BE49-F238E27FC236}">
                  <a16:creationId xmlns:a16="http://schemas.microsoft.com/office/drawing/2014/main" id="{0BE348AF-B013-4920-98EB-C2942F4839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8438" y="3398837"/>
              <a:ext cx="415925" cy="488950"/>
            </a:xfrm>
            <a:custGeom>
              <a:avLst/>
              <a:gdLst/>
              <a:ahLst/>
              <a:cxnLst/>
              <a:rect l="l" t="t" r="r" b="b"/>
              <a:pathLst>
                <a:path w="415925" h="488950">
                  <a:moveTo>
                    <a:pt x="320675" y="476250"/>
                  </a:moveTo>
                  <a:lnTo>
                    <a:pt x="320675" y="479425"/>
                  </a:lnTo>
                  <a:lnTo>
                    <a:pt x="320675" y="485775"/>
                  </a:lnTo>
                  <a:lnTo>
                    <a:pt x="317500" y="488950"/>
                  </a:lnTo>
                  <a:close/>
                  <a:moveTo>
                    <a:pt x="158750" y="349250"/>
                  </a:moveTo>
                  <a:lnTo>
                    <a:pt x="165100" y="355600"/>
                  </a:lnTo>
                  <a:lnTo>
                    <a:pt x="165100" y="371475"/>
                  </a:lnTo>
                  <a:lnTo>
                    <a:pt x="161925" y="381000"/>
                  </a:lnTo>
                  <a:lnTo>
                    <a:pt x="161925" y="384175"/>
                  </a:lnTo>
                  <a:lnTo>
                    <a:pt x="152400" y="387350"/>
                  </a:lnTo>
                  <a:lnTo>
                    <a:pt x="146050" y="381000"/>
                  </a:lnTo>
                  <a:lnTo>
                    <a:pt x="146050" y="374650"/>
                  </a:lnTo>
                  <a:lnTo>
                    <a:pt x="146050" y="365125"/>
                  </a:lnTo>
                  <a:lnTo>
                    <a:pt x="152400" y="355600"/>
                  </a:lnTo>
                  <a:close/>
                  <a:moveTo>
                    <a:pt x="269875" y="346075"/>
                  </a:moveTo>
                  <a:lnTo>
                    <a:pt x="263525" y="361950"/>
                  </a:lnTo>
                  <a:lnTo>
                    <a:pt x="263525" y="355600"/>
                  </a:lnTo>
                  <a:lnTo>
                    <a:pt x="260350" y="349250"/>
                  </a:lnTo>
                  <a:close/>
                  <a:moveTo>
                    <a:pt x="254000" y="330200"/>
                  </a:moveTo>
                  <a:lnTo>
                    <a:pt x="266700" y="330200"/>
                  </a:lnTo>
                  <a:lnTo>
                    <a:pt x="254000" y="336550"/>
                  </a:lnTo>
                  <a:lnTo>
                    <a:pt x="244475" y="339725"/>
                  </a:lnTo>
                  <a:lnTo>
                    <a:pt x="244475" y="336550"/>
                  </a:lnTo>
                  <a:close/>
                  <a:moveTo>
                    <a:pt x="73025" y="254000"/>
                  </a:moveTo>
                  <a:lnTo>
                    <a:pt x="85725" y="254000"/>
                  </a:lnTo>
                  <a:lnTo>
                    <a:pt x="85725" y="263525"/>
                  </a:lnTo>
                  <a:lnTo>
                    <a:pt x="85725" y="273050"/>
                  </a:lnTo>
                  <a:lnTo>
                    <a:pt x="95250" y="292100"/>
                  </a:lnTo>
                  <a:lnTo>
                    <a:pt x="82550" y="292100"/>
                  </a:lnTo>
                  <a:lnTo>
                    <a:pt x="76200" y="285750"/>
                  </a:lnTo>
                  <a:lnTo>
                    <a:pt x="76200" y="279400"/>
                  </a:lnTo>
                  <a:lnTo>
                    <a:pt x="69850" y="279400"/>
                  </a:lnTo>
                  <a:lnTo>
                    <a:pt x="53975" y="276225"/>
                  </a:lnTo>
                  <a:lnTo>
                    <a:pt x="66675" y="257175"/>
                  </a:lnTo>
                  <a:close/>
                  <a:moveTo>
                    <a:pt x="9525" y="0"/>
                  </a:moveTo>
                  <a:lnTo>
                    <a:pt x="12700" y="0"/>
                  </a:lnTo>
                  <a:lnTo>
                    <a:pt x="15875" y="3175"/>
                  </a:lnTo>
                  <a:lnTo>
                    <a:pt x="31750" y="19050"/>
                  </a:lnTo>
                  <a:lnTo>
                    <a:pt x="47625" y="22225"/>
                  </a:lnTo>
                  <a:lnTo>
                    <a:pt x="53975" y="22225"/>
                  </a:lnTo>
                  <a:lnTo>
                    <a:pt x="73025" y="6350"/>
                  </a:lnTo>
                  <a:lnTo>
                    <a:pt x="85725" y="0"/>
                  </a:lnTo>
                  <a:lnTo>
                    <a:pt x="95250" y="9525"/>
                  </a:lnTo>
                  <a:lnTo>
                    <a:pt x="92075" y="19050"/>
                  </a:lnTo>
                  <a:lnTo>
                    <a:pt x="85725" y="22225"/>
                  </a:lnTo>
                  <a:lnTo>
                    <a:pt x="92075" y="28575"/>
                  </a:lnTo>
                  <a:lnTo>
                    <a:pt x="98425" y="34925"/>
                  </a:lnTo>
                  <a:lnTo>
                    <a:pt x="104775" y="34925"/>
                  </a:lnTo>
                  <a:lnTo>
                    <a:pt x="120650" y="38100"/>
                  </a:lnTo>
                  <a:lnTo>
                    <a:pt x="133350" y="38100"/>
                  </a:lnTo>
                  <a:lnTo>
                    <a:pt x="158750" y="28575"/>
                  </a:lnTo>
                  <a:lnTo>
                    <a:pt x="168275" y="44450"/>
                  </a:lnTo>
                  <a:lnTo>
                    <a:pt x="174625" y="50800"/>
                  </a:lnTo>
                  <a:lnTo>
                    <a:pt x="184150" y="53975"/>
                  </a:lnTo>
                  <a:lnTo>
                    <a:pt x="196850" y="60325"/>
                  </a:lnTo>
                  <a:lnTo>
                    <a:pt x="206375" y="66675"/>
                  </a:lnTo>
                  <a:lnTo>
                    <a:pt x="212725" y="63500"/>
                  </a:lnTo>
                  <a:lnTo>
                    <a:pt x="231775" y="60325"/>
                  </a:lnTo>
                  <a:lnTo>
                    <a:pt x="244475" y="47625"/>
                  </a:lnTo>
                  <a:lnTo>
                    <a:pt x="257175" y="41275"/>
                  </a:lnTo>
                  <a:lnTo>
                    <a:pt x="269875" y="41275"/>
                  </a:lnTo>
                  <a:lnTo>
                    <a:pt x="285750" y="38100"/>
                  </a:lnTo>
                  <a:lnTo>
                    <a:pt x="285750" y="41275"/>
                  </a:lnTo>
                  <a:lnTo>
                    <a:pt x="292100" y="44450"/>
                  </a:lnTo>
                  <a:lnTo>
                    <a:pt x="307975" y="53975"/>
                  </a:lnTo>
                  <a:lnTo>
                    <a:pt x="311150" y="53975"/>
                  </a:lnTo>
                  <a:lnTo>
                    <a:pt x="320675" y="57150"/>
                  </a:lnTo>
                  <a:lnTo>
                    <a:pt x="342900" y="73025"/>
                  </a:lnTo>
                  <a:lnTo>
                    <a:pt x="349250" y="76200"/>
                  </a:lnTo>
                  <a:lnTo>
                    <a:pt x="352425" y="82550"/>
                  </a:lnTo>
                  <a:lnTo>
                    <a:pt x="371475" y="82550"/>
                  </a:lnTo>
                  <a:lnTo>
                    <a:pt x="368300" y="101600"/>
                  </a:lnTo>
                  <a:lnTo>
                    <a:pt x="371475" y="111125"/>
                  </a:lnTo>
                  <a:lnTo>
                    <a:pt x="371475" y="123825"/>
                  </a:lnTo>
                  <a:lnTo>
                    <a:pt x="368300" y="133350"/>
                  </a:lnTo>
                  <a:lnTo>
                    <a:pt x="365125" y="139700"/>
                  </a:lnTo>
                  <a:lnTo>
                    <a:pt x="358775" y="146050"/>
                  </a:lnTo>
                  <a:lnTo>
                    <a:pt x="355600" y="149225"/>
                  </a:lnTo>
                  <a:lnTo>
                    <a:pt x="355600" y="155575"/>
                  </a:lnTo>
                  <a:lnTo>
                    <a:pt x="358775" y="184150"/>
                  </a:lnTo>
                  <a:lnTo>
                    <a:pt x="365125" y="200025"/>
                  </a:lnTo>
                  <a:lnTo>
                    <a:pt x="361950" y="203200"/>
                  </a:lnTo>
                  <a:lnTo>
                    <a:pt x="361950" y="209550"/>
                  </a:lnTo>
                  <a:lnTo>
                    <a:pt x="361950" y="215900"/>
                  </a:lnTo>
                  <a:lnTo>
                    <a:pt x="368300" y="219075"/>
                  </a:lnTo>
                  <a:lnTo>
                    <a:pt x="374650" y="219075"/>
                  </a:lnTo>
                  <a:lnTo>
                    <a:pt x="384175" y="219075"/>
                  </a:lnTo>
                  <a:lnTo>
                    <a:pt x="384175" y="222250"/>
                  </a:lnTo>
                  <a:lnTo>
                    <a:pt x="384175" y="231775"/>
                  </a:lnTo>
                  <a:lnTo>
                    <a:pt x="384175" y="234950"/>
                  </a:lnTo>
                  <a:lnTo>
                    <a:pt x="365125" y="257175"/>
                  </a:lnTo>
                  <a:lnTo>
                    <a:pt x="374650" y="269875"/>
                  </a:lnTo>
                  <a:lnTo>
                    <a:pt x="377825" y="279400"/>
                  </a:lnTo>
                  <a:lnTo>
                    <a:pt x="387350" y="288925"/>
                  </a:lnTo>
                  <a:lnTo>
                    <a:pt x="396875" y="292100"/>
                  </a:lnTo>
                  <a:lnTo>
                    <a:pt x="403225" y="298450"/>
                  </a:lnTo>
                  <a:lnTo>
                    <a:pt x="406400" y="298450"/>
                  </a:lnTo>
                  <a:lnTo>
                    <a:pt x="406400" y="304800"/>
                  </a:lnTo>
                  <a:lnTo>
                    <a:pt x="406400" y="314325"/>
                  </a:lnTo>
                  <a:lnTo>
                    <a:pt x="409575" y="320675"/>
                  </a:lnTo>
                  <a:lnTo>
                    <a:pt x="412750" y="320675"/>
                  </a:lnTo>
                  <a:lnTo>
                    <a:pt x="415925" y="323850"/>
                  </a:lnTo>
                  <a:lnTo>
                    <a:pt x="412750" y="336550"/>
                  </a:lnTo>
                  <a:lnTo>
                    <a:pt x="406400" y="336550"/>
                  </a:lnTo>
                  <a:lnTo>
                    <a:pt x="396875" y="339725"/>
                  </a:lnTo>
                  <a:lnTo>
                    <a:pt x="393700" y="346075"/>
                  </a:lnTo>
                  <a:lnTo>
                    <a:pt x="387350" y="346075"/>
                  </a:lnTo>
                  <a:lnTo>
                    <a:pt x="384175" y="349250"/>
                  </a:lnTo>
                  <a:lnTo>
                    <a:pt x="381000" y="371475"/>
                  </a:lnTo>
                  <a:lnTo>
                    <a:pt x="374650" y="374650"/>
                  </a:lnTo>
                  <a:lnTo>
                    <a:pt x="368300" y="371475"/>
                  </a:lnTo>
                  <a:lnTo>
                    <a:pt x="361950" y="368300"/>
                  </a:lnTo>
                  <a:lnTo>
                    <a:pt x="355600" y="368300"/>
                  </a:lnTo>
                  <a:lnTo>
                    <a:pt x="339725" y="365125"/>
                  </a:lnTo>
                  <a:lnTo>
                    <a:pt x="327025" y="365125"/>
                  </a:lnTo>
                  <a:lnTo>
                    <a:pt x="317500" y="361950"/>
                  </a:lnTo>
                  <a:lnTo>
                    <a:pt x="301625" y="358775"/>
                  </a:lnTo>
                  <a:lnTo>
                    <a:pt x="288925" y="358775"/>
                  </a:lnTo>
                  <a:lnTo>
                    <a:pt x="285750" y="352425"/>
                  </a:lnTo>
                  <a:lnTo>
                    <a:pt x="282575" y="346075"/>
                  </a:lnTo>
                  <a:lnTo>
                    <a:pt x="282575" y="339725"/>
                  </a:lnTo>
                  <a:lnTo>
                    <a:pt x="282575" y="336550"/>
                  </a:lnTo>
                  <a:lnTo>
                    <a:pt x="276225" y="323850"/>
                  </a:lnTo>
                  <a:lnTo>
                    <a:pt x="266700" y="323850"/>
                  </a:lnTo>
                  <a:lnTo>
                    <a:pt x="260350" y="323850"/>
                  </a:lnTo>
                  <a:lnTo>
                    <a:pt x="250825" y="327025"/>
                  </a:lnTo>
                  <a:lnTo>
                    <a:pt x="244475" y="333375"/>
                  </a:lnTo>
                  <a:lnTo>
                    <a:pt x="231775" y="339725"/>
                  </a:lnTo>
                  <a:lnTo>
                    <a:pt x="215900" y="336550"/>
                  </a:lnTo>
                  <a:lnTo>
                    <a:pt x="193675" y="323850"/>
                  </a:lnTo>
                  <a:lnTo>
                    <a:pt x="187325" y="320675"/>
                  </a:lnTo>
                  <a:lnTo>
                    <a:pt x="184150" y="314325"/>
                  </a:lnTo>
                  <a:lnTo>
                    <a:pt x="174625" y="307975"/>
                  </a:lnTo>
                  <a:lnTo>
                    <a:pt x="165100" y="307975"/>
                  </a:lnTo>
                  <a:lnTo>
                    <a:pt x="158750" y="298450"/>
                  </a:lnTo>
                  <a:lnTo>
                    <a:pt x="152400" y="285750"/>
                  </a:lnTo>
                  <a:lnTo>
                    <a:pt x="142875" y="269875"/>
                  </a:lnTo>
                  <a:lnTo>
                    <a:pt x="136525" y="257175"/>
                  </a:lnTo>
                  <a:lnTo>
                    <a:pt x="123825" y="250825"/>
                  </a:lnTo>
                  <a:lnTo>
                    <a:pt x="120650" y="254000"/>
                  </a:lnTo>
                  <a:lnTo>
                    <a:pt x="114300" y="250825"/>
                  </a:lnTo>
                  <a:lnTo>
                    <a:pt x="107950" y="250825"/>
                  </a:lnTo>
                  <a:lnTo>
                    <a:pt x="104775" y="254000"/>
                  </a:lnTo>
                  <a:lnTo>
                    <a:pt x="98425" y="257175"/>
                  </a:lnTo>
                  <a:lnTo>
                    <a:pt x="88900" y="244475"/>
                  </a:lnTo>
                  <a:lnTo>
                    <a:pt x="85725" y="228600"/>
                  </a:lnTo>
                  <a:lnTo>
                    <a:pt x="82550" y="228600"/>
                  </a:lnTo>
                  <a:lnTo>
                    <a:pt x="79375" y="222250"/>
                  </a:lnTo>
                  <a:lnTo>
                    <a:pt x="82550" y="209550"/>
                  </a:lnTo>
                  <a:lnTo>
                    <a:pt x="76200" y="196850"/>
                  </a:lnTo>
                  <a:lnTo>
                    <a:pt x="73025" y="193675"/>
                  </a:lnTo>
                  <a:lnTo>
                    <a:pt x="69850" y="190500"/>
                  </a:lnTo>
                  <a:lnTo>
                    <a:pt x="57150" y="184150"/>
                  </a:lnTo>
                  <a:lnTo>
                    <a:pt x="50800" y="180975"/>
                  </a:lnTo>
                  <a:lnTo>
                    <a:pt x="47625" y="174625"/>
                  </a:lnTo>
                  <a:lnTo>
                    <a:pt x="41275" y="161925"/>
                  </a:lnTo>
                  <a:lnTo>
                    <a:pt x="38100" y="165100"/>
                  </a:lnTo>
                  <a:lnTo>
                    <a:pt x="34925" y="158750"/>
                  </a:lnTo>
                  <a:lnTo>
                    <a:pt x="31750" y="155575"/>
                  </a:lnTo>
                  <a:lnTo>
                    <a:pt x="31750" y="149225"/>
                  </a:lnTo>
                  <a:lnTo>
                    <a:pt x="41275" y="130175"/>
                  </a:lnTo>
                  <a:lnTo>
                    <a:pt x="41275" y="123825"/>
                  </a:lnTo>
                  <a:lnTo>
                    <a:pt x="47625" y="123825"/>
                  </a:lnTo>
                  <a:lnTo>
                    <a:pt x="44450" y="117475"/>
                  </a:lnTo>
                  <a:lnTo>
                    <a:pt x="44450" y="107950"/>
                  </a:lnTo>
                  <a:lnTo>
                    <a:pt x="31750" y="98425"/>
                  </a:lnTo>
                  <a:lnTo>
                    <a:pt x="28575" y="101600"/>
                  </a:lnTo>
                  <a:lnTo>
                    <a:pt x="28575" y="92075"/>
                  </a:lnTo>
                  <a:lnTo>
                    <a:pt x="22225" y="88900"/>
                  </a:lnTo>
                  <a:lnTo>
                    <a:pt x="19050" y="79375"/>
                  </a:lnTo>
                  <a:lnTo>
                    <a:pt x="15875" y="69850"/>
                  </a:lnTo>
                  <a:lnTo>
                    <a:pt x="12700" y="60325"/>
                  </a:lnTo>
                  <a:lnTo>
                    <a:pt x="6350" y="50800"/>
                  </a:lnTo>
                  <a:lnTo>
                    <a:pt x="6350" y="41275"/>
                  </a:lnTo>
                  <a:lnTo>
                    <a:pt x="6350" y="28575"/>
                  </a:lnTo>
                  <a:lnTo>
                    <a:pt x="6350" y="22225"/>
                  </a:lnTo>
                  <a:lnTo>
                    <a:pt x="3175" y="19050"/>
                  </a:lnTo>
                  <a:lnTo>
                    <a:pt x="0" y="952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3" name="Freeform 662">
              <a:extLst>
                <a:ext uri="{FF2B5EF4-FFF2-40B4-BE49-F238E27FC236}">
                  <a16:creationId xmlns:a16="http://schemas.microsoft.com/office/drawing/2014/main" id="{98F08444-0016-4A29-B960-0C0C5E4E7A5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4038" y="3433763"/>
              <a:ext cx="311150" cy="234950"/>
            </a:xfrm>
            <a:custGeom>
              <a:avLst/>
              <a:gdLst/>
              <a:ahLst/>
              <a:cxnLst>
                <a:cxn ang="0">
                  <a:pos x="186" y="18"/>
                </a:cxn>
                <a:cxn ang="0">
                  <a:pos x="178" y="20"/>
                </a:cxn>
                <a:cxn ang="0">
                  <a:pos x="172" y="18"/>
                </a:cxn>
                <a:cxn ang="0">
                  <a:pos x="158" y="26"/>
                </a:cxn>
                <a:cxn ang="0">
                  <a:pos x="150" y="22"/>
                </a:cxn>
                <a:cxn ang="0">
                  <a:pos x="148" y="8"/>
                </a:cxn>
                <a:cxn ang="0">
                  <a:pos x="144" y="0"/>
                </a:cxn>
                <a:cxn ang="0">
                  <a:pos x="134" y="8"/>
                </a:cxn>
                <a:cxn ang="0">
                  <a:pos x="128" y="14"/>
                </a:cxn>
                <a:cxn ang="0">
                  <a:pos x="122" y="22"/>
                </a:cxn>
                <a:cxn ang="0">
                  <a:pos x="112" y="20"/>
                </a:cxn>
                <a:cxn ang="0">
                  <a:pos x="106" y="24"/>
                </a:cxn>
                <a:cxn ang="0">
                  <a:pos x="98" y="20"/>
                </a:cxn>
                <a:cxn ang="0">
                  <a:pos x="82" y="18"/>
                </a:cxn>
                <a:cxn ang="0">
                  <a:pos x="72" y="16"/>
                </a:cxn>
                <a:cxn ang="0">
                  <a:pos x="66" y="20"/>
                </a:cxn>
                <a:cxn ang="0">
                  <a:pos x="58" y="28"/>
                </a:cxn>
                <a:cxn ang="0">
                  <a:pos x="56" y="34"/>
                </a:cxn>
                <a:cxn ang="0">
                  <a:pos x="36" y="44"/>
                </a:cxn>
                <a:cxn ang="0">
                  <a:pos x="36" y="48"/>
                </a:cxn>
                <a:cxn ang="0">
                  <a:pos x="30" y="54"/>
                </a:cxn>
                <a:cxn ang="0">
                  <a:pos x="28" y="54"/>
                </a:cxn>
                <a:cxn ang="0">
                  <a:pos x="24" y="54"/>
                </a:cxn>
                <a:cxn ang="0">
                  <a:pos x="10" y="48"/>
                </a:cxn>
                <a:cxn ang="0">
                  <a:pos x="8" y="62"/>
                </a:cxn>
                <a:cxn ang="0">
                  <a:pos x="2" y="70"/>
                </a:cxn>
                <a:cxn ang="0">
                  <a:pos x="0" y="76"/>
                </a:cxn>
                <a:cxn ang="0">
                  <a:pos x="6" y="104"/>
                </a:cxn>
                <a:cxn ang="0">
                  <a:pos x="4" y="110"/>
                </a:cxn>
                <a:cxn ang="0">
                  <a:pos x="8" y="116"/>
                </a:cxn>
                <a:cxn ang="0">
                  <a:pos x="18" y="116"/>
                </a:cxn>
                <a:cxn ang="0">
                  <a:pos x="18" y="124"/>
                </a:cxn>
                <a:cxn ang="0">
                  <a:pos x="18" y="126"/>
                </a:cxn>
                <a:cxn ang="0">
                  <a:pos x="24" y="146"/>
                </a:cxn>
                <a:cxn ang="0">
                  <a:pos x="46" y="148"/>
                </a:cxn>
                <a:cxn ang="0">
                  <a:pos x="62" y="146"/>
                </a:cxn>
                <a:cxn ang="0">
                  <a:pos x="78" y="140"/>
                </a:cxn>
                <a:cxn ang="0">
                  <a:pos x="80" y="130"/>
                </a:cxn>
                <a:cxn ang="0">
                  <a:pos x="86" y="118"/>
                </a:cxn>
                <a:cxn ang="0">
                  <a:pos x="100" y="118"/>
                </a:cxn>
                <a:cxn ang="0">
                  <a:pos x="106" y="110"/>
                </a:cxn>
                <a:cxn ang="0">
                  <a:pos x="116" y="112"/>
                </a:cxn>
                <a:cxn ang="0">
                  <a:pos x="120" y="98"/>
                </a:cxn>
                <a:cxn ang="0">
                  <a:pos x="134" y="86"/>
                </a:cxn>
                <a:cxn ang="0">
                  <a:pos x="134" y="74"/>
                </a:cxn>
                <a:cxn ang="0">
                  <a:pos x="144" y="70"/>
                </a:cxn>
                <a:cxn ang="0">
                  <a:pos x="144" y="64"/>
                </a:cxn>
                <a:cxn ang="0">
                  <a:pos x="152" y="52"/>
                </a:cxn>
                <a:cxn ang="0">
                  <a:pos x="160" y="30"/>
                </a:cxn>
                <a:cxn ang="0">
                  <a:pos x="180" y="26"/>
                </a:cxn>
                <a:cxn ang="0">
                  <a:pos x="192" y="24"/>
                </a:cxn>
                <a:cxn ang="0">
                  <a:pos x="194" y="18"/>
                </a:cxn>
              </a:cxnLst>
              <a:rect l="0" t="0" r="r" b="b"/>
              <a:pathLst>
                <a:path w="196" h="148">
                  <a:moveTo>
                    <a:pt x="192" y="18"/>
                  </a:moveTo>
                  <a:lnTo>
                    <a:pt x="186" y="18"/>
                  </a:lnTo>
                  <a:lnTo>
                    <a:pt x="182" y="20"/>
                  </a:lnTo>
                  <a:lnTo>
                    <a:pt x="178" y="20"/>
                  </a:lnTo>
                  <a:lnTo>
                    <a:pt x="180" y="18"/>
                  </a:lnTo>
                  <a:lnTo>
                    <a:pt x="172" y="18"/>
                  </a:lnTo>
                  <a:lnTo>
                    <a:pt x="166" y="24"/>
                  </a:lnTo>
                  <a:lnTo>
                    <a:pt x="158" y="26"/>
                  </a:lnTo>
                  <a:lnTo>
                    <a:pt x="152" y="30"/>
                  </a:lnTo>
                  <a:lnTo>
                    <a:pt x="150" y="22"/>
                  </a:lnTo>
                  <a:lnTo>
                    <a:pt x="150" y="8"/>
                  </a:lnTo>
                  <a:lnTo>
                    <a:pt x="148" y="8"/>
                  </a:lnTo>
                  <a:lnTo>
                    <a:pt x="148" y="4"/>
                  </a:lnTo>
                  <a:lnTo>
                    <a:pt x="144" y="0"/>
                  </a:lnTo>
                  <a:lnTo>
                    <a:pt x="136" y="4"/>
                  </a:lnTo>
                  <a:lnTo>
                    <a:pt x="134" y="8"/>
                  </a:lnTo>
                  <a:lnTo>
                    <a:pt x="132" y="10"/>
                  </a:lnTo>
                  <a:lnTo>
                    <a:pt x="128" y="14"/>
                  </a:lnTo>
                  <a:lnTo>
                    <a:pt x="122" y="16"/>
                  </a:lnTo>
                  <a:lnTo>
                    <a:pt x="122" y="22"/>
                  </a:lnTo>
                  <a:lnTo>
                    <a:pt x="118" y="22"/>
                  </a:lnTo>
                  <a:lnTo>
                    <a:pt x="112" y="20"/>
                  </a:lnTo>
                  <a:lnTo>
                    <a:pt x="106" y="22"/>
                  </a:lnTo>
                  <a:lnTo>
                    <a:pt x="106" y="24"/>
                  </a:lnTo>
                  <a:lnTo>
                    <a:pt x="100" y="22"/>
                  </a:lnTo>
                  <a:lnTo>
                    <a:pt x="98" y="20"/>
                  </a:lnTo>
                  <a:lnTo>
                    <a:pt x="92" y="18"/>
                  </a:lnTo>
                  <a:lnTo>
                    <a:pt x="82" y="18"/>
                  </a:lnTo>
                  <a:lnTo>
                    <a:pt x="78" y="18"/>
                  </a:lnTo>
                  <a:lnTo>
                    <a:pt x="72" y="16"/>
                  </a:lnTo>
                  <a:lnTo>
                    <a:pt x="70" y="18"/>
                  </a:lnTo>
                  <a:lnTo>
                    <a:pt x="66" y="20"/>
                  </a:lnTo>
                  <a:lnTo>
                    <a:pt x="60" y="22"/>
                  </a:lnTo>
                  <a:lnTo>
                    <a:pt x="58" y="28"/>
                  </a:lnTo>
                  <a:lnTo>
                    <a:pt x="56" y="32"/>
                  </a:lnTo>
                  <a:lnTo>
                    <a:pt x="56" y="34"/>
                  </a:lnTo>
                  <a:lnTo>
                    <a:pt x="48" y="40"/>
                  </a:lnTo>
                  <a:lnTo>
                    <a:pt x="36" y="44"/>
                  </a:lnTo>
                  <a:lnTo>
                    <a:pt x="38" y="46"/>
                  </a:lnTo>
                  <a:lnTo>
                    <a:pt x="36" y="48"/>
                  </a:lnTo>
                  <a:lnTo>
                    <a:pt x="34" y="52"/>
                  </a:lnTo>
                  <a:lnTo>
                    <a:pt x="30" y="54"/>
                  </a:lnTo>
                  <a:lnTo>
                    <a:pt x="28" y="54"/>
                  </a:lnTo>
                  <a:lnTo>
                    <a:pt x="28" y="54"/>
                  </a:lnTo>
                  <a:lnTo>
                    <a:pt x="26" y="56"/>
                  </a:lnTo>
                  <a:lnTo>
                    <a:pt x="24" y="54"/>
                  </a:lnTo>
                  <a:lnTo>
                    <a:pt x="20" y="50"/>
                  </a:lnTo>
                  <a:lnTo>
                    <a:pt x="10" y="48"/>
                  </a:lnTo>
                  <a:lnTo>
                    <a:pt x="10" y="56"/>
                  </a:lnTo>
                  <a:lnTo>
                    <a:pt x="8" y="62"/>
                  </a:lnTo>
                  <a:lnTo>
                    <a:pt x="6" y="66"/>
                  </a:lnTo>
                  <a:lnTo>
                    <a:pt x="2" y="70"/>
                  </a:lnTo>
                  <a:lnTo>
                    <a:pt x="0" y="72"/>
                  </a:lnTo>
                  <a:lnTo>
                    <a:pt x="0" y="76"/>
                  </a:lnTo>
                  <a:lnTo>
                    <a:pt x="2" y="94"/>
                  </a:lnTo>
                  <a:lnTo>
                    <a:pt x="6" y="104"/>
                  </a:lnTo>
                  <a:lnTo>
                    <a:pt x="4" y="106"/>
                  </a:lnTo>
                  <a:lnTo>
                    <a:pt x="4" y="110"/>
                  </a:lnTo>
                  <a:lnTo>
                    <a:pt x="4" y="114"/>
                  </a:lnTo>
                  <a:lnTo>
                    <a:pt x="8" y="116"/>
                  </a:lnTo>
                  <a:lnTo>
                    <a:pt x="12" y="116"/>
                  </a:lnTo>
                  <a:lnTo>
                    <a:pt x="18" y="116"/>
                  </a:lnTo>
                  <a:lnTo>
                    <a:pt x="18" y="118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6"/>
                  </a:lnTo>
                  <a:lnTo>
                    <a:pt x="6" y="140"/>
                  </a:lnTo>
                  <a:lnTo>
                    <a:pt x="24" y="146"/>
                  </a:lnTo>
                  <a:lnTo>
                    <a:pt x="34" y="148"/>
                  </a:lnTo>
                  <a:lnTo>
                    <a:pt x="46" y="148"/>
                  </a:lnTo>
                  <a:lnTo>
                    <a:pt x="54" y="146"/>
                  </a:lnTo>
                  <a:lnTo>
                    <a:pt x="62" y="146"/>
                  </a:lnTo>
                  <a:lnTo>
                    <a:pt x="70" y="144"/>
                  </a:lnTo>
                  <a:lnTo>
                    <a:pt x="78" y="140"/>
                  </a:lnTo>
                  <a:lnTo>
                    <a:pt x="80" y="132"/>
                  </a:lnTo>
                  <a:lnTo>
                    <a:pt x="80" y="130"/>
                  </a:lnTo>
                  <a:lnTo>
                    <a:pt x="80" y="124"/>
                  </a:lnTo>
                  <a:lnTo>
                    <a:pt x="86" y="118"/>
                  </a:lnTo>
                  <a:lnTo>
                    <a:pt x="92" y="120"/>
                  </a:lnTo>
                  <a:lnTo>
                    <a:pt x="100" y="118"/>
                  </a:lnTo>
                  <a:lnTo>
                    <a:pt x="100" y="114"/>
                  </a:lnTo>
                  <a:lnTo>
                    <a:pt x="106" y="110"/>
                  </a:lnTo>
                  <a:lnTo>
                    <a:pt x="110" y="112"/>
                  </a:lnTo>
                  <a:lnTo>
                    <a:pt x="116" y="112"/>
                  </a:lnTo>
                  <a:lnTo>
                    <a:pt x="120" y="106"/>
                  </a:lnTo>
                  <a:lnTo>
                    <a:pt x="120" y="98"/>
                  </a:lnTo>
                  <a:lnTo>
                    <a:pt x="126" y="90"/>
                  </a:lnTo>
                  <a:lnTo>
                    <a:pt x="134" y="86"/>
                  </a:lnTo>
                  <a:lnTo>
                    <a:pt x="132" y="82"/>
                  </a:lnTo>
                  <a:lnTo>
                    <a:pt x="134" y="74"/>
                  </a:lnTo>
                  <a:lnTo>
                    <a:pt x="142" y="76"/>
                  </a:lnTo>
                  <a:lnTo>
                    <a:pt x="144" y="70"/>
                  </a:lnTo>
                  <a:lnTo>
                    <a:pt x="146" y="70"/>
                  </a:lnTo>
                  <a:lnTo>
                    <a:pt x="144" y="64"/>
                  </a:lnTo>
                  <a:lnTo>
                    <a:pt x="150" y="60"/>
                  </a:lnTo>
                  <a:lnTo>
                    <a:pt x="152" y="52"/>
                  </a:lnTo>
                  <a:lnTo>
                    <a:pt x="148" y="42"/>
                  </a:lnTo>
                  <a:lnTo>
                    <a:pt x="160" y="30"/>
                  </a:lnTo>
                  <a:lnTo>
                    <a:pt x="174" y="26"/>
                  </a:lnTo>
                  <a:lnTo>
                    <a:pt x="180" y="26"/>
                  </a:lnTo>
                  <a:lnTo>
                    <a:pt x="184" y="26"/>
                  </a:lnTo>
                  <a:lnTo>
                    <a:pt x="192" y="24"/>
                  </a:lnTo>
                  <a:lnTo>
                    <a:pt x="196" y="20"/>
                  </a:lnTo>
                  <a:lnTo>
                    <a:pt x="194" y="18"/>
                  </a:lnTo>
                  <a:lnTo>
                    <a:pt x="192" y="18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4" name="Freeform 673">
              <a:extLst>
                <a:ext uri="{FF2B5EF4-FFF2-40B4-BE49-F238E27FC236}">
                  <a16:creationId xmlns:a16="http://schemas.microsoft.com/office/drawing/2014/main" id="{3601C5E6-8754-4F82-A98A-6F5E58275C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3563" y="3471863"/>
              <a:ext cx="365125" cy="330200"/>
            </a:xfrm>
            <a:custGeom>
              <a:avLst/>
              <a:gdLst/>
              <a:ahLst/>
              <a:cxnLst>
                <a:cxn ang="0">
                  <a:pos x="108" y="200"/>
                </a:cxn>
                <a:cxn ang="0">
                  <a:pos x="120" y="202"/>
                </a:cxn>
                <a:cxn ang="0">
                  <a:pos x="132" y="200"/>
                </a:cxn>
                <a:cxn ang="0">
                  <a:pos x="136" y="198"/>
                </a:cxn>
                <a:cxn ang="0">
                  <a:pos x="130" y="182"/>
                </a:cxn>
                <a:cxn ang="0">
                  <a:pos x="120" y="166"/>
                </a:cxn>
                <a:cxn ang="0">
                  <a:pos x="122" y="154"/>
                </a:cxn>
                <a:cxn ang="0">
                  <a:pos x="132" y="146"/>
                </a:cxn>
                <a:cxn ang="0">
                  <a:pos x="146" y="148"/>
                </a:cxn>
                <a:cxn ang="0">
                  <a:pos x="162" y="130"/>
                </a:cxn>
                <a:cxn ang="0">
                  <a:pos x="170" y="116"/>
                </a:cxn>
                <a:cxn ang="0">
                  <a:pos x="176" y="108"/>
                </a:cxn>
                <a:cxn ang="0">
                  <a:pos x="186" y="90"/>
                </a:cxn>
                <a:cxn ang="0">
                  <a:pos x="196" y="80"/>
                </a:cxn>
                <a:cxn ang="0">
                  <a:pos x="188" y="76"/>
                </a:cxn>
                <a:cxn ang="0">
                  <a:pos x="180" y="56"/>
                </a:cxn>
                <a:cxn ang="0">
                  <a:pos x="180" y="48"/>
                </a:cxn>
                <a:cxn ang="0">
                  <a:pos x="178" y="40"/>
                </a:cxn>
                <a:cxn ang="0">
                  <a:pos x="200" y="42"/>
                </a:cxn>
                <a:cxn ang="0">
                  <a:pos x="230" y="26"/>
                </a:cxn>
                <a:cxn ang="0">
                  <a:pos x="206" y="14"/>
                </a:cxn>
                <a:cxn ang="0">
                  <a:pos x="192" y="0"/>
                </a:cxn>
                <a:cxn ang="0">
                  <a:pos x="174" y="2"/>
                </a:cxn>
                <a:cxn ang="0">
                  <a:pos x="142" y="18"/>
                </a:cxn>
                <a:cxn ang="0">
                  <a:pos x="138" y="40"/>
                </a:cxn>
                <a:cxn ang="0">
                  <a:pos x="136" y="52"/>
                </a:cxn>
                <a:cxn ang="0">
                  <a:pos x="128" y="62"/>
                </a:cxn>
                <a:cxn ang="0">
                  <a:pos x="114" y="82"/>
                </a:cxn>
                <a:cxn ang="0">
                  <a:pos x="100" y="86"/>
                </a:cxn>
                <a:cxn ang="0">
                  <a:pos x="86" y="96"/>
                </a:cxn>
                <a:cxn ang="0">
                  <a:pos x="74" y="106"/>
                </a:cxn>
                <a:cxn ang="0">
                  <a:pos x="64" y="120"/>
                </a:cxn>
                <a:cxn ang="0">
                  <a:pos x="40" y="124"/>
                </a:cxn>
                <a:cxn ang="0">
                  <a:pos x="0" y="116"/>
                </a:cxn>
                <a:cxn ang="0">
                  <a:pos x="14" y="136"/>
                </a:cxn>
                <a:cxn ang="0">
                  <a:pos x="26" y="142"/>
                </a:cxn>
                <a:cxn ang="0">
                  <a:pos x="28" y="156"/>
                </a:cxn>
                <a:cxn ang="0">
                  <a:pos x="30" y="166"/>
                </a:cxn>
                <a:cxn ang="0">
                  <a:pos x="18" y="172"/>
                </a:cxn>
                <a:cxn ang="0">
                  <a:pos x="10" y="188"/>
                </a:cxn>
                <a:cxn ang="0">
                  <a:pos x="36" y="186"/>
                </a:cxn>
                <a:cxn ang="0">
                  <a:pos x="52" y="186"/>
                </a:cxn>
                <a:cxn ang="0">
                  <a:pos x="70" y="184"/>
                </a:cxn>
                <a:cxn ang="0">
                  <a:pos x="76" y="182"/>
                </a:cxn>
                <a:cxn ang="0">
                  <a:pos x="90" y="204"/>
                </a:cxn>
                <a:cxn ang="0">
                  <a:pos x="100" y="208"/>
                </a:cxn>
              </a:cxnLst>
              <a:rect l="0" t="0" r="r" b="b"/>
              <a:pathLst>
                <a:path w="230" h="208">
                  <a:moveTo>
                    <a:pt x="106" y="206"/>
                  </a:moveTo>
                  <a:lnTo>
                    <a:pt x="106" y="204"/>
                  </a:lnTo>
                  <a:lnTo>
                    <a:pt x="108" y="200"/>
                  </a:lnTo>
                  <a:lnTo>
                    <a:pt x="114" y="202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32" y="200"/>
                  </a:lnTo>
                  <a:lnTo>
                    <a:pt x="134" y="202"/>
                  </a:lnTo>
                  <a:lnTo>
                    <a:pt x="138" y="200"/>
                  </a:lnTo>
                  <a:lnTo>
                    <a:pt x="136" y="198"/>
                  </a:lnTo>
                  <a:lnTo>
                    <a:pt x="138" y="196"/>
                  </a:lnTo>
                  <a:lnTo>
                    <a:pt x="134" y="188"/>
                  </a:lnTo>
                  <a:lnTo>
                    <a:pt x="130" y="182"/>
                  </a:lnTo>
                  <a:lnTo>
                    <a:pt x="126" y="174"/>
                  </a:lnTo>
                  <a:lnTo>
                    <a:pt x="122" y="168"/>
                  </a:lnTo>
                  <a:lnTo>
                    <a:pt x="120" y="166"/>
                  </a:lnTo>
                  <a:lnTo>
                    <a:pt x="118" y="164"/>
                  </a:lnTo>
                  <a:lnTo>
                    <a:pt x="118" y="158"/>
                  </a:lnTo>
                  <a:lnTo>
                    <a:pt x="122" y="154"/>
                  </a:lnTo>
                  <a:lnTo>
                    <a:pt x="124" y="150"/>
                  </a:lnTo>
                  <a:lnTo>
                    <a:pt x="130" y="144"/>
                  </a:lnTo>
                  <a:lnTo>
                    <a:pt x="132" y="146"/>
                  </a:lnTo>
                  <a:lnTo>
                    <a:pt x="132" y="148"/>
                  </a:lnTo>
                  <a:lnTo>
                    <a:pt x="136" y="150"/>
                  </a:lnTo>
                  <a:lnTo>
                    <a:pt x="146" y="148"/>
                  </a:lnTo>
                  <a:lnTo>
                    <a:pt x="152" y="140"/>
                  </a:lnTo>
                  <a:lnTo>
                    <a:pt x="156" y="134"/>
                  </a:lnTo>
                  <a:lnTo>
                    <a:pt x="162" y="130"/>
                  </a:lnTo>
                  <a:lnTo>
                    <a:pt x="164" y="130"/>
                  </a:lnTo>
                  <a:lnTo>
                    <a:pt x="168" y="120"/>
                  </a:lnTo>
                  <a:lnTo>
                    <a:pt x="170" y="116"/>
                  </a:lnTo>
                  <a:lnTo>
                    <a:pt x="172" y="114"/>
                  </a:lnTo>
                  <a:lnTo>
                    <a:pt x="176" y="112"/>
                  </a:lnTo>
                  <a:lnTo>
                    <a:pt x="176" y="108"/>
                  </a:lnTo>
                  <a:lnTo>
                    <a:pt x="182" y="102"/>
                  </a:lnTo>
                  <a:lnTo>
                    <a:pt x="188" y="98"/>
                  </a:lnTo>
                  <a:lnTo>
                    <a:pt x="186" y="90"/>
                  </a:lnTo>
                  <a:lnTo>
                    <a:pt x="184" y="86"/>
                  </a:lnTo>
                  <a:lnTo>
                    <a:pt x="190" y="82"/>
                  </a:lnTo>
                  <a:lnTo>
                    <a:pt x="196" y="80"/>
                  </a:lnTo>
                  <a:lnTo>
                    <a:pt x="196" y="78"/>
                  </a:lnTo>
                  <a:lnTo>
                    <a:pt x="192" y="76"/>
                  </a:lnTo>
                  <a:lnTo>
                    <a:pt x="188" y="76"/>
                  </a:lnTo>
                  <a:lnTo>
                    <a:pt x="184" y="70"/>
                  </a:lnTo>
                  <a:lnTo>
                    <a:pt x="180" y="64"/>
                  </a:lnTo>
                  <a:lnTo>
                    <a:pt x="180" y="56"/>
                  </a:lnTo>
                  <a:lnTo>
                    <a:pt x="180" y="54"/>
                  </a:lnTo>
                  <a:lnTo>
                    <a:pt x="182" y="52"/>
                  </a:lnTo>
                  <a:lnTo>
                    <a:pt x="180" y="48"/>
                  </a:lnTo>
                  <a:lnTo>
                    <a:pt x="178" y="46"/>
                  </a:lnTo>
                  <a:lnTo>
                    <a:pt x="174" y="46"/>
                  </a:lnTo>
                  <a:lnTo>
                    <a:pt x="178" y="40"/>
                  </a:lnTo>
                  <a:lnTo>
                    <a:pt x="186" y="38"/>
                  </a:lnTo>
                  <a:lnTo>
                    <a:pt x="194" y="40"/>
                  </a:lnTo>
                  <a:lnTo>
                    <a:pt x="200" y="42"/>
                  </a:lnTo>
                  <a:lnTo>
                    <a:pt x="218" y="38"/>
                  </a:lnTo>
                  <a:lnTo>
                    <a:pt x="224" y="32"/>
                  </a:lnTo>
                  <a:lnTo>
                    <a:pt x="230" y="26"/>
                  </a:lnTo>
                  <a:lnTo>
                    <a:pt x="218" y="24"/>
                  </a:lnTo>
                  <a:lnTo>
                    <a:pt x="208" y="20"/>
                  </a:lnTo>
                  <a:lnTo>
                    <a:pt x="206" y="14"/>
                  </a:lnTo>
                  <a:lnTo>
                    <a:pt x="204" y="8"/>
                  </a:lnTo>
                  <a:lnTo>
                    <a:pt x="198" y="2"/>
                  </a:lnTo>
                  <a:lnTo>
                    <a:pt x="192" y="0"/>
                  </a:lnTo>
                  <a:lnTo>
                    <a:pt x="186" y="0"/>
                  </a:lnTo>
                  <a:lnTo>
                    <a:pt x="178" y="2"/>
                  </a:lnTo>
                  <a:lnTo>
                    <a:pt x="174" y="2"/>
                  </a:lnTo>
                  <a:lnTo>
                    <a:pt x="168" y="2"/>
                  </a:lnTo>
                  <a:lnTo>
                    <a:pt x="154" y="6"/>
                  </a:lnTo>
                  <a:lnTo>
                    <a:pt x="142" y="18"/>
                  </a:lnTo>
                  <a:lnTo>
                    <a:pt x="146" y="28"/>
                  </a:lnTo>
                  <a:lnTo>
                    <a:pt x="144" y="36"/>
                  </a:lnTo>
                  <a:lnTo>
                    <a:pt x="138" y="40"/>
                  </a:lnTo>
                  <a:lnTo>
                    <a:pt x="140" y="46"/>
                  </a:lnTo>
                  <a:lnTo>
                    <a:pt x="138" y="46"/>
                  </a:lnTo>
                  <a:lnTo>
                    <a:pt x="136" y="52"/>
                  </a:lnTo>
                  <a:lnTo>
                    <a:pt x="128" y="50"/>
                  </a:lnTo>
                  <a:lnTo>
                    <a:pt x="126" y="58"/>
                  </a:lnTo>
                  <a:lnTo>
                    <a:pt x="128" y="62"/>
                  </a:lnTo>
                  <a:lnTo>
                    <a:pt x="120" y="66"/>
                  </a:lnTo>
                  <a:lnTo>
                    <a:pt x="114" y="74"/>
                  </a:lnTo>
                  <a:lnTo>
                    <a:pt x="114" y="82"/>
                  </a:lnTo>
                  <a:lnTo>
                    <a:pt x="110" y="88"/>
                  </a:lnTo>
                  <a:lnTo>
                    <a:pt x="104" y="88"/>
                  </a:lnTo>
                  <a:lnTo>
                    <a:pt x="100" y="86"/>
                  </a:lnTo>
                  <a:lnTo>
                    <a:pt x="94" y="90"/>
                  </a:lnTo>
                  <a:lnTo>
                    <a:pt x="94" y="94"/>
                  </a:lnTo>
                  <a:lnTo>
                    <a:pt x="86" y="96"/>
                  </a:lnTo>
                  <a:lnTo>
                    <a:pt x="80" y="94"/>
                  </a:lnTo>
                  <a:lnTo>
                    <a:pt x="74" y="100"/>
                  </a:lnTo>
                  <a:lnTo>
                    <a:pt x="74" y="106"/>
                  </a:lnTo>
                  <a:lnTo>
                    <a:pt x="74" y="108"/>
                  </a:lnTo>
                  <a:lnTo>
                    <a:pt x="72" y="116"/>
                  </a:lnTo>
                  <a:lnTo>
                    <a:pt x="64" y="120"/>
                  </a:lnTo>
                  <a:lnTo>
                    <a:pt x="56" y="122"/>
                  </a:lnTo>
                  <a:lnTo>
                    <a:pt x="48" y="122"/>
                  </a:lnTo>
                  <a:lnTo>
                    <a:pt x="40" y="124"/>
                  </a:lnTo>
                  <a:lnTo>
                    <a:pt x="28" y="124"/>
                  </a:lnTo>
                  <a:lnTo>
                    <a:pt x="18" y="122"/>
                  </a:lnTo>
                  <a:lnTo>
                    <a:pt x="0" y="116"/>
                  </a:lnTo>
                  <a:lnTo>
                    <a:pt x="6" y="124"/>
                  </a:lnTo>
                  <a:lnTo>
                    <a:pt x="8" y="130"/>
                  </a:lnTo>
                  <a:lnTo>
                    <a:pt x="14" y="136"/>
                  </a:lnTo>
                  <a:lnTo>
                    <a:pt x="20" y="138"/>
                  </a:lnTo>
                  <a:lnTo>
                    <a:pt x="24" y="142"/>
                  </a:lnTo>
                  <a:lnTo>
                    <a:pt x="26" y="142"/>
                  </a:lnTo>
                  <a:lnTo>
                    <a:pt x="26" y="146"/>
                  </a:lnTo>
                  <a:lnTo>
                    <a:pt x="26" y="152"/>
                  </a:lnTo>
                  <a:lnTo>
                    <a:pt x="28" y="156"/>
                  </a:lnTo>
                  <a:lnTo>
                    <a:pt x="30" y="156"/>
                  </a:lnTo>
                  <a:lnTo>
                    <a:pt x="32" y="158"/>
                  </a:lnTo>
                  <a:lnTo>
                    <a:pt x="30" y="166"/>
                  </a:lnTo>
                  <a:lnTo>
                    <a:pt x="26" y="166"/>
                  </a:lnTo>
                  <a:lnTo>
                    <a:pt x="20" y="168"/>
                  </a:lnTo>
                  <a:lnTo>
                    <a:pt x="18" y="172"/>
                  </a:lnTo>
                  <a:lnTo>
                    <a:pt x="14" y="172"/>
                  </a:lnTo>
                  <a:lnTo>
                    <a:pt x="12" y="174"/>
                  </a:lnTo>
                  <a:lnTo>
                    <a:pt x="10" y="188"/>
                  </a:lnTo>
                  <a:lnTo>
                    <a:pt x="16" y="188"/>
                  </a:lnTo>
                  <a:lnTo>
                    <a:pt x="28" y="186"/>
                  </a:lnTo>
                  <a:lnTo>
                    <a:pt x="36" y="186"/>
                  </a:lnTo>
                  <a:lnTo>
                    <a:pt x="42" y="186"/>
                  </a:lnTo>
                  <a:lnTo>
                    <a:pt x="50" y="188"/>
                  </a:lnTo>
                  <a:lnTo>
                    <a:pt x="52" y="186"/>
                  </a:lnTo>
                  <a:lnTo>
                    <a:pt x="56" y="186"/>
                  </a:lnTo>
                  <a:lnTo>
                    <a:pt x="68" y="184"/>
                  </a:lnTo>
                  <a:lnTo>
                    <a:pt x="70" y="184"/>
                  </a:lnTo>
                  <a:lnTo>
                    <a:pt x="72" y="182"/>
                  </a:lnTo>
                  <a:lnTo>
                    <a:pt x="74" y="182"/>
                  </a:lnTo>
                  <a:lnTo>
                    <a:pt x="76" y="182"/>
                  </a:lnTo>
                  <a:lnTo>
                    <a:pt x="84" y="196"/>
                  </a:lnTo>
                  <a:lnTo>
                    <a:pt x="86" y="202"/>
                  </a:lnTo>
                  <a:lnTo>
                    <a:pt x="90" y="204"/>
                  </a:lnTo>
                  <a:lnTo>
                    <a:pt x="90" y="204"/>
                  </a:lnTo>
                  <a:lnTo>
                    <a:pt x="96" y="206"/>
                  </a:lnTo>
                  <a:lnTo>
                    <a:pt x="100" y="208"/>
                  </a:lnTo>
                  <a:lnTo>
                    <a:pt x="102" y="206"/>
                  </a:lnTo>
                  <a:lnTo>
                    <a:pt x="106" y="206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5" name="Freeform 482">
              <a:extLst>
                <a:ext uri="{FF2B5EF4-FFF2-40B4-BE49-F238E27FC236}">
                  <a16:creationId xmlns:a16="http://schemas.microsoft.com/office/drawing/2014/main" id="{CD66DA52-871F-45A9-A15F-2D9C5B63CA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8888" y="3570288"/>
              <a:ext cx="28575" cy="95250"/>
            </a:xfrm>
            <a:custGeom>
              <a:avLst/>
              <a:gdLst/>
              <a:ahLst/>
              <a:cxnLst>
                <a:cxn ang="0">
                  <a:pos x="8" y="60"/>
                </a:cxn>
                <a:cxn ang="0">
                  <a:pos x="10" y="60"/>
                </a:cxn>
                <a:cxn ang="0">
                  <a:pos x="10" y="52"/>
                </a:cxn>
                <a:cxn ang="0">
                  <a:pos x="12" y="46"/>
                </a:cxn>
                <a:cxn ang="0">
                  <a:pos x="14" y="38"/>
                </a:cxn>
                <a:cxn ang="0">
                  <a:pos x="16" y="28"/>
                </a:cxn>
                <a:cxn ang="0">
                  <a:pos x="12" y="30"/>
                </a:cxn>
                <a:cxn ang="0">
                  <a:pos x="8" y="32"/>
                </a:cxn>
                <a:cxn ang="0">
                  <a:pos x="12" y="24"/>
                </a:cxn>
                <a:cxn ang="0">
                  <a:pos x="10" y="20"/>
                </a:cxn>
                <a:cxn ang="0">
                  <a:pos x="10" y="14"/>
                </a:cxn>
                <a:cxn ang="0">
                  <a:pos x="18" y="14"/>
                </a:cxn>
                <a:cxn ang="0">
                  <a:pos x="18" y="10"/>
                </a:cxn>
                <a:cxn ang="0">
                  <a:pos x="18" y="6"/>
                </a:cxn>
                <a:cxn ang="0">
                  <a:pos x="18" y="0"/>
                </a:cxn>
                <a:cxn ang="0">
                  <a:pos x="16" y="4"/>
                </a:cxn>
                <a:cxn ang="0">
                  <a:pos x="10" y="4"/>
                </a:cxn>
                <a:cxn ang="0">
                  <a:pos x="8" y="10"/>
                </a:cxn>
                <a:cxn ang="0">
                  <a:pos x="2" y="28"/>
                </a:cxn>
                <a:cxn ang="0">
                  <a:pos x="0" y="34"/>
                </a:cxn>
                <a:cxn ang="0">
                  <a:pos x="8" y="60"/>
                </a:cxn>
              </a:cxnLst>
              <a:rect l="0" t="0" r="r" b="b"/>
              <a:pathLst>
                <a:path w="18" h="60">
                  <a:moveTo>
                    <a:pt x="8" y="60"/>
                  </a:moveTo>
                  <a:lnTo>
                    <a:pt x="10" y="60"/>
                  </a:lnTo>
                  <a:lnTo>
                    <a:pt x="10" y="52"/>
                  </a:lnTo>
                  <a:lnTo>
                    <a:pt x="12" y="46"/>
                  </a:lnTo>
                  <a:lnTo>
                    <a:pt x="14" y="38"/>
                  </a:lnTo>
                  <a:lnTo>
                    <a:pt x="16" y="28"/>
                  </a:lnTo>
                  <a:lnTo>
                    <a:pt x="12" y="30"/>
                  </a:lnTo>
                  <a:lnTo>
                    <a:pt x="8" y="32"/>
                  </a:lnTo>
                  <a:lnTo>
                    <a:pt x="12" y="24"/>
                  </a:lnTo>
                  <a:lnTo>
                    <a:pt x="10" y="20"/>
                  </a:lnTo>
                  <a:lnTo>
                    <a:pt x="10" y="14"/>
                  </a:lnTo>
                  <a:lnTo>
                    <a:pt x="18" y="14"/>
                  </a:lnTo>
                  <a:lnTo>
                    <a:pt x="18" y="10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16" y="4"/>
                  </a:lnTo>
                  <a:lnTo>
                    <a:pt x="10" y="4"/>
                  </a:lnTo>
                  <a:lnTo>
                    <a:pt x="8" y="10"/>
                  </a:lnTo>
                  <a:lnTo>
                    <a:pt x="2" y="28"/>
                  </a:lnTo>
                  <a:lnTo>
                    <a:pt x="0" y="34"/>
                  </a:lnTo>
                  <a:lnTo>
                    <a:pt x="8" y="6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6" name="Freeform 483">
              <a:extLst>
                <a:ext uri="{FF2B5EF4-FFF2-40B4-BE49-F238E27FC236}">
                  <a16:creationId xmlns:a16="http://schemas.microsoft.com/office/drawing/2014/main" id="{21EACEDD-5B86-436B-8CD3-6C1F469394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4763" y="3535363"/>
              <a:ext cx="34925" cy="41275"/>
            </a:xfrm>
            <a:custGeom>
              <a:avLst/>
              <a:gdLst/>
              <a:ahLst/>
              <a:cxnLst>
                <a:cxn ang="0">
                  <a:pos x="8" y="22"/>
                </a:cxn>
                <a:cxn ang="0">
                  <a:pos x="12" y="20"/>
                </a:cxn>
                <a:cxn ang="0">
                  <a:pos x="14" y="18"/>
                </a:cxn>
                <a:cxn ang="0">
                  <a:pos x="22" y="8"/>
                </a:cxn>
                <a:cxn ang="0">
                  <a:pos x="22" y="6"/>
                </a:cxn>
                <a:cxn ang="0">
                  <a:pos x="20" y="2"/>
                </a:cxn>
                <a:cxn ang="0">
                  <a:pos x="20" y="2"/>
                </a:cxn>
                <a:cxn ang="0">
                  <a:pos x="18" y="2"/>
                </a:cxn>
                <a:cxn ang="0">
                  <a:pos x="20" y="0"/>
                </a:cxn>
                <a:cxn ang="0">
                  <a:pos x="18" y="0"/>
                </a:cxn>
                <a:cxn ang="0">
                  <a:pos x="12" y="0"/>
                </a:cxn>
                <a:cxn ang="0">
                  <a:pos x="12" y="2"/>
                </a:cxn>
                <a:cxn ang="0">
                  <a:pos x="8" y="6"/>
                </a:cxn>
                <a:cxn ang="0">
                  <a:pos x="8" y="10"/>
                </a:cxn>
                <a:cxn ang="0">
                  <a:pos x="4" y="18"/>
                </a:cxn>
                <a:cxn ang="0">
                  <a:pos x="4" y="22"/>
                </a:cxn>
                <a:cxn ang="0">
                  <a:pos x="0" y="26"/>
                </a:cxn>
                <a:cxn ang="0">
                  <a:pos x="6" y="26"/>
                </a:cxn>
                <a:cxn ang="0">
                  <a:pos x="8" y="22"/>
                </a:cxn>
              </a:cxnLst>
              <a:rect l="0" t="0" r="r" b="b"/>
              <a:pathLst>
                <a:path w="22" h="26">
                  <a:moveTo>
                    <a:pt x="8" y="22"/>
                  </a:moveTo>
                  <a:lnTo>
                    <a:pt x="12" y="20"/>
                  </a:lnTo>
                  <a:lnTo>
                    <a:pt x="14" y="18"/>
                  </a:lnTo>
                  <a:lnTo>
                    <a:pt x="22" y="8"/>
                  </a:lnTo>
                  <a:lnTo>
                    <a:pt x="22" y="6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8" y="6"/>
                  </a:lnTo>
                  <a:lnTo>
                    <a:pt x="8" y="10"/>
                  </a:lnTo>
                  <a:lnTo>
                    <a:pt x="4" y="18"/>
                  </a:lnTo>
                  <a:lnTo>
                    <a:pt x="4" y="22"/>
                  </a:lnTo>
                  <a:lnTo>
                    <a:pt x="0" y="26"/>
                  </a:lnTo>
                  <a:lnTo>
                    <a:pt x="6" y="26"/>
                  </a:lnTo>
                  <a:lnTo>
                    <a:pt x="8" y="22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7" name="Freeform 530">
              <a:extLst>
                <a:ext uri="{FF2B5EF4-FFF2-40B4-BE49-F238E27FC236}">
                  <a16:creationId xmlns:a16="http://schemas.microsoft.com/office/drawing/2014/main" id="{73220475-A68E-4B44-B7F6-CCBA2CF7DE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0912" y="3341688"/>
              <a:ext cx="177800" cy="187325"/>
            </a:xfrm>
            <a:custGeom>
              <a:avLst/>
              <a:gdLst/>
              <a:ahLst/>
              <a:cxnLst/>
              <a:rect l="l" t="t" r="r" b="b"/>
              <a:pathLst>
                <a:path w="177800" h="187325">
                  <a:moveTo>
                    <a:pt x="76200" y="168275"/>
                  </a:moveTo>
                  <a:lnTo>
                    <a:pt x="85725" y="171450"/>
                  </a:lnTo>
                  <a:lnTo>
                    <a:pt x="92075" y="174625"/>
                  </a:lnTo>
                  <a:lnTo>
                    <a:pt x="98425" y="174625"/>
                  </a:lnTo>
                  <a:lnTo>
                    <a:pt x="101600" y="174625"/>
                  </a:lnTo>
                  <a:lnTo>
                    <a:pt x="104775" y="174625"/>
                  </a:lnTo>
                  <a:lnTo>
                    <a:pt x="107950" y="174625"/>
                  </a:lnTo>
                  <a:lnTo>
                    <a:pt x="111125" y="174625"/>
                  </a:lnTo>
                  <a:lnTo>
                    <a:pt x="133350" y="177800"/>
                  </a:lnTo>
                  <a:lnTo>
                    <a:pt x="136525" y="177800"/>
                  </a:lnTo>
                  <a:lnTo>
                    <a:pt x="136525" y="180975"/>
                  </a:lnTo>
                  <a:lnTo>
                    <a:pt x="130175" y="184150"/>
                  </a:lnTo>
                  <a:lnTo>
                    <a:pt x="114300" y="184150"/>
                  </a:lnTo>
                  <a:lnTo>
                    <a:pt x="104775" y="187325"/>
                  </a:lnTo>
                  <a:lnTo>
                    <a:pt x="101600" y="187325"/>
                  </a:lnTo>
                  <a:lnTo>
                    <a:pt x="101600" y="184150"/>
                  </a:lnTo>
                  <a:lnTo>
                    <a:pt x="88900" y="180975"/>
                  </a:lnTo>
                  <a:lnTo>
                    <a:pt x="79375" y="177800"/>
                  </a:lnTo>
                  <a:lnTo>
                    <a:pt x="76200" y="174625"/>
                  </a:lnTo>
                  <a:lnTo>
                    <a:pt x="76200" y="171450"/>
                  </a:lnTo>
                  <a:close/>
                  <a:moveTo>
                    <a:pt x="155575" y="165100"/>
                  </a:moveTo>
                  <a:lnTo>
                    <a:pt x="155575" y="168275"/>
                  </a:lnTo>
                  <a:lnTo>
                    <a:pt x="155575" y="171450"/>
                  </a:lnTo>
                  <a:lnTo>
                    <a:pt x="152400" y="174625"/>
                  </a:lnTo>
                  <a:lnTo>
                    <a:pt x="152400" y="171450"/>
                  </a:lnTo>
                  <a:lnTo>
                    <a:pt x="152400" y="168275"/>
                  </a:lnTo>
                  <a:close/>
                  <a:moveTo>
                    <a:pt x="177800" y="146050"/>
                  </a:moveTo>
                  <a:lnTo>
                    <a:pt x="177800" y="149225"/>
                  </a:lnTo>
                  <a:lnTo>
                    <a:pt x="174625" y="155575"/>
                  </a:lnTo>
                  <a:lnTo>
                    <a:pt x="168275" y="161925"/>
                  </a:lnTo>
                  <a:lnTo>
                    <a:pt x="168275" y="152400"/>
                  </a:lnTo>
                  <a:close/>
                  <a:moveTo>
                    <a:pt x="152400" y="133350"/>
                  </a:moveTo>
                  <a:lnTo>
                    <a:pt x="158750" y="133350"/>
                  </a:lnTo>
                  <a:lnTo>
                    <a:pt x="149225" y="139700"/>
                  </a:lnTo>
                  <a:close/>
                  <a:moveTo>
                    <a:pt x="142875" y="111125"/>
                  </a:moveTo>
                  <a:lnTo>
                    <a:pt x="149225" y="111125"/>
                  </a:lnTo>
                  <a:lnTo>
                    <a:pt x="152400" y="111125"/>
                  </a:lnTo>
                  <a:lnTo>
                    <a:pt x="146050" y="114300"/>
                  </a:lnTo>
                  <a:close/>
                  <a:moveTo>
                    <a:pt x="12700" y="92075"/>
                  </a:moveTo>
                  <a:lnTo>
                    <a:pt x="15875" y="101600"/>
                  </a:lnTo>
                  <a:lnTo>
                    <a:pt x="9525" y="98425"/>
                  </a:lnTo>
                  <a:close/>
                  <a:moveTo>
                    <a:pt x="127000" y="88900"/>
                  </a:moveTo>
                  <a:lnTo>
                    <a:pt x="133350" y="88900"/>
                  </a:lnTo>
                  <a:lnTo>
                    <a:pt x="130175" y="98425"/>
                  </a:lnTo>
                  <a:lnTo>
                    <a:pt x="127000" y="95250"/>
                  </a:lnTo>
                  <a:close/>
                  <a:moveTo>
                    <a:pt x="139700" y="66675"/>
                  </a:moveTo>
                  <a:lnTo>
                    <a:pt x="139700" y="76200"/>
                  </a:lnTo>
                  <a:lnTo>
                    <a:pt x="130175" y="76200"/>
                  </a:lnTo>
                  <a:lnTo>
                    <a:pt x="127000" y="73025"/>
                  </a:lnTo>
                  <a:lnTo>
                    <a:pt x="127000" y="69850"/>
                  </a:lnTo>
                  <a:close/>
                  <a:moveTo>
                    <a:pt x="133350" y="0"/>
                  </a:moveTo>
                  <a:lnTo>
                    <a:pt x="136525" y="0"/>
                  </a:lnTo>
                  <a:lnTo>
                    <a:pt x="139700" y="0"/>
                  </a:lnTo>
                  <a:lnTo>
                    <a:pt x="142875" y="3175"/>
                  </a:lnTo>
                  <a:lnTo>
                    <a:pt x="142875" y="9525"/>
                  </a:lnTo>
                  <a:lnTo>
                    <a:pt x="139700" y="19050"/>
                  </a:lnTo>
                  <a:lnTo>
                    <a:pt x="130175" y="28575"/>
                  </a:lnTo>
                  <a:lnTo>
                    <a:pt x="114300" y="22225"/>
                  </a:lnTo>
                  <a:lnTo>
                    <a:pt x="101600" y="25400"/>
                  </a:lnTo>
                  <a:lnTo>
                    <a:pt x="88900" y="25400"/>
                  </a:lnTo>
                  <a:lnTo>
                    <a:pt x="82550" y="25400"/>
                  </a:lnTo>
                  <a:lnTo>
                    <a:pt x="79375" y="34925"/>
                  </a:lnTo>
                  <a:lnTo>
                    <a:pt x="79375" y="41275"/>
                  </a:lnTo>
                  <a:lnTo>
                    <a:pt x="73025" y="41275"/>
                  </a:lnTo>
                  <a:lnTo>
                    <a:pt x="63500" y="31750"/>
                  </a:lnTo>
                  <a:lnTo>
                    <a:pt x="57150" y="34925"/>
                  </a:lnTo>
                  <a:lnTo>
                    <a:pt x="53975" y="44450"/>
                  </a:lnTo>
                  <a:lnTo>
                    <a:pt x="57150" y="50800"/>
                  </a:lnTo>
                  <a:lnTo>
                    <a:pt x="69850" y="69850"/>
                  </a:lnTo>
                  <a:lnTo>
                    <a:pt x="69850" y="73025"/>
                  </a:lnTo>
                  <a:lnTo>
                    <a:pt x="66675" y="73025"/>
                  </a:lnTo>
                  <a:lnTo>
                    <a:pt x="63500" y="66675"/>
                  </a:lnTo>
                  <a:lnTo>
                    <a:pt x="60325" y="73025"/>
                  </a:lnTo>
                  <a:lnTo>
                    <a:pt x="63500" y="73025"/>
                  </a:lnTo>
                  <a:lnTo>
                    <a:pt x="60325" y="79375"/>
                  </a:lnTo>
                  <a:lnTo>
                    <a:pt x="53975" y="79375"/>
                  </a:lnTo>
                  <a:lnTo>
                    <a:pt x="57150" y="82550"/>
                  </a:lnTo>
                  <a:lnTo>
                    <a:pt x="60325" y="82550"/>
                  </a:lnTo>
                  <a:lnTo>
                    <a:pt x="69850" y="76200"/>
                  </a:lnTo>
                  <a:lnTo>
                    <a:pt x="79375" y="85725"/>
                  </a:lnTo>
                  <a:lnTo>
                    <a:pt x="85725" y="85725"/>
                  </a:lnTo>
                  <a:lnTo>
                    <a:pt x="88900" y="92075"/>
                  </a:lnTo>
                  <a:lnTo>
                    <a:pt x="92075" y="98425"/>
                  </a:lnTo>
                  <a:lnTo>
                    <a:pt x="98425" y="101600"/>
                  </a:lnTo>
                  <a:lnTo>
                    <a:pt x="95250" y="104775"/>
                  </a:lnTo>
                  <a:lnTo>
                    <a:pt x="92075" y="101600"/>
                  </a:lnTo>
                  <a:lnTo>
                    <a:pt x="85725" y="92075"/>
                  </a:lnTo>
                  <a:lnTo>
                    <a:pt x="76200" y="88900"/>
                  </a:lnTo>
                  <a:lnTo>
                    <a:pt x="66675" y="82550"/>
                  </a:lnTo>
                  <a:lnTo>
                    <a:pt x="63500" y="82550"/>
                  </a:lnTo>
                  <a:lnTo>
                    <a:pt x="66675" y="85725"/>
                  </a:lnTo>
                  <a:lnTo>
                    <a:pt x="82550" y="95250"/>
                  </a:lnTo>
                  <a:lnTo>
                    <a:pt x="85725" y="98425"/>
                  </a:lnTo>
                  <a:lnTo>
                    <a:pt x="88900" y="107950"/>
                  </a:lnTo>
                  <a:lnTo>
                    <a:pt x="85725" y="114300"/>
                  </a:lnTo>
                  <a:lnTo>
                    <a:pt x="79375" y="111125"/>
                  </a:lnTo>
                  <a:lnTo>
                    <a:pt x="73025" y="104775"/>
                  </a:lnTo>
                  <a:lnTo>
                    <a:pt x="66675" y="104775"/>
                  </a:lnTo>
                  <a:lnTo>
                    <a:pt x="63500" y="111125"/>
                  </a:lnTo>
                  <a:lnTo>
                    <a:pt x="60325" y="120650"/>
                  </a:lnTo>
                  <a:lnTo>
                    <a:pt x="63500" y="127000"/>
                  </a:lnTo>
                  <a:lnTo>
                    <a:pt x="66675" y="142875"/>
                  </a:lnTo>
                  <a:lnTo>
                    <a:pt x="66675" y="146050"/>
                  </a:lnTo>
                  <a:lnTo>
                    <a:pt x="60325" y="136525"/>
                  </a:lnTo>
                  <a:lnTo>
                    <a:pt x="53975" y="136525"/>
                  </a:lnTo>
                  <a:lnTo>
                    <a:pt x="53975" y="146050"/>
                  </a:lnTo>
                  <a:lnTo>
                    <a:pt x="50800" y="146050"/>
                  </a:lnTo>
                  <a:lnTo>
                    <a:pt x="50800" y="139700"/>
                  </a:lnTo>
                  <a:lnTo>
                    <a:pt x="47625" y="133350"/>
                  </a:lnTo>
                  <a:lnTo>
                    <a:pt x="41275" y="130175"/>
                  </a:lnTo>
                  <a:lnTo>
                    <a:pt x="41275" y="136525"/>
                  </a:lnTo>
                  <a:lnTo>
                    <a:pt x="34925" y="130175"/>
                  </a:lnTo>
                  <a:lnTo>
                    <a:pt x="34925" y="127000"/>
                  </a:lnTo>
                  <a:lnTo>
                    <a:pt x="34925" y="123825"/>
                  </a:lnTo>
                  <a:lnTo>
                    <a:pt x="28575" y="114300"/>
                  </a:lnTo>
                  <a:lnTo>
                    <a:pt x="25400" y="104775"/>
                  </a:lnTo>
                  <a:lnTo>
                    <a:pt x="28575" y="98425"/>
                  </a:lnTo>
                  <a:lnTo>
                    <a:pt x="38100" y="98425"/>
                  </a:lnTo>
                  <a:lnTo>
                    <a:pt x="47625" y="98425"/>
                  </a:lnTo>
                  <a:lnTo>
                    <a:pt x="57150" y="104775"/>
                  </a:lnTo>
                  <a:lnTo>
                    <a:pt x="66675" y="101600"/>
                  </a:lnTo>
                  <a:lnTo>
                    <a:pt x="66675" y="98425"/>
                  </a:lnTo>
                  <a:lnTo>
                    <a:pt x="50800" y="92075"/>
                  </a:lnTo>
                  <a:lnTo>
                    <a:pt x="38100" y="92075"/>
                  </a:lnTo>
                  <a:lnTo>
                    <a:pt x="25400" y="95250"/>
                  </a:lnTo>
                  <a:lnTo>
                    <a:pt x="19050" y="85725"/>
                  </a:lnTo>
                  <a:lnTo>
                    <a:pt x="15875" y="82550"/>
                  </a:lnTo>
                  <a:lnTo>
                    <a:pt x="12700" y="73025"/>
                  </a:lnTo>
                  <a:lnTo>
                    <a:pt x="9525" y="69850"/>
                  </a:lnTo>
                  <a:lnTo>
                    <a:pt x="6350" y="69850"/>
                  </a:lnTo>
                  <a:lnTo>
                    <a:pt x="3175" y="63500"/>
                  </a:lnTo>
                  <a:lnTo>
                    <a:pt x="0" y="57150"/>
                  </a:lnTo>
                  <a:lnTo>
                    <a:pt x="6350" y="53975"/>
                  </a:lnTo>
                  <a:lnTo>
                    <a:pt x="12700" y="47625"/>
                  </a:lnTo>
                  <a:lnTo>
                    <a:pt x="22225" y="34925"/>
                  </a:lnTo>
                  <a:lnTo>
                    <a:pt x="22225" y="25400"/>
                  </a:lnTo>
                  <a:lnTo>
                    <a:pt x="38100" y="22225"/>
                  </a:lnTo>
                  <a:lnTo>
                    <a:pt x="41275" y="19050"/>
                  </a:lnTo>
                  <a:lnTo>
                    <a:pt x="47625" y="15875"/>
                  </a:lnTo>
                  <a:lnTo>
                    <a:pt x="53975" y="15875"/>
                  </a:lnTo>
                  <a:lnTo>
                    <a:pt x="57150" y="15875"/>
                  </a:lnTo>
                  <a:lnTo>
                    <a:pt x="60325" y="12700"/>
                  </a:lnTo>
                  <a:lnTo>
                    <a:pt x="63500" y="9525"/>
                  </a:lnTo>
                  <a:lnTo>
                    <a:pt x="82550" y="6350"/>
                  </a:lnTo>
                  <a:lnTo>
                    <a:pt x="92075" y="3175"/>
                  </a:lnTo>
                  <a:lnTo>
                    <a:pt x="101600" y="6350"/>
                  </a:lnTo>
                  <a:lnTo>
                    <a:pt x="111125" y="12700"/>
                  </a:lnTo>
                  <a:lnTo>
                    <a:pt x="114300" y="12700"/>
                  </a:lnTo>
                  <a:lnTo>
                    <a:pt x="117475" y="12700"/>
                  </a:lnTo>
                  <a:lnTo>
                    <a:pt x="130175" y="1270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8" name="Freeform 647">
              <a:extLst>
                <a:ext uri="{FF2B5EF4-FFF2-40B4-BE49-F238E27FC236}">
                  <a16:creationId xmlns:a16="http://schemas.microsoft.com/office/drawing/2014/main" id="{F823A033-AD84-423C-9F8D-4546A89993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7613" y="3516313"/>
              <a:ext cx="38100" cy="22225"/>
            </a:xfrm>
            <a:custGeom>
              <a:avLst/>
              <a:gdLst/>
              <a:ahLst/>
              <a:cxnLst>
                <a:cxn ang="0">
                  <a:pos x="8" y="14"/>
                </a:cxn>
                <a:cxn ang="0">
                  <a:pos x="10" y="12"/>
                </a:cxn>
                <a:cxn ang="0">
                  <a:pos x="12" y="10"/>
                </a:cxn>
                <a:cxn ang="0">
                  <a:pos x="14" y="10"/>
                </a:cxn>
                <a:cxn ang="0">
                  <a:pos x="16" y="10"/>
                </a:cxn>
                <a:cxn ang="0">
                  <a:pos x="18" y="8"/>
                </a:cxn>
                <a:cxn ang="0">
                  <a:pos x="24" y="6"/>
                </a:cxn>
                <a:cxn ang="0">
                  <a:pos x="22" y="4"/>
                </a:cxn>
                <a:cxn ang="0">
                  <a:pos x="20" y="0"/>
                </a:cxn>
                <a:cxn ang="0">
                  <a:pos x="18" y="0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6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10"/>
                </a:cxn>
                <a:cxn ang="0">
                  <a:pos x="6" y="12"/>
                </a:cxn>
                <a:cxn ang="0">
                  <a:pos x="8" y="14"/>
                </a:cxn>
              </a:cxnLst>
              <a:rect l="0" t="0" r="r" b="b"/>
              <a:pathLst>
                <a:path w="24" h="14">
                  <a:moveTo>
                    <a:pt x="8" y="14"/>
                  </a:moveTo>
                  <a:lnTo>
                    <a:pt x="10" y="12"/>
                  </a:lnTo>
                  <a:lnTo>
                    <a:pt x="12" y="10"/>
                  </a:lnTo>
                  <a:lnTo>
                    <a:pt x="14" y="10"/>
                  </a:lnTo>
                  <a:lnTo>
                    <a:pt x="16" y="10"/>
                  </a:lnTo>
                  <a:lnTo>
                    <a:pt x="18" y="8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6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6" y="12"/>
                  </a:lnTo>
                  <a:lnTo>
                    <a:pt x="8" y="14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9" name="Freeform 698">
              <a:extLst>
                <a:ext uri="{FF2B5EF4-FFF2-40B4-BE49-F238E27FC236}">
                  <a16:creationId xmlns:a16="http://schemas.microsoft.com/office/drawing/2014/main" id="{D8610270-C9A1-4B08-93D0-208210175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8888" y="3614738"/>
              <a:ext cx="3175" cy="952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2" y="0"/>
                </a:cxn>
              </a:cxnLst>
              <a:rect l="0" t="0" r="r" b="b"/>
              <a:pathLst>
                <a:path w="2" h="6">
                  <a:moveTo>
                    <a:pt x="2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0" name="Freeform 701">
              <a:extLst>
                <a:ext uri="{FF2B5EF4-FFF2-40B4-BE49-F238E27FC236}">
                  <a16:creationId xmlns:a16="http://schemas.microsoft.com/office/drawing/2014/main" id="{2278738B-371B-47DE-9999-AE9F0FE802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1588" y="3592513"/>
              <a:ext cx="15875" cy="28575"/>
            </a:xfrm>
            <a:custGeom>
              <a:avLst/>
              <a:gdLst/>
              <a:ahLst/>
              <a:cxnLst>
                <a:cxn ang="0">
                  <a:pos x="10" y="4"/>
                </a:cxn>
                <a:cxn ang="0">
                  <a:pos x="10" y="0"/>
                </a:cxn>
                <a:cxn ang="0">
                  <a:pos x="2" y="0"/>
                </a:cxn>
                <a:cxn ang="0">
                  <a:pos x="2" y="6"/>
                </a:cxn>
                <a:cxn ang="0">
                  <a:pos x="4" y="10"/>
                </a:cxn>
                <a:cxn ang="0">
                  <a:pos x="0" y="18"/>
                </a:cxn>
                <a:cxn ang="0">
                  <a:pos x="4" y="16"/>
                </a:cxn>
                <a:cxn ang="0">
                  <a:pos x="8" y="14"/>
                </a:cxn>
                <a:cxn ang="0">
                  <a:pos x="8" y="6"/>
                </a:cxn>
                <a:cxn ang="0">
                  <a:pos x="10" y="4"/>
                </a:cxn>
              </a:cxnLst>
              <a:rect l="0" t="0" r="r" b="b"/>
              <a:pathLst>
                <a:path w="10" h="18">
                  <a:moveTo>
                    <a:pt x="10" y="4"/>
                  </a:moveTo>
                  <a:lnTo>
                    <a:pt x="10" y="0"/>
                  </a:lnTo>
                  <a:lnTo>
                    <a:pt x="2" y="0"/>
                  </a:lnTo>
                  <a:lnTo>
                    <a:pt x="2" y="6"/>
                  </a:lnTo>
                  <a:lnTo>
                    <a:pt x="4" y="10"/>
                  </a:lnTo>
                  <a:lnTo>
                    <a:pt x="0" y="18"/>
                  </a:lnTo>
                  <a:lnTo>
                    <a:pt x="4" y="16"/>
                  </a:lnTo>
                  <a:lnTo>
                    <a:pt x="8" y="14"/>
                  </a:lnTo>
                  <a:lnTo>
                    <a:pt x="8" y="6"/>
                  </a:lnTo>
                  <a:lnTo>
                    <a:pt x="10" y="4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1" name="Freeform 703">
              <a:extLst>
                <a:ext uri="{FF2B5EF4-FFF2-40B4-BE49-F238E27FC236}">
                  <a16:creationId xmlns:a16="http://schemas.microsoft.com/office/drawing/2014/main" id="{9D0CB54D-6F0C-4764-8284-DC0E8F244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4763" y="3567113"/>
              <a:ext cx="92075" cy="104775"/>
            </a:xfrm>
            <a:custGeom>
              <a:avLst/>
              <a:gdLst/>
              <a:ahLst/>
              <a:cxnLst>
                <a:cxn ang="0">
                  <a:pos x="16" y="66"/>
                </a:cxn>
                <a:cxn ang="0">
                  <a:pos x="22" y="60"/>
                </a:cxn>
                <a:cxn ang="0">
                  <a:pos x="24" y="56"/>
                </a:cxn>
                <a:cxn ang="0">
                  <a:pos x="26" y="56"/>
                </a:cxn>
                <a:cxn ang="0">
                  <a:pos x="32" y="54"/>
                </a:cxn>
                <a:cxn ang="0">
                  <a:pos x="34" y="54"/>
                </a:cxn>
                <a:cxn ang="0">
                  <a:pos x="36" y="50"/>
                </a:cxn>
                <a:cxn ang="0">
                  <a:pos x="40" y="46"/>
                </a:cxn>
                <a:cxn ang="0">
                  <a:pos x="30" y="34"/>
                </a:cxn>
                <a:cxn ang="0">
                  <a:pos x="26" y="30"/>
                </a:cxn>
                <a:cxn ang="0">
                  <a:pos x="42" y="26"/>
                </a:cxn>
                <a:cxn ang="0">
                  <a:pos x="50" y="24"/>
                </a:cxn>
                <a:cxn ang="0">
                  <a:pos x="54" y="22"/>
                </a:cxn>
                <a:cxn ang="0">
                  <a:pos x="56" y="20"/>
                </a:cxn>
                <a:cxn ang="0">
                  <a:pos x="58" y="18"/>
                </a:cxn>
                <a:cxn ang="0">
                  <a:pos x="56" y="16"/>
                </a:cxn>
                <a:cxn ang="0">
                  <a:pos x="54" y="12"/>
                </a:cxn>
                <a:cxn ang="0">
                  <a:pos x="52" y="0"/>
                </a:cxn>
                <a:cxn ang="0">
                  <a:pos x="32" y="12"/>
                </a:cxn>
                <a:cxn ang="0">
                  <a:pos x="28" y="16"/>
                </a:cxn>
                <a:cxn ang="0">
                  <a:pos x="24" y="18"/>
                </a:cxn>
                <a:cxn ang="0">
                  <a:pos x="22" y="18"/>
                </a:cxn>
                <a:cxn ang="0">
                  <a:pos x="18" y="16"/>
                </a:cxn>
                <a:cxn ang="0">
                  <a:pos x="12" y="12"/>
                </a:cxn>
                <a:cxn ang="0">
                  <a:pos x="8" y="12"/>
                </a:cxn>
                <a:cxn ang="0">
                  <a:pos x="8" y="16"/>
                </a:cxn>
                <a:cxn ang="0">
                  <a:pos x="8" y="20"/>
                </a:cxn>
                <a:cxn ang="0">
                  <a:pos x="6" y="22"/>
                </a:cxn>
                <a:cxn ang="0">
                  <a:pos x="6" y="30"/>
                </a:cxn>
                <a:cxn ang="0">
                  <a:pos x="4" y="40"/>
                </a:cxn>
                <a:cxn ang="0">
                  <a:pos x="2" y="48"/>
                </a:cxn>
                <a:cxn ang="0">
                  <a:pos x="0" y="54"/>
                </a:cxn>
                <a:cxn ang="0">
                  <a:pos x="0" y="62"/>
                </a:cxn>
                <a:cxn ang="0">
                  <a:pos x="0" y="62"/>
                </a:cxn>
                <a:cxn ang="0">
                  <a:pos x="0" y="64"/>
                </a:cxn>
                <a:cxn ang="0">
                  <a:pos x="12" y="66"/>
                </a:cxn>
                <a:cxn ang="0">
                  <a:pos x="16" y="66"/>
                </a:cxn>
              </a:cxnLst>
              <a:rect l="0" t="0" r="r" b="b"/>
              <a:pathLst>
                <a:path w="58" h="66">
                  <a:moveTo>
                    <a:pt x="16" y="66"/>
                  </a:moveTo>
                  <a:lnTo>
                    <a:pt x="22" y="60"/>
                  </a:lnTo>
                  <a:lnTo>
                    <a:pt x="24" y="56"/>
                  </a:lnTo>
                  <a:lnTo>
                    <a:pt x="26" y="56"/>
                  </a:lnTo>
                  <a:lnTo>
                    <a:pt x="32" y="54"/>
                  </a:lnTo>
                  <a:lnTo>
                    <a:pt x="34" y="54"/>
                  </a:lnTo>
                  <a:lnTo>
                    <a:pt x="36" y="50"/>
                  </a:lnTo>
                  <a:lnTo>
                    <a:pt x="40" y="46"/>
                  </a:lnTo>
                  <a:lnTo>
                    <a:pt x="30" y="34"/>
                  </a:lnTo>
                  <a:lnTo>
                    <a:pt x="26" y="30"/>
                  </a:lnTo>
                  <a:lnTo>
                    <a:pt x="42" y="26"/>
                  </a:lnTo>
                  <a:lnTo>
                    <a:pt x="50" y="24"/>
                  </a:lnTo>
                  <a:lnTo>
                    <a:pt x="54" y="22"/>
                  </a:lnTo>
                  <a:lnTo>
                    <a:pt x="56" y="20"/>
                  </a:lnTo>
                  <a:lnTo>
                    <a:pt x="58" y="18"/>
                  </a:lnTo>
                  <a:lnTo>
                    <a:pt x="56" y="16"/>
                  </a:lnTo>
                  <a:lnTo>
                    <a:pt x="54" y="12"/>
                  </a:lnTo>
                  <a:lnTo>
                    <a:pt x="52" y="0"/>
                  </a:lnTo>
                  <a:lnTo>
                    <a:pt x="32" y="12"/>
                  </a:lnTo>
                  <a:lnTo>
                    <a:pt x="28" y="16"/>
                  </a:lnTo>
                  <a:lnTo>
                    <a:pt x="24" y="18"/>
                  </a:lnTo>
                  <a:lnTo>
                    <a:pt x="22" y="18"/>
                  </a:lnTo>
                  <a:lnTo>
                    <a:pt x="18" y="16"/>
                  </a:lnTo>
                  <a:lnTo>
                    <a:pt x="12" y="12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8" y="20"/>
                  </a:lnTo>
                  <a:lnTo>
                    <a:pt x="6" y="22"/>
                  </a:lnTo>
                  <a:lnTo>
                    <a:pt x="6" y="30"/>
                  </a:lnTo>
                  <a:lnTo>
                    <a:pt x="4" y="40"/>
                  </a:lnTo>
                  <a:lnTo>
                    <a:pt x="2" y="48"/>
                  </a:lnTo>
                  <a:lnTo>
                    <a:pt x="0" y="54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12" y="66"/>
                  </a:lnTo>
                  <a:lnTo>
                    <a:pt x="16" y="66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2" name="Freeform 705">
              <a:extLst>
                <a:ext uri="{FF2B5EF4-FFF2-40B4-BE49-F238E27FC236}">
                  <a16:creationId xmlns:a16="http://schemas.microsoft.com/office/drawing/2014/main" id="{C59903FD-F0CA-4610-B08E-714FF89042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5988" y="3292475"/>
              <a:ext cx="41275" cy="46038"/>
            </a:xfrm>
            <a:custGeom>
              <a:avLst/>
              <a:gdLst/>
              <a:ahLst/>
              <a:cxnLst>
                <a:cxn ang="0">
                  <a:pos x="12" y="23"/>
                </a:cxn>
                <a:cxn ang="0">
                  <a:pos x="16" y="18"/>
                </a:cxn>
                <a:cxn ang="0">
                  <a:pos x="22" y="16"/>
                </a:cxn>
                <a:cxn ang="0">
                  <a:pos x="22" y="14"/>
                </a:cxn>
                <a:cxn ang="0">
                  <a:pos x="22" y="14"/>
                </a:cxn>
                <a:cxn ang="0">
                  <a:pos x="22" y="12"/>
                </a:cxn>
                <a:cxn ang="0">
                  <a:pos x="24" y="14"/>
                </a:cxn>
                <a:cxn ang="0">
                  <a:pos x="24" y="12"/>
                </a:cxn>
                <a:cxn ang="0">
                  <a:pos x="26" y="12"/>
                </a:cxn>
                <a:cxn ang="0">
                  <a:pos x="26" y="10"/>
                </a:cxn>
                <a:cxn ang="0">
                  <a:pos x="24" y="10"/>
                </a:cxn>
                <a:cxn ang="0">
                  <a:pos x="22" y="8"/>
                </a:cxn>
                <a:cxn ang="0">
                  <a:pos x="20" y="6"/>
                </a:cxn>
                <a:cxn ang="0">
                  <a:pos x="18" y="6"/>
                </a:cxn>
                <a:cxn ang="0">
                  <a:pos x="16" y="6"/>
                </a:cxn>
                <a:cxn ang="0">
                  <a:pos x="14" y="2"/>
                </a:cxn>
                <a:cxn ang="0">
                  <a:pos x="14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8" y="4"/>
                </a:cxn>
                <a:cxn ang="0">
                  <a:pos x="6" y="2"/>
                </a:cxn>
                <a:cxn ang="0">
                  <a:pos x="2" y="8"/>
                </a:cxn>
                <a:cxn ang="0">
                  <a:pos x="0" y="16"/>
                </a:cxn>
                <a:cxn ang="0">
                  <a:pos x="2" y="18"/>
                </a:cxn>
                <a:cxn ang="0">
                  <a:pos x="2" y="18"/>
                </a:cxn>
                <a:cxn ang="0">
                  <a:pos x="2" y="20"/>
                </a:cxn>
                <a:cxn ang="0">
                  <a:pos x="6" y="23"/>
                </a:cxn>
                <a:cxn ang="0">
                  <a:pos x="14" y="29"/>
                </a:cxn>
                <a:cxn ang="0">
                  <a:pos x="14" y="25"/>
                </a:cxn>
                <a:cxn ang="0">
                  <a:pos x="12" y="23"/>
                </a:cxn>
              </a:cxnLst>
              <a:rect l="0" t="0" r="r" b="b"/>
              <a:pathLst>
                <a:path w="26" h="29">
                  <a:moveTo>
                    <a:pt x="12" y="23"/>
                  </a:moveTo>
                  <a:lnTo>
                    <a:pt x="16" y="18"/>
                  </a:lnTo>
                  <a:lnTo>
                    <a:pt x="22" y="16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2"/>
                  </a:lnTo>
                  <a:lnTo>
                    <a:pt x="24" y="14"/>
                  </a:lnTo>
                  <a:lnTo>
                    <a:pt x="24" y="12"/>
                  </a:lnTo>
                  <a:lnTo>
                    <a:pt x="26" y="12"/>
                  </a:lnTo>
                  <a:lnTo>
                    <a:pt x="26" y="10"/>
                  </a:lnTo>
                  <a:lnTo>
                    <a:pt x="24" y="10"/>
                  </a:lnTo>
                  <a:lnTo>
                    <a:pt x="22" y="8"/>
                  </a:lnTo>
                  <a:lnTo>
                    <a:pt x="20" y="6"/>
                  </a:lnTo>
                  <a:lnTo>
                    <a:pt x="18" y="6"/>
                  </a:lnTo>
                  <a:lnTo>
                    <a:pt x="16" y="6"/>
                  </a:lnTo>
                  <a:lnTo>
                    <a:pt x="14" y="2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4"/>
                  </a:lnTo>
                  <a:lnTo>
                    <a:pt x="6" y="2"/>
                  </a:lnTo>
                  <a:lnTo>
                    <a:pt x="2" y="8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6" y="23"/>
                  </a:lnTo>
                  <a:lnTo>
                    <a:pt x="14" y="29"/>
                  </a:lnTo>
                  <a:lnTo>
                    <a:pt x="14" y="25"/>
                  </a:lnTo>
                  <a:lnTo>
                    <a:pt x="12" y="23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3" name="Freeform 706">
              <a:extLst>
                <a:ext uri="{FF2B5EF4-FFF2-40B4-BE49-F238E27FC236}">
                  <a16:creationId xmlns:a16="http://schemas.microsoft.com/office/drawing/2014/main" id="{949547D5-3006-42B0-8E59-F0578BA789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0913" y="3298825"/>
              <a:ext cx="38100" cy="36513"/>
            </a:xfrm>
            <a:custGeom>
              <a:avLst/>
              <a:gdLst/>
              <a:ahLst/>
              <a:cxnLst>
                <a:cxn ang="0">
                  <a:pos x="20" y="18"/>
                </a:cxn>
                <a:cxn ang="0">
                  <a:pos x="22" y="18"/>
                </a:cxn>
                <a:cxn ang="0">
                  <a:pos x="22" y="16"/>
                </a:cxn>
                <a:cxn ang="0">
                  <a:pos x="22" y="14"/>
                </a:cxn>
                <a:cxn ang="0">
                  <a:pos x="24" y="12"/>
                </a:cxn>
                <a:cxn ang="0">
                  <a:pos x="24" y="10"/>
                </a:cxn>
                <a:cxn ang="0">
                  <a:pos x="22" y="10"/>
                </a:cxn>
                <a:cxn ang="0">
                  <a:pos x="20" y="10"/>
                </a:cxn>
                <a:cxn ang="0">
                  <a:pos x="20" y="8"/>
                </a:cxn>
                <a:cxn ang="0">
                  <a:pos x="18" y="6"/>
                </a:cxn>
                <a:cxn ang="0">
                  <a:pos x="16" y="2"/>
                </a:cxn>
                <a:cxn ang="0">
                  <a:pos x="12" y="2"/>
                </a:cxn>
                <a:cxn ang="0">
                  <a:pos x="10" y="0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6" y="6"/>
                </a:cxn>
                <a:cxn ang="0">
                  <a:pos x="4" y="8"/>
                </a:cxn>
                <a:cxn ang="0">
                  <a:pos x="2" y="8"/>
                </a:cxn>
                <a:cxn ang="0">
                  <a:pos x="2" y="10"/>
                </a:cxn>
                <a:cxn ang="0">
                  <a:pos x="0" y="8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0" y="12"/>
                </a:cxn>
                <a:cxn ang="0">
                  <a:pos x="6" y="18"/>
                </a:cxn>
                <a:cxn ang="0">
                  <a:pos x="8" y="23"/>
                </a:cxn>
                <a:cxn ang="0">
                  <a:pos x="14" y="19"/>
                </a:cxn>
                <a:cxn ang="0">
                  <a:pos x="20" y="18"/>
                </a:cxn>
              </a:cxnLst>
              <a:rect l="0" t="0" r="r" b="b"/>
              <a:pathLst>
                <a:path w="24" h="23">
                  <a:moveTo>
                    <a:pt x="20" y="18"/>
                  </a:moveTo>
                  <a:lnTo>
                    <a:pt x="22" y="18"/>
                  </a:lnTo>
                  <a:lnTo>
                    <a:pt x="22" y="16"/>
                  </a:lnTo>
                  <a:lnTo>
                    <a:pt x="22" y="14"/>
                  </a:lnTo>
                  <a:lnTo>
                    <a:pt x="24" y="12"/>
                  </a:lnTo>
                  <a:lnTo>
                    <a:pt x="24" y="10"/>
                  </a:lnTo>
                  <a:lnTo>
                    <a:pt x="22" y="10"/>
                  </a:lnTo>
                  <a:lnTo>
                    <a:pt x="20" y="10"/>
                  </a:lnTo>
                  <a:lnTo>
                    <a:pt x="20" y="8"/>
                  </a:lnTo>
                  <a:lnTo>
                    <a:pt x="18" y="6"/>
                  </a:lnTo>
                  <a:lnTo>
                    <a:pt x="16" y="2"/>
                  </a:lnTo>
                  <a:lnTo>
                    <a:pt x="12" y="2"/>
                  </a:lnTo>
                  <a:lnTo>
                    <a:pt x="10" y="0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6"/>
                  </a:lnTo>
                  <a:lnTo>
                    <a:pt x="4" y="8"/>
                  </a:lnTo>
                  <a:lnTo>
                    <a:pt x="2" y="8"/>
                  </a:lnTo>
                  <a:lnTo>
                    <a:pt x="2" y="10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6" y="18"/>
                  </a:lnTo>
                  <a:lnTo>
                    <a:pt x="8" y="23"/>
                  </a:lnTo>
                  <a:lnTo>
                    <a:pt x="14" y="19"/>
                  </a:lnTo>
                  <a:lnTo>
                    <a:pt x="20" y="18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4" name="Freeform 707">
              <a:extLst>
                <a:ext uri="{FF2B5EF4-FFF2-40B4-BE49-F238E27FC236}">
                  <a16:creationId xmlns:a16="http://schemas.microsoft.com/office/drawing/2014/main" id="{80FBDCBB-206E-4D89-B23E-AE95C9509F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5038" y="3317875"/>
              <a:ext cx="38100" cy="80963"/>
            </a:xfrm>
            <a:custGeom>
              <a:avLst/>
              <a:gdLst/>
              <a:ahLst/>
              <a:cxnLst>
                <a:cxn ang="0">
                  <a:pos x="18" y="45"/>
                </a:cxn>
                <a:cxn ang="0">
                  <a:pos x="24" y="37"/>
                </a:cxn>
                <a:cxn ang="0">
                  <a:pos x="24" y="31"/>
                </a:cxn>
                <a:cxn ang="0">
                  <a:pos x="18" y="27"/>
                </a:cxn>
                <a:cxn ang="0">
                  <a:pos x="16" y="19"/>
                </a:cxn>
                <a:cxn ang="0">
                  <a:pos x="16" y="19"/>
                </a:cxn>
                <a:cxn ang="0">
                  <a:pos x="16" y="15"/>
                </a:cxn>
                <a:cxn ang="0">
                  <a:pos x="18" y="11"/>
                </a:cxn>
                <a:cxn ang="0">
                  <a:pos x="16" y="6"/>
                </a:cxn>
                <a:cxn ang="0">
                  <a:pos x="10" y="0"/>
                </a:cxn>
                <a:cxn ang="0">
                  <a:pos x="4" y="2"/>
                </a:cxn>
                <a:cxn ang="0">
                  <a:pos x="0" y="7"/>
                </a:cxn>
                <a:cxn ang="0">
                  <a:pos x="2" y="9"/>
                </a:cxn>
                <a:cxn ang="0">
                  <a:pos x="2" y="13"/>
                </a:cxn>
                <a:cxn ang="0">
                  <a:pos x="4" y="17"/>
                </a:cxn>
                <a:cxn ang="0">
                  <a:pos x="0" y="37"/>
                </a:cxn>
                <a:cxn ang="0">
                  <a:pos x="2" y="43"/>
                </a:cxn>
                <a:cxn ang="0">
                  <a:pos x="8" y="45"/>
                </a:cxn>
                <a:cxn ang="0">
                  <a:pos x="10" y="51"/>
                </a:cxn>
                <a:cxn ang="0">
                  <a:pos x="14" y="49"/>
                </a:cxn>
                <a:cxn ang="0">
                  <a:pos x="18" y="45"/>
                </a:cxn>
              </a:cxnLst>
              <a:rect l="0" t="0" r="r" b="b"/>
              <a:pathLst>
                <a:path w="24" h="51">
                  <a:moveTo>
                    <a:pt x="18" y="45"/>
                  </a:moveTo>
                  <a:lnTo>
                    <a:pt x="24" y="37"/>
                  </a:lnTo>
                  <a:lnTo>
                    <a:pt x="24" y="31"/>
                  </a:lnTo>
                  <a:lnTo>
                    <a:pt x="18" y="27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5"/>
                  </a:lnTo>
                  <a:lnTo>
                    <a:pt x="18" y="11"/>
                  </a:lnTo>
                  <a:lnTo>
                    <a:pt x="16" y="6"/>
                  </a:lnTo>
                  <a:lnTo>
                    <a:pt x="10" y="0"/>
                  </a:lnTo>
                  <a:lnTo>
                    <a:pt x="4" y="2"/>
                  </a:lnTo>
                  <a:lnTo>
                    <a:pt x="0" y="7"/>
                  </a:lnTo>
                  <a:lnTo>
                    <a:pt x="2" y="9"/>
                  </a:lnTo>
                  <a:lnTo>
                    <a:pt x="2" y="13"/>
                  </a:lnTo>
                  <a:lnTo>
                    <a:pt x="4" y="17"/>
                  </a:lnTo>
                  <a:lnTo>
                    <a:pt x="0" y="37"/>
                  </a:lnTo>
                  <a:lnTo>
                    <a:pt x="2" y="43"/>
                  </a:lnTo>
                  <a:lnTo>
                    <a:pt x="8" y="45"/>
                  </a:lnTo>
                  <a:lnTo>
                    <a:pt x="10" y="51"/>
                  </a:lnTo>
                  <a:lnTo>
                    <a:pt x="14" y="49"/>
                  </a:lnTo>
                  <a:lnTo>
                    <a:pt x="18" y="4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5" name="Freeform 796">
              <a:extLst>
                <a:ext uri="{FF2B5EF4-FFF2-40B4-BE49-F238E27FC236}">
                  <a16:creationId xmlns:a16="http://schemas.microsoft.com/office/drawing/2014/main" id="{7938571A-BB1A-4D56-8852-0FB95A3541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438" y="3324225"/>
              <a:ext cx="53975" cy="42863"/>
            </a:xfrm>
            <a:custGeom>
              <a:avLst/>
              <a:gdLst/>
              <a:ahLst/>
              <a:cxnLst>
                <a:cxn ang="0">
                  <a:pos x="14" y="2"/>
                </a:cxn>
                <a:cxn ang="0">
                  <a:pos x="8" y="3"/>
                </a:cxn>
                <a:cxn ang="0">
                  <a:pos x="2" y="7"/>
                </a:cxn>
                <a:cxn ang="0">
                  <a:pos x="0" y="11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2" y="23"/>
                </a:cxn>
                <a:cxn ang="0">
                  <a:pos x="8" y="27"/>
                </a:cxn>
                <a:cxn ang="0">
                  <a:pos x="18" y="25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24" y="21"/>
                </a:cxn>
                <a:cxn ang="0">
                  <a:pos x="28" y="21"/>
                </a:cxn>
                <a:cxn ang="0">
                  <a:pos x="30" y="21"/>
                </a:cxn>
                <a:cxn ang="0">
                  <a:pos x="32" y="19"/>
                </a:cxn>
                <a:cxn ang="0">
                  <a:pos x="34" y="17"/>
                </a:cxn>
                <a:cxn ang="0">
                  <a:pos x="34" y="13"/>
                </a:cxn>
                <a:cxn ang="0">
                  <a:pos x="34" y="11"/>
                </a:cxn>
                <a:cxn ang="0">
                  <a:pos x="34" y="11"/>
                </a:cxn>
                <a:cxn ang="0">
                  <a:pos x="32" y="5"/>
                </a:cxn>
                <a:cxn ang="0">
                  <a:pos x="26" y="0"/>
                </a:cxn>
                <a:cxn ang="0">
                  <a:pos x="20" y="0"/>
                </a:cxn>
                <a:cxn ang="0">
                  <a:pos x="14" y="2"/>
                </a:cxn>
              </a:cxnLst>
              <a:rect l="0" t="0" r="r" b="b"/>
              <a:pathLst>
                <a:path w="34" h="27">
                  <a:moveTo>
                    <a:pt x="14" y="2"/>
                  </a:moveTo>
                  <a:lnTo>
                    <a:pt x="8" y="3"/>
                  </a:lnTo>
                  <a:lnTo>
                    <a:pt x="2" y="7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23"/>
                  </a:lnTo>
                  <a:lnTo>
                    <a:pt x="8" y="27"/>
                  </a:lnTo>
                  <a:lnTo>
                    <a:pt x="18" y="25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4" y="21"/>
                  </a:lnTo>
                  <a:lnTo>
                    <a:pt x="28" y="21"/>
                  </a:lnTo>
                  <a:lnTo>
                    <a:pt x="30" y="21"/>
                  </a:lnTo>
                  <a:lnTo>
                    <a:pt x="32" y="19"/>
                  </a:lnTo>
                  <a:lnTo>
                    <a:pt x="34" y="17"/>
                  </a:lnTo>
                  <a:lnTo>
                    <a:pt x="34" y="13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2" y="5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14" y="2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6" name="Freeform 797">
              <a:extLst>
                <a:ext uri="{FF2B5EF4-FFF2-40B4-BE49-F238E27FC236}">
                  <a16:creationId xmlns:a16="http://schemas.microsoft.com/office/drawing/2014/main" id="{41D71F00-C757-4E40-B50E-58FC58DD81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1713" y="3270250"/>
              <a:ext cx="133350" cy="84138"/>
            </a:xfrm>
            <a:custGeom>
              <a:avLst/>
              <a:gdLst/>
              <a:ahLst/>
              <a:cxnLst>
                <a:cxn ang="0">
                  <a:pos x="72" y="6"/>
                </a:cxn>
                <a:cxn ang="0">
                  <a:pos x="66" y="2"/>
                </a:cxn>
                <a:cxn ang="0">
                  <a:pos x="58" y="2"/>
                </a:cxn>
                <a:cxn ang="0">
                  <a:pos x="52" y="4"/>
                </a:cxn>
                <a:cxn ang="0">
                  <a:pos x="44" y="10"/>
                </a:cxn>
                <a:cxn ang="0">
                  <a:pos x="34" y="10"/>
                </a:cxn>
                <a:cxn ang="0">
                  <a:pos x="28" y="8"/>
                </a:cxn>
                <a:cxn ang="0">
                  <a:pos x="20" y="8"/>
                </a:cxn>
                <a:cxn ang="0">
                  <a:pos x="16" y="6"/>
                </a:cxn>
                <a:cxn ang="0">
                  <a:pos x="12" y="6"/>
                </a:cxn>
                <a:cxn ang="0">
                  <a:pos x="4" y="0"/>
                </a:cxn>
                <a:cxn ang="0">
                  <a:pos x="0" y="10"/>
                </a:cxn>
                <a:cxn ang="0">
                  <a:pos x="4" y="14"/>
                </a:cxn>
                <a:cxn ang="0">
                  <a:pos x="6" y="16"/>
                </a:cxn>
                <a:cxn ang="0">
                  <a:pos x="8" y="20"/>
                </a:cxn>
                <a:cxn ang="0">
                  <a:pos x="6" y="24"/>
                </a:cxn>
                <a:cxn ang="0">
                  <a:pos x="0" y="34"/>
                </a:cxn>
                <a:cxn ang="0">
                  <a:pos x="6" y="39"/>
                </a:cxn>
                <a:cxn ang="0">
                  <a:pos x="8" y="45"/>
                </a:cxn>
                <a:cxn ang="0">
                  <a:pos x="8" y="45"/>
                </a:cxn>
                <a:cxn ang="0">
                  <a:pos x="8" y="47"/>
                </a:cxn>
                <a:cxn ang="0">
                  <a:pos x="8" y="51"/>
                </a:cxn>
                <a:cxn ang="0">
                  <a:pos x="20" y="49"/>
                </a:cxn>
                <a:cxn ang="0">
                  <a:pos x="26" y="47"/>
                </a:cxn>
                <a:cxn ang="0">
                  <a:pos x="32" y="49"/>
                </a:cxn>
                <a:cxn ang="0">
                  <a:pos x="38" y="53"/>
                </a:cxn>
                <a:cxn ang="0">
                  <a:pos x="40" y="53"/>
                </a:cxn>
                <a:cxn ang="0">
                  <a:pos x="42" y="53"/>
                </a:cxn>
                <a:cxn ang="0">
                  <a:pos x="50" y="53"/>
                </a:cxn>
                <a:cxn ang="0">
                  <a:pos x="52" y="45"/>
                </a:cxn>
                <a:cxn ang="0">
                  <a:pos x="54" y="45"/>
                </a:cxn>
                <a:cxn ang="0">
                  <a:pos x="64" y="39"/>
                </a:cxn>
                <a:cxn ang="0">
                  <a:pos x="76" y="41"/>
                </a:cxn>
                <a:cxn ang="0">
                  <a:pos x="72" y="34"/>
                </a:cxn>
                <a:cxn ang="0">
                  <a:pos x="76" y="20"/>
                </a:cxn>
                <a:cxn ang="0">
                  <a:pos x="80" y="14"/>
                </a:cxn>
                <a:cxn ang="0">
                  <a:pos x="82" y="14"/>
                </a:cxn>
                <a:cxn ang="0">
                  <a:pos x="84" y="8"/>
                </a:cxn>
                <a:cxn ang="0">
                  <a:pos x="82" y="8"/>
                </a:cxn>
                <a:cxn ang="0">
                  <a:pos x="72" y="6"/>
                </a:cxn>
              </a:cxnLst>
              <a:rect l="0" t="0" r="r" b="b"/>
              <a:pathLst>
                <a:path w="84" h="53">
                  <a:moveTo>
                    <a:pt x="72" y="6"/>
                  </a:moveTo>
                  <a:lnTo>
                    <a:pt x="66" y="2"/>
                  </a:lnTo>
                  <a:lnTo>
                    <a:pt x="58" y="2"/>
                  </a:lnTo>
                  <a:lnTo>
                    <a:pt x="52" y="4"/>
                  </a:lnTo>
                  <a:lnTo>
                    <a:pt x="44" y="10"/>
                  </a:lnTo>
                  <a:lnTo>
                    <a:pt x="34" y="10"/>
                  </a:lnTo>
                  <a:lnTo>
                    <a:pt x="28" y="8"/>
                  </a:lnTo>
                  <a:lnTo>
                    <a:pt x="20" y="8"/>
                  </a:lnTo>
                  <a:lnTo>
                    <a:pt x="16" y="6"/>
                  </a:lnTo>
                  <a:lnTo>
                    <a:pt x="12" y="6"/>
                  </a:lnTo>
                  <a:lnTo>
                    <a:pt x="4" y="0"/>
                  </a:lnTo>
                  <a:lnTo>
                    <a:pt x="0" y="10"/>
                  </a:lnTo>
                  <a:lnTo>
                    <a:pt x="4" y="14"/>
                  </a:lnTo>
                  <a:lnTo>
                    <a:pt x="6" y="16"/>
                  </a:lnTo>
                  <a:lnTo>
                    <a:pt x="8" y="20"/>
                  </a:lnTo>
                  <a:lnTo>
                    <a:pt x="6" y="24"/>
                  </a:lnTo>
                  <a:lnTo>
                    <a:pt x="0" y="34"/>
                  </a:lnTo>
                  <a:lnTo>
                    <a:pt x="6" y="39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8" y="47"/>
                  </a:lnTo>
                  <a:lnTo>
                    <a:pt x="8" y="51"/>
                  </a:lnTo>
                  <a:lnTo>
                    <a:pt x="20" y="49"/>
                  </a:lnTo>
                  <a:lnTo>
                    <a:pt x="26" y="47"/>
                  </a:lnTo>
                  <a:lnTo>
                    <a:pt x="32" y="49"/>
                  </a:lnTo>
                  <a:lnTo>
                    <a:pt x="38" y="53"/>
                  </a:lnTo>
                  <a:lnTo>
                    <a:pt x="40" y="53"/>
                  </a:lnTo>
                  <a:lnTo>
                    <a:pt x="42" y="53"/>
                  </a:lnTo>
                  <a:lnTo>
                    <a:pt x="50" y="53"/>
                  </a:lnTo>
                  <a:lnTo>
                    <a:pt x="52" y="45"/>
                  </a:lnTo>
                  <a:lnTo>
                    <a:pt x="54" y="45"/>
                  </a:lnTo>
                  <a:lnTo>
                    <a:pt x="64" y="39"/>
                  </a:lnTo>
                  <a:lnTo>
                    <a:pt x="76" y="41"/>
                  </a:lnTo>
                  <a:lnTo>
                    <a:pt x="72" y="34"/>
                  </a:lnTo>
                  <a:lnTo>
                    <a:pt x="76" y="20"/>
                  </a:lnTo>
                  <a:lnTo>
                    <a:pt x="80" y="14"/>
                  </a:lnTo>
                  <a:lnTo>
                    <a:pt x="82" y="14"/>
                  </a:lnTo>
                  <a:lnTo>
                    <a:pt x="84" y="8"/>
                  </a:lnTo>
                  <a:lnTo>
                    <a:pt x="82" y="8"/>
                  </a:lnTo>
                  <a:lnTo>
                    <a:pt x="72" y="6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7" name="Freeform 487">
              <a:extLst>
                <a:ext uri="{FF2B5EF4-FFF2-40B4-BE49-F238E27FC236}">
                  <a16:creationId xmlns:a16="http://schemas.microsoft.com/office/drawing/2014/main" id="{C247A385-6CF1-45AD-98DE-E3005692BE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713" y="3289300"/>
              <a:ext cx="142875" cy="71438"/>
            </a:xfrm>
            <a:custGeom>
              <a:avLst/>
              <a:gdLst/>
              <a:ahLst/>
              <a:cxnLst>
                <a:cxn ang="0">
                  <a:pos x="40" y="37"/>
                </a:cxn>
                <a:cxn ang="0">
                  <a:pos x="46" y="43"/>
                </a:cxn>
                <a:cxn ang="0">
                  <a:pos x="54" y="43"/>
                </a:cxn>
                <a:cxn ang="0">
                  <a:pos x="62" y="43"/>
                </a:cxn>
                <a:cxn ang="0">
                  <a:pos x="68" y="41"/>
                </a:cxn>
                <a:cxn ang="0">
                  <a:pos x="70" y="39"/>
                </a:cxn>
                <a:cxn ang="0">
                  <a:pos x="70" y="39"/>
                </a:cxn>
                <a:cxn ang="0">
                  <a:pos x="72" y="37"/>
                </a:cxn>
                <a:cxn ang="0">
                  <a:pos x="76" y="39"/>
                </a:cxn>
                <a:cxn ang="0">
                  <a:pos x="80" y="43"/>
                </a:cxn>
                <a:cxn ang="0">
                  <a:pos x="86" y="45"/>
                </a:cxn>
                <a:cxn ang="0">
                  <a:pos x="90" y="45"/>
                </a:cxn>
                <a:cxn ang="0">
                  <a:pos x="90" y="43"/>
                </a:cxn>
                <a:cxn ang="0">
                  <a:pos x="90" y="41"/>
                </a:cxn>
                <a:cxn ang="0">
                  <a:pos x="90" y="41"/>
                </a:cxn>
                <a:cxn ang="0">
                  <a:pos x="88" y="39"/>
                </a:cxn>
                <a:cxn ang="0">
                  <a:pos x="86" y="35"/>
                </a:cxn>
                <a:cxn ang="0">
                  <a:pos x="86" y="33"/>
                </a:cxn>
                <a:cxn ang="0">
                  <a:pos x="86" y="29"/>
                </a:cxn>
                <a:cxn ang="0">
                  <a:pos x="82" y="27"/>
                </a:cxn>
                <a:cxn ang="0">
                  <a:pos x="76" y="24"/>
                </a:cxn>
                <a:cxn ang="0">
                  <a:pos x="72" y="20"/>
                </a:cxn>
                <a:cxn ang="0">
                  <a:pos x="68" y="16"/>
                </a:cxn>
                <a:cxn ang="0">
                  <a:pos x="64" y="18"/>
                </a:cxn>
                <a:cxn ang="0">
                  <a:pos x="56" y="18"/>
                </a:cxn>
                <a:cxn ang="0">
                  <a:pos x="50" y="16"/>
                </a:cxn>
                <a:cxn ang="0">
                  <a:pos x="44" y="12"/>
                </a:cxn>
                <a:cxn ang="0">
                  <a:pos x="38" y="8"/>
                </a:cxn>
                <a:cxn ang="0">
                  <a:pos x="30" y="6"/>
                </a:cxn>
                <a:cxn ang="0">
                  <a:pos x="24" y="6"/>
                </a:cxn>
                <a:cxn ang="0">
                  <a:pos x="18" y="4"/>
                </a:cxn>
                <a:cxn ang="0">
                  <a:pos x="12" y="2"/>
                </a:cxn>
                <a:cxn ang="0">
                  <a:pos x="6" y="0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10" y="10"/>
                </a:cxn>
                <a:cxn ang="0">
                  <a:pos x="14" y="12"/>
                </a:cxn>
                <a:cxn ang="0">
                  <a:pos x="20" y="16"/>
                </a:cxn>
                <a:cxn ang="0">
                  <a:pos x="20" y="18"/>
                </a:cxn>
                <a:cxn ang="0">
                  <a:pos x="24" y="25"/>
                </a:cxn>
                <a:cxn ang="0">
                  <a:pos x="20" y="35"/>
                </a:cxn>
                <a:cxn ang="0">
                  <a:pos x="20" y="37"/>
                </a:cxn>
                <a:cxn ang="0">
                  <a:pos x="36" y="35"/>
                </a:cxn>
                <a:cxn ang="0">
                  <a:pos x="40" y="37"/>
                </a:cxn>
              </a:cxnLst>
              <a:rect l="0" t="0" r="r" b="b"/>
              <a:pathLst>
                <a:path w="90" h="45">
                  <a:moveTo>
                    <a:pt x="40" y="37"/>
                  </a:moveTo>
                  <a:lnTo>
                    <a:pt x="46" y="43"/>
                  </a:lnTo>
                  <a:lnTo>
                    <a:pt x="54" y="43"/>
                  </a:lnTo>
                  <a:lnTo>
                    <a:pt x="62" y="43"/>
                  </a:lnTo>
                  <a:lnTo>
                    <a:pt x="68" y="41"/>
                  </a:lnTo>
                  <a:lnTo>
                    <a:pt x="70" y="39"/>
                  </a:lnTo>
                  <a:lnTo>
                    <a:pt x="70" y="39"/>
                  </a:lnTo>
                  <a:lnTo>
                    <a:pt x="72" y="37"/>
                  </a:lnTo>
                  <a:lnTo>
                    <a:pt x="76" y="39"/>
                  </a:lnTo>
                  <a:lnTo>
                    <a:pt x="80" y="43"/>
                  </a:lnTo>
                  <a:lnTo>
                    <a:pt x="86" y="45"/>
                  </a:lnTo>
                  <a:lnTo>
                    <a:pt x="90" y="45"/>
                  </a:lnTo>
                  <a:lnTo>
                    <a:pt x="90" y="43"/>
                  </a:lnTo>
                  <a:lnTo>
                    <a:pt x="90" y="41"/>
                  </a:lnTo>
                  <a:lnTo>
                    <a:pt x="90" y="41"/>
                  </a:lnTo>
                  <a:lnTo>
                    <a:pt x="88" y="39"/>
                  </a:lnTo>
                  <a:lnTo>
                    <a:pt x="86" y="35"/>
                  </a:lnTo>
                  <a:lnTo>
                    <a:pt x="86" y="33"/>
                  </a:lnTo>
                  <a:lnTo>
                    <a:pt x="86" y="29"/>
                  </a:lnTo>
                  <a:lnTo>
                    <a:pt x="82" y="27"/>
                  </a:lnTo>
                  <a:lnTo>
                    <a:pt x="76" y="24"/>
                  </a:lnTo>
                  <a:lnTo>
                    <a:pt x="72" y="20"/>
                  </a:lnTo>
                  <a:lnTo>
                    <a:pt x="68" y="16"/>
                  </a:lnTo>
                  <a:lnTo>
                    <a:pt x="64" y="18"/>
                  </a:lnTo>
                  <a:lnTo>
                    <a:pt x="56" y="18"/>
                  </a:lnTo>
                  <a:lnTo>
                    <a:pt x="50" y="16"/>
                  </a:lnTo>
                  <a:lnTo>
                    <a:pt x="44" y="12"/>
                  </a:lnTo>
                  <a:lnTo>
                    <a:pt x="38" y="8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18" y="4"/>
                  </a:lnTo>
                  <a:lnTo>
                    <a:pt x="12" y="2"/>
                  </a:lnTo>
                  <a:lnTo>
                    <a:pt x="6" y="0"/>
                  </a:lnTo>
                  <a:lnTo>
                    <a:pt x="0" y="4"/>
                  </a:lnTo>
                  <a:lnTo>
                    <a:pt x="2" y="4"/>
                  </a:lnTo>
                  <a:lnTo>
                    <a:pt x="10" y="10"/>
                  </a:lnTo>
                  <a:lnTo>
                    <a:pt x="14" y="12"/>
                  </a:lnTo>
                  <a:lnTo>
                    <a:pt x="20" y="16"/>
                  </a:lnTo>
                  <a:lnTo>
                    <a:pt x="20" y="18"/>
                  </a:lnTo>
                  <a:lnTo>
                    <a:pt x="24" y="25"/>
                  </a:lnTo>
                  <a:lnTo>
                    <a:pt x="20" y="35"/>
                  </a:lnTo>
                  <a:lnTo>
                    <a:pt x="20" y="37"/>
                  </a:lnTo>
                  <a:lnTo>
                    <a:pt x="36" y="35"/>
                  </a:lnTo>
                  <a:lnTo>
                    <a:pt x="40" y="37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8" name="Freeform 659">
              <a:extLst>
                <a:ext uri="{FF2B5EF4-FFF2-40B4-BE49-F238E27FC236}">
                  <a16:creationId xmlns:a16="http://schemas.microsoft.com/office/drawing/2014/main" id="{912B2599-483B-451F-9C2C-859F7C075EA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8788" y="3228975"/>
              <a:ext cx="368300" cy="239713"/>
            </a:xfrm>
            <a:custGeom>
              <a:avLst/>
              <a:gdLst/>
              <a:ahLst/>
              <a:cxnLst>
                <a:cxn ang="0">
                  <a:pos x="12" y="73"/>
                </a:cxn>
                <a:cxn ang="0">
                  <a:pos x="14" y="67"/>
                </a:cxn>
                <a:cxn ang="0">
                  <a:pos x="24" y="63"/>
                </a:cxn>
                <a:cxn ang="0">
                  <a:pos x="32" y="62"/>
                </a:cxn>
                <a:cxn ang="0">
                  <a:pos x="30" y="54"/>
                </a:cxn>
                <a:cxn ang="0">
                  <a:pos x="48" y="62"/>
                </a:cxn>
                <a:cxn ang="0">
                  <a:pos x="56" y="71"/>
                </a:cxn>
                <a:cxn ang="0">
                  <a:pos x="60" y="79"/>
                </a:cxn>
                <a:cxn ang="0">
                  <a:pos x="68" y="79"/>
                </a:cxn>
                <a:cxn ang="0">
                  <a:pos x="80" y="85"/>
                </a:cxn>
                <a:cxn ang="0">
                  <a:pos x="92" y="105"/>
                </a:cxn>
                <a:cxn ang="0">
                  <a:pos x="104" y="115"/>
                </a:cxn>
                <a:cxn ang="0">
                  <a:pos x="112" y="119"/>
                </a:cxn>
                <a:cxn ang="0">
                  <a:pos x="122" y="125"/>
                </a:cxn>
                <a:cxn ang="0">
                  <a:pos x="142" y="141"/>
                </a:cxn>
                <a:cxn ang="0">
                  <a:pos x="158" y="149"/>
                </a:cxn>
                <a:cxn ang="0">
                  <a:pos x="164" y="139"/>
                </a:cxn>
                <a:cxn ang="0">
                  <a:pos x="164" y="127"/>
                </a:cxn>
                <a:cxn ang="0">
                  <a:pos x="158" y="119"/>
                </a:cxn>
                <a:cxn ang="0">
                  <a:pos x="156" y="109"/>
                </a:cxn>
                <a:cxn ang="0">
                  <a:pos x="174" y="101"/>
                </a:cxn>
                <a:cxn ang="0">
                  <a:pos x="180" y="93"/>
                </a:cxn>
                <a:cxn ang="0">
                  <a:pos x="194" y="87"/>
                </a:cxn>
                <a:cxn ang="0">
                  <a:pos x="200" y="89"/>
                </a:cxn>
                <a:cxn ang="0">
                  <a:pos x="208" y="97"/>
                </a:cxn>
                <a:cxn ang="0">
                  <a:pos x="222" y="95"/>
                </a:cxn>
                <a:cxn ang="0">
                  <a:pos x="230" y="87"/>
                </a:cxn>
                <a:cxn ang="0">
                  <a:pos x="218" y="81"/>
                </a:cxn>
                <a:cxn ang="0">
                  <a:pos x="210" y="79"/>
                </a:cxn>
                <a:cxn ang="0">
                  <a:pos x="204" y="81"/>
                </a:cxn>
                <a:cxn ang="0">
                  <a:pos x="198" y="69"/>
                </a:cxn>
                <a:cxn ang="0">
                  <a:pos x="202" y="62"/>
                </a:cxn>
                <a:cxn ang="0">
                  <a:pos x="170" y="87"/>
                </a:cxn>
                <a:cxn ang="0">
                  <a:pos x="162" y="87"/>
                </a:cxn>
                <a:cxn ang="0">
                  <a:pos x="158" y="81"/>
                </a:cxn>
                <a:cxn ang="0">
                  <a:pos x="142" y="71"/>
                </a:cxn>
                <a:cxn ang="0">
                  <a:pos x="136" y="67"/>
                </a:cxn>
                <a:cxn ang="0">
                  <a:pos x="136" y="50"/>
                </a:cxn>
                <a:cxn ang="0">
                  <a:pos x="128" y="38"/>
                </a:cxn>
                <a:cxn ang="0">
                  <a:pos x="108" y="36"/>
                </a:cxn>
                <a:cxn ang="0">
                  <a:pos x="86" y="38"/>
                </a:cxn>
                <a:cxn ang="0">
                  <a:pos x="54" y="14"/>
                </a:cxn>
                <a:cxn ang="0">
                  <a:pos x="26" y="2"/>
                </a:cxn>
                <a:cxn ang="0">
                  <a:pos x="0" y="10"/>
                </a:cxn>
                <a:cxn ang="0">
                  <a:pos x="0" y="79"/>
                </a:cxn>
              </a:cxnLst>
              <a:rect l="0" t="0" r="r" b="b"/>
              <a:pathLst>
                <a:path w="232" h="151">
                  <a:moveTo>
                    <a:pt x="12" y="75"/>
                  </a:moveTo>
                  <a:lnTo>
                    <a:pt x="12" y="73"/>
                  </a:lnTo>
                  <a:lnTo>
                    <a:pt x="12" y="73"/>
                  </a:lnTo>
                  <a:lnTo>
                    <a:pt x="12" y="69"/>
                  </a:lnTo>
                  <a:lnTo>
                    <a:pt x="12" y="67"/>
                  </a:lnTo>
                  <a:lnTo>
                    <a:pt x="14" y="67"/>
                  </a:lnTo>
                  <a:lnTo>
                    <a:pt x="16" y="65"/>
                  </a:lnTo>
                  <a:lnTo>
                    <a:pt x="20" y="63"/>
                  </a:lnTo>
                  <a:lnTo>
                    <a:pt x="24" y="63"/>
                  </a:lnTo>
                  <a:lnTo>
                    <a:pt x="26" y="58"/>
                  </a:lnTo>
                  <a:lnTo>
                    <a:pt x="26" y="58"/>
                  </a:lnTo>
                  <a:lnTo>
                    <a:pt x="32" y="62"/>
                  </a:lnTo>
                  <a:lnTo>
                    <a:pt x="30" y="58"/>
                  </a:lnTo>
                  <a:lnTo>
                    <a:pt x="28" y="56"/>
                  </a:lnTo>
                  <a:lnTo>
                    <a:pt x="30" y="54"/>
                  </a:lnTo>
                  <a:lnTo>
                    <a:pt x="34" y="52"/>
                  </a:lnTo>
                  <a:lnTo>
                    <a:pt x="44" y="60"/>
                  </a:lnTo>
                  <a:lnTo>
                    <a:pt x="48" y="62"/>
                  </a:lnTo>
                  <a:lnTo>
                    <a:pt x="54" y="62"/>
                  </a:lnTo>
                  <a:lnTo>
                    <a:pt x="54" y="69"/>
                  </a:lnTo>
                  <a:lnTo>
                    <a:pt x="56" y="71"/>
                  </a:lnTo>
                  <a:lnTo>
                    <a:pt x="58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6" y="79"/>
                  </a:lnTo>
                  <a:lnTo>
                    <a:pt x="68" y="79"/>
                  </a:lnTo>
                  <a:lnTo>
                    <a:pt x="68" y="79"/>
                  </a:lnTo>
                  <a:lnTo>
                    <a:pt x="72" y="79"/>
                  </a:lnTo>
                  <a:lnTo>
                    <a:pt x="78" y="81"/>
                  </a:lnTo>
                  <a:lnTo>
                    <a:pt x="80" y="85"/>
                  </a:lnTo>
                  <a:lnTo>
                    <a:pt x="84" y="93"/>
                  </a:lnTo>
                  <a:lnTo>
                    <a:pt x="88" y="103"/>
                  </a:lnTo>
                  <a:lnTo>
                    <a:pt x="92" y="105"/>
                  </a:lnTo>
                  <a:lnTo>
                    <a:pt x="94" y="107"/>
                  </a:lnTo>
                  <a:lnTo>
                    <a:pt x="98" y="111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6" y="117"/>
                  </a:lnTo>
                  <a:lnTo>
                    <a:pt x="112" y="119"/>
                  </a:lnTo>
                  <a:lnTo>
                    <a:pt x="114" y="121"/>
                  </a:lnTo>
                  <a:lnTo>
                    <a:pt x="120" y="125"/>
                  </a:lnTo>
                  <a:lnTo>
                    <a:pt x="122" y="125"/>
                  </a:lnTo>
                  <a:lnTo>
                    <a:pt x="130" y="131"/>
                  </a:lnTo>
                  <a:lnTo>
                    <a:pt x="138" y="135"/>
                  </a:lnTo>
                  <a:lnTo>
                    <a:pt x="142" y="141"/>
                  </a:lnTo>
                  <a:lnTo>
                    <a:pt x="142" y="147"/>
                  </a:lnTo>
                  <a:lnTo>
                    <a:pt x="152" y="147"/>
                  </a:lnTo>
                  <a:lnTo>
                    <a:pt x="158" y="149"/>
                  </a:lnTo>
                  <a:lnTo>
                    <a:pt x="160" y="151"/>
                  </a:lnTo>
                  <a:lnTo>
                    <a:pt x="160" y="145"/>
                  </a:lnTo>
                  <a:lnTo>
                    <a:pt x="164" y="139"/>
                  </a:lnTo>
                  <a:lnTo>
                    <a:pt x="166" y="137"/>
                  </a:lnTo>
                  <a:lnTo>
                    <a:pt x="168" y="133"/>
                  </a:lnTo>
                  <a:lnTo>
                    <a:pt x="164" y="127"/>
                  </a:lnTo>
                  <a:lnTo>
                    <a:pt x="164" y="123"/>
                  </a:lnTo>
                  <a:lnTo>
                    <a:pt x="164" y="119"/>
                  </a:lnTo>
                  <a:lnTo>
                    <a:pt x="158" y="119"/>
                  </a:lnTo>
                  <a:lnTo>
                    <a:pt x="154" y="111"/>
                  </a:lnTo>
                  <a:lnTo>
                    <a:pt x="156" y="111"/>
                  </a:lnTo>
                  <a:lnTo>
                    <a:pt x="156" y="109"/>
                  </a:lnTo>
                  <a:lnTo>
                    <a:pt x="166" y="111"/>
                  </a:lnTo>
                  <a:lnTo>
                    <a:pt x="172" y="107"/>
                  </a:lnTo>
                  <a:lnTo>
                    <a:pt x="174" y="101"/>
                  </a:lnTo>
                  <a:lnTo>
                    <a:pt x="170" y="99"/>
                  </a:lnTo>
                  <a:lnTo>
                    <a:pt x="178" y="99"/>
                  </a:lnTo>
                  <a:lnTo>
                    <a:pt x="180" y="93"/>
                  </a:lnTo>
                  <a:lnTo>
                    <a:pt x="184" y="91"/>
                  </a:lnTo>
                  <a:lnTo>
                    <a:pt x="190" y="89"/>
                  </a:lnTo>
                  <a:lnTo>
                    <a:pt x="194" y="87"/>
                  </a:lnTo>
                  <a:lnTo>
                    <a:pt x="196" y="83"/>
                  </a:lnTo>
                  <a:lnTo>
                    <a:pt x="200" y="89"/>
                  </a:lnTo>
                  <a:lnTo>
                    <a:pt x="200" y="89"/>
                  </a:lnTo>
                  <a:lnTo>
                    <a:pt x="194" y="95"/>
                  </a:lnTo>
                  <a:lnTo>
                    <a:pt x="202" y="97"/>
                  </a:lnTo>
                  <a:lnTo>
                    <a:pt x="208" y="97"/>
                  </a:lnTo>
                  <a:lnTo>
                    <a:pt x="216" y="97"/>
                  </a:lnTo>
                  <a:lnTo>
                    <a:pt x="220" y="93"/>
                  </a:lnTo>
                  <a:lnTo>
                    <a:pt x="222" y="95"/>
                  </a:lnTo>
                  <a:lnTo>
                    <a:pt x="224" y="93"/>
                  </a:lnTo>
                  <a:lnTo>
                    <a:pt x="232" y="87"/>
                  </a:lnTo>
                  <a:lnTo>
                    <a:pt x="230" y="87"/>
                  </a:lnTo>
                  <a:lnTo>
                    <a:pt x="224" y="87"/>
                  </a:lnTo>
                  <a:lnTo>
                    <a:pt x="218" y="81"/>
                  </a:lnTo>
                  <a:lnTo>
                    <a:pt x="218" y="81"/>
                  </a:lnTo>
                  <a:lnTo>
                    <a:pt x="212" y="77"/>
                  </a:lnTo>
                  <a:lnTo>
                    <a:pt x="212" y="77"/>
                  </a:lnTo>
                  <a:lnTo>
                    <a:pt x="210" y="79"/>
                  </a:lnTo>
                  <a:lnTo>
                    <a:pt x="208" y="81"/>
                  </a:lnTo>
                  <a:lnTo>
                    <a:pt x="206" y="81"/>
                  </a:lnTo>
                  <a:lnTo>
                    <a:pt x="204" y="81"/>
                  </a:lnTo>
                  <a:lnTo>
                    <a:pt x="202" y="79"/>
                  </a:lnTo>
                  <a:lnTo>
                    <a:pt x="194" y="75"/>
                  </a:lnTo>
                  <a:lnTo>
                    <a:pt x="198" y="69"/>
                  </a:lnTo>
                  <a:lnTo>
                    <a:pt x="206" y="63"/>
                  </a:lnTo>
                  <a:lnTo>
                    <a:pt x="206" y="62"/>
                  </a:lnTo>
                  <a:lnTo>
                    <a:pt x="202" y="62"/>
                  </a:lnTo>
                  <a:lnTo>
                    <a:pt x="190" y="69"/>
                  </a:lnTo>
                  <a:lnTo>
                    <a:pt x="174" y="81"/>
                  </a:lnTo>
                  <a:lnTo>
                    <a:pt x="170" y="87"/>
                  </a:lnTo>
                  <a:lnTo>
                    <a:pt x="172" y="91"/>
                  </a:lnTo>
                  <a:lnTo>
                    <a:pt x="170" y="91"/>
                  </a:lnTo>
                  <a:lnTo>
                    <a:pt x="162" y="87"/>
                  </a:lnTo>
                  <a:lnTo>
                    <a:pt x="164" y="83"/>
                  </a:lnTo>
                  <a:lnTo>
                    <a:pt x="162" y="81"/>
                  </a:lnTo>
                  <a:lnTo>
                    <a:pt x="158" y="81"/>
                  </a:lnTo>
                  <a:lnTo>
                    <a:pt x="148" y="79"/>
                  </a:lnTo>
                  <a:lnTo>
                    <a:pt x="144" y="79"/>
                  </a:lnTo>
                  <a:lnTo>
                    <a:pt x="142" y="71"/>
                  </a:lnTo>
                  <a:lnTo>
                    <a:pt x="142" y="69"/>
                  </a:lnTo>
                  <a:lnTo>
                    <a:pt x="140" y="67"/>
                  </a:lnTo>
                  <a:lnTo>
                    <a:pt x="136" y="67"/>
                  </a:lnTo>
                  <a:lnTo>
                    <a:pt x="136" y="60"/>
                  </a:lnTo>
                  <a:lnTo>
                    <a:pt x="136" y="56"/>
                  </a:lnTo>
                  <a:lnTo>
                    <a:pt x="136" y="50"/>
                  </a:lnTo>
                  <a:lnTo>
                    <a:pt x="132" y="48"/>
                  </a:lnTo>
                  <a:lnTo>
                    <a:pt x="130" y="42"/>
                  </a:lnTo>
                  <a:lnTo>
                    <a:pt x="128" y="38"/>
                  </a:lnTo>
                  <a:lnTo>
                    <a:pt x="122" y="34"/>
                  </a:lnTo>
                  <a:lnTo>
                    <a:pt x="114" y="38"/>
                  </a:lnTo>
                  <a:lnTo>
                    <a:pt x="108" y="36"/>
                  </a:lnTo>
                  <a:lnTo>
                    <a:pt x="100" y="36"/>
                  </a:lnTo>
                  <a:lnTo>
                    <a:pt x="94" y="38"/>
                  </a:lnTo>
                  <a:lnTo>
                    <a:pt x="86" y="38"/>
                  </a:lnTo>
                  <a:lnTo>
                    <a:pt x="80" y="38"/>
                  </a:lnTo>
                  <a:lnTo>
                    <a:pt x="72" y="30"/>
                  </a:lnTo>
                  <a:lnTo>
                    <a:pt x="54" y="14"/>
                  </a:lnTo>
                  <a:lnTo>
                    <a:pt x="40" y="4"/>
                  </a:lnTo>
                  <a:lnTo>
                    <a:pt x="34" y="0"/>
                  </a:lnTo>
                  <a:lnTo>
                    <a:pt x="26" y="2"/>
                  </a:lnTo>
                  <a:lnTo>
                    <a:pt x="12" y="6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0" y="79"/>
                  </a:lnTo>
                  <a:lnTo>
                    <a:pt x="12" y="79"/>
                  </a:lnTo>
                  <a:lnTo>
                    <a:pt x="12" y="7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9" name="Freeform 661">
              <a:extLst>
                <a:ext uri="{FF2B5EF4-FFF2-40B4-BE49-F238E27FC236}">
                  <a16:creationId xmlns:a16="http://schemas.microsoft.com/office/drawing/2014/main" id="{406BF2FC-01F4-4A94-A967-02B6B940D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3263" y="3360738"/>
              <a:ext cx="168275" cy="120650"/>
            </a:xfrm>
            <a:custGeom>
              <a:avLst/>
              <a:gdLst/>
              <a:ahLst/>
              <a:cxnLst>
                <a:cxn ang="0">
                  <a:pos x="62" y="32"/>
                </a:cxn>
                <a:cxn ang="0">
                  <a:pos x="48" y="28"/>
                </a:cxn>
                <a:cxn ang="0">
                  <a:pos x="42" y="26"/>
                </a:cxn>
                <a:cxn ang="0">
                  <a:pos x="34" y="26"/>
                </a:cxn>
                <a:cxn ang="0">
                  <a:pos x="26" y="22"/>
                </a:cxn>
                <a:cxn ang="0">
                  <a:pos x="30" y="18"/>
                </a:cxn>
                <a:cxn ang="0">
                  <a:pos x="42" y="18"/>
                </a:cxn>
                <a:cxn ang="0">
                  <a:pos x="48" y="16"/>
                </a:cxn>
                <a:cxn ang="0">
                  <a:pos x="40" y="12"/>
                </a:cxn>
                <a:cxn ang="0">
                  <a:pos x="46" y="6"/>
                </a:cxn>
                <a:cxn ang="0">
                  <a:pos x="40" y="4"/>
                </a:cxn>
                <a:cxn ang="0">
                  <a:pos x="30" y="8"/>
                </a:cxn>
                <a:cxn ang="0">
                  <a:pos x="24" y="16"/>
                </a:cxn>
                <a:cxn ang="0">
                  <a:pos x="20" y="18"/>
                </a:cxn>
                <a:cxn ang="0">
                  <a:pos x="12" y="28"/>
                </a:cxn>
                <a:cxn ang="0">
                  <a:pos x="2" y="28"/>
                </a:cxn>
                <a:cxn ang="0">
                  <a:pos x="4" y="36"/>
                </a:cxn>
                <a:cxn ang="0">
                  <a:pos x="10" y="40"/>
                </a:cxn>
                <a:cxn ang="0">
                  <a:pos x="14" y="50"/>
                </a:cxn>
                <a:cxn ang="0">
                  <a:pos x="10" y="56"/>
                </a:cxn>
                <a:cxn ang="0">
                  <a:pos x="6" y="68"/>
                </a:cxn>
                <a:cxn ang="0">
                  <a:pos x="12" y="68"/>
                </a:cxn>
                <a:cxn ang="0">
                  <a:pos x="24" y="68"/>
                </a:cxn>
                <a:cxn ang="0">
                  <a:pos x="28" y="62"/>
                </a:cxn>
                <a:cxn ang="0">
                  <a:pos x="38" y="56"/>
                </a:cxn>
                <a:cxn ang="0">
                  <a:pos x="42" y="50"/>
                </a:cxn>
                <a:cxn ang="0">
                  <a:pos x="54" y="50"/>
                </a:cxn>
                <a:cxn ang="0">
                  <a:pos x="56" y="54"/>
                </a:cxn>
                <a:cxn ang="0">
                  <a:pos x="58" y="76"/>
                </a:cxn>
                <a:cxn ang="0">
                  <a:pos x="72" y="70"/>
                </a:cxn>
                <a:cxn ang="0">
                  <a:pos x="86" y="64"/>
                </a:cxn>
                <a:cxn ang="0">
                  <a:pos x="88" y="66"/>
                </a:cxn>
                <a:cxn ang="0">
                  <a:pos x="98" y="64"/>
                </a:cxn>
                <a:cxn ang="0">
                  <a:pos x="102" y="66"/>
                </a:cxn>
                <a:cxn ang="0">
                  <a:pos x="102" y="52"/>
                </a:cxn>
                <a:cxn ang="0">
                  <a:pos x="92" y="42"/>
                </a:cxn>
                <a:cxn ang="0">
                  <a:pos x="88" y="42"/>
                </a:cxn>
                <a:cxn ang="0">
                  <a:pos x="78" y="30"/>
                </a:cxn>
              </a:cxnLst>
              <a:rect l="0" t="0" r="r" b="b"/>
              <a:pathLst>
                <a:path w="106" h="76">
                  <a:moveTo>
                    <a:pt x="68" y="30"/>
                  </a:moveTo>
                  <a:lnTo>
                    <a:pt x="62" y="32"/>
                  </a:lnTo>
                  <a:lnTo>
                    <a:pt x="60" y="28"/>
                  </a:lnTo>
                  <a:lnTo>
                    <a:pt x="48" y="28"/>
                  </a:lnTo>
                  <a:lnTo>
                    <a:pt x="44" y="26"/>
                  </a:lnTo>
                  <a:lnTo>
                    <a:pt x="42" y="26"/>
                  </a:lnTo>
                  <a:lnTo>
                    <a:pt x="36" y="26"/>
                  </a:lnTo>
                  <a:lnTo>
                    <a:pt x="34" y="26"/>
                  </a:lnTo>
                  <a:lnTo>
                    <a:pt x="28" y="26"/>
                  </a:lnTo>
                  <a:lnTo>
                    <a:pt x="26" y="22"/>
                  </a:lnTo>
                  <a:lnTo>
                    <a:pt x="26" y="18"/>
                  </a:lnTo>
                  <a:lnTo>
                    <a:pt x="30" y="18"/>
                  </a:lnTo>
                  <a:lnTo>
                    <a:pt x="36" y="14"/>
                  </a:lnTo>
                  <a:lnTo>
                    <a:pt x="42" y="18"/>
                  </a:lnTo>
                  <a:lnTo>
                    <a:pt x="44" y="18"/>
                  </a:lnTo>
                  <a:lnTo>
                    <a:pt x="48" y="16"/>
                  </a:lnTo>
                  <a:lnTo>
                    <a:pt x="48" y="14"/>
                  </a:lnTo>
                  <a:lnTo>
                    <a:pt x="40" y="12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2" y="0"/>
                  </a:lnTo>
                  <a:lnTo>
                    <a:pt x="40" y="4"/>
                  </a:lnTo>
                  <a:lnTo>
                    <a:pt x="36" y="6"/>
                  </a:lnTo>
                  <a:lnTo>
                    <a:pt x="30" y="8"/>
                  </a:lnTo>
                  <a:lnTo>
                    <a:pt x="26" y="10"/>
                  </a:lnTo>
                  <a:lnTo>
                    <a:pt x="24" y="16"/>
                  </a:lnTo>
                  <a:lnTo>
                    <a:pt x="16" y="16"/>
                  </a:lnTo>
                  <a:lnTo>
                    <a:pt x="20" y="18"/>
                  </a:lnTo>
                  <a:lnTo>
                    <a:pt x="18" y="24"/>
                  </a:lnTo>
                  <a:lnTo>
                    <a:pt x="12" y="28"/>
                  </a:lnTo>
                  <a:lnTo>
                    <a:pt x="2" y="26"/>
                  </a:lnTo>
                  <a:lnTo>
                    <a:pt x="2" y="28"/>
                  </a:lnTo>
                  <a:lnTo>
                    <a:pt x="0" y="28"/>
                  </a:lnTo>
                  <a:lnTo>
                    <a:pt x="4" y="36"/>
                  </a:lnTo>
                  <a:lnTo>
                    <a:pt x="10" y="36"/>
                  </a:lnTo>
                  <a:lnTo>
                    <a:pt x="10" y="40"/>
                  </a:lnTo>
                  <a:lnTo>
                    <a:pt x="10" y="44"/>
                  </a:lnTo>
                  <a:lnTo>
                    <a:pt x="14" y="50"/>
                  </a:lnTo>
                  <a:lnTo>
                    <a:pt x="12" y="54"/>
                  </a:lnTo>
                  <a:lnTo>
                    <a:pt x="10" y="56"/>
                  </a:lnTo>
                  <a:lnTo>
                    <a:pt x="6" y="62"/>
                  </a:lnTo>
                  <a:lnTo>
                    <a:pt x="6" y="68"/>
                  </a:lnTo>
                  <a:lnTo>
                    <a:pt x="12" y="70"/>
                  </a:lnTo>
                  <a:lnTo>
                    <a:pt x="12" y="68"/>
                  </a:lnTo>
                  <a:lnTo>
                    <a:pt x="18" y="66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2"/>
                  </a:lnTo>
                  <a:lnTo>
                    <a:pt x="34" y="60"/>
                  </a:lnTo>
                  <a:lnTo>
                    <a:pt x="38" y="56"/>
                  </a:lnTo>
                  <a:lnTo>
                    <a:pt x="40" y="54"/>
                  </a:lnTo>
                  <a:lnTo>
                    <a:pt x="42" y="50"/>
                  </a:lnTo>
                  <a:lnTo>
                    <a:pt x="50" y="46"/>
                  </a:lnTo>
                  <a:lnTo>
                    <a:pt x="54" y="50"/>
                  </a:lnTo>
                  <a:lnTo>
                    <a:pt x="54" y="54"/>
                  </a:lnTo>
                  <a:lnTo>
                    <a:pt x="56" y="54"/>
                  </a:lnTo>
                  <a:lnTo>
                    <a:pt x="56" y="68"/>
                  </a:lnTo>
                  <a:lnTo>
                    <a:pt x="58" y="76"/>
                  </a:lnTo>
                  <a:lnTo>
                    <a:pt x="64" y="72"/>
                  </a:lnTo>
                  <a:lnTo>
                    <a:pt x="72" y="70"/>
                  </a:lnTo>
                  <a:lnTo>
                    <a:pt x="78" y="64"/>
                  </a:lnTo>
                  <a:lnTo>
                    <a:pt x="86" y="64"/>
                  </a:lnTo>
                  <a:lnTo>
                    <a:pt x="84" y="66"/>
                  </a:lnTo>
                  <a:lnTo>
                    <a:pt x="88" y="66"/>
                  </a:lnTo>
                  <a:lnTo>
                    <a:pt x="92" y="64"/>
                  </a:lnTo>
                  <a:lnTo>
                    <a:pt x="98" y="64"/>
                  </a:lnTo>
                  <a:lnTo>
                    <a:pt x="100" y="64"/>
                  </a:lnTo>
                  <a:lnTo>
                    <a:pt x="102" y="66"/>
                  </a:lnTo>
                  <a:lnTo>
                    <a:pt x="106" y="64"/>
                  </a:lnTo>
                  <a:lnTo>
                    <a:pt x="102" y="52"/>
                  </a:lnTo>
                  <a:lnTo>
                    <a:pt x="100" y="44"/>
                  </a:lnTo>
                  <a:lnTo>
                    <a:pt x="92" y="42"/>
                  </a:lnTo>
                  <a:lnTo>
                    <a:pt x="90" y="44"/>
                  </a:lnTo>
                  <a:lnTo>
                    <a:pt x="88" y="42"/>
                  </a:lnTo>
                  <a:lnTo>
                    <a:pt x="86" y="28"/>
                  </a:lnTo>
                  <a:lnTo>
                    <a:pt x="78" y="30"/>
                  </a:lnTo>
                  <a:lnTo>
                    <a:pt x="68" y="3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0" name="Freeform 663">
              <a:extLst>
                <a:ext uri="{FF2B5EF4-FFF2-40B4-BE49-F238E27FC236}">
                  <a16:creationId xmlns:a16="http://schemas.microsoft.com/office/drawing/2014/main" id="{64C05FFD-EE8C-4A3D-B9E0-E1CD23121F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4013" y="3311525"/>
              <a:ext cx="330200" cy="211138"/>
            </a:xfrm>
            <a:custGeom>
              <a:avLst/>
              <a:gdLst/>
              <a:ahLst/>
              <a:cxnLst>
                <a:cxn ang="0">
                  <a:pos x="152" y="133"/>
                </a:cxn>
                <a:cxn ang="0">
                  <a:pos x="154" y="131"/>
                </a:cxn>
                <a:cxn ang="0">
                  <a:pos x="160" y="129"/>
                </a:cxn>
                <a:cxn ang="0">
                  <a:pos x="164" y="123"/>
                </a:cxn>
                <a:cxn ang="0">
                  <a:pos x="174" y="117"/>
                </a:cxn>
                <a:cxn ang="0">
                  <a:pos x="182" y="109"/>
                </a:cxn>
                <a:cxn ang="0">
                  <a:pos x="186" y="99"/>
                </a:cxn>
                <a:cxn ang="0">
                  <a:pos x="196" y="95"/>
                </a:cxn>
                <a:cxn ang="0">
                  <a:pos x="204" y="95"/>
                </a:cxn>
                <a:cxn ang="0">
                  <a:pos x="208" y="89"/>
                </a:cxn>
                <a:cxn ang="0">
                  <a:pos x="196" y="79"/>
                </a:cxn>
                <a:cxn ang="0">
                  <a:pos x="186" y="73"/>
                </a:cxn>
                <a:cxn ang="0">
                  <a:pos x="178" y="67"/>
                </a:cxn>
                <a:cxn ang="0">
                  <a:pos x="170" y="63"/>
                </a:cxn>
                <a:cxn ang="0">
                  <a:pos x="164" y="59"/>
                </a:cxn>
                <a:cxn ang="0">
                  <a:pos x="158" y="53"/>
                </a:cxn>
                <a:cxn ang="0">
                  <a:pos x="150" y="41"/>
                </a:cxn>
                <a:cxn ang="0">
                  <a:pos x="144" y="29"/>
                </a:cxn>
                <a:cxn ang="0">
                  <a:pos x="134" y="27"/>
                </a:cxn>
                <a:cxn ang="0">
                  <a:pos x="132" y="27"/>
                </a:cxn>
                <a:cxn ang="0">
                  <a:pos x="126" y="27"/>
                </a:cxn>
                <a:cxn ang="0">
                  <a:pos x="122" y="19"/>
                </a:cxn>
                <a:cxn ang="0">
                  <a:pos x="120" y="10"/>
                </a:cxn>
                <a:cxn ang="0">
                  <a:pos x="110" y="8"/>
                </a:cxn>
                <a:cxn ang="0">
                  <a:pos x="96" y="2"/>
                </a:cxn>
                <a:cxn ang="0">
                  <a:pos x="96" y="6"/>
                </a:cxn>
                <a:cxn ang="0">
                  <a:pos x="92" y="6"/>
                </a:cxn>
                <a:cxn ang="0">
                  <a:pos x="90" y="11"/>
                </a:cxn>
                <a:cxn ang="0">
                  <a:pos x="82" y="13"/>
                </a:cxn>
                <a:cxn ang="0">
                  <a:pos x="78" y="15"/>
                </a:cxn>
                <a:cxn ang="0">
                  <a:pos x="78" y="21"/>
                </a:cxn>
                <a:cxn ang="0">
                  <a:pos x="78" y="23"/>
                </a:cxn>
                <a:cxn ang="0">
                  <a:pos x="66" y="27"/>
                </a:cxn>
                <a:cxn ang="0">
                  <a:pos x="52" y="19"/>
                </a:cxn>
                <a:cxn ang="0">
                  <a:pos x="50" y="13"/>
                </a:cxn>
                <a:cxn ang="0">
                  <a:pos x="24" y="11"/>
                </a:cxn>
                <a:cxn ang="0">
                  <a:pos x="16" y="19"/>
                </a:cxn>
                <a:cxn ang="0">
                  <a:pos x="6" y="37"/>
                </a:cxn>
                <a:cxn ang="0">
                  <a:pos x="6" y="61"/>
                </a:cxn>
                <a:cxn ang="0">
                  <a:pos x="2" y="73"/>
                </a:cxn>
                <a:cxn ang="0">
                  <a:pos x="12" y="87"/>
                </a:cxn>
                <a:cxn ang="0">
                  <a:pos x="26" y="93"/>
                </a:cxn>
                <a:cxn ang="0">
                  <a:pos x="36" y="95"/>
                </a:cxn>
                <a:cxn ang="0">
                  <a:pos x="56" y="85"/>
                </a:cxn>
                <a:cxn ang="0">
                  <a:pos x="72" y="81"/>
                </a:cxn>
                <a:cxn ang="0">
                  <a:pos x="82" y="81"/>
                </a:cxn>
                <a:cxn ang="0">
                  <a:pos x="96" y="89"/>
                </a:cxn>
                <a:cxn ang="0">
                  <a:pos x="104" y="91"/>
                </a:cxn>
                <a:cxn ang="0">
                  <a:pos x="122" y="103"/>
                </a:cxn>
                <a:cxn ang="0">
                  <a:pos x="136" y="107"/>
                </a:cxn>
                <a:cxn ang="0">
                  <a:pos x="136" y="125"/>
                </a:cxn>
                <a:cxn ang="0">
                  <a:pos x="150" y="131"/>
                </a:cxn>
              </a:cxnLst>
              <a:rect l="0" t="0" r="r" b="b"/>
              <a:pathLst>
                <a:path w="208" h="133">
                  <a:moveTo>
                    <a:pt x="150" y="131"/>
                  </a:moveTo>
                  <a:lnTo>
                    <a:pt x="152" y="133"/>
                  </a:lnTo>
                  <a:lnTo>
                    <a:pt x="154" y="131"/>
                  </a:lnTo>
                  <a:lnTo>
                    <a:pt x="154" y="131"/>
                  </a:lnTo>
                  <a:lnTo>
                    <a:pt x="156" y="131"/>
                  </a:lnTo>
                  <a:lnTo>
                    <a:pt x="160" y="129"/>
                  </a:lnTo>
                  <a:lnTo>
                    <a:pt x="162" y="125"/>
                  </a:lnTo>
                  <a:lnTo>
                    <a:pt x="164" y="123"/>
                  </a:lnTo>
                  <a:lnTo>
                    <a:pt x="162" y="121"/>
                  </a:lnTo>
                  <a:lnTo>
                    <a:pt x="174" y="117"/>
                  </a:lnTo>
                  <a:lnTo>
                    <a:pt x="182" y="111"/>
                  </a:lnTo>
                  <a:lnTo>
                    <a:pt x="182" y="109"/>
                  </a:lnTo>
                  <a:lnTo>
                    <a:pt x="184" y="105"/>
                  </a:lnTo>
                  <a:lnTo>
                    <a:pt x="186" y="99"/>
                  </a:lnTo>
                  <a:lnTo>
                    <a:pt x="192" y="97"/>
                  </a:lnTo>
                  <a:lnTo>
                    <a:pt x="196" y="95"/>
                  </a:lnTo>
                  <a:lnTo>
                    <a:pt x="198" y="93"/>
                  </a:lnTo>
                  <a:lnTo>
                    <a:pt x="204" y="95"/>
                  </a:lnTo>
                  <a:lnTo>
                    <a:pt x="208" y="95"/>
                  </a:lnTo>
                  <a:lnTo>
                    <a:pt x="208" y="89"/>
                  </a:lnTo>
                  <a:lnTo>
                    <a:pt x="204" y="83"/>
                  </a:lnTo>
                  <a:lnTo>
                    <a:pt x="196" y="79"/>
                  </a:lnTo>
                  <a:lnTo>
                    <a:pt x="188" y="73"/>
                  </a:lnTo>
                  <a:lnTo>
                    <a:pt x="186" y="73"/>
                  </a:lnTo>
                  <a:lnTo>
                    <a:pt x="180" y="69"/>
                  </a:lnTo>
                  <a:lnTo>
                    <a:pt x="178" y="67"/>
                  </a:lnTo>
                  <a:lnTo>
                    <a:pt x="172" y="65"/>
                  </a:lnTo>
                  <a:lnTo>
                    <a:pt x="170" y="63"/>
                  </a:lnTo>
                  <a:lnTo>
                    <a:pt x="170" y="63"/>
                  </a:lnTo>
                  <a:lnTo>
                    <a:pt x="164" y="59"/>
                  </a:lnTo>
                  <a:lnTo>
                    <a:pt x="160" y="55"/>
                  </a:lnTo>
                  <a:lnTo>
                    <a:pt x="158" y="53"/>
                  </a:lnTo>
                  <a:lnTo>
                    <a:pt x="154" y="51"/>
                  </a:lnTo>
                  <a:lnTo>
                    <a:pt x="150" y="41"/>
                  </a:lnTo>
                  <a:lnTo>
                    <a:pt x="146" y="33"/>
                  </a:lnTo>
                  <a:lnTo>
                    <a:pt x="144" y="29"/>
                  </a:lnTo>
                  <a:lnTo>
                    <a:pt x="138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2" y="27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4" y="27"/>
                  </a:lnTo>
                  <a:lnTo>
                    <a:pt x="122" y="19"/>
                  </a:lnTo>
                  <a:lnTo>
                    <a:pt x="120" y="17"/>
                  </a:lnTo>
                  <a:lnTo>
                    <a:pt x="120" y="10"/>
                  </a:lnTo>
                  <a:lnTo>
                    <a:pt x="114" y="10"/>
                  </a:lnTo>
                  <a:lnTo>
                    <a:pt x="110" y="8"/>
                  </a:lnTo>
                  <a:lnTo>
                    <a:pt x="100" y="0"/>
                  </a:lnTo>
                  <a:lnTo>
                    <a:pt x="96" y="2"/>
                  </a:lnTo>
                  <a:lnTo>
                    <a:pt x="94" y="4"/>
                  </a:lnTo>
                  <a:lnTo>
                    <a:pt x="96" y="6"/>
                  </a:lnTo>
                  <a:lnTo>
                    <a:pt x="98" y="10"/>
                  </a:lnTo>
                  <a:lnTo>
                    <a:pt x="92" y="6"/>
                  </a:lnTo>
                  <a:lnTo>
                    <a:pt x="92" y="6"/>
                  </a:lnTo>
                  <a:lnTo>
                    <a:pt x="90" y="11"/>
                  </a:lnTo>
                  <a:lnTo>
                    <a:pt x="86" y="11"/>
                  </a:lnTo>
                  <a:lnTo>
                    <a:pt x="82" y="13"/>
                  </a:lnTo>
                  <a:lnTo>
                    <a:pt x="80" y="15"/>
                  </a:lnTo>
                  <a:lnTo>
                    <a:pt x="78" y="15"/>
                  </a:lnTo>
                  <a:lnTo>
                    <a:pt x="78" y="17"/>
                  </a:lnTo>
                  <a:lnTo>
                    <a:pt x="78" y="21"/>
                  </a:lnTo>
                  <a:lnTo>
                    <a:pt x="78" y="21"/>
                  </a:lnTo>
                  <a:lnTo>
                    <a:pt x="78" y="23"/>
                  </a:lnTo>
                  <a:lnTo>
                    <a:pt x="78" y="27"/>
                  </a:lnTo>
                  <a:lnTo>
                    <a:pt x="66" y="27"/>
                  </a:lnTo>
                  <a:lnTo>
                    <a:pt x="56" y="27"/>
                  </a:lnTo>
                  <a:lnTo>
                    <a:pt x="52" y="19"/>
                  </a:lnTo>
                  <a:lnTo>
                    <a:pt x="52" y="17"/>
                  </a:lnTo>
                  <a:lnTo>
                    <a:pt x="50" y="13"/>
                  </a:lnTo>
                  <a:lnTo>
                    <a:pt x="38" y="8"/>
                  </a:lnTo>
                  <a:lnTo>
                    <a:pt x="24" y="11"/>
                  </a:lnTo>
                  <a:lnTo>
                    <a:pt x="20" y="15"/>
                  </a:lnTo>
                  <a:lnTo>
                    <a:pt x="16" y="19"/>
                  </a:lnTo>
                  <a:lnTo>
                    <a:pt x="0" y="27"/>
                  </a:lnTo>
                  <a:lnTo>
                    <a:pt x="6" y="37"/>
                  </a:lnTo>
                  <a:lnTo>
                    <a:pt x="6" y="51"/>
                  </a:lnTo>
                  <a:lnTo>
                    <a:pt x="6" y="61"/>
                  </a:lnTo>
                  <a:lnTo>
                    <a:pt x="2" y="67"/>
                  </a:lnTo>
                  <a:lnTo>
                    <a:pt x="2" y="73"/>
                  </a:lnTo>
                  <a:lnTo>
                    <a:pt x="8" y="83"/>
                  </a:lnTo>
                  <a:lnTo>
                    <a:pt x="12" y="87"/>
                  </a:lnTo>
                  <a:lnTo>
                    <a:pt x="18" y="89"/>
                  </a:lnTo>
                  <a:lnTo>
                    <a:pt x="26" y="93"/>
                  </a:lnTo>
                  <a:lnTo>
                    <a:pt x="32" y="97"/>
                  </a:lnTo>
                  <a:lnTo>
                    <a:pt x="36" y="95"/>
                  </a:lnTo>
                  <a:lnTo>
                    <a:pt x="48" y="93"/>
                  </a:lnTo>
                  <a:lnTo>
                    <a:pt x="56" y="85"/>
                  </a:lnTo>
                  <a:lnTo>
                    <a:pt x="64" y="81"/>
                  </a:lnTo>
                  <a:lnTo>
                    <a:pt x="72" y="81"/>
                  </a:lnTo>
                  <a:lnTo>
                    <a:pt x="82" y="79"/>
                  </a:lnTo>
                  <a:lnTo>
                    <a:pt x="82" y="81"/>
                  </a:lnTo>
                  <a:lnTo>
                    <a:pt x="86" y="83"/>
                  </a:lnTo>
                  <a:lnTo>
                    <a:pt x="96" y="89"/>
                  </a:lnTo>
                  <a:lnTo>
                    <a:pt x="98" y="89"/>
                  </a:lnTo>
                  <a:lnTo>
                    <a:pt x="104" y="91"/>
                  </a:lnTo>
                  <a:lnTo>
                    <a:pt x="118" y="101"/>
                  </a:lnTo>
                  <a:lnTo>
                    <a:pt x="122" y="103"/>
                  </a:lnTo>
                  <a:lnTo>
                    <a:pt x="124" y="107"/>
                  </a:lnTo>
                  <a:lnTo>
                    <a:pt x="136" y="107"/>
                  </a:lnTo>
                  <a:lnTo>
                    <a:pt x="134" y="119"/>
                  </a:lnTo>
                  <a:lnTo>
                    <a:pt x="136" y="125"/>
                  </a:lnTo>
                  <a:lnTo>
                    <a:pt x="146" y="127"/>
                  </a:lnTo>
                  <a:lnTo>
                    <a:pt x="150" y="131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1" name="Freeform 665">
              <a:extLst>
                <a:ext uri="{FF2B5EF4-FFF2-40B4-BE49-F238E27FC236}">
                  <a16:creationId xmlns:a16="http://schemas.microsoft.com/office/drawing/2014/main" id="{B235BE2E-94DF-4F5B-B914-68D646F9B7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3354388"/>
              <a:ext cx="66675" cy="66675"/>
            </a:xfrm>
            <a:custGeom>
              <a:avLst/>
              <a:gdLst/>
              <a:ahLst/>
              <a:cxnLst>
                <a:cxn ang="0">
                  <a:pos x="28" y="30"/>
                </a:cxn>
                <a:cxn ang="0">
                  <a:pos x="32" y="30"/>
                </a:cxn>
                <a:cxn ang="0">
                  <a:pos x="36" y="36"/>
                </a:cxn>
                <a:cxn ang="0">
                  <a:pos x="36" y="36"/>
                </a:cxn>
                <a:cxn ang="0">
                  <a:pos x="36" y="38"/>
                </a:cxn>
                <a:cxn ang="0">
                  <a:pos x="38" y="42"/>
                </a:cxn>
                <a:cxn ang="0">
                  <a:pos x="42" y="42"/>
                </a:cxn>
                <a:cxn ang="0">
                  <a:pos x="42" y="38"/>
                </a:cxn>
                <a:cxn ang="0">
                  <a:pos x="42" y="36"/>
                </a:cxn>
                <a:cxn ang="0">
                  <a:pos x="42" y="30"/>
                </a:cxn>
                <a:cxn ang="0">
                  <a:pos x="36" y="26"/>
                </a:cxn>
                <a:cxn ang="0">
                  <a:pos x="34" y="22"/>
                </a:cxn>
                <a:cxn ang="0">
                  <a:pos x="34" y="18"/>
                </a:cxn>
                <a:cxn ang="0">
                  <a:pos x="28" y="12"/>
                </a:cxn>
                <a:cxn ang="0">
                  <a:pos x="22" y="0"/>
                </a:cxn>
                <a:cxn ang="0">
                  <a:pos x="16" y="2"/>
                </a:cxn>
                <a:cxn ang="0">
                  <a:pos x="8" y="2"/>
                </a:cxn>
                <a:cxn ang="0">
                  <a:pos x="0" y="2"/>
                </a:cxn>
                <a:cxn ang="0">
                  <a:pos x="4" y="10"/>
                </a:cxn>
                <a:cxn ang="0">
                  <a:pos x="4" y="10"/>
                </a:cxn>
                <a:cxn ang="0">
                  <a:pos x="4" y="12"/>
                </a:cxn>
                <a:cxn ang="0">
                  <a:pos x="4" y="20"/>
                </a:cxn>
                <a:cxn ang="0">
                  <a:pos x="18" y="28"/>
                </a:cxn>
                <a:cxn ang="0">
                  <a:pos x="22" y="28"/>
                </a:cxn>
                <a:cxn ang="0">
                  <a:pos x="28" y="30"/>
                </a:cxn>
              </a:cxnLst>
              <a:rect l="0" t="0" r="r" b="b"/>
              <a:pathLst>
                <a:path w="42" h="42">
                  <a:moveTo>
                    <a:pt x="28" y="30"/>
                  </a:moveTo>
                  <a:lnTo>
                    <a:pt x="32" y="30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8"/>
                  </a:lnTo>
                  <a:lnTo>
                    <a:pt x="38" y="42"/>
                  </a:lnTo>
                  <a:lnTo>
                    <a:pt x="42" y="42"/>
                  </a:lnTo>
                  <a:lnTo>
                    <a:pt x="42" y="38"/>
                  </a:lnTo>
                  <a:lnTo>
                    <a:pt x="42" y="36"/>
                  </a:lnTo>
                  <a:lnTo>
                    <a:pt x="42" y="30"/>
                  </a:lnTo>
                  <a:lnTo>
                    <a:pt x="36" y="26"/>
                  </a:lnTo>
                  <a:lnTo>
                    <a:pt x="34" y="22"/>
                  </a:lnTo>
                  <a:lnTo>
                    <a:pt x="34" y="18"/>
                  </a:lnTo>
                  <a:lnTo>
                    <a:pt x="28" y="12"/>
                  </a:lnTo>
                  <a:lnTo>
                    <a:pt x="22" y="0"/>
                  </a:lnTo>
                  <a:lnTo>
                    <a:pt x="16" y="2"/>
                  </a:lnTo>
                  <a:lnTo>
                    <a:pt x="8" y="2"/>
                  </a:lnTo>
                  <a:lnTo>
                    <a:pt x="0" y="2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4" y="20"/>
                  </a:lnTo>
                  <a:lnTo>
                    <a:pt x="18" y="28"/>
                  </a:lnTo>
                  <a:lnTo>
                    <a:pt x="22" y="28"/>
                  </a:lnTo>
                  <a:lnTo>
                    <a:pt x="28" y="3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2" name="Freeform 666">
              <a:extLst>
                <a:ext uri="{FF2B5EF4-FFF2-40B4-BE49-F238E27FC236}">
                  <a16:creationId xmlns:a16="http://schemas.microsoft.com/office/drawing/2014/main" id="{3B3739E1-EEE1-40CE-AB93-FD1BE22825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4538" y="3298825"/>
              <a:ext cx="234950" cy="112713"/>
            </a:xfrm>
            <a:custGeom>
              <a:avLst/>
              <a:gdLst/>
              <a:ahLst/>
              <a:cxnLst>
                <a:cxn ang="0">
                  <a:pos x="134" y="10"/>
                </a:cxn>
                <a:cxn ang="0">
                  <a:pos x="118" y="6"/>
                </a:cxn>
                <a:cxn ang="0">
                  <a:pos x="92" y="6"/>
                </a:cxn>
                <a:cxn ang="0">
                  <a:pos x="76" y="6"/>
                </a:cxn>
                <a:cxn ang="0">
                  <a:pos x="56" y="6"/>
                </a:cxn>
                <a:cxn ang="0">
                  <a:pos x="56" y="16"/>
                </a:cxn>
                <a:cxn ang="0">
                  <a:pos x="48" y="12"/>
                </a:cxn>
                <a:cxn ang="0">
                  <a:pos x="28" y="8"/>
                </a:cxn>
                <a:cxn ang="0">
                  <a:pos x="22" y="18"/>
                </a:cxn>
                <a:cxn ang="0">
                  <a:pos x="26" y="19"/>
                </a:cxn>
                <a:cxn ang="0">
                  <a:pos x="14" y="31"/>
                </a:cxn>
                <a:cxn ang="0">
                  <a:pos x="24" y="37"/>
                </a:cxn>
                <a:cxn ang="0">
                  <a:pos x="28" y="37"/>
                </a:cxn>
                <a:cxn ang="0">
                  <a:pos x="32" y="33"/>
                </a:cxn>
                <a:cxn ang="0">
                  <a:pos x="38" y="37"/>
                </a:cxn>
                <a:cxn ang="0">
                  <a:pos x="44" y="43"/>
                </a:cxn>
                <a:cxn ang="0">
                  <a:pos x="52" y="43"/>
                </a:cxn>
                <a:cxn ang="0">
                  <a:pos x="42" y="51"/>
                </a:cxn>
                <a:cxn ang="0">
                  <a:pos x="36" y="53"/>
                </a:cxn>
                <a:cxn ang="0">
                  <a:pos x="22" y="53"/>
                </a:cxn>
                <a:cxn ang="0">
                  <a:pos x="18" y="57"/>
                </a:cxn>
                <a:cxn ang="0">
                  <a:pos x="10" y="53"/>
                </a:cxn>
                <a:cxn ang="0">
                  <a:pos x="0" y="57"/>
                </a:cxn>
                <a:cxn ang="0">
                  <a:pos x="2" y="65"/>
                </a:cxn>
                <a:cxn ang="0">
                  <a:pos x="10" y="65"/>
                </a:cxn>
                <a:cxn ang="0">
                  <a:pos x="18" y="65"/>
                </a:cxn>
                <a:cxn ang="0">
                  <a:pos x="34" y="67"/>
                </a:cxn>
                <a:cxn ang="0">
                  <a:pos x="42" y="69"/>
                </a:cxn>
                <a:cxn ang="0">
                  <a:pos x="60" y="67"/>
                </a:cxn>
                <a:cxn ang="0">
                  <a:pos x="64" y="65"/>
                </a:cxn>
                <a:cxn ang="0">
                  <a:pos x="68" y="55"/>
                </a:cxn>
                <a:cxn ang="0">
                  <a:pos x="76" y="49"/>
                </a:cxn>
                <a:cxn ang="0">
                  <a:pos x="86" y="53"/>
                </a:cxn>
                <a:cxn ang="0">
                  <a:pos x="98" y="51"/>
                </a:cxn>
                <a:cxn ang="0">
                  <a:pos x="102" y="43"/>
                </a:cxn>
                <a:cxn ang="0">
                  <a:pos x="110" y="41"/>
                </a:cxn>
                <a:cxn ang="0">
                  <a:pos x="122" y="37"/>
                </a:cxn>
                <a:cxn ang="0">
                  <a:pos x="128" y="31"/>
                </a:cxn>
                <a:cxn ang="0">
                  <a:pos x="144" y="23"/>
                </a:cxn>
                <a:cxn ang="0">
                  <a:pos x="148" y="19"/>
                </a:cxn>
                <a:cxn ang="0">
                  <a:pos x="136" y="12"/>
                </a:cxn>
              </a:cxnLst>
              <a:rect l="0" t="0" r="r" b="b"/>
              <a:pathLst>
                <a:path w="148" h="71">
                  <a:moveTo>
                    <a:pt x="136" y="12"/>
                  </a:moveTo>
                  <a:lnTo>
                    <a:pt x="134" y="10"/>
                  </a:lnTo>
                  <a:lnTo>
                    <a:pt x="118" y="6"/>
                  </a:lnTo>
                  <a:lnTo>
                    <a:pt x="118" y="6"/>
                  </a:lnTo>
                  <a:lnTo>
                    <a:pt x="104" y="4"/>
                  </a:lnTo>
                  <a:lnTo>
                    <a:pt x="92" y="6"/>
                  </a:lnTo>
                  <a:lnTo>
                    <a:pt x="88" y="8"/>
                  </a:lnTo>
                  <a:lnTo>
                    <a:pt x="76" y="6"/>
                  </a:lnTo>
                  <a:lnTo>
                    <a:pt x="68" y="0"/>
                  </a:lnTo>
                  <a:lnTo>
                    <a:pt x="56" y="6"/>
                  </a:lnTo>
                  <a:lnTo>
                    <a:pt x="56" y="14"/>
                  </a:lnTo>
                  <a:lnTo>
                    <a:pt x="56" y="16"/>
                  </a:lnTo>
                  <a:lnTo>
                    <a:pt x="52" y="14"/>
                  </a:lnTo>
                  <a:lnTo>
                    <a:pt x="48" y="12"/>
                  </a:lnTo>
                  <a:lnTo>
                    <a:pt x="46" y="10"/>
                  </a:lnTo>
                  <a:lnTo>
                    <a:pt x="28" y="8"/>
                  </a:lnTo>
                  <a:lnTo>
                    <a:pt x="26" y="8"/>
                  </a:lnTo>
                  <a:lnTo>
                    <a:pt x="22" y="18"/>
                  </a:lnTo>
                  <a:lnTo>
                    <a:pt x="26" y="18"/>
                  </a:lnTo>
                  <a:lnTo>
                    <a:pt x="26" y="19"/>
                  </a:lnTo>
                  <a:lnTo>
                    <a:pt x="18" y="25"/>
                  </a:lnTo>
                  <a:lnTo>
                    <a:pt x="14" y="31"/>
                  </a:lnTo>
                  <a:lnTo>
                    <a:pt x="22" y="35"/>
                  </a:lnTo>
                  <a:lnTo>
                    <a:pt x="24" y="37"/>
                  </a:lnTo>
                  <a:lnTo>
                    <a:pt x="26" y="37"/>
                  </a:lnTo>
                  <a:lnTo>
                    <a:pt x="28" y="37"/>
                  </a:lnTo>
                  <a:lnTo>
                    <a:pt x="30" y="35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8" y="37"/>
                  </a:lnTo>
                  <a:lnTo>
                    <a:pt x="38" y="37"/>
                  </a:lnTo>
                  <a:lnTo>
                    <a:pt x="44" y="43"/>
                  </a:lnTo>
                  <a:lnTo>
                    <a:pt x="50" y="43"/>
                  </a:lnTo>
                  <a:lnTo>
                    <a:pt x="52" y="43"/>
                  </a:lnTo>
                  <a:lnTo>
                    <a:pt x="44" y="49"/>
                  </a:lnTo>
                  <a:lnTo>
                    <a:pt x="42" y="51"/>
                  </a:lnTo>
                  <a:lnTo>
                    <a:pt x="40" y="49"/>
                  </a:lnTo>
                  <a:lnTo>
                    <a:pt x="36" y="53"/>
                  </a:lnTo>
                  <a:lnTo>
                    <a:pt x="28" y="53"/>
                  </a:lnTo>
                  <a:lnTo>
                    <a:pt x="22" y="53"/>
                  </a:lnTo>
                  <a:lnTo>
                    <a:pt x="22" y="55"/>
                  </a:lnTo>
                  <a:lnTo>
                    <a:pt x="18" y="57"/>
                  </a:lnTo>
                  <a:lnTo>
                    <a:pt x="16" y="57"/>
                  </a:lnTo>
                  <a:lnTo>
                    <a:pt x="10" y="53"/>
                  </a:lnTo>
                  <a:lnTo>
                    <a:pt x="4" y="57"/>
                  </a:lnTo>
                  <a:lnTo>
                    <a:pt x="0" y="57"/>
                  </a:lnTo>
                  <a:lnTo>
                    <a:pt x="0" y="61"/>
                  </a:lnTo>
                  <a:lnTo>
                    <a:pt x="2" y="65"/>
                  </a:lnTo>
                  <a:lnTo>
                    <a:pt x="8" y="65"/>
                  </a:lnTo>
                  <a:lnTo>
                    <a:pt x="10" y="65"/>
                  </a:lnTo>
                  <a:lnTo>
                    <a:pt x="16" y="65"/>
                  </a:lnTo>
                  <a:lnTo>
                    <a:pt x="18" y="65"/>
                  </a:lnTo>
                  <a:lnTo>
                    <a:pt x="22" y="67"/>
                  </a:lnTo>
                  <a:lnTo>
                    <a:pt x="34" y="67"/>
                  </a:lnTo>
                  <a:lnTo>
                    <a:pt x="36" y="71"/>
                  </a:lnTo>
                  <a:lnTo>
                    <a:pt x="42" y="69"/>
                  </a:lnTo>
                  <a:lnTo>
                    <a:pt x="52" y="69"/>
                  </a:lnTo>
                  <a:lnTo>
                    <a:pt x="60" y="67"/>
                  </a:lnTo>
                  <a:lnTo>
                    <a:pt x="62" y="67"/>
                  </a:lnTo>
                  <a:lnTo>
                    <a:pt x="64" y="65"/>
                  </a:lnTo>
                  <a:lnTo>
                    <a:pt x="62" y="63"/>
                  </a:lnTo>
                  <a:lnTo>
                    <a:pt x="68" y="55"/>
                  </a:lnTo>
                  <a:lnTo>
                    <a:pt x="74" y="51"/>
                  </a:lnTo>
                  <a:lnTo>
                    <a:pt x="76" y="49"/>
                  </a:lnTo>
                  <a:lnTo>
                    <a:pt x="86" y="49"/>
                  </a:lnTo>
                  <a:lnTo>
                    <a:pt x="86" y="53"/>
                  </a:lnTo>
                  <a:lnTo>
                    <a:pt x="90" y="53"/>
                  </a:lnTo>
                  <a:lnTo>
                    <a:pt x="98" y="51"/>
                  </a:lnTo>
                  <a:lnTo>
                    <a:pt x="100" y="47"/>
                  </a:lnTo>
                  <a:lnTo>
                    <a:pt x="102" y="43"/>
                  </a:lnTo>
                  <a:lnTo>
                    <a:pt x="106" y="39"/>
                  </a:lnTo>
                  <a:lnTo>
                    <a:pt x="110" y="41"/>
                  </a:lnTo>
                  <a:lnTo>
                    <a:pt x="116" y="39"/>
                  </a:lnTo>
                  <a:lnTo>
                    <a:pt x="122" y="37"/>
                  </a:lnTo>
                  <a:lnTo>
                    <a:pt x="124" y="33"/>
                  </a:lnTo>
                  <a:lnTo>
                    <a:pt x="128" y="31"/>
                  </a:lnTo>
                  <a:lnTo>
                    <a:pt x="140" y="25"/>
                  </a:lnTo>
                  <a:lnTo>
                    <a:pt x="144" y="23"/>
                  </a:lnTo>
                  <a:lnTo>
                    <a:pt x="148" y="21"/>
                  </a:lnTo>
                  <a:lnTo>
                    <a:pt x="148" y="19"/>
                  </a:lnTo>
                  <a:lnTo>
                    <a:pt x="146" y="16"/>
                  </a:lnTo>
                  <a:lnTo>
                    <a:pt x="136" y="12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3" name="Freeform 667">
              <a:extLst>
                <a:ext uri="{FF2B5EF4-FFF2-40B4-BE49-F238E27FC236}">
                  <a16:creationId xmlns:a16="http://schemas.microsoft.com/office/drawing/2014/main" id="{3C0F523B-3CDB-44AF-84F0-B8AD951196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4313" y="3314699"/>
              <a:ext cx="149225" cy="122238"/>
            </a:xfrm>
            <a:custGeom>
              <a:avLst/>
              <a:gdLst/>
              <a:ahLst/>
              <a:cxnLst/>
              <a:rect l="l" t="t" r="r" b="b"/>
              <a:pathLst>
                <a:path w="149225" h="122238">
                  <a:moveTo>
                    <a:pt x="0" y="84138"/>
                  </a:moveTo>
                  <a:lnTo>
                    <a:pt x="6350" y="84138"/>
                  </a:lnTo>
                  <a:lnTo>
                    <a:pt x="15875" y="87313"/>
                  </a:lnTo>
                  <a:lnTo>
                    <a:pt x="22225" y="87313"/>
                  </a:lnTo>
                  <a:lnTo>
                    <a:pt x="28575" y="96838"/>
                  </a:lnTo>
                  <a:lnTo>
                    <a:pt x="28575" y="100013"/>
                  </a:lnTo>
                  <a:lnTo>
                    <a:pt x="31750" y="106363"/>
                  </a:lnTo>
                  <a:lnTo>
                    <a:pt x="15875" y="103188"/>
                  </a:lnTo>
                  <a:lnTo>
                    <a:pt x="0" y="87313"/>
                  </a:lnTo>
                  <a:close/>
                  <a:moveTo>
                    <a:pt x="107950" y="0"/>
                  </a:moveTo>
                  <a:lnTo>
                    <a:pt x="139700" y="39688"/>
                  </a:lnTo>
                  <a:lnTo>
                    <a:pt x="149225" y="55563"/>
                  </a:lnTo>
                  <a:lnTo>
                    <a:pt x="149225" y="77788"/>
                  </a:lnTo>
                  <a:lnTo>
                    <a:pt x="149225" y="93663"/>
                  </a:lnTo>
                  <a:lnTo>
                    <a:pt x="142875" y="103188"/>
                  </a:lnTo>
                  <a:lnTo>
                    <a:pt x="142875" y="112713"/>
                  </a:lnTo>
                  <a:lnTo>
                    <a:pt x="117475" y="122238"/>
                  </a:lnTo>
                  <a:lnTo>
                    <a:pt x="104775" y="122238"/>
                  </a:lnTo>
                  <a:lnTo>
                    <a:pt x="88900" y="119063"/>
                  </a:lnTo>
                  <a:lnTo>
                    <a:pt x="82550" y="119063"/>
                  </a:lnTo>
                  <a:lnTo>
                    <a:pt x="76200" y="112713"/>
                  </a:lnTo>
                  <a:lnTo>
                    <a:pt x="69850" y="106363"/>
                  </a:lnTo>
                  <a:lnTo>
                    <a:pt x="76200" y="103188"/>
                  </a:lnTo>
                  <a:lnTo>
                    <a:pt x="79375" y="93663"/>
                  </a:lnTo>
                  <a:lnTo>
                    <a:pt x="69850" y="84138"/>
                  </a:lnTo>
                  <a:lnTo>
                    <a:pt x="57150" y="90488"/>
                  </a:lnTo>
                  <a:lnTo>
                    <a:pt x="38100" y="106363"/>
                  </a:lnTo>
                  <a:lnTo>
                    <a:pt x="38100" y="100013"/>
                  </a:lnTo>
                  <a:lnTo>
                    <a:pt x="38100" y="96838"/>
                  </a:lnTo>
                  <a:lnTo>
                    <a:pt x="38100" y="87313"/>
                  </a:lnTo>
                  <a:lnTo>
                    <a:pt x="28575" y="80963"/>
                  </a:lnTo>
                  <a:lnTo>
                    <a:pt x="25400" y="74613"/>
                  </a:lnTo>
                  <a:lnTo>
                    <a:pt x="25400" y="68263"/>
                  </a:lnTo>
                  <a:lnTo>
                    <a:pt x="15875" y="58738"/>
                  </a:lnTo>
                  <a:lnTo>
                    <a:pt x="6350" y="39688"/>
                  </a:lnTo>
                  <a:lnTo>
                    <a:pt x="9525" y="36513"/>
                  </a:lnTo>
                  <a:lnTo>
                    <a:pt x="12700" y="33338"/>
                  </a:lnTo>
                  <a:lnTo>
                    <a:pt x="19050" y="36513"/>
                  </a:lnTo>
                  <a:lnTo>
                    <a:pt x="25400" y="42863"/>
                  </a:lnTo>
                  <a:lnTo>
                    <a:pt x="34925" y="46038"/>
                  </a:lnTo>
                  <a:lnTo>
                    <a:pt x="41275" y="46038"/>
                  </a:lnTo>
                  <a:lnTo>
                    <a:pt x="41275" y="42863"/>
                  </a:lnTo>
                  <a:lnTo>
                    <a:pt x="41275" y="39688"/>
                  </a:lnTo>
                  <a:lnTo>
                    <a:pt x="38100" y="36513"/>
                  </a:lnTo>
                  <a:lnTo>
                    <a:pt x="34925" y="30162"/>
                  </a:lnTo>
                  <a:lnTo>
                    <a:pt x="34925" y="26987"/>
                  </a:lnTo>
                  <a:lnTo>
                    <a:pt x="34925" y="20637"/>
                  </a:lnTo>
                  <a:lnTo>
                    <a:pt x="47625" y="26987"/>
                  </a:lnTo>
                  <a:lnTo>
                    <a:pt x="53975" y="36513"/>
                  </a:lnTo>
                  <a:lnTo>
                    <a:pt x="63500" y="39688"/>
                  </a:lnTo>
                  <a:lnTo>
                    <a:pt x="73025" y="33338"/>
                  </a:lnTo>
                  <a:lnTo>
                    <a:pt x="82550" y="20637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5" name="Freeform 708">
              <a:extLst>
                <a:ext uri="{FF2B5EF4-FFF2-40B4-BE49-F238E27FC236}">
                  <a16:creationId xmlns:a16="http://schemas.microsoft.com/office/drawing/2014/main" id="{9FD8377D-D6FD-4E22-AA95-5110F9409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1088" y="3332163"/>
              <a:ext cx="403225" cy="168275"/>
            </a:xfrm>
            <a:custGeom>
              <a:avLst/>
              <a:gdLst/>
              <a:ahLst/>
              <a:cxnLst/>
              <a:rect l="l" t="t" r="r" b="b"/>
              <a:pathLst>
                <a:path w="403225" h="168275">
                  <a:moveTo>
                    <a:pt x="161925" y="0"/>
                  </a:moveTo>
                  <a:lnTo>
                    <a:pt x="174625" y="3175"/>
                  </a:lnTo>
                  <a:lnTo>
                    <a:pt x="184150" y="3175"/>
                  </a:lnTo>
                  <a:lnTo>
                    <a:pt x="193675" y="0"/>
                  </a:lnTo>
                  <a:lnTo>
                    <a:pt x="212725" y="12700"/>
                  </a:lnTo>
                  <a:lnTo>
                    <a:pt x="215900" y="9525"/>
                  </a:lnTo>
                  <a:lnTo>
                    <a:pt x="219075" y="15875"/>
                  </a:lnTo>
                  <a:lnTo>
                    <a:pt x="222250" y="22225"/>
                  </a:lnTo>
                  <a:lnTo>
                    <a:pt x="228600" y="19050"/>
                  </a:lnTo>
                  <a:lnTo>
                    <a:pt x="234950" y="22225"/>
                  </a:lnTo>
                  <a:lnTo>
                    <a:pt x="238125" y="22225"/>
                  </a:lnTo>
                  <a:lnTo>
                    <a:pt x="238125" y="25400"/>
                  </a:lnTo>
                  <a:lnTo>
                    <a:pt x="247650" y="28575"/>
                  </a:lnTo>
                  <a:lnTo>
                    <a:pt x="257175" y="31750"/>
                  </a:lnTo>
                  <a:lnTo>
                    <a:pt x="276225" y="28575"/>
                  </a:lnTo>
                  <a:lnTo>
                    <a:pt x="288925" y="28575"/>
                  </a:lnTo>
                  <a:lnTo>
                    <a:pt x="301625" y="31750"/>
                  </a:lnTo>
                  <a:lnTo>
                    <a:pt x="307975" y="31750"/>
                  </a:lnTo>
                  <a:lnTo>
                    <a:pt x="323850" y="22225"/>
                  </a:lnTo>
                  <a:lnTo>
                    <a:pt x="333375" y="15875"/>
                  </a:lnTo>
                  <a:lnTo>
                    <a:pt x="358775" y="12700"/>
                  </a:lnTo>
                  <a:lnTo>
                    <a:pt x="365125" y="15875"/>
                  </a:lnTo>
                  <a:lnTo>
                    <a:pt x="374650" y="25400"/>
                  </a:lnTo>
                  <a:lnTo>
                    <a:pt x="381000" y="38100"/>
                  </a:lnTo>
                  <a:lnTo>
                    <a:pt x="381000" y="41275"/>
                  </a:lnTo>
                  <a:lnTo>
                    <a:pt x="381000" y="53975"/>
                  </a:lnTo>
                  <a:lnTo>
                    <a:pt x="403225" y="66675"/>
                  </a:lnTo>
                  <a:lnTo>
                    <a:pt x="403225" y="69850"/>
                  </a:lnTo>
                  <a:lnTo>
                    <a:pt x="400050" y="66675"/>
                  </a:lnTo>
                  <a:lnTo>
                    <a:pt x="396875" y="66675"/>
                  </a:lnTo>
                  <a:lnTo>
                    <a:pt x="387350" y="76200"/>
                  </a:lnTo>
                  <a:lnTo>
                    <a:pt x="390525" y="85725"/>
                  </a:lnTo>
                  <a:lnTo>
                    <a:pt x="393700" y="88900"/>
                  </a:lnTo>
                  <a:lnTo>
                    <a:pt x="393700" y="95250"/>
                  </a:lnTo>
                  <a:lnTo>
                    <a:pt x="393700" y="107950"/>
                  </a:lnTo>
                  <a:lnTo>
                    <a:pt x="393700" y="117475"/>
                  </a:lnTo>
                  <a:lnTo>
                    <a:pt x="400050" y="127000"/>
                  </a:lnTo>
                  <a:lnTo>
                    <a:pt x="403225" y="136525"/>
                  </a:lnTo>
                  <a:lnTo>
                    <a:pt x="400050" y="136525"/>
                  </a:lnTo>
                  <a:lnTo>
                    <a:pt x="390525" y="133350"/>
                  </a:lnTo>
                  <a:lnTo>
                    <a:pt x="387350" y="133350"/>
                  </a:lnTo>
                  <a:lnTo>
                    <a:pt x="381000" y="133350"/>
                  </a:lnTo>
                  <a:lnTo>
                    <a:pt x="371475" y="130175"/>
                  </a:lnTo>
                  <a:lnTo>
                    <a:pt x="365125" y="130175"/>
                  </a:lnTo>
                  <a:lnTo>
                    <a:pt x="358775" y="133350"/>
                  </a:lnTo>
                  <a:lnTo>
                    <a:pt x="352425" y="136525"/>
                  </a:lnTo>
                  <a:lnTo>
                    <a:pt x="349250" y="133350"/>
                  </a:lnTo>
                  <a:lnTo>
                    <a:pt x="333375" y="139700"/>
                  </a:lnTo>
                  <a:lnTo>
                    <a:pt x="320675" y="136525"/>
                  </a:lnTo>
                  <a:lnTo>
                    <a:pt x="304800" y="142875"/>
                  </a:lnTo>
                  <a:lnTo>
                    <a:pt x="288925" y="149225"/>
                  </a:lnTo>
                  <a:lnTo>
                    <a:pt x="282575" y="149225"/>
                  </a:lnTo>
                  <a:lnTo>
                    <a:pt x="273050" y="149225"/>
                  </a:lnTo>
                  <a:lnTo>
                    <a:pt x="269875" y="146050"/>
                  </a:lnTo>
                  <a:lnTo>
                    <a:pt x="263525" y="142875"/>
                  </a:lnTo>
                  <a:lnTo>
                    <a:pt x="247650" y="146050"/>
                  </a:lnTo>
                  <a:lnTo>
                    <a:pt x="228600" y="146050"/>
                  </a:lnTo>
                  <a:lnTo>
                    <a:pt x="228600" y="158750"/>
                  </a:lnTo>
                  <a:lnTo>
                    <a:pt x="228600" y="161925"/>
                  </a:lnTo>
                  <a:lnTo>
                    <a:pt x="222250" y="161925"/>
                  </a:lnTo>
                  <a:lnTo>
                    <a:pt x="222250" y="168275"/>
                  </a:lnTo>
                  <a:lnTo>
                    <a:pt x="212725" y="168275"/>
                  </a:lnTo>
                  <a:lnTo>
                    <a:pt x="212725" y="165100"/>
                  </a:lnTo>
                  <a:lnTo>
                    <a:pt x="209550" y="158750"/>
                  </a:lnTo>
                  <a:lnTo>
                    <a:pt x="212725" y="155575"/>
                  </a:lnTo>
                  <a:lnTo>
                    <a:pt x="219075" y="149225"/>
                  </a:lnTo>
                  <a:lnTo>
                    <a:pt x="215900" y="142875"/>
                  </a:lnTo>
                  <a:lnTo>
                    <a:pt x="206375" y="152400"/>
                  </a:lnTo>
                  <a:lnTo>
                    <a:pt x="203200" y="152400"/>
                  </a:lnTo>
                  <a:lnTo>
                    <a:pt x="190500" y="149225"/>
                  </a:lnTo>
                  <a:lnTo>
                    <a:pt x="190500" y="146050"/>
                  </a:lnTo>
                  <a:lnTo>
                    <a:pt x="180975" y="149225"/>
                  </a:lnTo>
                  <a:lnTo>
                    <a:pt x="171450" y="158750"/>
                  </a:lnTo>
                  <a:lnTo>
                    <a:pt x="146050" y="165100"/>
                  </a:lnTo>
                  <a:lnTo>
                    <a:pt x="130175" y="155575"/>
                  </a:lnTo>
                  <a:lnTo>
                    <a:pt x="120650" y="149225"/>
                  </a:lnTo>
                  <a:lnTo>
                    <a:pt x="111125" y="146050"/>
                  </a:lnTo>
                  <a:lnTo>
                    <a:pt x="104775" y="146050"/>
                  </a:lnTo>
                  <a:lnTo>
                    <a:pt x="98425" y="149225"/>
                  </a:lnTo>
                  <a:lnTo>
                    <a:pt x="95250" y="158750"/>
                  </a:lnTo>
                  <a:lnTo>
                    <a:pt x="88900" y="158750"/>
                  </a:lnTo>
                  <a:lnTo>
                    <a:pt x="82550" y="161925"/>
                  </a:lnTo>
                  <a:lnTo>
                    <a:pt x="79375" y="161925"/>
                  </a:lnTo>
                  <a:lnTo>
                    <a:pt x="76200" y="161925"/>
                  </a:lnTo>
                  <a:lnTo>
                    <a:pt x="69850" y="158750"/>
                  </a:lnTo>
                  <a:lnTo>
                    <a:pt x="60325" y="149225"/>
                  </a:lnTo>
                  <a:lnTo>
                    <a:pt x="47625" y="139700"/>
                  </a:lnTo>
                  <a:lnTo>
                    <a:pt x="28575" y="139700"/>
                  </a:lnTo>
                  <a:lnTo>
                    <a:pt x="25400" y="127000"/>
                  </a:lnTo>
                  <a:lnTo>
                    <a:pt x="25400" y="114300"/>
                  </a:lnTo>
                  <a:lnTo>
                    <a:pt x="12700" y="111125"/>
                  </a:lnTo>
                  <a:lnTo>
                    <a:pt x="9525" y="111125"/>
                  </a:lnTo>
                  <a:lnTo>
                    <a:pt x="6350" y="107950"/>
                  </a:lnTo>
                  <a:lnTo>
                    <a:pt x="9525" y="95250"/>
                  </a:lnTo>
                  <a:lnTo>
                    <a:pt x="15875" y="95250"/>
                  </a:lnTo>
                  <a:lnTo>
                    <a:pt x="19050" y="88900"/>
                  </a:lnTo>
                  <a:lnTo>
                    <a:pt x="12700" y="79375"/>
                  </a:lnTo>
                  <a:lnTo>
                    <a:pt x="15875" y="76200"/>
                  </a:lnTo>
                  <a:lnTo>
                    <a:pt x="19050" y="73025"/>
                  </a:lnTo>
                  <a:lnTo>
                    <a:pt x="0" y="73025"/>
                  </a:lnTo>
                  <a:lnTo>
                    <a:pt x="3175" y="57150"/>
                  </a:lnTo>
                  <a:lnTo>
                    <a:pt x="6350" y="60325"/>
                  </a:lnTo>
                  <a:lnTo>
                    <a:pt x="15875" y="50800"/>
                  </a:lnTo>
                  <a:lnTo>
                    <a:pt x="25400" y="44450"/>
                  </a:lnTo>
                  <a:lnTo>
                    <a:pt x="28575" y="47625"/>
                  </a:lnTo>
                  <a:lnTo>
                    <a:pt x="34925" y="50800"/>
                  </a:lnTo>
                  <a:lnTo>
                    <a:pt x="38100" y="47625"/>
                  </a:lnTo>
                  <a:lnTo>
                    <a:pt x="44450" y="44450"/>
                  </a:lnTo>
                  <a:lnTo>
                    <a:pt x="53975" y="47625"/>
                  </a:lnTo>
                  <a:lnTo>
                    <a:pt x="60325" y="44450"/>
                  </a:lnTo>
                  <a:lnTo>
                    <a:pt x="63500" y="41275"/>
                  </a:lnTo>
                  <a:lnTo>
                    <a:pt x="66675" y="31750"/>
                  </a:lnTo>
                  <a:lnTo>
                    <a:pt x="66675" y="22225"/>
                  </a:lnTo>
                  <a:lnTo>
                    <a:pt x="92075" y="25400"/>
                  </a:lnTo>
                  <a:lnTo>
                    <a:pt x="98425" y="25400"/>
                  </a:lnTo>
                  <a:lnTo>
                    <a:pt x="114300" y="25400"/>
                  </a:lnTo>
                  <a:lnTo>
                    <a:pt x="130175" y="12700"/>
                  </a:lnTo>
                  <a:lnTo>
                    <a:pt x="133350" y="12700"/>
                  </a:lnTo>
                  <a:lnTo>
                    <a:pt x="136525" y="9525"/>
                  </a:lnTo>
                  <a:lnTo>
                    <a:pt x="142875" y="6350"/>
                  </a:lnTo>
                  <a:lnTo>
                    <a:pt x="146050" y="6350"/>
                  </a:lnTo>
                  <a:lnTo>
                    <a:pt x="152400" y="3175"/>
                  </a:lnTo>
                  <a:close/>
                  <a:moveTo>
                    <a:pt x="22225" y="0"/>
                  </a:moveTo>
                  <a:lnTo>
                    <a:pt x="41275" y="3175"/>
                  </a:lnTo>
                  <a:lnTo>
                    <a:pt x="41275" y="6350"/>
                  </a:lnTo>
                  <a:lnTo>
                    <a:pt x="44450" y="12700"/>
                  </a:lnTo>
                  <a:lnTo>
                    <a:pt x="57150" y="19050"/>
                  </a:lnTo>
                  <a:lnTo>
                    <a:pt x="63500" y="22225"/>
                  </a:lnTo>
                  <a:lnTo>
                    <a:pt x="66675" y="22225"/>
                  </a:lnTo>
                  <a:lnTo>
                    <a:pt x="60325" y="31750"/>
                  </a:lnTo>
                  <a:lnTo>
                    <a:pt x="44450" y="28575"/>
                  </a:lnTo>
                  <a:lnTo>
                    <a:pt x="34925" y="28575"/>
                  </a:lnTo>
                  <a:lnTo>
                    <a:pt x="31750" y="31750"/>
                  </a:lnTo>
                  <a:lnTo>
                    <a:pt x="31750" y="34925"/>
                  </a:lnTo>
                  <a:lnTo>
                    <a:pt x="28575" y="38100"/>
                  </a:lnTo>
                  <a:lnTo>
                    <a:pt x="25400" y="41275"/>
                  </a:lnTo>
                  <a:lnTo>
                    <a:pt x="9525" y="53975"/>
                  </a:lnTo>
                  <a:lnTo>
                    <a:pt x="3175" y="57150"/>
                  </a:lnTo>
                  <a:lnTo>
                    <a:pt x="3175" y="50800"/>
                  </a:lnTo>
                  <a:lnTo>
                    <a:pt x="12700" y="44450"/>
                  </a:lnTo>
                  <a:lnTo>
                    <a:pt x="15875" y="41275"/>
                  </a:lnTo>
                  <a:lnTo>
                    <a:pt x="12700" y="41275"/>
                  </a:lnTo>
                  <a:lnTo>
                    <a:pt x="3175" y="41275"/>
                  </a:lnTo>
                  <a:lnTo>
                    <a:pt x="0" y="38100"/>
                  </a:lnTo>
                  <a:lnTo>
                    <a:pt x="9525" y="28575"/>
                  </a:lnTo>
                  <a:lnTo>
                    <a:pt x="12700" y="19050"/>
                  </a:lnTo>
                  <a:lnTo>
                    <a:pt x="12700" y="12700"/>
                  </a:lnTo>
                  <a:lnTo>
                    <a:pt x="9525" y="9525"/>
                  </a:lnTo>
                  <a:lnTo>
                    <a:pt x="6350" y="952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6" name="Freeform 652">
              <a:extLst>
                <a:ext uri="{FF2B5EF4-FFF2-40B4-BE49-F238E27FC236}">
                  <a16:creationId xmlns:a16="http://schemas.microsoft.com/office/drawing/2014/main" id="{3FDE5265-58F1-4176-9228-18AB6E9D1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9963" y="4116388"/>
              <a:ext cx="47625" cy="82550"/>
            </a:xfrm>
            <a:custGeom>
              <a:avLst/>
              <a:gdLst/>
              <a:ahLst/>
              <a:cxnLst>
                <a:cxn ang="0">
                  <a:pos x="16" y="1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6" y="4"/>
                </a:cxn>
                <a:cxn ang="0">
                  <a:pos x="6" y="8"/>
                </a:cxn>
                <a:cxn ang="0">
                  <a:pos x="2" y="16"/>
                </a:cxn>
                <a:cxn ang="0">
                  <a:pos x="0" y="22"/>
                </a:cxn>
                <a:cxn ang="0">
                  <a:pos x="0" y="26"/>
                </a:cxn>
                <a:cxn ang="0">
                  <a:pos x="2" y="38"/>
                </a:cxn>
                <a:cxn ang="0">
                  <a:pos x="6" y="50"/>
                </a:cxn>
                <a:cxn ang="0">
                  <a:pos x="18" y="52"/>
                </a:cxn>
                <a:cxn ang="0">
                  <a:pos x="28" y="42"/>
                </a:cxn>
                <a:cxn ang="0">
                  <a:pos x="30" y="34"/>
                </a:cxn>
                <a:cxn ang="0">
                  <a:pos x="22" y="22"/>
                </a:cxn>
                <a:cxn ang="0">
                  <a:pos x="16" y="10"/>
                </a:cxn>
              </a:cxnLst>
              <a:rect l="0" t="0" r="r" b="b"/>
              <a:pathLst>
                <a:path w="30" h="52">
                  <a:moveTo>
                    <a:pt x="16" y="1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6" y="4"/>
                  </a:lnTo>
                  <a:lnTo>
                    <a:pt x="6" y="8"/>
                  </a:lnTo>
                  <a:lnTo>
                    <a:pt x="2" y="16"/>
                  </a:lnTo>
                  <a:lnTo>
                    <a:pt x="0" y="22"/>
                  </a:lnTo>
                  <a:lnTo>
                    <a:pt x="0" y="26"/>
                  </a:lnTo>
                  <a:lnTo>
                    <a:pt x="2" y="38"/>
                  </a:lnTo>
                  <a:lnTo>
                    <a:pt x="6" y="50"/>
                  </a:lnTo>
                  <a:lnTo>
                    <a:pt x="18" y="52"/>
                  </a:lnTo>
                  <a:lnTo>
                    <a:pt x="28" y="42"/>
                  </a:lnTo>
                  <a:lnTo>
                    <a:pt x="30" y="34"/>
                  </a:lnTo>
                  <a:lnTo>
                    <a:pt x="22" y="22"/>
                  </a:lnTo>
                  <a:lnTo>
                    <a:pt x="16" y="1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7" name="Freeform 660">
              <a:extLst>
                <a:ext uri="{FF2B5EF4-FFF2-40B4-BE49-F238E27FC236}">
                  <a16:creationId xmlns:a16="http://schemas.microsoft.com/office/drawing/2014/main" id="{0FE4FC61-D917-4EE7-831A-CA0273840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6313" y="3646488"/>
              <a:ext cx="177800" cy="95250"/>
            </a:xfrm>
            <a:custGeom>
              <a:avLst/>
              <a:gdLst/>
              <a:ahLst/>
              <a:cxnLst>
                <a:cxn ang="0">
                  <a:pos x="6" y="10"/>
                </a:cxn>
                <a:cxn ang="0">
                  <a:pos x="4" y="14"/>
                </a:cxn>
                <a:cxn ang="0">
                  <a:pos x="2" y="18"/>
                </a:cxn>
                <a:cxn ang="0">
                  <a:pos x="0" y="22"/>
                </a:cxn>
                <a:cxn ang="0">
                  <a:pos x="2" y="24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16" y="32"/>
                </a:cxn>
                <a:cxn ang="0">
                  <a:pos x="24" y="38"/>
                </a:cxn>
                <a:cxn ang="0">
                  <a:pos x="26" y="36"/>
                </a:cxn>
                <a:cxn ang="0">
                  <a:pos x="28" y="38"/>
                </a:cxn>
                <a:cxn ang="0">
                  <a:pos x="36" y="42"/>
                </a:cxn>
                <a:cxn ang="0">
                  <a:pos x="58" y="44"/>
                </a:cxn>
                <a:cxn ang="0">
                  <a:pos x="62" y="46"/>
                </a:cxn>
                <a:cxn ang="0">
                  <a:pos x="64" y="48"/>
                </a:cxn>
                <a:cxn ang="0">
                  <a:pos x="64" y="50"/>
                </a:cxn>
                <a:cxn ang="0">
                  <a:pos x="70" y="54"/>
                </a:cxn>
                <a:cxn ang="0">
                  <a:pos x="80" y="56"/>
                </a:cxn>
                <a:cxn ang="0">
                  <a:pos x="92" y="60"/>
                </a:cxn>
                <a:cxn ang="0">
                  <a:pos x="94" y="58"/>
                </a:cxn>
                <a:cxn ang="0">
                  <a:pos x="94" y="58"/>
                </a:cxn>
                <a:cxn ang="0">
                  <a:pos x="94" y="58"/>
                </a:cxn>
                <a:cxn ang="0">
                  <a:pos x="100" y="60"/>
                </a:cxn>
                <a:cxn ang="0">
                  <a:pos x="108" y="60"/>
                </a:cxn>
                <a:cxn ang="0">
                  <a:pos x="112" y="54"/>
                </a:cxn>
                <a:cxn ang="0">
                  <a:pos x="108" y="48"/>
                </a:cxn>
                <a:cxn ang="0">
                  <a:pos x="110" y="38"/>
                </a:cxn>
                <a:cxn ang="0">
                  <a:pos x="100" y="38"/>
                </a:cxn>
                <a:cxn ang="0">
                  <a:pos x="96" y="38"/>
                </a:cxn>
                <a:cxn ang="0">
                  <a:pos x="90" y="36"/>
                </a:cxn>
                <a:cxn ang="0">
                  <a:pos x="82" y="36"/>
                </a:cxn>
                <a:cxn ang="0">
                  <a:pos x="72" y="32"/>
                </a:cxn>
                <a:cxn ang="0">
                  <a:pos x="68" y="24"/>
                </a:cxn>
                <a:cxn ang="0">
                  <a:pos x="66" y="26"/>
                </a:cxn>
                <a:cxn ang="0">
                  <a:pos x="58" y="24"/>
                </a:cxn>
                <a:cxn ang="0">
                  <a:pos x="48" y="20"/>
                </a:cxn>
                <a:cxn ang="0">
                  <a:pos x="46" y="14"/>
                </a:cxn>
                <a:cxn ang="0">
                  <a:pos x="42" y="10"/>
                </a:cxn>
                <a:cxn ang="0">
                  <a:pos x="34" y="4"/>
                </a:cxn>
                <a:cxn ang="0">
                  <a:pos x="24" y="0"/>
                </a:cxn>
                <a:cxn ang="0">
                  <a:pos x="22" y="0"/>
                </a:cxn>
                <a:cxn ang="0">
                  <a:pos x="18" y="2"/>
                </a:cxn>
                <a:cxn ang="0">
                  <a:pos x="16" y="4"/>
                </a:cxn>
                <a:cxn ang="0">
                  <a:pos x="14" y="2"/>
                </a:cxn>
                <a:cxn ang="0">
                  <a:pos x="12" y="2"/>
                </a:cxn>
                <a:cxn ang="0">
                  <a:pos x="6" y="10"/>
                </a:cxn>
              </a:cxnLst>
              <a:rect l="0" t="0" r="r" b="b"/>
              <a:pathLst>
                <a:path w="112" h="60">
                  <a:moveTo>
                    <a:pt x="6" y="10"/>
                  </a:moveTo>
                  <a:lnTo>
                    <a:pt x="4" y="14"/>
                  </a:lnTo>
                  <a:lnTo>
                    <a:pt x="2" y="18"/>
                  </a:lnTo>
                  <a:lnTo>
                    <a:pt x="0" y="22"/>
                  </a:lnTo>
                  <a:lnTo>
                    <a:pt x="2" y="24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6" y="32"/>
                  </a:lnTo>
                  <a:lnTo>
                    <a:pt x="24" y="38"/>
                  </a:lnTo>
                  <a:lnTo>
                    <a:pt x="26" y="36"/>
                  </a:lnTo>
                  <a:lnTo>
                    <a:pt x="28" y="38"/>
                  </a:lnTo>
                  <a:lnTo>
                    <a:pt x="36" y="42"/>
                  </a:lnTo>
                  <a:lnTo>
                    <a:pt x="58" y="44"/>
                  </a:lnTo>
                  <a:lnTo>
                    <a:pt x="62" y="46"/>
                  </a:lnTo>
                  <a:lnTo>
                    <a:pt x="64" y="48"/>
                  </a:lnTo>
                  <a:lnTo>
                    <a:pt x="64" y="50"/>
                  </a:lnTo>
                  <a:lnTo>
                    <a:pt x="70" y="54"/>
                  </a:lnTo>
                  <a:lnTo>
                    <a:pt x="80" y="56"/>
                  </a:lnTo>
                  <a:lnTo>
                    <a:pt x="92" y="60"/>
                  </a:lnTo>
                  <a:lnTo>
                    <a:pt x="94" y="58"/>
                  </a:lnTo>
                  <a:lnTo>
                    <a:pt x="94" y="58"/>
                  </a:lnTo>
                  <a:lnTo>
                    <a:pt x="94" y="58"/>
                  </a:lnTo>
                  <a:lnTo>
                    <a:pt x="100" y="60"/>
                  </a:lnTo>
                  <a:lnTo>
                    <a:pt x="108" y="60"/>
                  </a:lnTo>
                  <a:lnTo>
                    <a:pt x="112" y="54"/>
                  </a:lnTo>
                  <a:lnTo>
                    <a:pt x="108" y="48"/>
                  </a:lnTo>
                  <a:lnTo>
                    <a:pt x="110" y="38"/>
                  </a:lnTo>
                  <a:lnTo>
                    <a:pt x="100" y="38"/>
                  </a:lnTo>
                  <a:lnTo>
                    <a:pt x="96" y="38"/>
                  </a:lnTo>
                  <a:lnTo>
                    <a:pt x="90" y="36"/>
                  </a:lnTo>
                  <a:lnTo>
                    <a:pt x="82" y="36"/>
                  </a:lnTo>
                  <a:lnTo>
                    <a:pt x="72" y="32"/>
                  </a:lnTo>
                  <a:lnTo>
                    <a:pt x="68" y="24"/>
                  </a:lnTo>
                  <a:lnTo>
                    <a:pt x="66" y="26"/>
                  </a:lnTo>
                  <a:lnTo>
                    <a:pt x="58" y="24"/>
                  </a:lnTo>
                  <a:lnTo>
                    <a:pt x="48" y="20"/>
                  </a:lnTo>
                  <a:lnTo>
                    <a:pt x="46" y="14"/>
                  </a:lnTo>
                  <a:lnTo>
                    <a:pt x="42" y="10"/>
                  </a:lnTo>
                  <a:lnTo>
                    <a:pt x="34" y="4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18" y="2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6" y="1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8" name="Freeform 675">
              <a:extLst>
                <a:ext uri="{FF2B5EF4-FFF2-40B4-BE49-F238E27FC236}">
                  <a16:creationId xmlns:a16="http://schemas.microsoft.com/office/drawing/2014/main" id="{7662C83F-5635-4E16-9C0C-DA952F6663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2313" y="3513138"/>
              <a:ext cx="628650" cy="641350"/>
            </a:xfrm>
            <a:custGeom>
              <a:avLst/>
              <a:gdLst/>
              <a:ahLst/>
              <a:cxnLst>
                <a:cxn ang="0">
                  <a:pos x="282" y="192"/>
                </a:cxn>
                <a:cxn ang="0">
                  <a:pos x="278" y="178"/>
                </a:cxn>
                <a:cxn ang="0">
                  <a:pos x="270" y="170"/>
                </a:cxn>
                <a:cxn ang="0">
                  <a:pos x="270" y="150"/>
                </a:cxn>
                <a:cxn ang="0">
                  <a:pos x="282" y="146"/>
                </a:cxn>
                <a:cxn ang="0">
                  <a:pos x="294" y="160"/>
                </a:cxn>
                <a:cxn ang="0">
                  <a:pos x="304" y="162"/>
                </a:cxn>
                <a:cxn ang="0">
                  <a:pos x="328" y="166"/>
                </a:cxn>
                <a:cxn ang="0">
                  <a:pos x="312" y="184"/>
                </a:cxn>
                <a:cxn ang="0">
                  <a:pos x="320" y="188"/>
                </a:cxn>
                <a:cxn ang="0">
                  <a:pos x="338" y="198"/>
                </a:cxn>
                <a:cxn ang="0">
                  <a:pos x="350" y="180"/>
                </a:cxn>
                <a:cxn ang="0">
                  <a:pos x="378" y="134"/>
                </a:cxn>
                <a:cxn ang="0">
                  <a:pos x="384" y="112"/>
                </a:cxn>
                <a:cxn ang="0">
                  <a:pos x="370" y="100"/>
                </a:cxn>
                <a:cxn ang="0">
                  <a:pos x="338" y="112"/>
                </a:cxn>
                <a:cxn ang="0">
                  <a:pos x="324" y="130"/>
                </a:cxn>
                <a:cxn ang="0">
                  <a:pos x="278" y="132"/>
                </a:cxn>
                <a:cxn ang="0">
                  <a:pos x="270" y="122"/>
                </a:cxn>
                <a:cxn ang="0">
                  <a:pos x="254" y="142"/>
                </a:cxn>
                <a:cxn ang="0">
                  <a:pos x="230" y="138"/>
                </a:cxn>
                <a:cxn ang="0">
                  <a:pos x="196" y="126"/>
                </a:cxn>
                <a:cxn ang="0">
                  <a:pos x="172" y="112"/>
                </a:cxn>
                <a:cxn ang="0">
                  <a:pos x="164" y="98"/>
                </a:cxn>
                <a:cxn ang="0">
                  <a:pos x="154" y="70"/>
                </a:cxn>
                <a:cxn ang="0">
                  <a:pos x="144" y="48"/>
                </a:cxn>
                <a:cxn ang="0">
                  <a:pos x="144" y="24"/>
                </a:cxn>
                <a:cxn ang="0">
                  <a:pos x="132" y="0"/>
                </a:cxn>
                <a:cxn ang="0">
                  <a:pos x="94" y="14"/>
                </a:cxn>
                <a:cxn ang="0">
                  <a:pos x="80" y="22"/>
                </a:cxn>
                <a:cxn ang="0">
                  <a:pos x="84" y="44"/>
                </a:cxn>
                <a:cxn ang="0">
                  <a:pos x="90" y="56"/>
                </a:cxn>
                <a:cxn ang="0">
                  <a:pos x="76" y="82"/>
                </a:cxn>
                <a:cxn ang="0">
                  <a:pos x="64" y="104"/>
                </a:cxn>
                <a:cxn ang="0">
                  <a:pos x="36" y="124"/>
                </a:cxn>
                <a:cxn ang="0">
                  <a:pos x="22" y="128"/>
                </a:cxn>
                <a:cxn ang="0">
                  <a:pos x="26" y="148"/>
                </a:cxn>
                <a:cxn ang="0">
                  <a:pos x="38" y="174"/>
                </a:cxn>
                <a:cxn ang="0">
                  <a:pos x="20" y="176"/>
                </a:cxn>
                <a:cxn ang="0">
                  <a:pos x="6" y="180"/>
                </a:cxn>
                <a:cxn ang="0">
                  <a:pos x="6" y="192"/>
                </a:cxn>
                <a:cxn ang="0">
                  <a:pos x="30" y="194"/>
                </a:cxn>
                <a:cxn ang="0">
                  <a:pos x="24" y="220"/>
                </a:cxn>
                <a:cxn ang="0">
                  <a:pos x="56" y="214"/>
                </a:cxn>
                <a:cxn ang="0">
                  <a:pos x="58" y="208"/>
                </a:cxn>
                <a:cxn ang="0">
                  <a:pos x="64" y="226"/>
                </a:cxn>
                <a:cxn ang="0">
                  <a:pos x="64" y="262"/>
                </a:cxn>
                <a:cxn ang="0">
                  <a:pos x="66" y="274"/>
                </a:cxn>
                <a:cxn ang="0">
                  <a:pos x="70" y="288"/>
                </a:cxn>
                <a:cxn ang="0">
                  <a:pos x="76" y="302"/>
                </a:cxn>
                <a:cxn ang="0">
                  <a:pos x="86" y="324"/>
                </a:cxn>
                <a:cxn ang="0">
                  <a:pos x="98" y="354"/>
                </a:cxn>
                <a:cxn ang="0">
                  <a:pos x="116" y="398"/>
                </a:cxn>
                <a:cxn ang="0">
                  <a:pos x="134" y="396"/>
                </a:cxn>
                <a:cxn ang="0">
                  <a:pos x="154" y="374"/>
                </a:cxn>
                <a:cxn ang="0">
                  <a:pos x="164" y="332"/>
                </a:cxn>
                <a:cxn ang="0">
                  <a:pos x="160" y="308"/>
                </a:cxn>
                <a:cxn ang="0">
                  <a:pos x="176" y="294"/>
                </a:cxn>
                <a:cxn ang="0">
                  <a:pos x="190" y="280"/>
                </a:cxn>
                <a:cxn ang="0">
                  <a:pos x="218" y="260"/>
                </a:cxn>
                <a:cxn ang="0">
                  <a:pos x="254" y="224"/>
                </a:cxn>
                <a:cxn ang="0">
                  <a:pos x="278" y="216"/>
                </a:cxn>
              </a:cxnLst>
              <a:rect l="0" t="0" r="r" b="b"/>
              <a:pathLst>
                <a:path w="396" h="404">
                  <a:moveTo>
                    <a:pt x="282" y="200"/>
                  </a:moveTo>
                  <a:lnTo>
                    <a:pt x="282" y="196"/>
                  </a:lnTo>
                  <a:lnTo>
                    <a:pt x="280" y="196"/>
                  </a:lnTo>
                  <a:lnTo>
                    <a:pt x="280" y="192"/>
                  </a:lnTo>
                  <a:lnTo>
                    <a:pt x="282" y="192"/>
                  </a:lnTo>
                  <a:lnTo>
                    <a:pt x="278" y="190"/>
                  </a:lnTo>
                  <a:lnTo>
                    <a:pt x="278" y="188"/>
                  </a:lnTo>
                  <a:lnTo>
                    <a:pt x="276" y="184"/>
                  </a:lnTo>
                  <a:lnTo>
                    <a:pt x="278" y="180"/>
                  </a:lnTo>
                  <a:lnTo>
                    <a:pt x="278" y="178"/>
                  </a:lnTo>
                  <a:lnTo>
                    <a:pt x="278" y="176"/>
                  </a:lnTo>
                  <a:lnTo>
                    <a:pt x="278" y="176"/>
                  </a:lnTo>
                  <a:lnTo>
                    <a:pt x="274" y="174"/>
                  </a:lnTo>
                  <a:lnTo>
                    <a:pt x="270" y="170"/>
                  </a:lnTo>
                  <a:lnTo>
                    <a:pt x="270" y="170"/>
                  </a:lnTo>
                  <a:lnTo>
                    <a:pt x="276" y="164"/>
                  </a:lnTo>
                  <a:lnTo>
                    <a:pt x="278" y="162"/>
                  </a:lnTo>
                  <a:lnTo>
                    <a:pt x="278" y="158"/>
                  </a:lnTo>
                  <a:lnTo>
                    <a:pt x="272" y="154"/>
                  </a:lnTo>
                  <a:lnTo>
                    <a:pt x="270" y="150"/>
                  </a:lnTo>
                  <a:lnTo>
                    <a:pt x="272" y="144"/>
                  </a:lnTo>
                  <a:lnTo>
                    <a:pt x="274" y="142"/>
                  </a:lnTo>
                  <a:lnTo>
                    <a:pt x="276" y="142"/>
                  </a:lnTo>
                  <a:lnTo>
                    <a:pt x="278" y="144"/>
                  </a:lnTo>
                  <a:lnTo>
                    <a:pt x="282" y="146"/>
                  </a:lnTo>
                  <a:lnTo>
                    <a:pt x="290" y="150"/>
                  </a:lnTo>
                  <a:lnTo>
                    <a:pt x="290" y="146"/>
                  </a:lnTo>
                  <a:lnTo>
                    <a:pt x="294" y="152"/>
                  </a:lnTo>
                  <a:lnTo>
                    <a:pt x="294" y="156"/>
                  </a:lnTo>
                  <a:lnTo>
                    <a:pt x="294" y="160"/>
                  </a:lnTo>
                  <a:lnTo>
                    <a:pt x="296" y="160"/>
                  </a:lnTo>
                  <a:lnTo>
                    <a:pt x="298" y="162"/>
                  </a:lnTo>
                  <a:lnTo>
                    <a:pt x="300" y="162"/>
                  </a:lnTo>
                  <a:lnTo>
                    <a:pt x="304" y="162"/>
                  </a:lnTo>
                  <a:lnTo>
                    <a:pt x="304" y="162"/>
                  </a:lnTo>
                  <a:lnTo>
                    <a:pt x="308" y="162"/>
                  </a:lnTo>
                  <a:lnTo>
                    <a:pt x="314" y="162"/>
                  </a:lnTo>
                  <a:lnTo>
                    <a:pt x="322" y="162"/>
                  </a:lnTo>
                  <a:lnTo>
                    <a:pt x="328" y="164"/>
                  </a:lnTo>
                  <a:lnTo>
                    <a:pt x="328" y="166"/>
                  </a:lnTo>
                  <a:lnTo>
                    <a:pt x="322" y="174"/>
                  </a:lnTo>
                  <a:lnTo>
                    <a:pt x="318" y="178"/>
                  </a:lnTo>
                  <a:lnTo>
                    <a:pt x="316" y="178"/>
                  </a:lnTo>
                  <a:lnTo>
                    <a:pt x="314" y="178"/>
                  </a:lnTo>
                  <a:lnTo>
                    <a:pt x="312" y="184"/>
                  </a:lnTo>
                  <a:lnTo>
                    <a:pt x="312" y="190"/>
                  </a:lnTo>
                  <a:lnTo>
                    <a:pt x="316" y="194"/>
                  </a:lnTo>
                  <a:lnTo>
                    <a:pt x="320" y="194"/>
                  </a:lnTo>
                  <a:lnTo>
                    <a:pt x="320" y="192"/>
                  </a:lnTo>
                  <a:lnTo>
                    <a:pt x="320" y="188"/>
                  </a:lnTo>
                  <a:lnTo>
                    <a:pt x="326" y="184"/>
                  </a:lnTo>
                  <a:lnTo>
                    <a:pt x="330" y="196"/>
                  </a:lnTo>
                  <a:lnTo>
                    <a:pt x="330" y="210"/>
                  </a:lnTo>
                  <a:lnTo>
                    <a:pt x="338" y="206"/>
                  </a:lnTo>
                  <a:lnTo>
                    <a:pt x="338" y="198"/>
                  </a:lnTo>
                  <a:lnTo>
                    <a:pt x="342" y="192"/>
                  </a:lnTo>
                  <a:lnTo>
                    <a:pt x="342" y="182"/>
                  </a:lnTo>
                  <a:lnTo>
                    <a:pt x="342" y="180"/>
                  </a:lnTo>
                  <a:lnTo>
                    <a:pt x="344" y="180"/>
                  </a:lnTo>
                  <a:lnTo>
                    <a:pt x="350" y="180"/>
                  </a:lnTo>
                  <a:lnTo>
                    <a:pt x="356" y="172"/>
                  </a:lnTo>
                  <a:lnTo>
                    <a:pt x="360" y="164"/>
                  </a:lnTo>
                  <a:lnTo>
                    <a:pt x="364" y="150"/>
                  </a:lnTo>
                  <a:lnTo>
                    <a:pt x="366" y="140"/>
                  </a:lnTo>
                  <a:lnTo>
                    <a:pt x="378" y="134"/>
                  </a:lnTo>
                  <a:lnTo>
                    <a:pt x="390" y="128"/>
                  </a:lnTo>
                  <a:lnTo>
                    <a:pt x="396" y="120"/>
                  </a:lnTo>
                  <a:lnTo>
                    <a:pt x="396" y="116"/>
                  </a:lnTo>
                  <a:lnTo>
                    <a:pt x="392" y="114"/>
                  </a:lnTo>
                  <a:lnTo>
                    <a:pt x="384" y="112"/>
                  </a:lnTo>
                  <a:lnTo>
                    <a:pt x="386" y="108"/>
                  </a:lnTo>
                  <a:lnTo>
                    <a:pt x="384" y="104"/>
                  </a:lnTo>
                  <a:lnTo>
                    <a:pt x="378" y="96"/>
                  </a:lnTo>
                  <a:lnTo>
                    <a:pt x="374" y="100"/>
                  </a:lnTo>
                  <a:lnTo>
                    <a:pt x="370" y="100"/>
                  </a:lnTo>
                  <a:lnTo>
                    <a:pt x="370" y="102"/>
                  </a:lnTo>
                  <a:lnTo>
                    <a:pt x="358" y="98"/>
                  </a:lnTo>
                  <a:lnTo>
                    <a:pt x="348" y="108"/>
                  </a:lnTo>
                  <a:lnTo>
                    <a:pt x="346" y="108"/>
                  </a:lnTo>
                  <a:lnTo>
                    <a:pt x="338" y="112"/>
                  </a:lnTo>
                  <a:lnTo>
                    <a:pt x="330" y="122"/>
                  </a:lnTo>
                  <a:lnTo>
                    <a:pt x="318" y="124"/>
                  </a:lnTo>
                  <a:lnTo>
                    <a:pt x="320" y="128"/>
                  </a:lnTo>
                  <a:lnTo>
                    <a:pt x="322" y="128"/>
                  </a:lnTo>
                  <a:lnTo>
                    <a:pt x="324" y="130"/>
                  </a:lnTo>
                  <a:lnTo>
                    <a:pt x="324" y="136"/>
                  </a:lnTo>
                  <a:lnTo>
                    <a:pt x="312" y="138"/>
                  </a:lnTo>
                  <a:lnTo>
                    <a:pt x="294" y="140"/>
                  </a:lnTo>
                  <a:lnTo>
                    <a:pt x="284" y="136"/>
                  </a:lnTo>
                  <a:lnTo>
                    <a:pt x="278" y="132"/>
                  </a:lnTo>
                  <a:lnTo>
                    <a:pt x="280" y="130"/>
                  </a:lnTo>
                  <a:lnTo>
                    <a:pt x="280" y="124"/>
                  </a:lnTo>
                  <a:lnTo>
                    <a:pt x="280" y="120"/>
                  </a:lnTo>
                  <a:lnTo>
                    <a:pt x="274" y="118"/>
                  </a:lnTo>
                  <a:lnTo>
                    <a:pt x="270" y="122"/>
                  </a:lnTo>
                  <a:lnTo>
                    <a:pt x="268" y="132"/>
                  </a:lnTo>
                  <a:lnTo>
                    <a:pt x="272" y="138"/>
                  </a:lnTo>
                  <a:lnTo>
                    <a:pt x="268" y="144"/>
                  </a:lnTo>
                  <a:lnTo>
                    <a:pt x="260" y="144"/>
                  </a:lnTo>
                  <a:lnTo>
                    <a:pt x="254" y="142"/>
                  </a:lnTo>
                  <a:lnTo>
                    <a:pt x="254" y="142"/>
                  </a:lnTo>
                  <a:lnTo>
                    <a:pt x="254" y="142"/>
                  </a:lnTo>
                  <a:lnTo>
                    <a:pt x="252" y="144"/>
                  </a:lnTo>
                  <a:lnTo>
                    <a:pt x="240" y="140"/>
                  </a:lnTo>
                  <a:lnTo>
                    <a:pt x="230" y="138"/>
                  </a:lnTo>
                  <a:lnTo>
                    <a:pt x="224" y="134"/>
                  </a:lnTo>
                  <a:lnTo>
                    <a:pt x="224" y="132"/>
                  </a:lnTo>
                  <a:lnTo>
                    <a:pt x="222" y="130"/>
                  </a:lnTo>
                  <a:lnTo>
                    <a:pt x="218" y="128"/>
                  </a:lnTo>
                  <a:lnTo>
                    <a:pt x="196" y="126"/>
                  </a:lnTo>
                  <a:lnTo>
                    <a:pt x="188" y="122"/>
                  </a:lnTo>
                  <a:lnTo>
                    <a:pt x="186" y="120"/>
                  </a:lnTo>
                  <a:lnTo>
                    <a:pt x="184" y="122"/>
                  </a:lnTo>
                  <a:lnTo>
                    <a:pt x="176" y="116"/>
                  </a:lnTo>
                  <a:lnTo>
                    <a:pt x="172" y="112"/>
                  </a:lnTo>
                  <a:lnTo>
                    <a:pt x="168" y="112"/>
                  </a:lnTo>
                  <a:lnTo>
                    <a:pt x="162" y="108"/>
                  </a:lnTo>
                  <a:lnTo>
                    <a:pt x="160" y="106"/>
                  </a:lnTo>
                  <a:lnTo>
                    <a:pt x="162" y="102"/>
                  </a:lnTo>
                  <a:lnTo>
                    <a:pt x="164" y="98"/>
                  </a:lnTo>
                  <a:lnTo>
                    <a:pt x="166" y="94"/>
                  </a:lnTo>
                  <a:lnTo>
                    <a:pt x="172" y="86"/>
                  </a:lnTo>
                  <a:lnTo>
                    <a:pt x="174" y="86"/>
                  </a:lnTo>
                  <a:lnTo>
                    <a:pt x="168" y="80"/>
                  </a:lnTo>
                  <a:lnTo>
                    <a:pt x="154" y="70"/>
                  </a:lnTo>
                  <a:lnTo>
                    <a:pt x="144" y="68"/>
                  </a:lnTo>
                  <a:lnTo>
                    <a:pt x="142" y="64"/>
                  </a:lnTo>
                  <a:lnTo>
                    <a:pt x="140" y="60"/>
                  </a:lnTo>
                  <a:lnTo>
                    <a:pt x="138" y="50"/>
                  </a:lnTo>
                  <a:lnTo>
                    <a:pt x="144" y="48"/>
                  </a:lnTo>
                  <a:lnTo>
                    <a:pt x="146" y="52"/>
                  </a:lnTo>
                  <a:lnTo>
                    <a:pt x="148" y="50"/>
                  </a:lnTo>
                  <a:lnTo>
                    <a:pt x="154" y="44"/>
                  </a:lnTo>
                  <a:lnTo>
                    <a:pt x="146" y="34"/>
                  </a:lnTo>
                  <a:lnTo>
                    <a:pt x="144" y="24"/>
                  </a:lnTo>
                  <a:lnTo>
                    <a:pt x="146" y="20"/>
                  </a:lnTo>
                  <a:lnTo>
                    <a:pt x="144" y="16"/>
                  </a:lnTo>
                  <a:lnTo>
                    <a:pt x="140" y="16"/>
                  </a:lnTo>
                  <a:lnTo>
                    <a:pt x="136" y="14"/>
                  </a:lnTo>
                  <a:lnTo>
                    <a:pt x="132" y="0"/>
                  </a:lnTo>
                  <a:lnTo>
                    <a:pt x="130" y="0"/>
                  </a:lnTo>
                  <a:lnTo>
                    <a:pt x="124" y="6"/>
                  </a:lnTo>
                  <a:lnTo>
                    <a:pt x="118" y="12"/>
                  </a:lnTo>
                  <a:lnTo>
                    <a:pt x="100" y="16"/>
                  </a:lnTo>
                  <a:lnTo>
                    <a:pt x="94" y="14"/>
                  </a:lnTo>
                  <a:lnTo>
                    <a:pt x="86" y="12"/>
                  </a:lnTo>
                  <a:lnTo>
                    <a:pt x="78" y="14"/>
                  </a:lnTo>
                  <a:lnTo>
                    <a:pt x="74" y="20"/>
                  </a:lnTo>
                  <a:lnTo>
                    <a:pt x="78" y="20"/>
                  </a:lnTo>
                  <a:lnTo>
                    <a:pt x="80" y="22"/>
                  </a:lnTo>
                  <a:lnTo>
                    <a:pt x="82" y="26"/>
                  </a:lnTo>
                  <a:lnTo>
                    <a:pt x="80" y="28"/>
                  </a:lnTo>
                  <a:lnTo>
                    <a:pt x="80" y="30"/>
                  </a:lnTo>
                  <a:lnTo>
                    <a:pt x="80" y="38"/>
                  </a:lnTo>
                  <a:lnTo>
                    <a:pt x="84" y="44"/>
                  </a:lnTo>
                  <a:lnTo>
                    <a:pt x="88" y="50"/>
                  </a:lnTo>
                  <a:lnTo>
                    <a:pt x="92" y="50"/>
                  </a:lnTo>
                  <a:lnTo>
                    <a:pt x="96" y="52"/>
                  </a:lnTo>
                  <a:lnTo>
                    <a:pt x="96" y="54"/>
                  </a:lnTo>
                  <a:lnTo>
                    <a:pt x="90" y="56"/>
                  </a:lnTo>
                  <a:lnTo>
                    <a:pt x="84" y="60"/>
                  </a:lnTo>
                  <a:lnTo>
                    <a:pt x="86" y="64"/>
                  </a:lnTo>
                  <a:lnTo>
                    <a:pt x="88" y="72"/>
                  </a:lnTo>
                  <a:lnTo>
                    <a:pt x="82" y="76"/>
                  </a:lnTo>
                  <a:lnTo>
                    <a:pt x="76" y="82"/>
                  </a:lnTo>
                  <a:lnTo>
                    <a:pt x="76" y="86"/>
                  </a:lnTo>
                  <a:lnTo>
                    <a:pt x="72" y="88"/>
                  </a:lnTo>
                  <a:lnTo>
                    <a:pt x="70" y="90"/>
                  </a:lnTo>
                  <a:lnTo>
                    <a:pt x="68" y="94"/>
                  </a:lnTo>
                  <a:lnTo>
                    <a:pt x="64" y="104"/>
                  </a:lnTo>
                  <a:lnTo>
                    <a:pt x="62" y="104"/>
                  </a:lnTo>
                  <a:lnTo>
                    <a:pt x="56" y="108"/>
                  </a:lnTo>
                  <a:lnTo>
                    <a:pt x="52" y="114"/>
                  </a:lnTo>
                  <a:lnTo>
                    <a:pt x="46" y="122"/>
                  </a:lnTo>
                  <a:lnTo>
                    <a:pt x="36" y="124"/>
                  </a:lnTo>
                  <a:lnTo>
                    <a:pt x="32" y="122"/>
                  </a:lnTo>
                  <a:lnTo>
                    <a:pt x="32" y="120"/>
                  </a:lnTo>
                  <a:lnTo>
                    <a:pt x="30" y="118"/>
                  </a:lnTo>
                  <a:lnTo>
                    <a:pt x="24" y="124"/>
                  </a:lnTo>
                  <a:lnTo>
                    <a:pt x="22" y="128"/>
                  </a:lnTo>
                  <a:lnTo>
                    <a:pt x="18" y="132"/>
                  </a:lnTo>
                  <a:lnTo>
                    <a:pt x="18" y="138"/>
                  </a:lnTo>
                  <a:lnTo>
                    <a:pt x="20" y="140"/>
                  </a:lnTo>
                  <a:lnTo>
                    <a:pt x="22" y="142"/>
                  </a:lnTo>
                  <a:lnTo>
                    <a:pt x="26" y="148"/>
                  </a:lnTo>
                  <a:lnTo>
                    <a:pt x="30" y="156"/>
                  </a:lnTo>
                  <a:lnTo>
                    <a:pt x="34" y="162"/>
                  </a:lnTo>
                  <a:lnTo>
                    <a:pt x="38" y="170"/>
                  </a:lnTo>
                  <a:lnTo>
                    <a:pt x="36" y="172"/>
                  </a:lnTo>
                  <a:lnTo>
                    <a:pt x="38" y="174"/>
                  </a:lnTo>
                  <a:lnTo>
                    <a:pt x="34" y="176"/>
                  </a:lnTo>
                  <a:lnTo>
                    <a:pt x="32" y="174"/>
                  </a:lnTo>
                  <a:lnTo>
                    <a:pt x="26" y="174"/>
                  </a:lnTo>
                  <a:lnTo>
                    <a:pt x="26" y="174"/>
                  </a:lnTo>
                  <a:lnTo>
                    <a:pt x="20" y="176"/>
                  </a:lnTo>
                  <a:lnTo>
                    <a:pt x="20" y="176"/>
                  </a:lnTo>
                  <a:lnTo>
                    <a:pt x="14" y="176"/>
                  </a:lnTo>
                  <a:lnTo>
                    <a:pt x="8" y="174"/>
                  </a:lnTo>
                  <a:lnTo>
                    <a:pt x="6" y="178"/>
                  </a:lnTo>
                  <a:lnTo>
                    <a:pt x="6" y="180"/>
                  </a:lnTo>
                  <a:lnTo>
                    <a:pt x="2" y="180"/>
                  </a:lnTo>
                  <a:lnTo>
                    <a:pt x="0" y="182"/>
                  </a:lnTo>
                  <a:lnTo>
                    <a:pt x="2" y="186"/>
                  </a:lnTo>
                  <a:lnTo>
                    <a:pt x="2" y="188"/>
                  </a:lnTo>
                  <a:lnTo>
                    <a:pt x="6" y="192"/>
                  </a:lnTo>
                  <a:lnTo>
                    <a:pt x="14" y="196"/>
                  </a:lnTo>
                  <a:lnTo>
                    <a:pt x="18" y="198"/>
                  </a:lnTo>
                  <a:lnTo>
                    <a:pt x="20" y="198"/>
                  </a:lnTo>
                  <a:lnTo>
                    <a:pt x="26" y="194"/>
                  </a:lnTo>
                  <a:lnTo>
                    <a:pt x="30" y="194"/>
                  </a:lnTo>
                  <a:lnTo>
                    <a:pt x="26" y="200"/>
                  </a:lnTo>
                  <a:lnTo>
                    <a:pt x="20" y="204"/>
                  </a:lnTo>
                  <a:lnTo>
                    <a:pt x="12" y="204"/>
                  </a:lnTo>
                  <a:lnTo>
                    <a:pt x="12" y="208"/>
                  </a:lnTo>
                  <a:lnTo>
                    <a:pt x="24" y="220"/>
                  </a:lnTo>
                  <a:lnTo>
                    <a:pt x="28" y="224"/>
                  </a:lnTo>
                  <a:lnTo>
                    <a:pt x="36" y="228"/>
                  </a:lnTo>
                  <a:lnTo>
                    <a:pt x="50" y="222"/>
                  </a:lnTo>
                  <a:lnTo>
                    <a:pt x="54" y="216"/>
                  </a:lnTo>
                  <a:lnTo>
                    <a:pt x="56" y="214"/>
                  </a:lnTo>
                  <a:lnTo>
                    <a:pt x="54" y="212"/>
                  </a:lnTo>
                  <a:lnTo>
                    <a:pt x="52" y="206"/>
                  </a:lnTo>
                  <a:lnTo>
                    <a:pt x="54" y="204"/>
                  </a:lnTo>
                  <a:lnTo>
                    <a:pt x="58" y="206"/>
                  </a:lnTo>
                  <a:lnTo>
                    <a:pt x="58" y="208"/>
                  </a:lnTo>
                  <a:lnTo>
                    <a:pt x="60" y="214"/>
                  </a:lnTo>
                  <a:lnTo>
                    <a:pt x="58" y="218"/>
                  </a:lnTo>
                  <a:lnTo>
                    <a:pt x="60" y="222"/>
                  </a:lnTo>
                  <a:lnTo>
                    <a:pt x="62" y="226"/>
                  </a:lnTo>
                  <a:lnTo>
                    <a:pt x="64" y="226"/>
                  </a:lnTo>
                  <a:lnTo>
                    <a:pt x="60" y="240"/>
                  </a:lnTo>
                  <a:lnTo>
                    <a:pt x="60" y="246"/>
                  </a:lnTo>
                  <a:lnTo>
                    <a:pt x="62" y="248"/>
                  </a:lnTo>
                  <a:lnTo>
                    <a:pt x="62" y="252"/>
                  </a:lnTo>
                  <a:lnTo>
                    <a:pt x="64" y="262"/>
                  </a:lnTo>
                  <a:lnTo>
                    <a:pt x="64" y="264"/>
                  </a:lnTo>
                  <a:lnTo>
                    <a:pt x="64" y="268"/>
                  </a:lnTo>
                  <a:lnTo>
                    <a:pt x="66" y="270"/>
                  </a:lnTo>
                  <a:lnTo>
                    <a:pt x="66" y="272"/>
                  </a:lnTo>
                  <a:lnTo>
                    <a:pt x="66" y="274"/>
                  </a:lnTo>
                  <a:lnTo>
                    <a:pt x="66" y="274"/>
                  </a:lnTo>
                  <a:lnTo>
                    <a:pt x="66" y="276"/>
                  </a:lnTo>
                  <a:lnTo>
                    <a:pt x="68" y="280"/>
                  </a:lnTo>
                  <a:lnTo>
                    <a:pt x="68" y="280"/>
                  </a:lnTo>
                  <a:lnTo>
                    <a:pt x="70" y="288"/>
                  </a:lnTo>
                  <a:lnTo>
                    <a:pt x="68" y="288"/>
                  </a:lnTo>
                  <a:lnTo>
                    <a:pt x="70" y="292"/>
                  </a:lnTo>
                  <a:lnTo>
                    <a:pt x="70" y="292"/>
                  </a:lnTo>
                  <a:lnTo>
                    <a:pt x="74" y="298"/>
                  </a:lnTo>
                  <a:lnTo>
                    <a:pt x="76" y="302"/>
                  </a:lnTo>
                  <a:lnTo>
                    <a:pt x="78" y="310"/>
                  </a:lnTo>
                  <a:lnTo>
                    <a:pt x="82" y="316"/>
                  </a:lnTo>
                  <a:lnTo>
                    <a:pt x="84" y="320"/>
                  </a:lnTo>
                  <a:lnTo>
                    <a:pt x="84" y="320"/>
                  </a:lnTo>
                  <a:lnTo>
                    <a:pt x="86" y="324"/>
                  </a:lnTo>
                  <a:lnTo>
                    <a:pt x="88" y="328"/>
                  </a:lnTo>
                  <a:lnTo>
                    <a:pt x="90" y="340"/>
                  </a:lnTo>
                  <a:lnTo>
                    <a:pt x="94" y="350"/>
                  </a:lnTo>
                  <a:lnTo>
                    <a:pt x="96" y="350"/>
                  </a:lnTo>
                  <a:lnTo>
                    <a:pt x="98" y="354"/>
                  </a:lnTo>
                  <a:lnTo>
                    <a:pt x="102" y="364"/>
                  </a:lnTo>
                  <a:lnTo>
                    <a:pt x="106" y="374"/>
                  </a:lnTo>
                  <a:lnTo>
                    <a:pt x="110" y="382"/>
                  </a:lnTo>
                  <a:lnTo>
                    <a:pt x="112" y="392"/>
                  </a:lnTo>
                  <a:lnTo>
                    <a:pt x="116" y="398"/>
                  </a:lnTo>
                  <a:lnTo>
                    <a:pt x="120" y="402"/>
                  </a:lnTo>
                  <a:lnTo>
                    <a:pt x="124" y="404"/>
                  </a:lnTo>
                  <a:lnTo>
                    <a:pt x="128" y="402"/>
                  </a:lnTo>
                  <a:lnTo>
                    <a:pt x="134" y="398"/>
                  </a:lnTo>
                  <a:lnTo>
                    <a:pt x="134" y="396"/>
                  </a:lnTo>
                  <a:lnTo>
                    <a:pt x="136" y="392"/>
                  </a:lnTo>
                  <a:lnTo>
                    <a:pt x="142" y="386"/>
                  </a:lnTo>
                  <a:lnTo>
                    <a:pt x="146" y="382"/>
                  </a:lnTo>
                  <a:lnTo>
                    <a:pt x="150" y="376"/>
                  </a:lnTo>
                  <a:lnTo>
                    <a:pt x="154" y="374"/>
                  </a:lnTo>
                  <a:lnTo>
                    <a:pt x="158" y="372"/>
                  </a:lnTo>
                  <a:lnTo>
                    <a:pt x="158" y="364"/>
                  </a:lnTo>
                  <a:lnTo>
                    <a:pt x="156" y="358"/>
                  </a:lnTo>
                  <a:lnTo>
                    <a:pt x="160" y="346"/>
                  </a:lnTo>
                  <a:lnTo>
                    <a:pt x="164" y="332"/>
                  </a:lnTo>
                  <a:lnTo>
                    <a:pt x="164" y="332"/>
                  </a:lnTo>
                  <a:lnTo>
                    <a:pt x="162" y="326"/>
                  </a:lnTo>
                  <a:lnTo>
                    <a:pt x="162" y="322"/>
                  </a:lnTo>
                  <a:lnTo>
                    <a:pt x="162" y="314"/>
                  </a:lnTo>
                  <a:lnTo>
                    <a:pt x="160" y="308"/>
                  </a:lnTo>
                  <a:lnTo>
                    <a:pt x="162" y="300"/>
                  </a:lnTo>
                  <a:lnTo>
                    <a:pt x="166" y="298"/>
                  </a:lnTo>
                  <a:lnTo>
                    <a:pt x="168" y="296"/>
                  </a:lnTo>
                  <a:lnTo>
                    <a:pt x="172" y="294"/>
                  </a:lnTo>
                  <a:lnTo>
                    <a:pt x="176" y="294"/>
                  </a:lnTo>
                  <a:lnTo>
                    <a:pt x="178" y="290"/>
                  </a:lnTo>
                  <a:lnTo>
                    <a:pt x="184" y="290"/>
                  </a:lnTo>
                  <a:lnTo>
                    <a:pt x="190" y="286"/>
                  </a:lnTo>
                  <a:lnTo>
                    <a:pt x="192" y="284"/>
                  </a:lnTo>
                  <a:lnTo>
                    <a:pt x="190" y="280"/>
                  </a:lnTo>
                  <a:lnTo>
                    <a:pt x="194" y="278"/>
                  </a:lnTo>
                  <a:lnTo>
                    <a:pt x="202" y="274"/>
                  </a:lnTo>
                  <a:lnTo>
                    <a:pt x="208" y="266"/>
                  </a:lnTo>
                  <a:lnTo>
                    <a:pt x="216" y="262"/>
                  </a:lnTo>
                  <a:lnTo>
                    <a:pt x="218" y="260"/>
                  </a:lnTo>
                  <a:lnTo>
                    <a:pt x="224" y="250"/>
                  </a:lnTo>
                  <a:lnTo>
                    <a:pt x="238" y="242"/>
                  </a:lnTo>
                  <a:lnTo>
                    <a:pt x="246" y="238"/>
                  </a:lnTo>
                  <a:lnTo>
                    <a:pt x="256" y="228"/>
                  </a:lnTo>
                  <a:lnTo>
                    <a:pt x="254" y="224"/>
                  </a:lnTo>
                  <a:lnTo>
                    <a:pt x="254" y="218"/>
                  </a:lnTo>
                  <a:lnTo>
                    <a:pt x="262" y="214"/>
                  </a:lnTo>
                  <a:lnTo>
                    <a:pt x="268" y="210"/>
                  </a:lnTo>
                  <a:lnTo>
                    <a:pt x="270" y="210"/>
                  </a:lnTo>
                  <a:lnTo>
                    <a:pt x="278" y="216"/>
                  </a:lnTo>
                  <a:lnTo>
                    <a:pt x="282" y="214"/>
                  </a:lnTo>
                  <a:lnTo>
                    <a:pt x="284" y="214"/>
                  </a:lnTo>
                  <a:lnTo>
                    <a:pt x="282" y="208"/>
                  </a:lnTo>
                  <a:lnTo>
                    <a:pt x="282" y="20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9" name="Freeform 683">
              <a:extLst>
                <a:ext uri="{FF2B5EF4-FFF2-40B4-BE49-F238E27FC236}">
                  <a16:creationId xmlns:a16="http://schemas.microsoft.com/office/drawing/2014/main" id="{5175A2AD-767D-421B-9B51-EED6D28368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0938" y="3738562"/>
              <a:ext cx="98425" cy="127000"/>
            </a:xfrm>
            <a:custGeom>
              <a:avLst/>
              <a:gdLst/>
              <a:ahLst/>
              <a:cxnLst/>
              <a:rect l="l" t="t" r="r" b="b"/>
              <a:pathLst>
                <a:path w="98425" h="127000">
                  <a:moveTo>
                    <a:pt x="60325" y="88900"/>
                  </a:moveTo>
                  <a:lnTo>
                    <a:pt x="63500" y="98425"/>
                  </a:lnTo>
                  <a:lnTo>
                    <a:pt x="60325" y="104775"/>
                  </a:lnTo>
                  <a:lnTo>
                    <a:pt x="57150" y="104775"/>
                  </a:lnTo>
                  <a:lnTo>
                    <a:pt x="53975" y="92075"/>
                  </a:lnTo>
                  <a:close/>
                  <a:moveTo>
                    <a:pt x="6350" y="0"/>
                  </a:moveTo>
                  <a:lnTo>
                    <a:pt x="9525" y="0"/>
                  </a:lnTo>
                  <a:lnTo>
                    <a:pt x="12700" y="3175"/>
                  </a:lnTo>
                  <a:lnTo>
                    <a:pt x="19050" y="6350"/>
                  </a:lnTo>
                  <a:lnTo>
                    <a:pt x="31750" y="12700"/>
                  </a:lnTo>
                  <a:lnTo>
                    <a:pt x="31750" y="6350"/>
                  </a:lnTo>
                  <a:lnTo>
                    <a:pt x="38100" y="15875"/>
                  </a:lnTo>
                  <a:lnTo>
                    <a:pt x="38100" y="22225"/>
                  </a:lnTo>
                  <a:lnTo>
                    <a:pt x="38100" y="28575"/>
                  </a:lnTo>
                  <a:lnTo>
                    <a:pt x="41275" y="28575"/>
                  </a:lnTo>
                  <a:lnTo>
                    <a:pt x="44450" y="31750"/>
                  </a:lnTo>
                  <a:lnTo>
                    <a:pt x="47625" y="31750"/>
                  </a:lnTo>
                  <a:lnTo>
                    <a:pt x="53975" y="31750"/>
                  </a:lnTo>
                  <a:lnTo>
                    <a:pt x="60325" y="31750"/>
                  </a:lnTo>
                  <a:lnTo>
                    <a:pt x="69850" y="31750"/>
                  </a:lnTo>
                  <a:lnTo>
                    <a:pt x="82550" y="31750"/>
                  </a:lnTo>
                  <a:lnTo>
                    <a:pt x="92075" y="34925"/>
                  </a:lnTo>
                  <a:lnTo>
                    <a:pt x="92075" y="38100"/>
                  </a:lnTo>
                  <a:lnTo>
                    <a:pt x="82550" y="50800"/>
                  </a:lnTo>
                  <a:lnTo>
                    <a:pt x="76200" y="57150"/>
                  </a:lnTo>
                  <a:lnTo>
                    <a:pt x="73025" y="57150"/>
                  </a:lnTo>
                  <a:lnTo>
                    <a:pt x="69850" y="57150"/>
                  </a:lnTo>
                  <a:lnTo>
                    <a:pt x="66675" y="66675"/>
                  </a:lnTo>
                  <a:lnTo>
                    <a:pt x="66675" y="76200"/>
                  </a:lnTo>
                  <a:lnTo>
                    <a:pt x="73025" y="82550"/>
                  </a:lnTo>
                  <a:lnTo>
                    <a:pt x="79375" y="82550"/>
                  </a:lnTo>
                  <a:lnTo>
                    <a:pt x="79375" y="79375"/>
                  </a:lnTo>
                  <a:lnTo>
                    <a:pt x="79375" y="73025"/>
                  </a:lnTo>
                  <a:lnTo>
                    <a:pt x="88900" y="66675"/>
                  </a:lnTo>
                  <a:lnTo>
                    <a:pt x="95250" y="85725"/>
                  </a:lnTo>
                  <a:lnTo>
                    <a:pt x="95250" y="107950"/>
                  </a:lnTo>
                  <a:lnTo>
                    <a:pt x="95250" y="114300"/>
                  </a:lnTo>
                  <a:lnTo>
                    <a:pt x="98425" y="120650"/>
                  </a:lnTo>
                  <a:lnTo>
                    <a:pt x="92075" y="117475"/>
                  </a:lnTo>
                  <a:lnTo>
                    <a:pt x="88900" y="127000"/>
                  </a:lnTo>
                  <a:lnTo>
                    <a:pt x="79375" y="98425"/>
                  </a:lnTo>
                  <a:lnTo>
                    <a:pt x="69850" y="88900"/>
                  </a:lnTo>
                  <a:lnTo>
                    <a:pt x="63500" y="85725"/>
                  </a:lnTo>
                  <a:lnTo>
                    <a:pt x="53975" y="82550"/>
                  </a:lnTo>
                  <a:lnTo>
                    <a:pt x="53975" y="92075"/>
                  </a:lnTo>
                  <a:lnTo>
                    <a:pt x="53975" y="101600"/>
                  </a:lnTo>
                  <a:lnTo>
                    <a:pt x="44450" y="111125"/>
                  </a:lnTo>
                  <a:lnTo>
                    <a:pt x="38100" y="107950"/>
                  </a:lnTo>
                  <a:lnTo>
                    <a:pt x="31750" y="114300"/>
                  </a:lnTo>
                  <a:lnTo>
                    <a:pt x="25400" y="114300"/>
                  </a:lnTo>
                  <a:lnTo>
                    <a:pt x="22225" y="114300"/>
                  </a:lnTo>
                  <a:lnTo>
                    <a:pt x="19050" y="104775"/>
                  </a:lnTo>
                  <a:lnTo>
                    <a:pt x="19050" y="92075"/>
                  </a:lnTo>
                  <a:lnTo>
                    <a:pt x="19050" y="85725"/>
                  </a:lnTo>
                  <a:lnTo>
                    <a:pt x="15875" y="85725"/>
                  </a:lnTo>
                  <a:lnTo>
                    <a:pt x="15875" y="79375"/>
                  </a:lnTo>
                  <a:lnTo>
                    <a:pt x="19050" y="79375"/>
                  </a:lnTo>
                  <a:lnTo>
                    <a:pt x="12700" y="76200"/>
                  </a:lnTo>
                  <a:lnTo>
                    <a:pt x="12700" y="73025"/>
                  </a:lnTo>
                  <a:lnTo>
                    <a:pt x="9525" y="66675"/>
                  </a:lnTo>
                  <a:lnTo>
                    <a:pt x="12700" y="60325"/>
                  </a:lnTo>
                  <a:lnTo>
                    <a:pt x="12700" y="57150"/>
                  </a:lnTo>
                  <a:lnTo>
                    <a:pt x="12700" y="53975"/>
                  </a:lnTo>
                  <a:lnTo>
                    <a:pt x="6350" y="50800"/>
                  </a:lnTo>
                  <a:lnTo>
                    <a:pt x="0" y="44450"/>
                  </a:lnTo>
                  <a:lnTo>
                    <a:pt x="9525" y="34925"/>
                  </a:lnTo>
                  <a:lnTo>
                    <a:pt x="12700" y="31750"/>
                  </a:lnTo>
                  <a:lnTo>
                    <a:pt x="12700" y="25400"/>
                  </a:lnTo>
                  <a:lnTo>
                    <a:pt x="3175" y="19050"/>
                  </a:lnTo>
                  <a:lnTo>
                    <a:pt x="0" y="12700"/>
                  </a:lnTo>
                  <a:lnTo>
                    <a:pt x="3175" y="317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0" name="Freeform 472">
              <a:extLst>
                <a:ext uri="{FF2B5EF4-FFF2-40B4-BE49-F238E27FC236}">
                  <a16:creationId xmlns:a16="http://schemas.microsoft.com/office/drawing/2014/main" id="{1038E5FD-01B7-4FC5-ABE4-89ECB6206D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9838" y="3690938"/>
              <a:ext cx="193675" cy="422275"/>
            </a:xfrm>
            <a:custGeom>
              <a:avLst/>
              <a:gdLst/>
              <a:ahLst/>
              <a:cxnLst>
                <a:cxn ang="0">
                  <a:pos x="100" y="242"/>
                </a:cxn>
                <a:cxn ang="0">
                  <a:pos x="94" y="226"/>
                </a:cxn>
                <a:cxn ang="0">
                  <a:pos x="86" y="206"/>
                </a:cxn>
                <a:cxn ang="0">
                  <a:pos x="86" y="192"/>
                </a:cxn>
                <a:cxn ang="0">
                  <a:pos x="86" y="182"/>
                </a:cxn>
                <a:cxn ang="0">
                  <a:pos x="86" y="170"/>
                </a:cxn>
                <a:cxn ang="0">
                  <a:pos x="74" y="154"/>
                </a:cxn>
                <a:cxn ang="0">
                  <a:pos x="70" y="146"/>
                </a:cxn>
                <a:cxn ang="0">
                  <a:pos x="74" y="142"/>
                </a:cxn>
                <a:cxn ang="0">
                  <a:pos x="82" y="130"/>
                </a:cxn>
                <a:cxn ang="0">
                  <a:pos x="98" y="124"/>
                </a:cxn>
                <a:cxn ang="0">
                  <a:pos x="104" y="120"/>
                </a:cxn>
                <a:cxn ang="0">
                  <a:pos x="116" y="106"/>
                </a:cxn>
                <a:cxn ang="0">
                  <a:pos x="118" y="102"/>
                </a:cxn>
                <a:cxn ang="0">
                  <a:pos x="106" y="96"/>
                </a:cxn>
                <a:cxn ang="0">
                  <a:pos x="94" y="94"/>
                </a:cxn>
                <a:cxn ang="0">
                  <a:pos x="92" y="80"/>
                </a:cxn>
                <a:cxn ang="0">
                  <a:pos x="86" y="66"/>
                </a:cxn>
                <a:cxn ang="0">
                  <a:pos x="76" y="68"/>
                </a:cxn>
                <a:cxn ang="0">
                  <a:pos x="74" y="62"/>
                </a:cxn>
                <a:cxn ang="0">
                  <a:pos x="76" y="48"/>
                </a:cxn>
                <a:cxn ang="0">
                  <a:pos x="84" y="44"/>
                </a:cxn>
                <a:cxn ang="0">
                  <a:pos x="88" y="14"/>
                </a:cxn>
                <a:cxn ang="0">
                  <a:pos x="70" y="4"/>
                </a:cxn>
                <a:cxn ang="0">
                  <a:pos x="52" y="22"/>
                </a:cxn>
                <a:cxn ang="0">
                  <a:pos x="34" y="52"/>
                </a:cxn>
                <a:cxn ang="0">
                  <a:pos x="18" y="68"/>
                </a:cxn>
                <a:cxn ang="0">
                  <a:pos x="16" y="80"/>
                </a:cxn>
                <a:cxn ang="0">
                  <a:pos x="4" y="98"/>
                </a:cxn>
                <a:cxn ang="0">
                  <a:pos x="2" y="104"/>
                </a:cxn>
                <a:cxn ang="0">
                  <a:pos x="12" y="126"/>
                </a:cxn>
                <a:cxn ang="0">
                  <a:pos x="20" y="130"/>
                </a:cxn>
                <a:cxn ang="0">
                  <a:pos x="26" y="144"/>
                </a:cxn>
                <a:cxn ang="0">
                  <a:pos x="30" y="152"/>
                </a:cxn>
                <a:cxn ang="0">
                  <a:pos x="32" y="164"/>
                </a:cxn>
                <a:cxn ang="0">
                  <a:pos x="30" y="182"/>
                </a:cxn>
                <a:cxn ang="0">
                  <a:pos x="34" y="184"/>
                </a:cxn>
                <a:cxn ang="0">
                  <a:pos x="48" y="182"/>
                </a:cxn>
                <a:cxn ang="0">
                  <a:pos x="60" y="174"/>
                </a:cxn>
                <a:cxn ang="0">
                  <a:pos x="66" y="166"/>
                </a:cxn>
                <a:cxn ang="0">
                  <a:pos x="74" y="174"/>
                </a:cxn>
                <a:cxn ang="0">
                  <a:pos x="76" y="192"/>
                </a:cxn>
                <a:cxn ang="0">
                  <a:pos x="76" y="198"/>
                </a:cxn>
                <a:cxn ang="0">
                  <a:pos x="82" y="212"/>
                </a:cxn>
                <a:cxn ang="0">
                  <a:pos x="88" y="228"/>
                </a:cxn>
                <a:cxn ang="0">
                  <a:pos x="88" y="248"/>
                </a:cxn>
                <a:cxn ang="0">
                  <a:pos x="84" y="256"/>
                </a:cxn>
                <a:cxn ang="0">
                  <a:pos x="88" y="262"/>
                </a:cxn>
              </a:cxnLst>
              <a:rect l="0" t="0" r="r" b="b"/>
              <a:pathLst>
                <a:path w="122" h="266">
                  <a:moveTo>
                    <a:pt x="90" y="256"/>
                  </a:moveTo>
                  <a:lnTo>
                    <a:pt x="92" y="254"/>
                  </a:lnTo>
                  <a:lnTo>
                    <a:pt x="100" y="242"/>
                  </a:lnTo>
                  <a:lnTo>
                    <a:pt x="100" y="238"/>
                  </a:lnTo>
                  <a:lnTo>
                    <a:pt x="96" y="230"/>
                  </a:lnTo>
                  <a:lnTo>
                    <a:pt x="94" y="226"/>
                  </a:lnTo>
                  <a:lnTo>
                    <a:pt x="94" y="220"/>
                  </a:lnTo>
                  <a:lnTo>
                    <a:pt x="92" y="210"/>
                  </a:lnTo>
                  <a:lnTo>
                    <a:pt x="86" y="206"/>
                  </a:lnTo>
                  <a:lnTo>
                    <a:pt x="82" y="196"/>
                  </a:lnTo>
                  <a:lnTo>
                    <a:pt x="82" y="192"/>
                  </a:lnTo>
                  <a:lnTo>
                    <a:pt x="86" y="192"/>
                  </a:lnTo>
                  <a:lnTo>
                    <a:pt x="86" y="190"/>
                  </a:lnTo>
                  <a:lnTo>
                    <a:pt x="86" y="186"/>
                  </a:lnTo>
                  <a:lnTo>
                    <a:pt x="86" y="182"/>
                  </a:lnTo>
                  <a:lnTo>
                    <a:pt x="88" y="180"/>
                  </a:lnTo>
                  <a:lnTo>
                    <a:pt x="86" y="176"/>
                  </a:lnTo>
                  <a:lnTo>
                    <a:pt x="86" y="170"/>
                  </a:lnTo>
                  <a:lnTo>
                    <a:pt x="82" y="166"/>
                  </a:lnTo>
                  <a:lnTo>
                    <a:pt x="74" y="158"/>
                  </a:lnTo>
                  <a:lnTo>
                    <a:pt x="74" y="154"/>
                  </a:lnTo>
                  <a:lnTo>
                    <a:pt x="74" y="150"/>
                  </a:lnTo>
                  <a:lnTo>
                    <a:pt x="72" y="150"/>
                  </a:lnTo>
                  <a:lnTo>
                    <a:pt x="70" y="146"/>
                  </a:lnTo>
                  <a:lnTo>
                    <a:pt x="74" y="146"/>
                  </a:lnTo>
                  <a:lnTo>
                    <a:pt x="76" y="146"/>
                  </a:lnTo>
                  <a:lnTo>
                    <a:pt x="74" y="142"/>
                  </a:lnTo>
                  <a:lnTo>
                    <a:pt x="76" y="136"/>
                  </a:lnTo>
                  <a:lnTo>
                    <a:pt x="78" y="130"/>
                  </a:lnTo>
                  <a:lnTo>
                    <a:pt x="82" y="130"/>
                  </a:lnTo>
                  <a:lnTo>
                    <a:pt x="86" y="130"/>
                  </a:lnTo>
                  <a:lnTo>
                    <a:pt x="90" y="128"/>
                  </a:lnTo>
                  <a:lnTo>
                    <a:pt x="98" y="124"/>
                  </a:lnTo>
                  <a:lnTo>
                    <a:pt x="98" y="120"/>
                  </a:lnTo>
                  <a:lnTo>
                    <a:pt x="104" y="122"/>
                  </a:lnTo>
                  <a:lnTo>
                    <a:pt x="104" y="120"/>
                  </a:lnTo>
                  <a:lnTo>
                    <a:pt x="106" y="122"/>
                  </a:lnTo>
                  <a:lnTo>
                    <a:pt x="110" y="114"/>
                  </a:lnTo>
                  <a:lnTo>
                    <a:pt x="116" y="106"/>
                  </a:lnTo>
                  <a:lnTo>
                    <a:pt x="122" y="104"/>
                  </a:lnTo>
                  <a:lnTo>
                    <a:pt x="120" y="100"/>
                  </a:lnTo>
                  <a:lnTo>
                    <a:pt x="118" y="102"/>
                  </a:lnTo>
                  <a:lnTo>
                    <a:pt x="112" y="104"/>
                  </a:lnTo>
                  <a:lnTo>
                    <a:pt x="108" y="106"/>
                  </a:lnTo>
                  <a:lnTo>
                    <a:pt x="106" y="96"/>
                  </a:lnTo>
                  <a:lnTo>
                    <a:pt x="98" y="96"/>
                  </a:lnTo>
                  <a:lnTo>
                    <a:pt x="96" y="96"/>
                  </a:lnTo>
                  <a:lnTo>
                    <a:pt x="94" y="94"/>
                  </a:lnTo>
                  <a:lnTo>
                    <a:pt x="96" y="86"/>
                  </a:lnTo>
                  <a:lnTo>
                    <a:pt x="94" y="82"/>
                  </a:lnTo>
                  <a:lnTo>
                    <a:pt x="92" y="80"/>
                  </a:lnTo>
                  <a:lnTo>
                    <a:pt x="90" y="76"/>
                  </a:lnTo>
                  <a:lnTo>
                    <a:pt x="90" y="66"/>
                  </a:lnTo>
                  <a:lnTo>
                    <a:pt x="86" y="66"/>
                  </a:lnTo>
                  <a:lnTo>
                    <a:pt x="82" y="66"/>
                  </a:lnTo>
                  <a:lnTo>
                    <a:pt x="78" y="66"/>
                  </a:lnTo>
                  <a:lnTo>
                    <a:pt x="76" y="68"/>
                  </a:lnTo>
                  <a:lnTo>
                    <a:pt x="74" y="70"/>
                  </a:lnTo>
                  <a:lnTo>
                    <a:pt x="72" y="68"/>
                  </a:lnTo>
                  <a:lnTo>
                    <a:pt x="74" y="62"/>
                  </a:lnTo>
                  <a:lnTo>
                    <a:pt x="72" y="56"/>
                  </a:lnTo>
                  <a:lnTo>
                    <a:pt x="74" y="52"/>
                  </a:lnTo>
                  <a:lnTo>
                    <a:pt x="76" y="48"/>
                  </a:lnTo>
                  <a:lnTo>
                    <a:pt x="78" y="50"/>
                  </a:lnTo>
                  <a:lnTo>
                    <a:pt x="80" y="48"/>
                  </a:lnTo>
                  <a:lnTo>
                    <a:pt x="84" y="44"/>
                  </a:lnTo>
                  <a:lnTo>
                    <a:pt x="86" y="40"/>
                  </a:lnTo>
                  <a:lnTo>
                    <a:pt x="88" y="24"/>
                  </a:lnTo>
                  <a:lnTo>
                    <a:pt x="88" y="14"/>
                  </a:lnTo>
                  <a:lnTo>
                    <a:pt x="80" y="6"/>
                  </a:lnTo>
                  <a:lnTo>
                    <a:pt x="74" y="0"/>
                  </a:lnTo>
                  <a:lnTo>
                    <a:pt x="70" y="4"/>
                  </a:lnTo>
                  <a:lnTo>
                    <a:pt x="70" y="8"/>
                  </a:lnTo>
                  <a:lnTo>
                    <a:pt x="64" y="16"/>
                  </a:lnTo>
                  <a:lnTo>
                    <a:pt x="52" y="22"/>
                  </a:lnTo>
                  <a:lnTo>
                    <a:pt x="40" y="28"/>
                  </a:lnTo>
                  <a:lnTo>
                    <a:pt x="38" y="38"/>
                  </a:lnTo>
                  <a:lnTo>
                    <a:pt x="34" y="52"/>
                  </a:lnTo>
                  <a:lnTo>
                    <a:pt x="30" y="60"/>
                  </a:lnTo>
                  <a:lnTo>
                    <a:pt x="24" y="68"/>
                  </a:lnTo>
                  <a:lnTo>
                    <a:pt x="18" y="68"/>
                  </a:lnTo>
                  <a:lnTo>
                    <a:pt x="16" y="68"/>
                  </a:lnTo>
                  <a:lnTo>
                    <a:pt x="16" y="70"/>
                  </a:lnTo>
                  <a:lnTo>
                    <a:pt x="16" y="80"/>
                  </a:lnTo>
                  <a:lnTo>
                    <a:pt x="12" y="86"/>
                  </a:lnTo>
                  <a:lnTo>
                    <a:pt x="12" y="94"/>
                  </a:lnTo>
                  <a:lnTo>
                    <a:pt x="4" y="98"/>
                  </a:lnTo>
                  <a:lnTo>
                    <a:pt x="4" y="102"/>
                  </a:lnTo>
                  <a:lnTo>
                    <a:pt x="6" y="106"/>
                  </a:lnTo>
                  <a:lnTo>
                    <a:pt x="2" y="104"/>
                  </a:lnTo>
                  <a:lnTo>
                    <a:pt x="0" y="110"/>
                  </a:lnTo>
                  <a:lnTo>
                    <a:pt x="4" y="120"/>
                  </a:lnTo>
                  <a:lnTo>
                    <a:pt x="12" y="126"/>
                  </a:lnTo>
                  <a:lnTo>
                    <a:pt x="14" y="126"/>
                  </a:lnTo>
                  <a:lnTo>
                    <a:pt x="18" y="128"/>
                  </a:lnTo>
                  <a:lnTo>
                    <a:pt x="20" y="130"/>
                  </a:lnTo>
                  <a:lnTo>
                    <a:pt x="24" y="134"/>
                  </a:lnTo>
                  <a:lnTo>
                    <a:pt x="24" y="142"/>
                  </a:lnTo>
                  <a:lnTo>
                    <a:pt x="26" y="144"/>
                  </a:lnTo>
                  <a:lnTo>
                    <a:pt x="28" y="146"/>
                  </a:lnTo>
                  <a:lnTo>
                    <a:pt x="30" y="150"/>
                  </a:lnTo>
                  <a:lnTo>
                    <a:pt x="30" y="152"/>
                  </a:lnTo>
                  <a:lnTo>
                    <a:pt x="30" y="158"/>
                  </a:lnTo>
                  <a:lnTo>
                    <a:pt x="32" y="160"/>
                  </a:lnTo>
                  <a:lnTo>
                    <a:pt x="32" y="164"/>
                  </a:lnTo>
                  <a:lnTo>
                    <a:pt x="26" y="180"/>
                  </a:lnTo>
                  <a:lnTo>
                    <a:pt x="28" y="184"/>
                  </a:lnTo>
                  <a:lnTo>
                    <a:pt x="30" y="182"/>
                  </a:lnTo>
                  <a:lnTo>
                    <a:pt x="34" y="176"/>
                  </a:lnTo>
                  <a:lnTo>
                    <a:pt x="34" y="180"/>
                  </a:lnTo>
                  <a:lnTo>
                    <a:pt x="34" y="184"/>
                  </a:lnTo>
                  <a:lnTo>
                    <a:pt x="36" y="186"/>
                  </a:lnTo>
                  <a:lnTo>
                    <a:pt x="42" y="186"/>
                  </a:lnTo>
                  <a:lnTo>
                    <a:pt x="48" y="182"/>
                  </a:lnTo>
                  <a:lnTo>
                    <a:pt x="52" y="178"/>
                  </a:lnTo>
                  <a:lnTo>
                    <a:pt x="56" y="178"/>
                  </a:lnTo>
                  <a:lnTo>
                    <a:pt x="60" y="174"/>
                  </a:lnTo>
                  <a:lnTo>
                    <a:pt x="64" y="164"/>
                  </a:lnTo>
                  <a:lnTo>
                    <a:pt x="64" y="162"/>
                  </a:lnTo>
                  <a:lnTo>
                    <a:pt x="66" y="166"/>
                  </a:lnTo>
                  <a:lnTo>
                    <a:pt x="68" y="170"/>
                  </a:lnTo>
                  <a:lnTo>
                    <a:pt x="70" y="176"/>
                  </a:lnTo>
                  <a:lnTo>
                    <a:pt x="74" y="174"/>
                  </a:lnTo>
                  <a:lnTo>
                    <a:pt x="74" y="180"/>
                  </a:lnTo>
                  <a:lnTo>
                    <a:pt x="74" y="186"/>
                  </a:lnTo>
                  <a:lnTo>
                    <a:pt x="76" y="192"/>
                  </a:lnTo>
                  <a:lnTo>
                    <a:pt x="76" y="194"/>
                  </a:lnTo>
                  <a:lnTo>
                    <a:pt x="76" y="196"/>
                  </a:lnTo>
                  <a:lnTo>
                    <a:pt x="76" y="198"/>
                  </a:lnTo>
                  <a:lnTo>
                    <a:pt x="76" y="202"/>
                  </a:lnTo>
                  <a:lnTo>
                    <a:pt x="80" y="214"/>
                  </a:lnTo>
                  <a:lnTo>
                    <a:pt x="82" y="212"/>
                  </a:lnTo>
                  <a:lnTo>
                    <a:pt x="82" y="214"/>
                  </a:lnTo>
                  <a:lnTo>
                    <a:pt x="84" y="220"/>
                  </a:lnTo>
                  <a:lnTo>
                    <a:pt x="88" y="228"/>
                  </a:lnTo>
                  <a:lnTo>
                    <a:pt x="86" y="234"/>
                  </a:lnTo>
                  <a:lnTo>
                    <a:pt x="88" y="240"/>
                  </a:lnTo>
                  <a:lnTo>
                    <a:pt x="88" y="248"/>
                  </a:lnTo>
                  <a:lnTo>
                    <a:pt x="86" y="256"/>
                  </a:lnTo>
                  <a:lnTo>
                    <a:pt x="86" y="256"/>
                  </a:lnTo>
                  <a:lnTo>
                    <a:pt x="84" y="256"/>
                  </a:lnTo>
                  <a:lnTo>
                    <a:pt x="84" y="258"/>
                  </a:lnTo>
                  <a:lnTo>
                    <a:pt x="86" y="266"/>
                  </a:lnTo>
                  <a:lnTo>
                    <a:pt x="88" y="262"/>
                  </a:lnTo>
                  <a:lnTo>
                    <a:pt x="90" y="256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1" name="Freeform 476">
              <a:extLst>
                <a:ext uri="{FF2B5EF4-FFF2-40B4-BE49-F238E27FC236}">
                  <a16:creationId xmlns:a16="http://schemas.microsoft.com/office/drawing/2014/main" id="{8B8249EF-B237-4767-8C74-B1DB2A9C9E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5163" y="3305175"/>
              <a:ext cx="133350" cy="150813"/>
            </a:xfrm>
            <a:custGeom>
              <a:avLst/>
              <a:gdLst/>
              <a:ahLst/>
              <a:cxnLst>
                <a:cxn ang="0">
                  <a:pos x="84" y="12"/>
                </a:cxn>
                <a:cxn ang="0">
                  <a:pos x="80" y="6"/>
                </a:cxn>
                <a:cxn ang="0">
                  <a:pos x="78" y="4"/>
                </a:cxn>
                <a:cxn ang="0">
                  <a:pos x="78" y="2"/>
                </a:cxn>
                <a:cxn ang="0">
                  <a:pos x="74" y="0"/>
                </a:cxn>
                <a:cxn ang="0">
                  <a:pos x="72" y="6"/>
                </a:cxn>
                <a:cxn ang="0">
                  <a:pos x="64" y="15"/>
                </a:cxn>
                <a:cxn ang="0">
                  <a:pos x="58" y="17"/>
                </a:cxn>
                <a:cxn ang="0">
                  <a:pos x="54" y="17"/>
                </a:cxn>
                <a:cxn ang="0">
                  <a:pos x="50" y="21"/>
                </a:cxn>
                <a:cxn ang="0">
                  <a:pos x="52" y="27"/>
                </a:cxn>
                <a:cxn ang="0">
                  <a:pos x="46" y="29"/>
                </a:cxn>
                <a:cxn ang="0">
                  <a:pos x="38" y="27"/>
                </a:cxn>
                <a:cxn ang="0">
                  <a:pos x="34" y="21"/>
                </a:cxn>
                <a:cxn ang="0">
                  <a:pos x="30" y="25"/>
                </a:cxn>
                <a:cxn ang="0">
                  <a:pos x="28" y="29"/>
                </a:cxn>
                <a:cxn ang="0">
                  <a:pos x="26" y="33"/>
                </a:cxn>
                <a:cxn ang="0">
                  <a:pos x="20" y="39"/>
                </a:cxn>
                <a:cxn ang="0">
                  <a:pos x="14" y="41"/>
                </a:cxn>
                <a:cxn ang="0">
                  <a:pos x="12" y="43"/>
                </a:cxn>
                <a:cxn ang="0">
                  <a:pos x="6" y="45"/>
                </a:cxn>
                <a:cxn ang="0">
                  <a:pos x="0" y="53"/>
                </a:cxn>
                <a:cxn ang="0">
                  <a:pos x="0" y="57"/>
                </a:cxn>
                <a:cxn ang="0">
                  <a:pos x="2" y="59"/>
                </a:cxn>
                <a:cxn ang="0">
                  <a:pos x="4" y="59"/>
                </a:cxn>
                <a:cxn ang="0">
                  <a:pos x="6" y="59"/>
                </a:cxn>
                <a:cxn ang="0">
                  <a:pos x="14" y="65"/>
                </a:cxn>
                <a:cxn ang="0">
                  <a:pos x="10" y="75"/>
                </a:cxn>
                <a:cxn ang="0">
                  <a:pos x="6" y="81"/>
                </a:cxn>
                <a:cxn ang="0">
                  <a:pos x="4" y="85"/>
                </a:cxn>
                <a:cxn ang="0">
                  <a:pos x="4" y="87"/>
                </a:cxn>
                <a:cxn ang="0">
                  <a:pos x="10" y="91"/>
                </a:cxn>
                <a:cxn ang="0">
                  <a:pos x="12" y="95"/>
                </a:cxn>
                <a:cxn ang="0">
                  <a:pos x="16" y="91"/>
                </a:cxn>
                <a:cxn ang="0">
                  <a:pos x="22" y="91"/>
                </a:cxn>
                <a:cxn ang="0">
                  <a:pos x="30" y="91"/>
                </a:cxn>
                <a:cxn ang="0">
                  <a:pos x="36" y="85"/>
                </a:cxn>
                <a:cxn ang="0">
                  <a:pos x="44" y="83"/>
                </a:cxn>
                <a:cxn ang="0">
                  <a:pos x="50" y="83"/>
                </a:cxn>
                <a:cxn ang="0">
                  <a:pos x="54" y="77"/>
                </a:cxn>
                <a:cxn ang="0">
                  <a:pos x="48" y="71"/>
                </a:cxn>
                <a:cxn ang="0">
                  <a:pos x="44" y="69"/>
                </a:cxn>
                <a:cxn ang="0">
                  <a:pos x="42" y="69"/>
                </a:cxn>
                <a:cxn ang="0">
                  <a:pos x="40" y="67"/>
                </a:cxn>
                <a:cxn ang="0">
                  <a:pos x="42" y="63"/>
                </a:cxn>
                <a:cxn ang="0">
                  <a:pos x="42" y="59"/>
                </a:cxn>
                <a:cxn ang="0">
                  <a:pos x="46" y="55"/>
                </a:cxn>
                <a:cxn ang="0">
                  <a:pos x="60" y="49"/>
                </a:cxn>
                <a:cxn ang="0">
                  <a:pos x="70" y="41"/>
                </a:cxn>
                <a:cxn ang="0">
                  <a:pos x="72" y="39"/>
                </a:cxn>
                <a:cxn ang="0">
                  <a:pos x="72" y="33"/>
                </a:cxn>
                <a:cxn ang="0">
                  <a:pos x="70" y="25"/>
                </a:cxn>
                <a:cxn ang="0">
                  <a:pos x="74" y="19"/>
                </a:cxn>
                <a:cxn ang="0">
                  <a:pos x="80" y="14"/>
                </a:cxn>
                <a:cxn ang="0">
                  <a:pos x="84" y="14"/>
                </a:cxn>
                <a:cxn ang="0">
                  <a:pos x="84" y="14"/>
                </a:cxn>
                <a:cxn ang="0">
                  <a:pos x="84" y="12"/>
                </a:cxn>
              </a:cxnLst>
              <a:rect l="0" t="0" r="r" b="b"/>
              <a:pathLst>
                <a:path w="84" h="95">
                  <a:moveTo>
                    <a:pt x="84" y="12"/>
                  </a:moveTo>
                  <a:lnTo>
                    <a:pt x="80" y="6"/>
                  </a:lnTo>
                  <a:lnTo>
                    <a:pt x="78" y="4"/>
                  </a:lnTo>
                  <a:lnTo>
                    <a:pt x="78" y="2"/>
                  </a:lnTo>
                  <a:lnTo>
                    <a:pt x="74" y="0"/>
                  </a:lnTo>
                  <a:lnTo>
                    <a:pt x="72" y="6"/>
                  </a:lnTo>
                  <a:lnTo>
                    <a:pt x="64" y="15"/>
                  </a:lnTo>
                  <a:lnTo>
                    <a:pt x="58" y="17"/>
                  </a:lnTo>
                  <a:lnTo>
                    <a:pt x="54" y="17"/>
                  </a:lnTo>
                  <a:lnTo>
                    <a:pt x="50" y="21"/>
                  </a:lnTo>
                  <a:lnTo>
                    <a:pt x="52" y="27"/>
                  </a:lnTo>
                  <a:lnTo>
                    <a:pt x="46" y="29"/>
                  </a:lnTo>
                  <a:lnTo>
                    <a:pt x="38" y="27"/>
                  </a:lnTo>
                  <a:lnTo>
                    <a:pt x="34" y="21"/>
                  </a:lnTo>
                  <a:lnTo>
                    <a:pt x="30" y="25"/>
                  </a:lnTo>
                  <a:lnTo>
                    <a:pt x="28" y="29"/>
                  </a:lnTo>
                  <a:lnTo>
                    <a:pt x="26" y="33"/>
                  </a:lnTo>
                  <a:lnTo>
                    <a:pt x="20" y="39"/>
                  </a:lnTo>
                  <a:lnTo>
                    <a:pt x="14" y="41"/>
                  </a:lnTo>
                  <a:lnTo>
                    <a:pt x="12" y="43"/>
                  </a:lnTo>
                  <a:lnTo>
                    <a:pt x="6" y="45"/>
                  </a:lnTo>
                  <a:lnTo>
                    <a:pt x="0" y="53"/>
                  </a:lnTo>
                  <a:lnTo>
                    <a:pt x="0" y="57"/>
                  </a:lnTo>
                  <a:lnTo>
                    <a:pt x="2" y="59"/>
                  </a:lnTo>
                  <a:lnTo>
                    <a:pt x="4" y="59"/>
                  </a:lnTo>
                  <a:lnTo>
                    <a:pt x="6" y="59"/>
                  </a:lnTo>
                  <a:lnTo>
                    <a:pt x="14" y="65"/>
                  </a:lnTo>
                  <a:lnTo>
                    <a:pt x="10" y="75"/>
                  </a:lnTo>
                  <a:lnTo>
                    <a:pt x="6" y="81"/>
                  </a:lnTo>
                  <a:lnTo>
                    <a:pt x="4" y="85"/>
                  </a:lnTo>
                  <a:lnTo>
                    <a:pt x="4" y="87"/>
                  </a:lnTo>
                  <a:lnTo>
                    <a:pt x="10" y="91"/>
                  </a:lnTo>
                  <a:lnTo>
                    <a:pt x="12" y="95"/>
                  </a:lnTo>
                  <a:lnTo>
                    <a:pt x="16" y="91"/>
                  </a:lnTo>
                  <a:lnTo>
                    <a:pt x="22" y="91"/>
                  </a:lnTo>
                  <a:lnTo>
                    <a:pt x="30" y="91"/>
                  </a:lnTo>
                  <a:lnTo>
                    <a:pt x="36" y="85"/>
                  </a:lnTo>
                  <a:lnTo>
                    <a:pt x="44" y="83"/>
                  </a:lnTo>
                  <a:lnTo>
                    <a:pt x="50" y="83"/>
                  </a:lnTo>
                  <a:lnTo>
                    <a:pt x="54" y="77"/>
                  </a:lnTo>
                  <a:lnTo>
                    <a:pt x="48" y="71"/>
                  </a:lnTo>
                  <a:lnTo>
                    <a:pt x="44" y="69"/>
                  </a:lnTo>
                  <a:lnTo>
                    <a:pt x="42" y="69"/>
                  </a:lnTo>
                  <a:lnTo>
                    <a:pt x="40" y="67"/>
                  </a:lnTo>
                  <a:lnTo>
                    <a:pt x="42" y="63"/>
                  </a:lnTo>
                  <a:lnTo>
                    <a:pt x="42" y="59"/>
                  </a:lnTo>
                  <a:lnTo>
                    <a:pt x="46" y="55"/>
                  </a:lnTo>
                  <a:lnTo>
                    <a:pt x="60" y="49"/>
                  </a:lnTo>
                  <a:lnTo>
                    <a:pt x="70" y="41"/>
                  </a:lnTo>
                  <a:lnTo>
                    <a:pt x="72" y="39"/>
                  </a:lnTo>
                  <a:lnTo>
                    <a:pt x="72" y="33"/>
                  </a:lnTo>
                  <a:lnTo>
                    <a:pt x="70" y="25"/>
                  </a:lnTo>
                  <a:lnTo>
                    <a:pt x="74" y="19"/>
                  </a:lnTo>
                  <a:lnTo>
                    <a:pt x="80" y="14"/>
                  </a:lnTo>
                  <a:lnTo>
                    <a:pt x="84" y="14"/>
                  </a:lnTo>
                  <a:lnTo>
                    <a:pt x="84" y="14"/>
                  </a:lnTo>
                  <a:lnTo>
                    <a:pt x="84" y="12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2" name="Freeform 649">
              <a:extLst>
                <a:ext uri="{FF2B5EF4-FFF2-40B4-BE49-F238E27FC236}">
                  <a16:creationId xmlns:a16="http://schemas.microsoft.com/office/drawing/2014/main" id="{DE9235D0-A47D-4690-A695-8AD0781DCE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2" y="3209925"/>
              <a:ext cx="495301" cy="538163"/>
            </a:xfrm>
            <a:custGeom>
              <a:avLst/>
              <a:gdLst/>
              <a:ahLst/>
              <a:cxnLst/>
              <a:rect l="l" t="t" r="r" b="b"/>
              <a:pathLst>
                <a:path w="495301" h="538163">
                  <a:moveTo>
                    <a:pt x="12700" y="519113"/>
                  </a:moveTo>
                  <a:lnTo>
                    <a:pt x="9525" y="528638"/>
                  </a:lnTo>
                  <a:lnTo>
                    <a:pt x="3175" y="534988"/>
                  </a:lnTo>
                  <a:lnTo>
                    <a:pt x="0" y="538163"/>
                  </a:lnTo>
                  <a:lnTo>
                    <a:pt x="3175" y="528638"/>
                  </a:lnTo>
                  <a:close/>
                  <a:moveTo>
                    <a:pt x="44450" y="481013"/>
                  </a:moveTo>
                  <a:lnTo>
                    <a:pt x="38100" y="487363"/>
                  </a:lnTo>
                  <a:lnTo>
                    <a:pt x="34925" y="487363"/>
                  </a:lnTo>
                  <a:close/>
                  <a:moveTo>
                    <a:pt x="63501" y="344488"/>
                  </a:moveTo>
                  <a:lnTo>
                    <a:pt x="69851" y="344488"/>
                  </a:lnTo>
                  <a:lnTo>
                    <a:pt x="69851" y="347663"/>
                  </a:lnTo>
                  <a:lnTo>
                    <a:pt x="73026" y="350838"/>
                  </a:lnTo>
                  <a:lnTo>
                    <a:pt x="79376" y="354013"/>
                  </a:lnTo>
                  <a:lnTo>
                    <a:pt x="82551" y="354013"/>
                  </a:lnTo>
                  <a:lnTo>
                    <a:pt x="85726" y="357188"/>
                  </a:lnTo>
                  <a:lnTo>
                    <a:pt x="92076" y="363538"/>
                  </a:lnTo>
                  <a:lnTo>
                    <a:pt x="92076" y="373063"/>
                  </a:lnTo>
                  <a:lnTo>
                    <a:pt x="85726" y="382588"/>
                  </a:lnTo>
                  <a:lnTo>
                    <a:pt x="82551" y="395288"/>
                  </a:lnTo>
                  <a:lnTo>
                    <a:pt x="82551" y="398463"/>
                  </a:lnTo>
                  <a:lnTo>
                    <a:pt x="82551" y="401638"/>
                  </a:lnTo>
                  <a:lnTo>
                    <a:pt x="66676" y="417513"/>
                  </a:lnTo>
                  <a:lnTo>
                    <a:pt x="63501" y="414338"/>
                  </a:lnTo>
                  <a:lnTo>
                    <a:pt x="50801" y="407988"/>
                  </a:lnTo>
                  <a:lnTo>
                    <a:pt x="57151" y="401638"/>
                  </a:lnTo>
                  <a:lnTo>
                    <a:pt x="53976" y="395288"/>
                  </a:lnTo>
                  <a:lnTo>
                    <a:pt x="57151" y="388938"/>
                  </a:lnTo>
                  <a:lnTo>
                    <a:pt x="63501" y="382588"/>
                  </a:lnTo>
                  <a:lnTo>
                    <a:pt x="63501" y="373063"/>
                  </a:lnTo>
                  <a:lnTo>
                    <a:pt x="57151" y="363538"/>
                  </a:lnTo>
                  <a:lnTo>
                    <a:pt x="50801" y="369888"/>
                  </a:lnTo>
                  <a:lnTo>
                    <a:pt x="47626" y="379413"/>
                  </a:lnTo>
                  <a:lnTo>
                    <a:pt x="44451" y="366713"/>
                  </a:lnTo>
                  <a:lnTo>
                    <a:pt x="41276" y="357188"/>
                  </a:lnTo>
                  <a:lnTo>
                    <a:pt x="50801" y="357188"/>
                  </a:lnTo>
                  <a:lnTo>
                    <a:pt x="57151" y="354013"/>
                  </a:lnTo>
                  <a:lnTo>
                    <a:pt x="57151" y="350838"/>
                  </a:lnTo>
                  <a:close/>
                  <a:moveTo>
                    <a:pt x="130175" y="334963"/>
                  </a:moveTo>
                  <a:lnTo>
                    <a:pt x="139700" y="334963"/>
                  </a:lnTo>
                  <a:lnTo>
                    <a:pt x="149225" y="341313"/>
                  </a:lnTo>
                  <a:lnTo>
                    <a:pt x="152400" y="347663"/>
                  </a:lnTo>
                  <a:lnTo>
                    <a:pt x="142875" y="354013"/>
                  </a:lnTo>
                  <a:lnTo>
                    <a:pt x="127000" y="354013"/>
                  </a:lnTo>
                  <a:lnTo>
                    <a:pt x="117475" y="366713"/>
                  </a:lnTo>
                  <a:lnTo>
                    <a:pt x="111125" y="369888"/>
                  </a:lnTo>
                  <a:lnTo>
                    <a:pt x="104775" y="369888"/>
                  </a:lnTo>
                  <a:lnTo>
                    <a:pt x="104775" y="366713"/>
                  </a:lnTo>
                  <a:lnTo>
                    <a:pt x="104775" y="363538"/>
                  </a:lnTo>
                  <a:lnTo>
                    <a:pt x="101600" y="354013"/>
                  </a:lnTo>
                  <a:lnTo>
                    <a:pt x="114300" y="338138"/>
                  </a:lnTo>
                  <a:lnTo>
                    <a:pt x="117475" y="344488"/>
                  </a:lnTo>
                  <a:lnTo>
                    <a:pt x="127000" y="344488"/>
                  </a:lnTo>
                  <a:close/>
                  <a:moveTo>
                    <a:pt x="234951" y="227013"/>
                  </a:moveTo>
                  <a:lnTo>
                    <a:pt x="231776" y="239713"/>
                  </a:lnTo>
                  <a:lnTo>
                    <a:pt x="225426" y="242888"/>
                  </a:lnTo>
                  <a:lnTo>
                    <a:pt x="228601" y="230188"/>
                  </a:lnTo>
                  <a:close/>
                  <a:moveTo>
                    <a:pt x="285750" y="138113"/>
                  </a:moveTo>
                  <a:lnTo>
                    <a:pt x="292100" y="138113"/>
                  </a:lnTo>
                  <a:lnTo>
                    <a:pt x="298450" y="150813"/>
                  </a:lnTo>
                  <a:lnTo>
                    <a:pt x="304800" y="173038"/>
                  </a:lnTo>
                  <a:lnTo>
                    <a:pt x="311150" y="192088"/>
                  </a:lnTo>
                  <a:lnTo>
                    <a:pt x="307975" y="201613"/>
                  </a:lnTo>
                  <a:lnTo>
                    <a:pt x="301625" y="207963"/>
                  </a:lnTo>
                  <a:lnTo>
                    <a:pt x="301625" y="211138"/>
                  </a:lnTo>
                  <a:lnTo>
                    <a:pt x="295275" y="220663"/>
                  </a:lnTo>
                  <a:lnTo>
                    <a:pt x="292100" y="223838"/>
                  </a:lnTo>
                  <a:lnTo>
                    <a:pt x="288925" y="227013"/>
                  </a:lnTo>
                  <a:lnTo>
                    <a:pt x="285750" y="239713"/>
                  </a:lnTo>
                  <a:lnTo>
                    <a:pt x="288925" y="242888"/>
                  </a:lnTo>
                  <a:lnTo>
                    <a:pt x="288925" y="252413"/>
                  </a:lnTo>
                  <a:lnTo>
                    <a:pt x="285750" y="265113"/>
                  </a:lnTo>
                  <a:lnTo>
                    <a:pt x="282575" y="268288"/>
                  </a:lnTo>
                  <a:lnTo>
                    <a:pt x="279400" y="274638"/>
                  </a:lnTo>
                  <a:lnTo>
                    <a:pt x="279400" y="287338"/>
                  </a:lnTo>
                  <a:lnTo>
                    <a:pt x="282575" y="293688"/>
                  </a:lnTo>
                  <a:lnTo>
                    <a:pt x="279400" y="300038"/>
                  </a:lnTo>
                  <a:lnTo>
                    <a:pt x="276225" y="303213"/>
                  </a:lnTo>
                  <a:lnTo>
                    <a:pt x="276225" y="309563"/>
                  </a:lnTo>
                  <a:lnTo>
                    <a:pt x="266700" y="319088"/>
                  </a:lnTo>
                  <a:lnTo>
                    <a:pt x="260350" y="315913"/>
                  </a:lnTo>
                  <a:lnTo>
                    <a:pt x="263525" y="306388"/>
                  </a:lnTo>
                  <a:lnTo>
                    <a:pt x="266700" y="303213"/>
                  </a:lnTo>
                  <a:lnTo>
                    <a:pt x="260350" y="300038"/>
                  </a:lnTo>
                  <a:lnTo>
                    <a:pt x="247650" y="309563"/>
                  </a:lnTo>
                  <a:lnTo>
                    <a:pt x="247650" y="315913"/>
                  </a:lnTo>
                  <a:lnTo>
                    <a:pt x="241300" y="325438"/>
                  </a:lnTo>
                  <a:lnTo>
                    <a:pt x="238125" y="325438"/>
                  </a:lnTo>
                  <a:lnTo>
                    <a:pt x="238125" y="322263"/>
                  </a:lnTo>
                  <a:lnTo>
                    <a:pt x="241300" y="315913"/>
                  </a:lnTo>
                  <a:lnTo>
                    <a:pt x="238125" y="312738"/>
                  </a:lnTo>
                  <a:lnTo>
                    <a:pt x="228600" y="322263"/>
                  </a:lnTo>
                  <a:lnTo>
                    <a:pt x="225425" y="325438"/>
                  </a:lnTo>
                  <a:lnTo>
                    <a:pt x="219075" y="325438"/>
                  </a:lnTo>
                  <a:lnTo>
                    <a:pt x="203200" y="325438"/>
                  </a:lnTo>
                  <a:lnTo>
                    <a:pt x="196850" y="319088"/>
                  </a:lnTo>
                  <a:lnTo>
                    <a:pt x="200025" y="312738"/>
                  </a:lnTo>
                  <a:lnTo>
                    <a:pt x="193675" y="315913"/>
                  </a:lnTo>
                  <a:lnTo>
                    <a:pt x="190500" y="322263"/>
                  </a:lnTo>
                  <a:lnTo>
                    <a:pt x="193675" y="325438"/>
                  </a:lnTo>
                  <a:lnTo>
                    <a:pt x="196850" y="328613"/>
                  </a:lnTo>
                  <a:lnTo>
                    <a:pt x="200025" y="334963"/>
                  </a:lnTo>
                  <a:lnTo>
                    <a:pt x="193675" y="334963"/>
                  </a:lnTo>
                  <a:lnTo>
                    <a:pt x="177800" y="354013"/>
                  </a:lnTo>
                  <a:lnTo>
                    <a:pt x="158750" y="344488"/>
                  </a:lnTo>
                  <a:lnTo>
                    <a:pt x="161925" y="334963"/>
                  </a:lnTo>
                  <a:lnTo>
                    <a:pt x="168275" y="328613"/>
                  </a:lnTo>
                  <a:lnTo>
                    <a:pt x="161925" y="322263"/>
                  </a:lnTo>
                  <a:lnTo>
                    <a:pt x="149225" y="322263"/>
                  </a:lnTo>
                  <a:lnTo>
                    <a:pt x="142875" y="325438"/>
                  </a:lnTo>
                  <a:lnTo>
                    <a:pt x="139700" y="328613"/>
                  </a:lnTo>
                  <a:lnTo>
                    <a:pt x="136525" y="328613"/>
                  </a:lnTo>
                  <a:lnTo>
                    <a:pt x="130175" y="328613"/>
                  </a:lnTo>
                  <a:lnTo>
                    <a:pt x="117475" y="334963"/>
                  </a:lnTo>
                  <a:lnTo>
                    <a:pt x="104775" y="338138"/>
                  </a:lnTo>
                  <a:lnTo>
                    <a:pt x="104775" y="334963"/>
                  </a:lnTo>
                  <a:lnTo>
                    <a:pt x="101600" y="331788"/>
                  </a:lnTo>
                  <a:lnTo>
                    <a:pt x="98425" y="344488"/>
                  </a:lnTo>
                  <a:lnTo>
                    <a:pt x="92075" y="341313"/>
                  </a:lnTo>
                  <a:lnTo>
                    <a:pt x="88900" y="344488"/>
                  </a:lnTo>
                  <a:lnTo>
                    <a:pt x="88900" y="341313"/>
                  </a:lnTo>
                  <a:lnTo>
                    <a:pt x="85725" y="341313"/>
                  </a:lnTo>
                  <a:lnTo>
                    <a:pt x="76200" y="344488"/>
                  </a:lnTo>
                  <a:lnTo>
                    <a:pt x="69850" y="338138"/>
                  </a:lnTo>
                  <a:lnTo>
                    <a:pt x="73025" y="331788"/>
                  </a:lnTo>
                  <a:lnTo>
                    <a:pt x="82550" y="328613"/>
                  </a:lnTo>
                  <a:lnTo>
                    <a:pt x="98425" y="315913"/>
                  </a:lnTo>
                  <a:lnTo>
                    <a:pt x="117475" y="300038"/>
                  </a:lnTo>
                  <a:lnTo>
                    <a:pt x="123825" y="303213"/>
                  </a:lnTo>
                  <a:lnTo>
                    <a:pt x="133350" y="303213"/>
                  </a:lnTo>
                  <a:lnTo>
                    <a:pt x="142875" y="300038"/>
                  </a:lnTo>
                  <a:lnTo>
                    <a:pt x="155575" y="296863"/>
                  </a:lnTo>
                  <a:lnTo>
                    <a:pt x="165100" y="296863"/>
                  </a:lnTo>
                  <a:lnTo>
                    <a:pt x="165100" y="303213"/>
                  </a:lnTo>
                  <a:lnTo>
                    <a:pt x="168275" y="303213"/>
                  </a:lnTo>
                  <a:lnTo>
                    <a:pt x="177800" y="300038"/>
                  </a:lnTo>
                  <a:lnTo>
                    <a:pt x="180975" y="296863"/>
                  </a:lnTo>
                  <a:lnTo>
                    <a:pt x="180975" y="287338"/>
                  </a:lnTo>
                  <a:lnTo>
                    <a:pt x="196850" y="268288"/>
                  </a:lnTo>
                  <a:lnTo>
                    <a:pt x="196850" y="261938"/>
                  </a:lnTo>
                  <a:lnTo>
                    <a:pt x="193675" y="258763"/>
                  </a:lnTo>
                  <a:lnTo>
                    <a:pt x="203200" y="252413"/>
                  </a:lnTo>
                  <a:lnTo>
                    <a:pt x="209550" y="252413"/>
                  </a:lnTo>
                  <a:lnTo>
                    <a:pt x="203200" y="258763"/>
                  </a:lnTo>
                  <a:lnTo>
                    <a:pt x="203200" y="261938"/>
                  </a:lnTo>
                  <a:lnTo>
                    <a:pt x="200025" y="265113"/>
                  </a:lnTo>
                  <a:lnTo>
                    <a:pt x="209550" y="265113"/>
                  </a:lnTo>
                  <a:lnTo>
                    <a:pt x="222250" y="258763"/>
                  </a:lnTo>
                  <a:lnTo>
                    <a:pt x="238125" y="249238"/>
                  </a:lnTo>
                  <a:lnTo>
                    <a:pt x="247650" y="236538"/>
                  </a:lnTo>
                  <a:lnTo>
                    <a:pt x="254000" y="230188"/>
                  </a:lnTo>
                  <a:lnTo>
                    <a:pt x="263525" y="207963"/>
                  </a:lnTo>
                  <a:lnTo>
                    <a:pt x="266700" y="188913"/>
                  </a:lnTo>
                  <a:lnTo>
                    <a:pt x="266700" y="182563"/>
                  </a:lnTo>
                  <a:lnTo>
                    <a:pt x="266700" y="169863"/>
                  </a:lnTo>
                  <a:lnTo>
                    <a:pt x="269875" y="153988"/>
                  </a:lnTo>
                  <a:lnTo>
                    <a:pt x="273050" y="144463"/>
                  </a:lnTo>
                  <a:lnTo>
                    <a:pt x="279400" y="147638"/>
                  </a:lnTo>
                  <a:lnTo>
                    <a:pt x="279400" y="153988"/>
                  </a:lnTo>
                  <a:lnTo>
                    <a:pt x="288925" y="157163"/>
                  </a:lnTo>
                  <a:lnTo>
                    <a:pt x="292100" y="147638"/>
                  </a:lnTo>
                  <a:lnTo>
                    <a:pt x="288925" y="147638"/>
                  </a:lnTo>
                  <a:lnTo>
                    <a:pt x="282575" y="144463"/>
                  </a:lnTo>
                  <a:close/>
                  <a:moveTo>
                    <a:pt x="307976" y="22225"/>
                  </a:moveTo>
                  <a:lnTo>
                    <a:pt x="330201" y="50800"/>
                  </a:lnTo>
                  <a:lnTo>
                    <a:pt x="346076" y="60325"/>
                  </a:lnTo>
                  <a:lnTo>
                    <a:pt x="358776" y="66675"/>
                  </a:lnTo>
                  <a:lnTo>
                    <a:pt x="371476" y="73025"/>
                  </a:lnTo>
                  <a:lnTo>
                    <a:pt x="374651" y="73025"/>
                  </a:lnTo>
                  <a:lnTo>
                    <a:pt x="377826" y="82550"/>
                  </a:lnTo>
                  <a:lnTo>
                    <a:pt x="384176" y="88900"/>
                  </a:lnTo>
                  <a:lnTo>
                    <a:pt x="384176" y="92075"/>
                  </a:lnTo>
                  <a:lnTo>
                    <a:pt x="374651" y="95250"/>
                  </a:lnTo>
                  <a:lnTo>
                    <a:pt x="361951" y="98425"/>
                  </a:lnTo>
                  <a:lnTo>
                    <a:pt x="358776" y="95250"/>
                  </a:lnTo>
                  <a:lnTo>
                    <a:pt x="342901" y="107950"/>
                  </a:lnTo>
                  <a:lnTo>
                    <a:pt x="336551" y="125413"/>
                  </a:lnTo>
                  <a:lnTo>
                    <a:pt x="317501" y="117475"/>
                  </a:lnTo>
                  <a:lnTo>
                    <a:pt x="307976" y="111125"/>
                  </a:lnTo>
                  <a:lnTo>
                    <a:pt x="301626" y="107950"/>
                  </a:lnTo>
                  <a:lnTo>
                    <a:pt x="292101" y="114300"/>
                  </a:lnTo>
                  <a:lnTo>
                    <a:pt x="285751" y="111125"/>
                  </a:lnTo>
                  <a:lnTo>
                    <a:pt x="279401" y="107950"/>
                  </a:lnTo>
                  <a:lnTo>
                    <a:pt x="273051" y="114300"/>
                  </a:lnTo>
                  <a:lnTo>
                    <a:pt x="279401" y="119063"/>
                  </a:lnTo>
                  <a:lnTo>
                    <a:pt x="282576" y="119063"/>
                  </a:lnTo>
                  <a:lnTo>
                    <a:pt x="288926" y="125413"/>
                  </a:lnTo>
                  <a:lnTo>
                    <a:pt x="292101" y="131763"/>
                  </a:lnTo>
                  <a:lnTo>
                    <a:pt x="285751" y="131763"/>
                  </a:lnTo>
                  <a:lnTo>
                    <a:pt x="269876" y="141288"/>
                  </a:lnTo>
                  <a:lnTo>
                    <a:pt x="266701" y="134938"/>
                  </a:lnTo>
                  <a:lnTo>
                    <a:pt x="269876" y="125413"/>
                  </a:lnTo>
                  <a:lnTo>
                    <a:pt x="263526" y="119063"/>
                  </a:lnTo>
                  <a:lnTo>
                    <a:pt x="260351" y="114300"/>
                  </a:lnTo>
                  <a:lnTo>
                    <a:pt x="263526" y="104775"/>
                  </a:lnTo>
                  <a:lnTo>
                    <a:pt x="276226" y="95250"/>
                  </a:lnTo>
                  <a:lnTo>
                    <a:pt x="282576" y="92075"/>
                  </a:lnTo>
                  <a:lnTo>
                    <a:pt x="288926" y="92075"/>
                  </a:lnTo>
                  <a:lnTo>
                    <a:pt x="301626" y="69850"/>
                  </a:lnTo>
                  <a:lnTo>
                    <a:pt x="304801" y="50800"/>
                  </a:lnTo>
                  <a:lnTo>
                    <a:pt x="304801" y="41275"/>
                  </a:lnTo>
                  <a:lnTo>
                    <a:pt x="301626" y="28575"/>
                  </a:lnTo>
                  <a:close/>
                  <a:moveTo>
                    <a:pt x="457201" y="19050"/>
                  </a:moveTo>
                  <a:lnTo>
                    <a:pt x="454026" y="25400"/>
                  </a:lnTo>
                  <a:lnTo>
                    <a:pt x="450851" y="25400"/>
                  </a:lnTo>
                  <a:lnTo>
                    <a:pt x="444501" y="28575"/>
                  </a:lnTo>
                  <a:lnTo>
                    <a:pt x="431801" y="38100"/>
                  </a:lnTo>
                  <a:lnTo>
                    <a:pt x="422276" y="47625"/>
                  </a:lnTo>
                  <a:lnTo>
                    <a:pt x="412751" y="53975"/>
                  </a:lnTo>
                  <a:lnTo>
                    <a:pt x="422276" y="44450"/>
                  </a:lnTo>
                  <a:lnTo>
                    <a:pt x="431801" y="31750"/>
                  </a:lnTo>
                  <a:lnTo>
                    <a:pt x="444501" y="25400"/>
                  </a:lnTo>
                  <a:close/>
                  <a:moveTo>
                    <a:pt x="495301" y="0"/>
                  </a:moveTo>
                  <a:lnTo>
                    <a:pt x="479426" y="12700"/>
                  </a:lnTo>
                  <a:lnTo>
                    <a:pt x="469901" y="19050"/>
                  </a:lnTo>
                  <a:lnTo>
                    <a:pt x="482601" y="635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3" name="Freeform 677">
              <a:extLst>
                <a:ext uri="{FF2B5EF4-FFF2-40B4-BE49-F238E27FC236}">
                  <a16:creationId xmlns:a16="http://schemas.microsoft.com/office/drawing/2014/main" id="{30488BFF-D840-435C-903D-E40F4EB5F5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3638" y="3694113"/>
              <a:ext cx="73025" cy="41275"/>
            </a:xfrm>
            <a:custGeom>
              <a:avLst/>
              <a:gdLst/>
              <a:ahLst/>
              <a:cxnLst>
                <a:cxn ang="0">
                  <a:pos x="6" y="22"/>
                </a:cxn>
                <a:cxn ang="0">
                  <a:pos x="16" y="26"/>
                </a:cxn>
                <a:cxn ang="0">
                  <a:pos x="34" y="24"/>
                </a:cxn>
                <a:cxn ang="0">
                  <a:pos x="46" y="22"/>
                </a:cxn>
                <a:cxn ang="0">
                  <a:pos x="46" y="16"/>
                </a:cxn>
                <a:cxn ang="0">
                  <a:pos x="44" y="14"/>
                </a:cxn>
                <a:cxn ang="0">
                  <a:pos x="42" y="14"/>
                </a:cxn>
                <a:cxn ang="0">
                  <a:pos x="40" y="10"/>
                </a:cxn>
                <a:cxn ang="0">
                  <a:pos x="40" y="6"/>
                </a:cxn>
                <a:cxn ang="0">
                  <a:pos x="36" y="4"/>
                </a:cxn>
                <a:cxn ang="0">
                  <a:pos x="34" y="4"/>
                </a:cxn>
                <a:cxn ang="0">
                  <a:pos x="32" y="6"/>
                </a:cxn>
                <a:cxn ang="0">
                  <a:pos x="24" y="4"/>
                </a:cxn>
                <a:cxn ang="0">
                  <a:pos x="24" y="2"/>
                </a:cxn>
                <a:cxn ang="0">
                  <a:pos x="18" y="0"/>
                </a:cxn>
                <a:cxn ang="0">
                  <a:pos x="12" y="4"/>
                </a:cxn>
                <a:cxn ang="0">
                  <a:pos x="2" y="16"/>
                </a:cxn>
                <a:cxn ang="0">
                  <a:pos x="0" y="18"/>
                </a:cxn>
                <a:cxn ang="0">
                  <a:pos x="6" y="22"/>
                </a:cxn>
              </a:cxnLst>
              <a:rect l="0" t="0" r="r" b="b"/>
              <a:pathLst>
                <a:path w="46" h="26">
                  <a:moveTo>
                    <a:pt x="6" y="22"/>
                  </a:moveTo>
                  <a:lnTo>
                    <a:pt x="16" y="26"/>
                  </a:lnTo>
                  <a:lnTo>
                    <a:pt x="34" y="24"/>
                  </a:lnTo>
                  <a:lnTo>
                    <a:pt x="46" y="22"/>
                  </a:lnTo>
                  <a:lnTo>
                    <a:pt x="46" y="16"/>
                  </a:lnTo>
                  <a:lnTo>
                    <a:pt x="44" y="14"/>
                  </a:lnTo>
                  <a:lnTo>
                    <a:pt x="42" y="14"/>
                  </a:lnTo>
                  <a:lnTo>
                    <a:pt x="40" y="10"/>
                  </a:lnTo>
                  <a:lnTo>
                    <a:pt x="40" y="6"/>
                  </a:lnTo>
                  <a:lnTo>
                    <a:pt x="36" y="4"/>
                  </a:lnTo>
                  <a:lnTo>
                    <a:pt x="34" y="4"/>
                  </a:lnTo>
                  <a:lnTo>
                    <a:pt x="32" y="6"/>
                  </a:lnTo>
                  <a:lnTo>
                    <a:pt x="24" y="4"/>
                  </a:lnTo>
                  <a:lnTo>
                    <a:pt x="24" y="2"/>
                  </a:lnTo>
                  <a:lnTo>
                    <a:pt x="18" y="0"/>
                  </a:lnTo>
                  <a:lnTo>
                    <a:pt x="12" y="4"/>
                  </a:lnTo>
                  <a:lnTo>
                    <a:pt x="2" y="16"/>
                  </a:lnTo>
                  <a:lnTo>
                    <a:pt x="0" y="18"/>
                  </a:lnTo>
                  <a:lnTo>
                    <a:pt x="6" y="22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4" name="Freeform 686">
              <a:extLst>
                <a:ext uri="{FF2B5EF4-FFF2-40B4-BE49-F238E27FC236}">
                  <a16:creationId xmlns:a16="http://schemas.microsoft.com/office/drawing/2014/main" id="{CFDDD523-9D99-487B-B052-088C6A09EF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9788" y="2962274"/>
              <a:ext cx="1317625" cy="966788"/>
            </a:xfrm>
            <a:custGeom>
              <a:avLst/>
              <a:gdLst/>
              <a:ahLst/>
              <a:cxnLst/>
              <a:rect l="l" t="t" r="r" b="b"/>
              <a:pathLst>
                <a:path w="1317625" h="966788">
                  <a:moveTo>
                    <a:pt x="787400" y="925513"/>
                  </a:moveTo>
                  <a:lnTo>
                    <a:pt x="790575" y="925513"/>
                  </a:lnTo>
                  <a:lnTo>
                    <a:pt x="800100" y="925513"/>
                  </a:lnTo>
                  <a:lnTo>
                    <a:pt x="803275" y="931863"/>
                  </a:lnTo>
                  <a:lnTo>
                    <a:pt x="806450" y="938213"/>
                  </a:lnTo>
                  <a:lnTo>
                    <a:pt x="800100" y="941388"/>
                  </a:lnTo>
                  <a:lnTo>
                    <a:pt x="796925" y="947738"/>
                  </a:lnTo>
                  <a:lnTo>
                    <a:pt x="793750" y="954088"/>
                  </a:lnTo>
                  <a:lnTo>
                    <a:pt x="790575" y="960438"/>
                  </a:lnTo>
                  <a:lnTo>
                    <a:pt x="781050" y="963613"/>
                  </a:lnTo>
                  <a:lnTo>
                    <a:pt x="771525" y="966788"/>
                  </a:lnTo>
                  <a:lnTo>
                    <a:pt x="762000" y="963613"/>
                  </a:lnTo>
                  <a:lnTo>
                    <a:pt x="755650" y="957263"/>
                  </a:lnTo>
                  <a:lnTo>
                    <a:pt x="752475" y="950913"/>
                  </a:lnTo>
                  <a:lnTo>
                    <a:pt x="765175" y="938213"/>
                  </a:lnTo>
                  <a:lnTo>
                    <a:pt x="774700" y="928688"/>
                  </a:lnTo>
                  <a:lnTo>
                    <a:pt x="777875" y="928688"/>
                  </a:lnTo>
                  <a:lnTo>
                    <a:pt x="781050" y="928688"/>
                  </a:lnTo>
                  <a:lnTo>
                    <a:pt x="784225" y="928688"/>
                  </a:lnTo>
                  <a:lnTo>
                    <a:pt x="787400" y="928688"/>
                  </a:lnTo>
                  <a:close/>
                  <a:moveTo>
                    <a:pt x="1028700" y="808038"/>
                  </a:moveTo>
                  <a:lnTo>
                    <a:pt x="1035050" y="808038"/>
                  </a:lnTo>
                  <a:lnTo>
                    <a:pt x="1041400" y="811213"/>
                  </a:lnTo>
                  <a:lnTo>
                    <a:pt x="1041400" y="817563"/>
                  </a:lnTo>
                  <a:lnTo>
                    <a:pt x="1031875" y="846138"/>
                  </a:lnTo>
                  <a:lnTo>
                    <a:pt x="1022350" y="865188"/>
                  </a:lnTo>
                  <a:lnTo>
                    <a:pt x="1019175" y="874713"/>
                  </a:lnTo>
                  <a:lnTo>
                    <a:pt x="1012825" y="874713"/>
                  </a:lnTo>
                  <a:lnTo>
                    <a:pt x="1009650" y="874713"/>
                  </a:lnTo>
                  <a:lnTo>
                    <a:pt x="1006475" y="871538"/>
                  </a:lnTo>
                  <a:lnTo>
                    <a:pt x="1003300" y="862013"/>
                  </a:lnTo>
                  <a:lnTo>
                    <a:pt x="1000125" y="852488"/>
                  </a:lnTo>
                  <a:lnTo>
                    <a:pt x="1003300" y="842963"/>
                  </a:lnTo>
                  <a:lnTo>
                    <a:pt x="1006475" y="836613"/>
                  </a:lnTo>
                  <a:lnTo>
                    <a:pt x="1016000" y="820738"/>
                  </a:lnTo>
                  <a:lnTo>
                    <a:pt x="1025525" y="811213"/>
                  </a:lnTo>
                  <a:close/>
                  <a:moveTo>
                    <a:pt x="1222375" y="352425"/>
                  </a:moveTo>
                  <a:lnTo>
                    <a:pt x="1225550" y="355600"/>
                  </a:lnTo>
                  <a:lnTo>
                    <a:pt x="1228725" y="361950"/>
                  </a:lnTo>
                  <a:close/>
                  <a:moveTo>
                    <a:pt x="1073150" y="0"/>
                  </a:moveTo>
                  <a:lnTo>
                    <a:pt x="1101725" y="12700"/>
                  </a:lnTo>
                  <a:lnTo>
                    <a:pt x="1104900" y="15875"/>
                  </a:lnTo>
                  <a:lnTo>
                    <a:pt x="1111250" y="12700"/>
                  </a:lnTo>
                  <a:lnTo>
                    <a:pt x="1120775" y="19050"/>
                  </a:lnTo>
                  <a:lnTo>
                    <a:pt x="1130300" y="28575"/>
                  </a:lnTo>
                  <a:lnTo>
                    <a:pt x="1136650" y="41275"/>
                  </a:lnTo>
                  <a:lnTo>
                    <a:pt x="1139825" y="53975"/>
                  </a:lnTo>
                  <a:lnTo>
                    <a:pt x="1143000" y="66675"/>
                  </a:lnTo>
                  <a:lnTo>
                    <a:pt x="1155700" y="98425"/>
                  </a:lnTo>
                  <a:lnTo>
                    <a:pt x="1155700" y="101600"/>
                  </a:lnTo>
                  <a:lnTo>
                    <a:pt x="1158875" y="107950"/>
                  </a:lnTo>
                  <a:lnTo>
                    <a:pt x="1155700" y="107950"/>
                  </a:lnTo>
                  <a:lnTo>
                    <a:pt x="1162050" y="117475"/>
                  </a:lnTo>
                  <a:lnTo>
                    <a:pt x="1162050" y="123825"/>
                  </a:lnTo>
                  <a:lnTo>
                    <a:pt x="1162050" y="130175"/>
                  </a:lnTo>
                  <a:lnTo>
                    <a:pt x="1171575" y="139700"/>
                  </a:lnTo>
                  <a:lnTo>
                    <a:pt x="1181100" y="139700"/>
                  </a:lnTo>
                  <a:lnTo>
                    <a:pt x="1190625" y="142875"/>
                  </a:lnTo>
                  <a:lnTo>
                    <a:pt x="1206500" y="146050"/>
                  </a:lnTo>
                  <a:lnTo>
                    <a:pt x="1206500" y="149225"/>
                  </a:lnTo>
                  <a:lnTo>
                    <a:pt x="1212850" y="155575"/>
                  </a:lnTo>
                  <a:lnTo>
                    <a:pt x="1219200" y="161925"/>
                  </a:lnTo>
                  <a:lnTo>
                    <a:pt x="1225550" y="168275"/>
                  </a:lnTo>
                  <a:lnTo>
                    <a:pt x="1225550" y="171450"/>
                  </a:lnTo>
                  <a:lnTo>
                    <a:pt x="1231900" y="190500"/>
                  </a:lnTo>
                  <a:lnTo>
                    <a:pt x="1238250" y="200025"/>
                  </a:lnTo>
                  <a:lnTo>
                    <a:pt x="1247775" y="200025"/>
                  </a:lnTo>
                  <a:lnTo>
                    <a:pt x="1270000" y="200025"/>
                  </a:lnTo>
                  <a:lnTo>
                    <a:pt x="1276350" y="190500"/>
                  </a:lnTo>
                  <a:lnTo>
                    <a:pt x="1285875" y="184150"/>
                  </a:lnTo>
                  <a:lnTo>
                    <a:pt x="1311275" y="177800"/>
                  </a:lnTo>
                  <a:lnTo>
                    <a:pt x="1314450" y="177800"/>
                  </a:lnTo>
                  <a:lnTo>
                    <a:pt x="1317625" y="180975"/>
                  </a:lnTo>
                  <a:lnTo>
                    <a:pt x="1317625" y="196850"/>
                  </a:lnTo>
                  <a:lnTo>
                    <a:pt x="1317625" y="200025"/>
                  </a:lnTo>
                  <a:lnTo>
                    <a:pt x="1311275" y="209550"/>
                  </a:lnTo>
                  <a:lnTo>
                    <a:pt x="1308100" y="209550"/>
                  </a:lnTo>
                  <a:lnTo>
                    <a:pt x="1304925" y="212725"/>
                  </a:lnTo>
                  <a:lnTo>
                    <a:pt x="1301750" y="225425"/>
                  </a:lnTo>
                  <a:lnTo>
                    <a:pt x="1298575" y="244475"/>
                  </a:lnTo>
                  <a:lnTo>
                    <a:pt x="1292225" y="257175"/>
                  </a:lnTo>
                  <a:lnTo>
                    <a:pt x="1289050" y="266700"/>
                  </a:lnTo>
                  <a:lnTo>
                    <a:pt x="1282700" y="276225"/>
                  </a:lnTo>
                  <a:lnTo>
                    <a:pt x="1279525" y="282575"/>
                  </a:lnTo>
                  <a:lnTo>
                    <a:pt x="1276350" y="282575"/>
                  </a:lnTo>
                  <a:lnTo>
                    <a:pt x="1260475" y="276225"/>
                  </a:lnTo>
                  <a:lnTo>
                    <a:pt x="1250950" y="282575"/>
                  </a:lnTo>
                  <a:lnTo>
                    <a:pt x="1238250" y="292100"/>
                  </a:lnTo>
                  <a:lnTo>
                    <a:pt x="1244600" y="311150"/>
                  </a:lnTo>
                  <a:lnTo>
                    <a:pt x="1241425" y="314325"/>
                  </a:lnTo>
                  <a:lnTo>
                    <a:pt x="1241425" y="323850"/>
                  </a:lnTo>
                  <a:lnTo>
                    <a:pt x="1241425" y="327025"/>
                  </a:lnTo>
                  <a:lnTo>
                    <a:pt x="1244600" y="330200"/>
                  </a:lnTo>
                  <a:lnTo>
                    <a:pt x="1241425" y="339725"/>
                  </a:lnTo>
                  <a:lnTo>
                    <a:pt x="1238250" y="342900"/>
                  </a:lnTo>
                  <a:lnTo>
                    <a:pt x="1241425" y="346075"/>
                  </a:lnTo>
                  <a:lnTo>
                    <a:pt x="1235075" y="349250"/>
                  </a:lnTo>
                  <a:lnTo>
                    <a:pt x="1228725" y="349250"/>
                  </a:lnTo>
                  <a:lnTo>
                    <a:pt x="1222375" y="352425"/>
                  </a:lnTo>
                  <a:lnTo>
                    <a:pt x="1219200" y="349250"/>
                  </a:lnTo>
                  <a:lnTo>
                    <a:pt x="1219200" y="346075"/>
                  </a:lnTo>
                  <a:lnTo>
                    <a:pt x="1212850" y="342900"/>
                  </a:lnTo>
                  <a:lnTo>
                    <a:pt x="1209675" y="352425"/>
                  </a:lnTo>
                  <a:lnTo>
                    <a:pt x="1196975" y="366713"/>
                  </a:lnTo>
                  <a:lnTo>
                    <a:pt x="1187450" y="369888"/>
                  </a:lnTo>
                  <a:lnTo>
                    <a:pt x="1181100" y="369888"/>
                  </a:lnTo>
                  <a:lnTo>
                    <a:pt x="1174750" y="376238"/>
                  </a:lnTo>
                  <a:lnTo>
                    <a:pt x="1177925" y="385763"/>
                  </a:lnTo>
                  <a:lnTo>
                    <a:pt x="1168400" y="388938"/>
                  </a:lnTo>
                  <a:lnTo>
                    <a:pt x="1155700" y="385763"/>
                  </a:lnTo>
                  <a:lnTo>
                    <a:pt x="1149350" y="376238"/>
                  </a:lnTo>
                  <a:lnTo>
                    <a:pt x="1143000" y="382588"/>
                  </a:lnTo>
                  <a:lnTo>
                    <a:pt x="1139825" y="388938"/>
                  </a:lnTo>
                  <a:lnTo>
                    <a:pt x="1136650" y="395288"/>
                  </a:lnTo>
                  <a:lnTo>
                    <a:pt x="1127125" y="404813"/>
                  </a:lnTo>
                  <a:lnTo>
                    <a:pt x="1117600" y="407988"/>
                  </a:lnTo>
                  <a:lnTo>
                    <a:pt x="1114425" y="411163"/>
                  </a:lnTo>
                  <a:lnTo>
                    <a:pt x="1104900" y="414338"/>
                  </a:lnTo>
                  <a:lnTo>
                    <a:pt x="1095375" y="427038"/>
                  </a:lnTo>
                  <a:lnTo>
                    <a:pt x="1089025" y="433388"/>
                  </a:lnTo>
                  <a:lnTo>
                    <a:pt x="1076325" y="433388"/>
                  </a:lnTo>
                  <a:lnTo>
                    <a:pt x="1066800" y="436563"/>
                  </a:lnTo>
                  <a:lnTo>
                    <a:pt x="1050925" y="442913"/>
                  </a:lnTo>
                  <a:lnTo>
                    <a:pt x="1041400" y="455613"/>
                  </a:lnTo>
                  <a:lnTo>
                    <a:pt x="1035050" y="458788"/>
                  </a:lnTo>
                  <a:lnTo>
                    <a:pt x="1031875" y="461963"/>
                  </a:lnTo>
                  <a:lnTo>
                    <a:pt x="1025525" y="465138"/>
                  </a:lnTo>
                  <a:lnTo>
                    <a:pt x="1022350" y="458788"/>
                  </a:lnTo>
                  <a:lnTo>
                    <a:pt x="1025525" y="458788"/>
                  </a:lnTo>
                  <a:lnTo>
                    <a:pt x="1031875" y="455613"/>
                  </a:lnTo>
                  <a:lnTo>
                    <a:pt x="1035050" y="452438"/>
                  </a:lnTo>
                  <a:lnTo>
                    <a:pt x="1035050" y="449263"/>
                  </a:lnTo>
                  <a:lnTo>
                    <a:pt x="1035050" y="446088"/>
                  </a:lnTo>
                  <a:lnTo>
                    <a:pt x="1031875" y="442913"/>
                  </a:lnTo>
                  <a:lnTo>
                    <a:pt x="1025525" y="442913"/>
                  </a:lnTo>
                  <a:lnTo>
                    <a:pt x="1031875" y="433388"/>
                  </a:lnTo>
                  <a:lnTo>
                    <a:pt x="1035050" y="430213"/>
                  </a:lnTo>
                  <a:lnTo>
                    <a:pt x="1041400" y="423863"/>
                  </a:lnTo>
                  <a:lnTo>
                    <a:pt x="1047750" y="414338"/>
                  </a:lnTo>
                  <a:lnTo>
                    <a:pt x="1044575" y="407988"/>
                  </a:lnTo>
                  <a:lnTo>
                    <a:pt x="1031875" y="404813"/>
                  </a:lnTo>
                  <a:lnTo>
                    <a:pt x="1025525" y="401638"/>
                  </a:lnTo>
                  <a:lnTo>
                    <a:pt x="1012825" y="414338"/>
                  </a:lnTo>
                  <a:lnTo>
                    <a:pt x="1009650" y="417513"/>
                  </a:lnTo>
                  <a:lnTo>
                    <a:pt x="1009650" y="420688"/>
                  </a:lnTo>
                  <a:lnTo>
                    <a:pt x="1003300" y="423863"/>
                  </a:lnTo>
                  <a:lnTo>
                    <a:pt x="984250" y="446088"/>
                  </a:lnTo>
                  <a:lnTo>
                    <a:pt x="971550" y="452438"/>
                  </a:lnTo>
                  <a:lnTo>
                    <a:pt x="962025" y="455613"/>
                  </a:lnTo>
                  <a:lnTo>
                    <a:pt x="958850" y="452438"/>
                  </a:lnTo>
                  <a:lnTo>
                    <a:pt x="955675" y="449263"/>
                  </a:lnTo>
                  <a:lnTo>
                    <a:pt x="949325" y="455613"/>
                  </a:lnTo>
                  <a:lnTo>
                    <a:pt x="946150" y="465138"/>
                  </a:lnTo>
                  <a:lnTo>
                    <a:pt x="952500" y="474663"/>
                  </a:lnTo>
                  <a:lnTo>
                    <a:pt x="955675" y="481013"/>
                  </a:lnTo>
                  <a:lnTo>
                    <a:pt x="965200" y="481013"/>
                  </a:lnTo>
                  <a:lnTo>
                    <a:pt x="974725" y="477838"/>
                  </a:lnTo>
                  <a:lnTo>
                    <a:pt x="974725" y="481013"/>
                  </a:lnTo>
                  <a:lnTo>
                    <a:pt x="977900" y="490538"/>
                  </a:lnTo>
                  <a:lnTo>
                    <a:pt x="977900" y="500063"/>
                  </a:lnTo>
                  <a:lnTo>
                    <a:pt x="981075" y="506413"/>
                  </a:lnTo>
                  <a:lnTo>
                    <a:pt x="993775" y="506413"/>
                  </a:lnTo>
                  <a:lnTo>
                    <a:pt x="996950" y="503238"/>
                  </a:lnTo>
                  <a:lnTo>
                    <a:pt x="1006475" y="493713"/>
                  </a:lnTo>
                  <a:lnTo>
                    <a:pt x="1006475" y="490538"/>
                  </a:lnTo>
                  <a:lnTo>
                    <a:pt x="1009650" y="490538"/>
                  </a:lnTo>
                  <a:lnTo>
                    <a:pt x="1016000" y="487363"/>
                  </a:lnTo>
                  <a:lnTo>
                    <a:pt x="1025525" y="496888"/>
                  </a:lnTo>
                  <a:lnTo>
                    <a:pt x="1031875" y="500063"/>
                  </a:lnTo>
                  <a:lnTo>
                    <a:pt x="1041400" y="496888"/>
                  </a:lnTo>
                  <a:lnTo>
                    <a:pt x="1044575" y="496888"/>
                  </a:lnTo>
                  <a:lnTo>
                    <a:pt x="1047750" y="500063"/>
                  </a:lnTo>
                  <a:lnTo>
                    <a:pt x="1050925" y="500063"/>
                  </a:lnTo>
                  <a:lnTo>
                    <a:pt x="1057275" y="500063"/>
                  </a:lnTo>
                  <a:lnTo>
                    <a:pt x="1054100" y="506413"/>
                  </a:lnTo>
                  <a:lnTo>
                    <a:pt x="1050925" y="515938"/>
                  </a:lnTo>
                  <a:lnTo>
                    <a:pt x="1047750" y="512763"/>
                  </a:lnTo>
                  <a:lnTo>
                    <a:pt x="1038225" y="515938"/>
                  </a:lnTo>
                  <a:lnTo>
                    <a:pt x="1025525" y="519113"/>
                  </a:lnTo>
                  <a:lnTo>
                    <a:pt x="1019175" y="522288"/>
                  </a:lnTo>
                  <a:lnTo>
                    <a:pt x="1016000" y="528638"/>
                  </a:lnTo>
                  <a:lnTo>
                    <a:pt x="1012825" y="534988"/>
                  </a:lnTo>
                  <a:lnTo>
                    <a:pt x="1006475" y="534988"/>
                  </a:lnTo>
                  <a:lnTo>
                    <a:pt x="1000125" y="544513"/>
                  </a:lnTo>
                  <a:lnTo>
                    <a:pt x="984250" y="560388"/>
                  </a:lnTo>
                  <a:lnTo>
                    <a:pt x="981075" y="569913"/>
                  </a:lnTo>
                  <a:lnTo>
                    <a:pt x="990600" y="576263"/>
                  </a:lnTo>
                  <a:lnTo>
                    <a:pt x="1006475" y="582613"/>
                  </a:lnTo>
                  <a:lnTo>
                    <a:pt x="1009650" y="592138"/>
                  </a:lnTo>
                  <a:lnTo>
                    <a:pt x="1009650" y="598488"/>
                  </a:lnTo>
                  <a:lnTo>
                    <a:pt x="1016000" y="611188"/>
                  </a:lnTo>
                  <a:lnTo>
                    <a:pt x="1019175" y="620713"/>
                  </a:lnTo>
                  <a:lnTo>
                    <a:pt x="1019175" y="627063"/>
                  </a:lnTo>
                  <a:lnTo>
                    <a:pt x="1025525" y="630238"/>
                  </a:lnTo>
                  <a:lnTo>
                    <a:pt x="1031875" y="636588"/>
                  </a:lnTo>
                  <a:lnTo>
                    <a:pt x="1041400" y="646113"/>
                  </a:lnTo>
                  <a:lnTo>
                    <a:pt x="1028700" y="646113"/>
                  </a:lnTo>
                  <a:lnTo>
                    <a:pt x="1016000" y="639763"/>
                  </a:lnTo>
                  <a:lnTo>
                    <a:pt x="1016000" y="646113"/>
                  </a:lnTo>
                  <a:lnTo>
                    <a:pt x="1022350" y="646113"/>
                  </a:lnTo>
                  <a:lnTo>
                    <a:pt x="1031875" y="655638"/>
                  </a:lnTo>
                  <a:lnTo>
                    <a:pt x="1041400" y="668338"/>
                  </a:lnTo>
                  <a:lnTo>
                    <a:pt x="1031875" y="671513"/>
                  </a:lnTo>
                  <a:lnTo>
                    <a:pt x="1012825" y="681038"/>
                  </a:lnTo>
                  <a:lnTo>
                    <a:pt x="1009650" y="681038"/>
                  </a:lnTo>
                  <a:lnTo>
                    <a:pt x="1003300" y="687388"/>
                  </a:lnTo>
                  <a:lnTo>
                    <a:pt x="1006475" y="687388"/>
                  </a:lnTo>
                  <a:lnTo>
                    <a:pt x="1012825" y="687388"/>
                  </a:lnTo>
                  <a:lnTo>
                    <a:pt x="1025525" y="684213"/>
                  </a:lnTo>
                  <a:lnTo>
                    <a:pt x="1031875" y="687388"/>
                  </a:lnTo>
                  <a:lnTo>
                    <a:pt x="1044575" y="693738"/>
                  </a:lnTo>
                  <a:lnTo>
                    <a:pt x="1038225" y="700088"/>
                  </a:lnTo>
                  <a:lnTo>
                    <a:pt x="1041400" y="706438"/>
                  </a:lnTo>
                  <a:lnTo>
                    <a:pt x="1041400" y="712788"/>
                  </a:lnTo>
                  <a:lnTo>
                    <a:pt x="1038225" y="715963"/>
                  </a:lnTo>
                  <a:lnTo>
                    <a:pt x="1035050" y="728663"/>
                  </a:lnTo>
                  <a:lnTo>
                    <a:pt x="1028700" y="735013"/>
                  </a:lnTo>
                  <a:lnTo>
                    <a:pt x="1016000" y="741363"/>
                  </a:lnTo>
                  <a:lnTo>
                    <a:pt x="1016000" y="747713"/>
                  </a:lnTo>
                  <a:lnTo>
                    <a:pt x="1009650" y="757238"/>
                  </a:lnTo>
                  <a:lnTo>
                    <a:pt x="1006475" y="763588"/>
                  </a:lnTo>
                  <a:lnTo>
                    <a:pt x="1000125" y="769938"/>
                  </a:lnTo>
                  <a:lnTo>
                    <a:pt x="993775" y="769938"/>
                  </a:lnTo>
                  <a:lnTo>
                    <a:pt x="990600" y="773113"/>
                  </a:lnTo>
                  <a:lnTo>
                    <a:pt x="993775" y="776288"/>
                  </a:lnTo>
                  <a:lnTo>
                    <a:pt x="993775" y="782638"/>
                  </a:lnTo>
                  <a:lnTo>
                    <a:pt x="993775" y="788988"/>
                  </a:lnTo>
                  <a:lnTo>
                    <a:pt x="990600" y="798513"/>
                  </a:lnTo>
                  <a:lnTo>
                    <a:pt x="990600" y="804863"/>
                  </a:lnTo>
                  <a:lnTo>
                    <a:pt x="974725" y="814388"/>
                  </a:lnTo>
                  <a:lnTo>
                    <a:pt x="971550" y="820738"/>
                  </a:lnTo>
                  <a:lnTo>
                    <a:pt x="968375" y="823913"/>
                  </a:lnTo>
                  <a:lnTo>
                    <a:pt x="955675" y="833438"/>
                  </a:lnTo>
                  <a:lnTo>
                    <a:pt x="949325" y="836613"/>
                  </a:lnTo>
                  <a:lnTo>
                    <a:pt x="946150" y="839788"/>
                  </a:lnTo>
                  <a:lnTo>
                    <a:pt x="942975" y="839788"/>
                  </a:lnTo>
                  <a:lnTo>
                    <a:pt x="939800" y="846138"/>
                  </a:lnTo>
                  <a:lnTo>
                    <a:pt x="933450" y="846138"/>
                  </a:lnTo>
                  <a:lnTo>
                    <a:pt x="930275" y="849313"/>
                  </a:lnTo>
                  <a:lnTo>
                    <a:pt x="930275" y="852488"/>
                  </a:lnTo>
                  <a:lnTo>
                    <a:pt x="927100" y="855663"/>
                  </a:lnTo>
                  <a:lnTo>
                    <a:pt x="923925" y="855663"/>
                  </a:lnTo>
                  <a:lnTo>
                    <a:pt x="920750" y="862013"/>
                  </a:lnTo>
                  <a:lnTo>
                    <a:pt x="908050" y="865188"/>
                  </a:lnTo>
                  <a:lnTo>
                    <a:pt x="904875" y="865188"/>
                  </a:lnTo>
                  <a:lnTo>
                    <a:pt x="901700" y="868363"/>
                  </a:lnTo>
                  <a:lnTo>
                    <a:pt x="895350" y="865188"/>
                  </a:lnTo>
                  <a:lnTo>
                    <a:pt x="889000" y="868363"/>
                  </a:lnTo>
                  <a:lnTo>
                    <a:pt x="879475" y="871538"/>
                  </a:lnTo>
                  <a:lnTo>
                    <a:pt x="873125" y="868363"/>
                  </a:lnTo>
                  <a:lnTo>
                    <a:pt x="869950" y="871538"/>
                  </a:lnTo>
                  <a:lnTo>
                    <a:pt x="866775" y="871538"/>
                  </a:lnTo>
                  <a:lnTo>
                    <a:pt x="860425" y="862013"/>
                  </a:lnTo>
                  <a:lnTo>
                    <a:pt x="860425" y="855663"/>
                  </a:lnTo>
                  <a:lnTo>
                    <a:pt x="857250" y="858838"/>
                  </a:lnTo>
                  <a:lnTo>
                    <a:pt x="854075" y="862013"/>
                  </a:lnTo>
                  <a:lnTo>
                    <a:pt x="860425" y="865188"/>
                  </a:lnTo>
                  <a:lnTo>
                    <a:pt x="860425" y="874713"/>
                  </a:lnTo>
                  <a:lnTo>
                    <a:pt x="857250" y="877888"/>
                  </a:lnTo>
                  <a:lnTo>
                    <a:pt x="854075" y="881063"/>
                  </a:lnTo>
                  <a:lnTo>
                    <a:pt x="838200" y="887413"/>
                  </a:lnTo>
                  <a:lnTo>
                    <a:pt x="831850" y="887413"/>
                  </a:lnTo>
                  <a:lnTo>
                    <a:pt x="828675" y="887413"/>
                  </a:lnTo>
                  <a:lnTo>
                    <a:pt x="825500" y="890588"/>
                  </a:lnTo>
                  <a:lnTo>
                    <a:pt x="819150" y="893763"/>
                  </a:lnTo>
                  <a:lnTo>
                    <a:pt x="812800" y="893763"/>
                  </a:lnTo>
                  <a:lnTo>
                    <a:pt x="809625" y="893763"/>
                  </a:lnTo>
                  <a:lnTo>
                    <a:pt x="806450" y="893763"/>
                  </a:lnTo>
                  <a:lnTo>
                    <a:pt x="806450" y="896938"/>
                  </a:lnTo>
                  <a:lnTo>
                    <a:pt x="800100" y="896938"/>
                  </a:lnTo>
                  <a:lnTo>
                    <a:pt x="796925" y="900113"/>
                  </a:lnTo>
                  <a:lnTo>
                    <a:pt x="793750" y="900113"/>
                  </a:lnTo>
                  <a:lnTo>
                    <a:pt x="787400" y="903288"/>
                  </a:lnTo>
                  <a:lnTo>
                    <a:pt x="787400" y="909638"/>
                  </a:lnTo>
                  <a:lnTo>
                    <a:pt x="790575" y="909638"/>
                  </a:lnTo>
                  <a:lnTo>
                    <a:pt x="790575" y="912813"/>
                  </a:lnTo>
                  <a:lnTo>
                    <a:pt x="793750" y="915988"/>
                  </a:lnTo>
                  <a:lnTo>
                    <a:pt x="790575" y="922338"/>
                  </a:lnTo>
                  <a:lnTo>
                    <a:pt x="784225" y="922338"/>
                  </a:lnTo>
                  <a:lnTo>
                    <a:pt x="777875" y="912813"/>
                  </a:lnTo>
                  <a:lnTo>
                    <a:pt x="777875" y="909638"/>
                  </a:lnTo>
                  <a:lnTo>
                    <a:pt x="774700" y="909638"/>
                  </a:lnTo>
                  <a:lnTo>
                    <a:pt x="777875" y="903288"/>
                  </a:lnTo>
                  <a:lnTo>
                    <a:pt x="777875" y="896938"/>
                  </a:lnTo>
                  <a:lnTo>
                    <a:pt x="781050" y="896938"/>
                  </a:lnTo>
                  <a:lnTo>
                    <a:pt x="781050" y="893763"/>
                  </a:lnTo>
                  <a:lnTo>
                    <a:pt x="765175" y="896938"/>
                  </a:lnTo>
                  <a:lnTo>
                    <a:pt x="762000" y="893763"/>
                  </a:lnTo>
                  <a:lnTo>
                    <a:pt x="758825" y="887413"/>
                  </a:lnTo>
                  <a:lnTo>
                    <a:pt x="752475" y="893763"/>
                  </a:lnTo>
                  <a:lnTo>
                    <a:pt x="739775" y="893763"/>
                  </a:lnTo>
                  <a:lnTo>
                    <a:pt x="736600" y="890588"/>
                  </a:lnTo>
                  <a:lnTo>
                    <a:pt x="723900" y="890588"/>
                  </a:lnTo>
                  <a:lnTo>
                    <a:pt x="714375" y="884238"/>
                  </a:lnTo>
                  <a:lnTo>
                    <a:pt x="711200" y="881063"/>
                  </a:lnTo>
                  <a:lnTo>
                    <a:pt x="711200" y="874713"/>
                  </a:lnTo>
                  <a:lnTo>
                    <a:pt x="711200" y="868363"/>
                  </a:lnTo>
                  <a:lnTo>
                    <a:pt x="708025" y="862013"/>
                  </a:lnTo>
                  <a:lnTo>
                    <a:pt x="704850" y="862013"/>
                  </a:lnTo>
                  <a:lnTo>
                    <a:pt x="692150" y="858838"/>
                  </a:lnTo>
                  <a:lnTo>
                    <a:pt x="682625" y="852488"/>
                  </a:lnTo>
                  <a:lnTo>
                    <a:pt x="682625" y="849313"/>
                  </a:lnTo>
                  <a:lnTo>
                    <a:pt x="673100" y="858838"/>
                  </a:lnTo>
                  <a:lnTo>
                    <a:pt x="666750" y="862013"/>
                  </a:lnTo>
                  <a:lnTo>
                    <a:pt x="657225" y="865188"/>
                  </a:lnTo>
                  <a:lnTo>
                    <a:pt x="654050" y="871538"/>
                  </a:lnTo>
                  <a:lnTo>
                    <a:pt x="647700" y="865188"/>
                  </a:lnTo>
                  <a:lnTo>
                    <a:pt x="638175" y="865188"/>
                  </a:lnTo>
                  <a:lnTo>
                    <a:pt x="628650" y="868363"/>
                  </a:lnTo>
                  <a:lnTo>
                    <a:pt x="619125" y="868363"/>
                  </a:lnTo>
                  <a:lnTo>
                    <a:pt x="612775" y="874713"/>
                  </a:lnTo>
                  <a:lnTo>
                    <a:pt x="603250" y="871538"/>
                  </a:lnTo>
                  <a:lnTo>
                    <a:pt x="603250" y="881063"/>
                  </a:lnTo>
                  <a:lnTo>
                    <a:pt x="606425" y="887413"/>
                  </a:lnTo>
                  <a:lnTo>
                    <a:pt x="606425" y="893763"/>
                  </a:lnTo>
                  <a:lnTo>
                    <a:pt x="603250" y="900113"/>
                  </a:lnTo>
                  <a:lnTo>
                    <a:pt x="596900" y="900113"/>
                  </a:lnTo>
                  <a:lnTo>
                    <a:pt x="593725" y="893763"/>
                  </a:lnTo>
                  <a:lnTo>
                    <a:pt x="590550" y="887413"/>
                  </a:lnTo>
                  <a:lnTo>
                    <a:pt x="587375" y="890588"/>
                  </a:lnTo>
                  <a:lnTo>
                    <a:pt x="577850" y="893763"/>
                  </a:lnTo>
                  <a:lnTo>
                    <a:pt x="571500" y="896938"/>
                  </a:lnTo>
                  <a:lnTo>
                    <a:pt x="568325" y="881063"/>
                  </a:lnTo>
                  <a:lnTo>
                    <a:pt x="555625" y="881063"/>
                  </a:lnTo>
                  <a:lnTo>
                    <a:pt x="552450" y="881063"/>
                  </a:lnTo>
                  <a:lnTo>
                    <a:pt x="549275" y="877888"/>
                  </a:lnTo>
                  <a:lnTo>
                    <a:pt x="552450" y="865188"/>
                  </a:lnTo>
                  <a:lnTo>
                    <a:pt x="549275" y="858838"/>
                  </a:lnTo>
                  <a:lnTo>
                    <a:pt x="546100" y="855663"/>
                  </a:lnTo>
                  <a:lnTo>
                    <a:pt x="542925" y="849313"/>
                  </a:lnTo>
                  <a:lnTo>
                    <a:pt x="542925" y="833438"/>
                  </a:lnTo>
                  <a:lnTo>
                    <a:pt x="536575" y="833438"/>
                  </a:lnTo>
                  <a:lnTo>
                    <a:pt x="530225" y="833438"/>
                  </a:lnTo>
                  <a:lnTo>
                    <a:pt x="523875" y="833438"/>
                  </a:lnTo>
                  <a:lnTo>
                    <a:pt x="520700" y="836613"/>
                  </a:lnTo>
                  <a:lnTo>
                    <a:pt x="517525" y="839788"/>
                  </a:lnTo>
                  <a:lnTo>
                    <a:pt x="514350" y="836613"/>
                  </a:lnTo>
                  <a:lnTo>
                    <a:pt x="517525" y="827088"/>
                  </a:lnTo>
                  <a:lnTo>
                    <a:pt x="514350" y="817563"/>
                  </a:lnTo>
                  <a:lnTo>
                    <a:pt x="517525" y="811213"/>
                  </a:lnTo>
                  <a:lnTo>
                    <a:pt x="520700" y="804863"/>
                  </a:lnTo>
                  <a:lnTo>
                    <a:pt x="523875" y="808038"/>
                  </a:lnTo>
                  <a:lnTo>
                    <a:pt x="527050" y="804863"/>
                  </a:lnTo>
                  <a:lnTo>
                    <a:pt x="533400" y="798513"/>
                  </a:lnTo>
                  <a:lnTo>
                    <a:pt x="536575" y="792163"/>
                  </a:lnTo>
                  <a:lnTo>
                    <a:pt x="539750" y="766763"/>
                  </a:lnTo>
                  <a:lnTo>
                    <a:pt x="539750" y="750888"/>
                  </a:lnTo>
                  <a:lnTo>
                    <a:pt x="527050" y="738188"/>
                  </a:lnTo>
                  <a:lnTo>
                    <a:pt x="517525" y="728663"/>
                  </a:lnTo>
                  <a:lnTo>
                    <a:pt x="511175" y="735013"/>
                  </a:lnTo>
                  <a:lnTo>
                    <a:pt x="504825" y="731838"/>
                  </a:lnTo>
                  <a:lnTo>
                    <a:pt x="492125" y="728663"/>
                  </a:lnTo>
                  <a:lnTo>
                    <a:pt x="495300" y="722313"/>
                  </a:lnTo>
                  <a:lnTo>
                    <a:pt x="492125" y="715963"/>
                  </a:lnTo>
                  <a:lnTo>
                    <a:pt x="482600" y="703263"/>
                  </a:lnTo>
                  <a:lnTo>
                    <a:pt x="476250" y="709613"/>
                  </a:lnTo>
                  <a:lnTo>
                    <a:pt x="469900" y="709613"/>
                  </a:lnTo>
                  <a:lnTo>
                    <a:pt x="469900" y="712788"/>
                  </a:lnTo>
                  <a:lnTo>
                    <a:pt x="450850" y="706438"/>
                  </a:lnTo>
                  <a:lnTo>
                    <a:pt x="434975" y="722313"/>
                  </a:lnTo>
                  <a:lnTo>
                    <a:pt x="431800" y="722313"/>
                  </a:lnTo>
                  <a:lnTo>
                    <a:pt x="419100" y="728663"/>
                  </a:lnTo>
                  <a:lnTo>
                    <a:pt x="406400" y="744538"/>
                  </a:lnTo>
                  <a:lnTo>
                    <a:pt x="387350" y="747713"/>
                  </a:lnTo>
                  <a:lnTo>
                    <a:pt x="387350" y="741363"/>
                  </a:lnTo>
                  <a:lnTo>
                    <a:pt x="381000" y="738188"/>
                  </a:lnTo>
                  <a:lnTo>
                    <a:pt x="377825" y="738188"/>
                  </a:lnTo>
                  <a:lnTo>
                    <a:pt x="374650" y="741363"/>
                  </a:lnTo>
                  <a:lnTo>
                    <a:pt x="361950" y="738188"/>
                  </a:lnTo>
                  <a:lnTo>
                    <a:pt x="361950" y="735013"/>
                  </a:lnTo>
                  <a:lnTo>
                    <a:pt x="352425" y="731838"/>
                  </a:lnTo>
                  <a:lnTo>
                    <a:pt x="342900" y="738188"/>
                  </a:lnTo>
                  <a:lnTo>
                    <a:pt x="327025" y="757238"/>
                  </a:lnTo>
                  <a:lnTo>
                    <a:pt x="327025" y="747713"/>
                  </a:lnTo>
                  <a:lnTo>
                    <a:pt x="327025" y="741363"/>
                  </a:lnTo>
                  <a:lnTo>
                    <a:pt x="317500" y="738188"/>
                  </a:lnTo>
                  <a:lnTo>
                    <a:pt x="311150" y="744538"/>
                  </a:lnTo>
                  <a:lnTo>
                    <a:pt x="295275" y="744538"/>
                  </a:lnTo>
                  <a:lnTo>
                    <a:pt x="288925" y="744538"/>
                  </a:lnTo>
                  <a:lnTo>
                    <a:pt x="279400" y="741363"/>
                  </a:lnTo>
                  <a:lnTo>
                    <a:pt x="266700" y="741363"/>
                  </a:lnTo>
                  <a:lnTo>
                    <a:pt x="250825" y="735013"/>
                  </a:lnTo>
                  <a:lnTo>
                    <a:pt x="244475" y="722313"/>
                  </a:lnTo>
                  <a:lnTo>
                    <a:pt x="241300" y="725488"/>
                  </a:lnTo>
                  <a:lnTo>
                    <a:pt x="228600" y="722313"/>
                  </a:lnTo>
                  <a:lnTo>
                    <a:pt x="212725" y="715963"/>
                  </a:lnTo>
                  <a:lnTo>
                    <a:pt x="209550" y="706438"/>
                  </a:lnTo>
                  <a:lnTo>
                    <a:pt x="203200" y="700088"/>
                  </a:lnTo>
                  <a:lnTo>
                    <a:pt x="190500" y="690563"/>
                  </a:lnTo>
                  <a:lnTo>
                    <a:pt x="174625" y="684213"/>
                  </a:lnTo>
                  <a:lnTo>
                    <a:pt x="171450" y="684213"/>
                  </a:lnTo>
                  <a:lnTo>
                    <a:pt x="165100" y="687388"/>
                  </a:lnTo>
                  <a:lnTo>
                    <a:pt x="161925" y="690563"/>
                  </a:lnTo>
                  <a:lnTo>
                    <a:pt x="158750" y="687388"/>
                  </a:lnTo>
                  <a:lnTo>
                    <a:pt x="149225" y="677863"/>
                  </a:lnTo>
                  <a:lnTo>
                    <a:pt x="127000" y="661988"/>
                  </a:lnTo>
                  <a:lnTo>
                    <a:pt x="111125" y="658813"/>
                  </a:lnTo>
                  <a:lnTo>
                    <a:pt x="107950" y="652463"/>
                  </a:lnTo>
                  <a:lnTo>
                    <a:pt x="104775" y="646113"/>
                  </a:lnTo>
                  <a:lnTo>
                    <a:pt x="101600" y="630238"/>
                  </a:lnTo>
                  <a:lnTo>
                    <a:pt x="111125" y="627063"/>
                  </a:lnTo>
                  <a:lnTo>
                    <a:pt x="114300" y="633413"/>
                  </a:lnTo>
                  <a:lnTo>
                    <a:pt x="117475" y="630238"/>
                  </a:lnTo>
                  <a:lnTo>
                    <a:pt x="127000" y="620713"/>
                  </a:lnTo>
                  <a:lnTo>
                    <a:pt x="114300" y="604838"/>
                  </a:lnTo>
                  <a:lnTo>
                    <a:pt x="111125" y="588963"/>
                  </a:lnTo>
                  <a:lnTo>
                    <a:pt x="114300" y="582613"/>
                  </a:lnTo>
                  <a:lnTo>
                    <a:pt x="111125" y="576263"/>
                  </a:lnTo>
                  <a:lnTo>
                    <a:pt x="104775" y="576263"/>
                  </a:lnTo>
                  <a:lnTo>
                    <a:pt x="98425" y="573088"/>
                  </a:lnTo>
                  <a:lnTo>
                    <a:pt x="92075" y="550863"/>
                  </a:lnTo>
                  <a:lnTo>
                    <a:pt x="88900" y="550863"/>
                  </a:lnTo>
                  <a:lnTo>
                    <a:pt x="69850" y="547688"/>
                  </a:lnTo>
                  <a:lnTo>
                    <a:pt x="53975" y="541338"/>
                  </a:lnTo>
                  <a:lnTo>
                    <a:pt x="50800" y="531813"/>
                  </a:lnTo>
                  <a:lnTo>
                    <a:pt x="47625" y="522288"/>
                  </a:lnTo>
                  <a:lnTo>
                    <a:pt x="38100" y="512763"/>
                  </a:lnTo>
                  <a:lnTo>
                    <a:pt x="28575" y="509588"/>
                  </a:lnTo>
                  <a:lnTo>
                    <a:pt x="19050" y="509588"/>
                  </a:lnTo>
                  <a:lnTo>
                    <a:pt x="25400" y="503238"/>
                  </a:lnTo>
                  <a:lnTo>
                    <a:pt x="31750" y="500063"/>
                  </a:lnTo>
                  <a:lnTo>
                    <a:pt x="25400" y="481013"/>
                  </a:lnTo>
                  <a:lnTo>
                    <a:pt x="22225" y="468313"/>
                  </a:lnTo>
                  <a:lnTo>
                    <a:pt x="9525" y="465138"/>
                  </a:lnTo>
                  <a:lnTo>
                    <a:pt x="6350" y="468313"/>
                  </a:lnTo>
                  <a:lnTo>
                    <a:pt x="3175" y="465138"/>
                  </a:lnTo>
                  <a:lnTo>
                    <a:pt x="0" y="442913"/>
                  </a:lnTo>
                  <a:lnTo>
                    <a:pt x="3175" y="442913"/>
                  </a:lnTo>
                  <a:lnTo>
                    <a:pt x="6350" y="439738"/>
                  </a:lnTo>
                  <a:lnTo>
                    <a:pt x="3175" y="436563"/>
                  </a:lnTo>
                  <a:lnTo>
                    <a:pt x="12700" y="423863"/>
                  </a:lnTo>
                  <a:lnTo>
                    <a:pt x="22225" y="417513"/>
                  </a:lnTo>
                  <a:lnTo>
                    <a:pt x="25400" y="414338"/>
                  </a:lnTo>
                  <a:lnTo>
                    <a:pt x="41275" y="414338"/>
                  </a:lnTo>
                  <a:lnTo>
                    <a:pt x="41275" y="420688"/>
                  </a:lnTo>
                  <a:lnTo>
                    <a:pt x="47625" y="420688"/>
                  </a:lnTo>
                  <a:lnTo>
                    <a:pt x="60325" y="417513"/>
                  </a:lnTo>
                  <a:lnTo>
                    <a:pt x="63500" y="411163"/>
                  </a:lnTo>
                  <a:lnTo>
                    <a:pt x="66675" y="404813"/>
                  </a:lnTo>
                  <a:lnTo>
                    <a:pt x="73025" y="398463"/>
                  </a:lnTo>
                  <a:lnTo>
                    <a:pt x="79375" y="401638"/>
                  </a:lnTo>
                  <a:lnTo>
                    <a:pt x="88900" y="398463"/>
                  </a:lnTo>
                  <a:lnTo>
                    <a:pt x="98425" y="395288"/>
                  </a:lnTo>
                  <a:lnTo>
                    <a:pt x="101600" y="388938"/>
                  </a:lnTo>
                  <a:lnTo>
                    <a:pt x="107950" y="385763"/>
                  </a:lnTo>
                  <a:lnTo>
                    <a:pt x="127000" y="376238"/>
                  </a:lnTo>
                  <a:lnTo>
                    <a:pt x="133350" y="373063"/>
                  </a:lnTo>
                  <a:lnTo>
                    <a:pt x="139700" y="369888"/>
                  </a:lnTo>
                  <a:lnTo>
                    <a:pt x="139700" y="366713"/>
                  </a:lnTo>
                  <a:lnTo>
                    <a:pt x="139700" y="358775"/>
                  </a:lnTo>
                  <a:lnTo>
                    <a:pt x="142875" y="349250"/>
                  </a:lnTo>
                  <a:lnTo>
                    <a:pt x="149225" y="346075"/>
                  </a:lnTo>
                  <a:lnTo>
                    <a:pt x="142875" y="342900"/>
                  </a:lnTo>
                  <a:lnTo>
                    <a:pt x="149225" y="339725"/>
                  </a:lnTo>
                  <a:lnTo>
                    <a:pt x="152400" y="336550"/>
                  </a:lnTo>
                  <a:lnTo>
                    <a:pt x="146050" y="320675"/>
                  </a:lnTo>
                  <a:lnTo>
                    <a:pt x="146050" y="311150"/>
                  </a:lnTo>
                  <a:lnTo>
                    <a:pt x="142875" y="304800"/>
                  </a:lnTo>
                  <a:lnTo>
                    <a:pt x="142875" y="295275"/>
                  </a:lnTo>
                  <a:lnTo>
                    <a:pt x="136525" y="288925"/>
                  </a:lnTo>
                  <a:lnTo>
                    <a:pt x="136525" y="282575"/>
                  </a:lnTo>
                  <a:lnTo>
                    <a:pt x="146050" y="279400"/>
                  </a:lnTo>
                  <a:lnTo>
                    <a:pt x="165100" y="276225"/>
                  </a:lnTo>
                  <a:lnTo>
                    <a:pt x="174625" y="273050"/>
                  </a:lnTo>
                  <a:lnTo>
                    <a:pt x="177800" y="276225"/>
                  </a:lnTo>
                  <a:lnTo>
                    <a:pt x="187325" y="279400"/>
                  </a:lnTo>
                  <a:lnTo>
                    <a:pt x="193675" y="276225"/>
                  </a:lnTo>
                  <a:lnTo>
                    <a:pt x="187325" y="269875"/>
                  </a:lnTo>
                  <a:lnTo>
                    <a:pt x="187325" y="260350"/>
                  </a:lnTo>
                  <a:lnTo>
                    <a:pt x="193675" y="241300"/>
                  </a:lnTo>
                  <a:lnTo>
                    <a:pt x="200025" y="222250"/>
                  </a:lnTo>
                  <a:lnTo>
                    <a:pt x="206375" y="215900"/>
                  </a:lnTo>
                  <a:lnTo>
                    <a:pt x="219075" y="222250"/>
                  </a:lnTo>
                  <a:lnTo>
                    <a:pt x="238125" y="225425"/>
                  </a:lnTo>
                  <a:lnTo>
                    <a:pt x="260350" y="209550"/>
                  </a:lnTo>
                  <a:lnTo>
                    <a:pt x="257175" y="190500"/>
                  </a:lnTo>
                  <a:lnTo>
                    <a:pt x="260350" y="177800"/>
                  </a:lnTo>
                  <a:lnTo>
                    <a:pt x="269875" y="177800"/>
                  </a:lnTo>
                  <a:lnTo>
                    <a:pt x="282575" y="168275"/>
                  </a:lnTo>
                  <a:lnTo>
                    <a:pt x="282575" y="158750"/>
                  </a:lnTo>
                  <a:lnTo>
                    <a:pt x="292100" y="152400"/>
                  </a:lnTo>
                  <a:lnTo>
                    <a:pt x="304800" y="152400"/>
                  </a:lnTo>
                  <a:lnTo>
                    <a:pt x="304800" y="158750"/>
                  </a:lnTo>
                  <a:lnTo>
                    <a:pt x="301625" y="161925"/>
                  </a:lnTo>
                  <a:lnTo>
                    <a:pt x="307975" y="171450"/>
                  </a:lnTo>
                  <a:lnTo>
                    <a:pt x="314325" y="174625"/>
                  </a:lnTo>
                  <a:lnTo>
                    <a:pt x="323850" y="184150"/>
                  </a:lnTo>
                  <a:lnTo>
                    <a:pt x="327025" y="187325"/>
                  </a:lnTo>
                  <a:lnTo>
                    <a:pt x="336550" y="190500"/>
                  </a:lnTo>
                  <a:lnTo>
                    <a:pt x="346075" y="193675"/>
                  </a:lnTo>
                  <a:lnTo>
                    <a:pt x="358775" y="200025"/>
                  </a:lnTo>
                  <a:lnTo>
                    <a:pt x="368300" y="219075"/>
                  </a:lnTo>
                  <a:lnTo>
                    <a:pt x="374650" y="231775"/>
                  </a:lnTo>
                  <a:lnTo>
                    <a:pt x="371475" y="250825"/>
                  </a:lnTo>
                  <a:lnTo>
                    <a:pt x="368300" y="260350"/>
                  </a:lnTo>
                  <a:lnTo>
                    <a:pt x="365125" y="266700"/>
                  </a:lnTo>
                  <a:lnTo>
                    <a:pt x="377825" y="279400"/>
                  </a:lnTo>
                  <a:lnTo>
                    <a:pt x="406400" y="282575"/>
                  </a:lnTo>
                  <a:lnTo>
                    <a:pt x="431800" y="285750"/>
                  </a:lnTo>
                  <a:lnTo>
                    <a:pt x="441325" y="292100"/>
                  </a:lnTo>
                  <a:lnTo>
                    <a:pt x="450850" y="298450"/>
                  </a:lnTo>
                  <a:lnTo>
                    <a:pt x="466725" y="307975"/>
                  </a:lnTo>
                  <a:lnTo>
                    <a:pt x="473075" y="320675"/>
                  </a:lnTo>
                  <a:lnTo>
                    <a:pt x="479425" y="336550"/>
                  </a:lnTo>
                  <a:lnTo>
                    <a:pt x="488950" y="352425"/>
                  </a:lnTo>
                  <a:lnTo>
                    <a:pt x="495300" y="352425"/>
                  </a:lnTo>
                  <a:lnTo>
                    <a:pt x="504825" y="352425"/>
                  </a:lnTo>
                  <a:lnTo>
                    <a:pt x="530225" y="355600"/>
                  </a:lnTo>
                  <a:lnTo>
                    <a:pt x="555625" y="358775"/>
                  </a:lnTo>
                  <a:lnTo>
                    <a:pt x="565150" y="355600"/>
                  </a:lnTo>
                  <a:lnTo>
                    <a:pt x="568325" y="352425"/>
                  </a:lnTo>
                  <a:lnTo>
                    <a:pt x="581025" y="355600"/>
                  </a:lnTo>
                  <a:lnTo>
                    <a:pt x="600075" y="358775"/>
                  </a:lnTo>
                  <a:lnTo>
                    <a:pt x="606425" y="358775"/>
                  </a:lnTo>
                  <a:lnTo>
                    <a:pt x="615950" y="366713"/>
                  </a:lnTo>
                  <a:lnTo>
                    <a:pt x="625475" y="369888"/>
                  </a:lnTo>
                  <a:lnTo>
                    <a:pt x="673100" y="385763"/>
                  </a:lnTo>
                  <a:lnTo>
                    <a:pt x="727075" y="361950"/>
                  </a:lnTo>
                  <a:lnTo>
                    <a:pt x="739775" y="358775"/>
                  </a:lnTo>
                  <a:lnTo>
                    <a:pt x="752475" y="358775"/>
                  </a:lnTo>
                  <a:lnTo>
                    <a:pt x="768350" y="358775"/>
                  </a:lnTo>
                  <a:lnTo>
                    <a:pt x="781050" y="355600"/>
                  </a:lnTo>
                  <a:lnTo>
                    <a:pt x="793750" y="349250"/>
                  </a:lnTo>
                  <a:lnTo>
                    <a:pt x="803275" y="336550"/>
                  </a:lnTo>
                  <a:lnTo>
                    <a:pt x="812800" y="330200"/>
                  </a:lnTo>
                  <a:lnTo>
                    <a:pt x="825500" y="323850"/>
                  </a:lnTo>
                  <a:lnTo>
                    <a:pt x="822325" y="314325"/>
                  </a:lnTo>
                  <a:lnTo>
                    <a:pt x="819150" y="311150"/>
                  </a:lnTo>
                  <a:lnTo>
                    <a:pt x="815975" y="304800"/>
                  </a:lnTo>
                  <a:lnTo>
                    <a:pt x="815975" y="292100"/>
                  </a:lnTo>
                  <a:lnTo>
                    <a:pt x="825500" y="282575"/>
                  </a:lnTo>
                  <a:lnTo>
                    <a:pt x="838200" y="285750"/>
                  </a:lnTo>
                  <a:lnTo>
                    <a:pt x="850900" y="288925"/>
                  </a:lnTo>
                  <a:lnTo>
                    <a:pt x="860425" y="292100"/>
                  </a:lnTo>
                  <a:lnTo>
                    <a:pt x="863600" y="288925"/>
                  </a:lnTo>
                  <a:lnTo>
                    <a:pt x="869950" y="285750"/>
                  </a:lnTo>
                  <a:lnTo>
                    <a:pt x="873125" y="285750"/>
                  </a:lnTo>
                  <a:lnTo>
                    <a:pt x="882650" y="273050"/>
                  </a:lnTo>
                  <a:lnTo>
                    <a:pt x="889000" y="273050"/>
                  </a:lnTo>
                  <a:lnTo>
                    <a:pt x="898525" y="273050"/>
                  </a:lnTo>
                  <a:lnTo>
                    <a:pt x="908050" y="266700"/>
                  </a:lnTo>
                  <a:lnTo>
                    <a:pt x="914400" y="263525"/>
                  </a:lnTo>
                  <a:lnTo>
                    <a:pt x="917575" y="257175"/>
                  </a:lnTo>
                  <a:lnTo>
                    <a:pt x="936625" y="241300"/>
                  </a:lnTo>
                  <a:lnTo>
                    <a:pt x="958850" y="231775"/>
                  </a:lnTo>
                  <a:lnTo>
                    <a:pt x="974725" y="231775"/>
                  </a:lnTo>
                  <a:lnTo>
                    <a:pt x="990600" y="234950"/>
                  </a:lnTo>
                  <a:lnTo>
                    <a:pt x="996950" y="231775"/>
                  </a:lnTo>
                  <a:lnTo>
                    <a:pt x="996950" y="225425"/>
                  </a:lnTo>
                  <a:lnTo>
                    <a:pt x="987425" y="212725"/>
                  </a:lnTo>
                  <a:lnTo>
                    <a:pt x="984250" y="209550"/>
                  </a:lnTo>
                  <a:lnTo>
                    <a:pt x="965200" y="190500"/>
                  </a:lnTo>
                  <a:lnTo>
                    <a:pt x="958850" y="187325"/>
                  </a:lnTo>
                  <a:lnTo>
                    <a:pt x="952500" y="187325"/>
                  </a:lnTo>
                  <a:lnTo>
                    <a:pt x="939800" y="193675"/>
                  </a:lnTo>
                  <a:lnTo>
                    <a:pt x="930275" y="193675"/>
                  </a:lnTo>
                  <a:lnTo>
                    <a:pt x="914400" y="196850"/>
                  </a:lnTo>
                  <a:lnTo>
                    <a:pt x="911225" y="200025"/>
                  </a:lnTo>
                  <a:lnTo>
                    <a:pt x="904875" y="193675"/>
                  </a:lnTo>
                  <a:lnTo>
                    <a:pt x="901700" y="184150"/>
                  </a:lnTo>
                  <a:lnTo>
                    <a:pt x="914400" y="161925"/>
                  </a:lnTo>
                  <a:lnTo>
                    <a:pt x="927100" y="130175"/>
                  </a:lnTo>
                  <a:lnTo>
                    <a:pt x="952500" y="139700"/>
                  </a:lnTo>
                  <a:lnTo>
                    <a:pt x="965200" y="130175"/>
                  </a:lnTo>
                  <a:lnTo>
                    <a:pt x="981075" y="123825"/>
                  </a:lnTo>
                  <a:lnTo>
                    <a:pt x="984250" y="114300"/>
                  </a:lnTo>
                  <a:lnTo>
                    <a:pt x="981075" y="114300"/>
                  </a:lnTo>
                  <a:lnTo>
                    <a:pt x="981075" y="111125"/>
                  </a:lnTo>
                  <a:lnTo>
                    <a:pt x="987425" y="101600"/>
                  </a:lnTo>
                  <a:lnTo>
                    <a:pt x="993775" y="88900"/>
                  </a:lnTo>
                  <a:lnTo>
                    <a:pt x="1000125" y="69850"/>
                  </a:lnTo>
                  <a:lnTo>
                    <a:pt x="1006475" y="63500"/>
                  </a:lnTo>
                  <a:lnTo>
                    <a:pt x="1012825" y="53975"/>
                  </a:lnTo>
                  <a:lnTo>
                    <a:pt x="1016000" y="44450"/>
                  </a:lnTo>
                  <a:lnTo>
                    <a:pt x="1012825" y="34925"/>
                  </a:lnTo>
                  <a:lnTo>
                    <a:pt x="1006475" y="34925"/>
                  </a:lnTo>
                  <a:lnTo>
                    <a:pt x="1003300" y="31750"/>
                  </a:lnTo>
                  <a:lnTo>
                    <a:pt x="1003300" y="28575"/>
                  </a:lnTo>
                  <a:lnTo>
                    <a:pt x="1016000" y="12700"/>
                  </a:lnTo>
                  <a:lnTo>
                    <a:pt x="1022350" y="9525"/>
                  </a:lnTo>
                  <a:lnTo>
                    <a:pt x="1031875" y="9525"/>
                  </a:lnTo>
                  <a:lnTo>
                    <a:pt x="1041400" y="6350"/>
                  </a:lnTo>
                  <a:lnTo>
                    <a:pt x="1050925" y="635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5" name="Freeform 696">
              <a:extLst>
                <a:ext uri="{FF2B5EF4-FFF2-40B4-BE49-F238E27FC236}">
                  <a16:creationId xmlns:a16="http://schemas.microsoft.com/office/drawing/2014/main" id="{BC79B3D0-5DB8-44CD-BBDA-C32B899C61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1413" y="3013075"/>
              <a:ext cx="695325" cy="334963"/>
            </a:xfrm>
            <a:custGeom>
              <a:avLst/>
              <a:gdLst/>
              <a:ahLst/>
              <a:cxnLst>
                <a:cxn ang="0">
                  <a:pos x="8" y="78"/>
                </a:cxn>
                <a:cxn ang="0">
                  <a:pos x="22" y="88"/>
                </a:cxn>
                <a:cxn ang="0">
                  <a:pos x="42" y="106"/>
                </a:cxn>
                <a:cxn ang="0">
                  <a:pos x="42" y="132"/>
                </a:cxn>
                <a:cxn ang="0">
                  <a:pos x="66" y="146"/>
                </a:cxn>
                <a:cxn ang="0">
                  <a:pos x="94" y="156"/>
                </a:cxn>
                <a:cxn ang="0">
                  <a:pos x="112" y="180"/>
                </a:cxn>
                <a:cxn ang="0">
                  <a:pos x="128" y="190"/>
                </a:cxn>
                <a:cxn ang="0">
                  <a:pos x="166" y="192"/>
                </a:cxn>
                <a:cxn ang="0">
                  <a:pos x="188" y="194"/>
                </a:cxn>
                <a:cxn ang="0">
                  <a:pos x="204" y="201"/>
                </a:cxn>
                <a:cxn ang="0">
                  <a:pos x="276" y="194"/>
                </a:cxn>
                <a:cxn ang="0">
                  <a:pos x="302" y="192"/>
                </a:cxn>
                <a:cxn ang="0">
                  <a:pos x="322" y="176"/>
                </a:cxn>
                <a:cxn ang="0">
                  <a:pos x="326" y="164"/>
                </a:cxn>
                <a:cxn ang="0">
                  <a:pos x="330" y="146"/>
                </a:cxn>
                <a:cxn ang="0">
                  <a:pos x="352" y="152"/>
                </a:cxn>
                <a:cxn ang="0">
                  <a:pos x="360" y="148"/>
                </a:cxn>
                <a:cxn ang="0">
                  <a:pos x="376" y="140"/>
                </a:cxn>
                <a:cxn ang="0">
                  <a:pos x="388" y="130"/>
                </a:cxn>
                <a:cxn ang="0">
                  <a:pos x="414" y="114"/>
                </a:cxn>
                <a:cxn ang="0">
                  <a:pos x="438" y="114"/>
                </a:cxn>
                <a:cxn ang="0">
                  <a:pos x="430" y="100"/>
                </a:cxn>
                <a:cxn ang="0">
                  <a:pos x="410" y="86"/>
                </a:cxn>
                <a:cxn ang="0">
                  <a:pos x="386" y="92"/>
                </a:cxn>
                <a:cxn ang="0">
                  <a:pos x="378" y="84"/>
                </a:cxn>
                <a:cxn ang="0">
                  <a:pos x="386" y="46"/>
                </a:cxn>
                <a:cxn ang="0">
                  <a:pos x="372" y="44"/>
                </a:cxn>
                <a:cxn ang="0">
                  <a:pos x="352" y="46"/>
                </a:cxn>
                <a:cxn ang="0">
                  <a:pos x="338" y="56"/>
                </a:cxn>
                <a:cxn ang="0">
                  <a:pos x="318" y="62"/>
                </a:cxn>
                <a:cxn ang="0">
                  <a:pos x="300" y="62"/>
                </a:cxn>
                <a:cxn ang="0">
                  <a:pos x="286" y="60"/>
                </a:cxn>
                <a:cxn ang="0">
                  <a:pos x="276" y="48"/>
                </a:cxn>
                <a:cxn ang="0">
                  <a:pos x="258" y="40"/>
                </a:cxn>
                <a:cxn ang="0">
                  <a:pos x="222" y="44"/>
                </a:cxn>
                <a:cxn ang="0">
                  <a:pos x="198" y="34"/>
                </a:cxn>
                <a:cxn ang="0">
                  <a:pos x="194" y="16"/>
                </a:cxn>
                <a:cxn ang="0">
                  <a:pos x="160" y="6"/>
                </a:cxn>
                <a:cxn ang="0">
                  <a:pos x="144" y="10"/>
                </a:cxn>
                <a:cxn ang="0">
                  <a:pos x="140" y="30"/>
                </a:cxn>
                <a:cxn ang="0">
                  <a:pos x="144" y="40"/>
                </a:cxn>
                <a:cxn ang="0">
                  <a:pos x="118" y="46"/>
                </a:cxn>
                <a:cxn ang="0">
                  <a:pos x="104" y="48"/>
                </a:cxn>
                <a:cxn ang="0">
                  <a:pos x="86" y="34"/>
                </a:cxn>
                <a:cxn ang="0">
                  <a:pos x="72" y="32"/>
                </a:cxn>
                <a:cxn ang="0">
                  <a:pos x="30" y="46"/>
                </a:cxn>
                <a:cxn ang="0">
                  <a:pos x="20" y="58"/>
                </a:cxn>
                <a:cxn ang="0">
                  <a:pos x="0" y="70"/>
                </a:cxn>
              </a:cxnLst>
              <a:rect l="0" t="0" r="r" b="b"/>
              <a:pathLst>
                <a:path w="438" h="211">
                  <a:moveTo>
                    <a:pt x="0" y="70"/>
                  </a:moveTo>
                  <a:lnTo>
                    <a:pt x="4" y="76"/>
                  </a:lnTo>
                  <a:lnTo>
                    <a:pt x="8" y="78"/>
                  </a:lnTo>
                  <a:lnTo>
                    <a:pt x="14" y="84"/>
                  </a:lnTo>
                  <a:lnTo>
                    <a:pt x="16" y="86"/>
                  </a:lnTo>
                  <a:lnTo>
                    <a:pt x="22" y="88"/>
                  </a:lnTo>
                  <a:lnTo>
                    <a:pt x="28" y="90"/>
                  </a:lnTo>
                  <a:lnTo>
                    <a:pt x="36" y="94"/>
                  </a:lnTo>
                  <a:lnTo>
                    <a:pt x="42" y="106"/>
                  </a:lnTo>
                  <a:lnTo>
                    <a:pt x="46" y="114"/>
                  </a:lnTo>
                  <a:lnTo>
                    <a:pt x="44" y="126"/>
                  </a:lnTo>
                  <a:lnTo>
                    <a:pt x="42" y="132"/>
                  </a:lnTo>
                  <a:lnTo>
                    <a:pt x="40" y="136"/>
                  </a:lnTo>
                  <a:lnTo>
                    <a:pt x="48" y="144"/>
                  </a:lnTo>
                  <a:lnTo>
                    <a:pt x="66" y="146"/>
                  </a:lnTo>
                  <a:lnTo>
                    <a:pt x="82" y="148"/>
                  </a:lnTo>
                  <a:lnTo>
                    <a:pt x="88" y="152"/>
                  </a:lnTo>
                  <a:lnTo>
                    <a:pt x="94" y="156"/>
                  </a:lnTo>
                  <a:lnTo>
                    <a:pt x="104" y="162"/>
                  </a:lnTo>
                  <a:lnTo>
                    <a:pt x="108" y="170"/>
                  </a:lnTo>
                  <a:lnTo>
                    <a:pt x="112" y="180"/>
                  </a:lnTo>
                  <a:lnTo>
                    <a:pt x="118" y="190"/>
                  </a:lnTo>
                  <a:lnTo>
                    <a:pt x="122" y="190"/>
                  </a:lnTo>
                  <a:lnTo>
                    <a:pt x="128" y="190"/>
                  </a:lnTo>
                  <a:lnTo>
                    <a:pt x="144" y="192"/>
                  </a:lnTo>
                  <a:lnTo>
                    <a:pt x="160" y="194"/>
                  </a:lnTo>
                  <a:lnTo>
                    <a:pt x="166" y="192"/>
                  </a:lnTo>
                  <a:lnTo>
                    <a:pt x="168" y="190"/>
                  </a:lnTo>
                  <a:lnTo>
                    <a:pt x="176" y="192"/>
                  </a:lnTo>
                  <a:lnTo>
                    <a:pt x="188" y="194"/>
                  </a:lnTo>
                  <a:lnTo>
                    <a:pt x="192" y="194"/>
                  </a:lnTo>
                  <a:lnTo>
                    <a:pt x="198" y="199"/>
                  </a:lnTo>
                  <a:lnTo>
                    <a:pt x="204" y="201"/>
                  </a:lnTo>
                  <a:lnTo>
                    <a:pt x="234" y="211"/>
                  </a:lnTo>
                  <a:lnTo>
                    <a:pt x="268" y="196"/>
                  </a:lnTo>
                  <a:lnTo>
                    <a:pt x="276" y="194"/>
                  </a:lnTo>
                  <a:lnTo>
                    <a:pt x="284" y="194"/>
                  </a:lnTo>
                  <a:lnTo>
                    <a:pt x="294" y="194"/>
                  </a:lnTo>
                  <a:lnTo>
                    <a:pt x="302" y="192"/>
                  </a:lnTo>
                  <a:lnTo>
                    <a:pt x="310" y="188"/>
                  </a:lnTo>
                  <a:lnTo>
                    <a:pt x="316" y="180"/>
                  </a:lnTo>
                  <a:lnTo>
                    <a:pt x="322" y="176"/>
                  </a:lnTo>
                  <a:lnTo>
                    <a:pt x="330" y="172"/>
                  </a:lnTo>
                  <a:lnTo>
                    <a:pt x="328" y="166"/>
                  </a:lnTo>
                  <a:lnTo>
                    <a:pt x="326" y="164"/>
                  </a:lnTo>
                  <a:lnTo>
                    <a:pt x="324" y="160"/>
                  </a:lnTo>
                  <a:lnTo>
                    <a:pt x="324" y="152"/>
                  </a:lnTo>
                  <a:lnTo>
                    <a:pt x="330" y="146"/>
                  </a:lnTo>
                  <a:lnTo>
                    <a:pt x="338" y="148"/>
                  </a:lnTo>
                  <a:lnTo>
                    <a:pt x="346" y="150"/>
                  </a:lnTo>
                  <a:lnTo>
                    <a:pt x="352" y="152"/>
                  </a:lnTo>
                  <a:lnTo>
                    <a:pt x="354" y="150"/>
                  </a:lnTo>
                  <a:lnTo>
                    <a:pt x="358" y="148"/>
                  </a:lnTo>
                  <a:lnTo>
                    <a:pt x="360" y="148"/>
                  </a:lnTo>
                  <a:lnTo>
                    <a:pt x="366" y="140"/>
                  </a:lnTo>
                  <a:lnTo>
                    <a:pt x="370" y="140"/>
                  </a:lnTo>
                  <a:lnTo>
                    <a:pt x="376" y="140"/>
                  </a:lnTo>
                  <a:lnTo>
                    <a:pt x="382" y="136"/>
                  </a:lnTo>
                  <a:lnTo>
                    <a:pt x="386" y="134"/>
                  </a:lnTo>
                  <a:lnTo>
                    <a:pt x="388" y="130"/>
                  </a:lnTo>
                  <a:lnTo>
                    <a:pt x="388" y="130"/>
                  </a:lnTo>
                  <a:lnTo>
                    <a:pt x="400" y="120"/>
                  </a:lnTo>
                  <a:lnTo>
                    <a:pt x="414" y="114"/>
                  </a:lnTo>
                  <a:lnTo>
                    <a:pt x="424" y="114"/>
                  </a:lnTo>
                  <a:lnTo>
                    <a:pt x="434" y="116"/>
                  </a:lnTo>
                  <a:lnTo>
                    <a:pt x="438" y="114"/>
                  </a:lnTo>
                  <a:lnTo>
                    <a:pt x="438" y="110"/>
                  </a:lnTo>
                  <a:lnTo>
                    <a:pt x="432" y="102"/>
                  </a:lnTo>
                  <a:lnTo>
                    <a:pt x="430" y="100"/>
                  </a:lnTo>
                  <a:lnTo>
                    <a:pt x="418" y="88"/>
                  </a:lnTo>
                  <a:lnTo>
                    <a:pt x="414" y="86"/>
                  </a:lnTo>
                  <a:lnTo>
                    <a:pt x="410" y="86"/>
                  </a:lnTo>
                  <a:lnTo>
                    <a:pt x="402" y="90"/>
                  </a:lnTo>
                  <a:lnTo>
                    <a:pt x="396" y="90"/>
                  </a:lnTo>
                  <a:lnTo>
                    <a:pt x="386" y="92"/>
                  </a:lnTo>
                  <a:lnTo>
                    <a:pt x="384" y="94"/>
                  </a:lnTo>
                  <a:lnTo>
                    <a:pt x="380" y="90"/>
                  </a:lnTo>
                  <a:lnTo>
                    <a:pt x="378" y="84"/>
                  </a:lnTo>
                  <a:lnTo>
                    <a:pt x="386" y="70"/>
                  </a:lnTo>
                  <a:lnTo>
                    <a:pt x="394" y="50"/>
                  </a:lnTo>
                  <a:lnTo>
                    <a:pt x="386" y="46"/>
                  </a:lnTo>
                  <a:lnTo>
                    <a:pt x="382" y="48"/>
                  </a:lnTo>
                  <a:lnTo>
                    <a:pt x="378" y="48"/>
                  </a:lnTo>
                  <a:lnTo>
                    <a:pt x="372" y="44"/>
                  </a:lnTo>
                  <a:lnTo>
                    <a:pt x="366" y="40"/>
                  </a:lnTo>
                  <a:lnTo>
                    <a:pt x="360" y="42"/>
                  </a:lnTo>
                  <a:lnTo>
                    <a:pt x="352" y="46"/>
                  </a:lnTo>
                  <a:lnTo>
                    <a:pt x="346" y="52"/>
                  </a:lnTo>
                  <a:lnTo>
                    <a:pt x="340" y="58"/>
                  </a:lnTo>
                  <a:lnTo>
                    <a:pt x="338" y="56"/>
                  </a:lnTo>
                  <a:lnTo>
                    <a:pt x="334" y="56"/>
                  </a:lnTo>
                  <a:lnTo>
                    <a:pt x="326" y="60"/>
                  </a:lnTo>
                  <a:lnTo>
                    <a:pt x="318" y="62"/>
                  </a:lnTo>
                  <a:lnTo>
                    <a:pt x="312" y="64"/>
                  </a:lnTo>
                  <a:lnTo>
                    <a:pt x="304" y="64"/>
                  </a:lnTo>
                  <a:lnTo>
                    <a:pt x="300" y="62"/>
                  </a:lnTo>
                  <a:lnTo>
                    <a:pt x="298" y="62"/>
                  </a:lnTo>
                  <a:lnTo>
                    <a:pt x="292" y="60"/>
                  </a:lnTo>
                  <a:lnTo>
                    <a:pt x="286" y="60"/>
                  </a:lnTo>
                  <a:lnTo>
                    <a:pt x="278" y="56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66" y="46"/>
                  </a:lnTo>
                  <a:lnTo>
                    <a:pt x="262" y="42"/>
                  </a:lnTo>
                  <a:lnTo>
                    <a:pt x="258" y="40"/>
                  </a:lnTo>
                  <a:lnTo>
                    <a:pt x="236" y="38"/>
                  </a:lnTo>
                  <a:lnTo>
                    <a:pt x="228" y="40"/>
                  </a:lnTo>
                  <a:lnTo>
                    <a:pt x="222" y="44"/>
                  </a:lnTo>
                  <a:lnTo>
                    <a:pt x="206" y="40"/>
                  </a:lnTo>
                  <a:lnTo>
                    <a:pt x="202" y="36"/>
                  </a:lnTo>
                  <a:lnTo>
                    <a:pt x="198" y="34"/>
                  </a:lnTo>
                  <a:lnTo>
                    <a:pt x="198" y="22"/>
                  </a:lnTo>
                  <a:lnTo>
                    <a:pt x="198" y="18"/>
                  </a:lnTo>
                  <a:lnTo>
                    <a:pt x="194" y="16"/>
                  </a:lnTo>
                  <a:lnTo>
                    <a:pt x="188" y="14"/>
                  </a:lnTo>
                  <a:lnTo>
                    <a:pt x="168" y="10"/>
                  </a:lnTo>
                  <a:lnTo>
                    <a:pt x="160" y="6"/>
                  </a:lnTo>
                  <a:lnTo>
                    <a:pt x="154" y="0"/>
                  </a:lnTo>
                  <a:lnTo>
                    <a:pt x="150" y="8"/>
                  </a:lnTo>
                  <a:lnTo>
                    <a:pt x="144" y="10"/>
                  </a:lnTo>
                  <a:lnTo>
                    <a:pt x="140" y="18"/>
                  </a:lnTo>
                  <a:lnTo>
                    <a:pt x="138" y="24"/>
                  </a:lnTo>
                  <a:lnTo>
                    <a:pt x="140" y="30"/>
                  </a:lnTo>
                  <a:lnTo>
                    <a:pt x="142" y="34"/>
                  </a:lnTo>
                  <a:lnTo>
                    <a:pt x="144" y="34"/>
                  </a:lnTo>
                  <a:lnTo>
                    <a:pt x="144" y="40"/>
                  </a:lnTo>
                  <a:lnTo>
                    <a:pt x="132" y="52"/>
                  </a:lnTo>
                  <a:lnTo>
                    <a:pt x="128" y="50"/>
                  </a:lnTo>
                  <a:lnTo>
                    <a:pt x="118" y="46"/>
                  </a:lnTo>
                  <a:lnTo>
                    <a:pt x="110" y="46"/>
                  </a:lnTo>
                  <a:lnTo>
                    <a:pt x="108" y="46"/>
                  </a:lnTo>
                  <a:lnTo>
                    <a:pt x="104" y="48"/>
                  </a:lnTo>
                  <a:lnTo>
                    <a:pt x="90" y="40"/>
                  </a:lnTo>
                  <a:lnTo>
                    <a:pt x="90" y="34"/>
                  </a:lnTo>
                  <a:lnTo>
                    <a:pt x="86" y="34"/>
                  </a:lnTo>
                  <a:lnTo>
                    <a:pt x="78" y="34"/>
                  </a:lnTo>
                  <a:lnTo>
                    <a:pt x="74" y="34"/>
                  </a:lnTo>
                  <a:lnTo>
                    <a:pt x="72" y="32"/>
                  </a:lnTo>
                  <a:lnTo>
                    <a:pt x="64" y="30"/>
                  </a:lnTo>
                  <a:lnTo>
                    <a:pt x="48" y="36"/>
                  </a:lnTo>
                  <a:lnTo>
                    <a:pt x="30" y="46"/>
                  </a:lnTo>
                  <a:lnTo>
                    <a:pt x="26" y="48"/>
                  </a:lnTo>
                  <a:lnTo>
                    <a:pt x="26" y="52"/>
                  </a:lnTo>
                  <a:lnTo>
                    <a:pt x="20" y="58"/>
                  </a:lnTo>
                  <a:lnTo>
                    <a:pt x="2" y="64"/>
                  </a:lnTo>
                  <a:lnTo>
                    <a:pt x="2" y="68"/>
                  </a:lnTo>
                  <a:lnTo>
                    <a:pt x="0" y="7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6" name="Freeform 668">
              <a:extLst>
                <a:ext uri="{FF2B5EF4-FFF2-40B4-BE49-F238E27FC236}">
                  <a16:creationId xmlns:a16="http://schemas.microsoft.com/office/drawing/2014/main" id="{076E4174-A4AD-4A77-AF3F-E5DE1757F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2563" y="3811588"/>
              <a:ext cx="158750" cy="333375"/>
            </a:xfrm>
            <a:custGeom>
              <a:avLst/>
              <a:gdLst/>
              <a:ahLst/>
              <a:cxnLst>
                <a:cxn ang="0">
                  <a:pos x="62" y="20"/>
                </a:cxn>
                <a:cxn ang="0">
                  <a:pos x="60" y="8"/>
                </a:cxn>
                <a:cxn ang="0">
                  <a:pos x="44" y="2"/>
                </a:cxn>
                <a:cxn ang="0">
                  <a:pos x="34" y="8"/>
                </a:cxn>
                <a:cxn ang="0">
                  <a:pos x="26" y="14"/>
                </a:cxn>
                <a:cxn ang="0">
                  <a:pos x="10" y="12"/>
                </a:cxn>
                <a:cxn ang="0">
                  <a:pos x="6" y="20"/>
                </a:cxn>
                <a:cxn ang="0">
                  <a:pos x="10" y="30"/>
                </a:cxn>
                <a:cxn ang="0">
                  <a:pos x="24" y="38"/>
                </a:cxn>
                <a:cxn ang="0">
                  <a:pos x="34" y="40"/>
                </a:cxn>
                <a:cxn ang="0">
                  <a:pos x="30" y="54"/>
                </a:cxn>
                <a:cxn ang="0">
                  <a:pos x="24" y="60"/>
                </a:cxn>
                <a:cxn ang="0">
                  <a:pos x="42" y="74"/>
                </a:cxn>
                <a:cxn ang="0">
                  <a:pos x="60" y="94"/>
                </a:cxn>
                <a:cxn ang="0">
                  <a:pos x="66" y="100"/>
                </a:cxn>
                <a:cxn ang="0">
                  <a:pos x="70" y="110"/>
                </a:cxn>
                <a:cxn ang="0">
                  <a:pos x="76" y="120"/>
                </a:cxn>
                <a:cxn ang="0">
                  <a:pos x="72" y="132"/>
                </a:cxn>
                <a:cxn ang="0">
                  <a:pos x="74" y="136"/>
                </a:cxn>
                <a:cxn ang="0">
                  <a:pos x="74" y="150"/>
                </a:cxn>
                <a:cxn ang="0">
                  <a:pos x="66" y="160"/>
                </a:cxn>
                <a:cxn ang="0">
                  <a:pos x="62" y="162"/>
                </a:cxn>
                <a:cxn ang="0">
                  <a:pos x="50" y="168"/>
                </a:cxn>
                <a:cxn ang="0">
                  <a:pos x="42" y="178"/>
                </a:cxn>
                <a:cxn ang="0">
                  <a:pos x="42" y="192"/>
                </a:cxn>
                <a:cxn ang="0">
                  <a:pos x="36" y="202"/>
                </a:cxn>
                <a:cxn ang="0">
                  <a:pos x="44" y="206"/>
                </a:cxn>
                <a:cxn ang="0">
                  <a:pos x="54" y="200"/>
                </a:cxn>
                <a:cxn ang="0">
                  <a:pos x="60" y="192"/>
                </a:cxn>
                <a:cxn ang="0">
                  <a:pos x="58" y="186"/>
                </a:cxn>
                <a:cxn ang="0">
                  <a:pos x="82" y="178"/>
                </a:cxn>
                <a:cxn ang="0">
                  <a:pos x="98" y="162"/>
                </a:cxn>
                <a:cxn ang="0">
                  <a:pos x="98" y="148"/>
                </a:cxn>
                <a:cxn ang="0">
                  <a:pos x="96" y="128"/>
                </a:cxn>
                <a:cxn ang="0">
                  <a:pos x="84" y="106"/>
                </a:cxn>
                <a:cxn ang="0">
                  <a:pos x="76" y="100"/>
                </a:cxn>
                <a:cxn ang="0">
                  <a:pos x="60" y="84"/>
                </a:cxn>
                <a:cxn ang="0">
                  <a:pos x="50" y="70"/>
                </a:cxn>
                <a:cxn ang="0">
                  <a:pos x="50" y="62"/>
                </a:cxn>
                <a:cxn ang="0">
                  <a:pos x="52" y="52"/>
                </a:cxn>
                <a:cxn ang="0">
                  <a:pos x="60" y="46"/>
                </a:cxn>
                <a:cxn ang="0">
                  <a:pos x="72" y="36"/>
                </a:cxn>
                <a:cxn ang="0">
                  <a:pos x="80" y="28"/>
                </a:cxn>
              </a:cxnLst>
              <a:rect l="0" t="0" r="r" b="b"/>
              <a:pathLst>
                <a:path w="100" h="210">
                  <a:moveTo>
                    <a:pt x="70" y="26"/>
                  </a:moveTo>
                  <a:lnTo>
                    <a:pt x="64" y="22"/>
                  </a:lnTo>
                  <a:lnTo>
                    <a:pt x="62" y="20"/>
                  </a:lnTo>
                  <a:lnTo>
                    <a:pt x="62" y="16"/>
                  </a:lnTo>
                  <a:lnTo>
                    <a:pt x="62" y="12"/>
                  </a:lnTo>
                  <a:lnTo>
                    <a:pt x="60" y="8"/>
                  </a:lnTo>
                  <a:lnTo>
                    <a:pt x="58" y="8"/>
                  </a:lnTo>
                  <a:lnTo>
                    <a:pt x="50" y="6"/>
                  </a:lnTo>
                  <a:lnTo>
                    <a:pt x="44" y="2"/>
                  </a:lnTo>
                  <a:lnTo>
                    <a:pt x="44" y="0"/>
                  </a:lnTo>
                  <a:lnTo>
                    <a:pt x="38" y="6"/>
                  </a:lnTo>
                  <a:lnTo>
                    <a:pt x="34" y="8"/>
                  </a:lnTo>
                  <a:lnTo>
                    <a:pt x="28" y="10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2" y="10"/>
                  </a:lnTo>
                  <a:lnTo>
                    <a:pt x="16" y="10"/>
                  </a:lnTo>
                  <a:lnTo>
                    <a:pt x="10" y="12"/>
                  </a:lnTo>
                  <a:lnTo>
                    <a:pt x="4" y="12"/>
                  </a:lnTo>
                  <a:lnTo>
                    <a:pt x="0" y="16"/>
                  </a:lnTo>
                  <a:lnTo>
                    <a:pt x="6" y="20"/>
                  </a:lnTo>
                  <a:lnTo>
                    <a:pt x="10" y="22"/>
                  </a:lnTo>
                  <a:lnTo>
                    <a:pt x="12" y="24"/>
                  </a:lnTo>
                  <a:lnTo>
                    <a:pt x="10" y="30"/>
                  </a:lnTo>
                  <a:lnTo>
                    <a:pt x="14" y="38"/>
                  </a:lnTo>
                  <a:lnTo>
                    <a:pt x="22" y="40"/>
                  </a:lnTo>
                  <a:lnTo>
                    <a:pt x="24" y="38"/>
                  </a:lnTo>
                  <a:lnTo>
                    <a:pt x="28" y="36"/>
                  </a:lnTo>
                  <a:lnTo>
                    <a:pt x="32" y="38"/>
                  </a:lnTo>
                  <a:lnTo>
                    <a:pt x="34" y="40"/>
                  </a:lnTo>
                  <a:lnTo>
                    <a:pt x="40" y="50"/>
                  </a:lnTo>
                  <a:lnTo>
                    <a:pt x="36" y="54"/>
                  </a:lnTo>
                  <a:lnTo>
                    <a:pt x="30" y="54"/>
                  </a:lnTo>
                  <a:lnTo>
                    <a:pt x="26" y="54"/>
                  </a:lnTo>
                  <a:lnTo>
                    <a:pt x="26" y="58"/>
                  </a:lnTo>
                  <a:lnTo>
                    <a:pt x="24" y="60"/>
                  </a:lnTo>
                  <a:lnTo>
                    <a:pt x="32" y="64"/>
                  </a:lnTo>
                  <a:lnTo>
                    <a:pt x="42" y="70"/>
                  </a:lnTo>
                  <a:lnTo>
                    <a:pt x="42" y="74"/>
                  </a:lnTo>
                  <a:lnTo>
                    <a:pt x="50" y="82"/>
                  </a:lnTo>
                  <a:lnTo>
                    <a:pt x="60" y="92"/>
                  </a:lnTo>
                  <a:lnTo>
                    <a:pt x="60" y="94"/>
                  </a:lnTo>
                  <a:lnTo>
                    <a:pt x="62" y="98"/>
                  </a:lnTo>
                  <a:lnTo>
                    <a:pt x="64" y="100"/>
                  </a:lnTo>
                  <a:lnTo>
                    <a:pt x="66" y="100"/>
                  </a:lnTo>
                  <a:lnTo>
                    <a:pt x="68" y="104"/>
                  </a:lnTo>
                  <a:lnTo>
                    <a:pt x="72" y="106"/>
                  </a:lnTo>
                  <a:lnTo>
                    <a:pt x="70" y="110"/>
                  </a:lnTo>
                  <a:lnTo>
                    <a:pt x="74" y="114"/>
                  </a:lnTo>
                  <a:lnTo>
                    <a:pt x="76" y="116"/>
                  </a:lnTo>
                  <a:lnTo>
                    <a:pt x="76" y="120"/>
                  </a:lnTo>
                  <a:lnTo>
                    <a:pt x="74" y="124"/>
                  </a:lnTo>
                  <a:lnTo>
                    <a:pt x="74" y="128"/>
                  </a:lnTo>
                  <a:lnTo>
                    <a:pt x="72" y="132"/>
                  </a:lnTo>
                  <a:lnTo>
                    <a:pt x="72" y="134"/>
                  </a:lnTo>
                  <a:lnTo>
                    <a:pt x="72" y="134"/>
                  </a:lnTo>
                  <a:lnTo>
                    <a:pt x="74" y="136"/>
                  </a:lnTo>
                  <a:lnTo>
                    <a:pt x="72" y="138"/>
                  </a:lnTo>
                  <a:lnTo>
                    <a:pt x="76" y="144"/>
                  </a:lnTo>
                  <a:lnTo>
                    <a:pt x="74" y="150"/>
                  </a:lnTo>
                  <a:lnTo>
                    <a:pt x="74" y="154"/>
                  </a:lnTo>
                  <a:lnTo>
                    <a:pt x="72" y="158"/>
                  </a:lnTo>
                  <a:lnTo>
                    <a:pt x="66" y="160"/>
                  </a:lnTo>
                  <a:lnTo>
                    <a:pt x="64" y="162"/>
                  </a:lnTo>
                  <a:lnTo>
                    <a:pt x="62" y="162"/>
                  </a:lnTo>
                  <a:lnTo>
                    <a:pt x="62" y="162"/>
                  </a:lnTo>
                  <a:lnTo>
                    <a:pt x="60" y="164"/>
                  </a:lnTo>
                  <a:lnTo>
                    <a:pt x="60" y="166"/>
                  </a:lnTo>
                  <a:lnTo>
                    <a:pt x="50" y="168"/>
                  </a:lnTo>
                  <a:lnTo>
                    <a:pt x="52" y="170"/>
                  </a:lnTo>
                  <a:lnTo>
                    <a:pt x="50" y="176"/>
                  </a:lnTo>
                  <a:lnTo>
                    <a:pt x="42" y="178"/>
                  </a:lnTo>
                  <a:lnTo>
                    <a:pt x="32" y="184"/>
                  </a:lnTo>
                  <a:lnTo>
                    <a:pt x="38" y="188"/>
                  </a:lnTo>
                  <a:lnTo>
                    <a:pt x="42" y="192"/>
                  </a:lnTo>
                  <a:lnTo>
                    <a:pt x="38" y="192"/>
                  </a:lnTo>
                  <a:lnTo>
                    <a:pt x="38" y="202"/>
                  </a:lnTo>
                  <a:lnTo>
                    <a:pt x="36" y="202"/>
                  </a:lnTo>
                  <a:lnTo>
                    <a:pt x="36" y="206"/>
                  </a:lnTo>
                  <a:lnTo>
                    <a:pt x="38" y="210"/>
                  </a:lnTo>
                  <a:lnTo>
                    <a:pt x="44" y="206"/>
                  </a:lnTo>
                  <a:lnTo>
                    <a:pt x="46" y="202"/>
                  </a:lnTo>
                  <a:lnTo>
                    <a:pt x="50" y="202"/>
                  </a:lnTo>
                  <a:lnTo>
                    <a:pt x="54" y="200"/>
                  </a:lnTo>
                  <a:lnTo>
                    <a:pt x="56" y="198"/>
                  </a:lnTo>
                  <a:lnTo>
                    <a:pt x="60" y="196"/>
                  </a:lnTo>
                  <a:lnTo>
                    <a:pt x="60" y="192"/>
                  </a:lnTo>
                  <a:lnTo>
                    <a:pt x="62" y="190"/>
                  </a:lnTo>
                  <a:lnTo>
                    <a:pt x="64" y="188"/>
                  </a:lnTo>
                  <a:lnTo>
                    <a:pt x="58" y="186"/>
                  </a:lnTo>
                  <a:lnTo>
                    <a:pt x="62" y="184"/>
                  </a:lnTo>
                  <a:lnTo>
                    <a:pt x="72" y="184"/>
                  </a:lnTo>
                  <a:lnTo>
                    <a:pt x="82" y="178"/>
                  </a:lnTo>
                  <a:lnTo>
                    <a:pt x="92" y="174"/>
                  </a:lnTo>
                  <a:lnTo>
                    <a:pt x="96" y="166"/>
                  </a:lnTo>
                  <a:lnTo>
                    <a:pt x="98" y="162"/>
                  </a:lnTo>
                  <a:lnTo>
                    <a:pt x="98" y="158"/>
                  </a:lnTo>
                  <a:lnTo>
                    <a:pt x="100" y="152"/>
                  </a:lnTo>
                  <a:lnTo>
                    <a:pt x="98" y="148"/>
                  </a:lnTo>
                  <a:lnTo>
                    <a:pt x="98" y="142"/>
                  </a:lnTo>
                  <a:lnTo>
                    <a:pt x="98" y="136"/>
                  </a:lnTo>
                  <a:lnTo>
                    <a:pt x="96" y="128"/>
                  </a:lnTo>
                  <a:lnTo>
                    <a:pt x="94" y="124"/>
                  </a:lnTo>
                  <a:lnTo>
                    <a:pt x="90" y="114"/>
                  </a:lnTo>
                  <a:lnTo>
                    <a:pt x="84" y="106"/>
                  </a:lnTo>
                  <a:lnTo>
                    <a:pt x="82" y="104"/>
                  </a:lnTo>
                  <a:lnTo>
                    <a:pt x="80" y="102"/>
                  </a:lnTo>
                  <a:lnTo>
                    <a:pt x="76" y="100"/>
                  </a:lnTo>
                  <a:lnTo>
                    <a:pt x="72" y="98"/>
                  </a:lnTo>
                  <a:lnTo>
                    <a:pt x="68" y="92"/>
                  </a:lnTo>
                  <a:lnTo>
                    <a:pt x="60" y="84"/>
                  </a:lnTo>
                  <a:lnTo>
                    <a:pt x="60" y="78"/>
                  </a:lnTo>
                  <a:lnTo>
                    <a:pt x="54" y="74"/>
                  </a:lnTo>
                  <a:lnTo>
                    <a:pt x="50" y="70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50" y="62"/>
                  </a:lnTo>
                  <a:lnTo>
                    <a:pt x="50" y="60"/>
                  </a:lnTo>
                  <a:lnTo>
                    <a:pt x="50" y="56"/>
                  </a:lnTo>
                  <a:lnTo>
                    <a:pt x="52" y="52"/>
                  </a:lnTo>
                  <a:lnTo>
                    <a:pt x="54" y="50"/>
                  </a:lnTo>
                  <a:lnTo>
                    <a:pt x="60" y="48"/>
                  </a:lnTo>
                  <a:lnTo>
                    <a:pt x="60" y="46"/>
                  </a:lnTo>
                  <a:lnTo>
                    <a:pt x="62" y="40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34"/>
                  </a:lnTo>
                  <a:lnTo>
                    <a:pt x="78" y="28"/>
                  </a:lnTo>
                  <a:lnTo>
                    <a:pt x="80" y="28"/>
                  </a:lnTo>
                  <a:lnTo>
                    <a:pt x="78" y="26"/>
                  </a:lnTo>
                  <a:lnTo>
                    <a:pt x="70" y="26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7" name="Freeform 678">
              <a:extLst>
                <a:ext uri="{FF2B5EF4-FFF2-40B4-BE49-F238E27FC236}">
                  <a16:creationId xmlns:a16="http://schemas.microsoft.com/office/drawing/2014/main" id="{4A134E5B-DC8A-4517-9DEE-D8DAF79234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8913" y="4008438"/>
              <a:ext cx="114300" cy="95250"/>
            </a:xfrm>
            <a:custGeom>
              <a:avLst/>
              <a:gdLst/>
              <a:ahLst/>
              <a:cxnLst>
                <a:cxn ang="0">
                  <a:pos x="46" y="52"/>
                </a:cxn>
                <a:cxn ang="0">
                  <a:pos x="48" y="46"/>
                </a:cxn>
                <a:cxn ang="0">
                  <a:pos x="46" y="44"/>
                </a:cxn>
                <a:cxn ang="0">
                  <a:pos x="56" y="42"/>
                </a:cxn>
                <a:cxn ang="0">
                  <a:pos x="56" y="40"/>
                </a:cxn>
                <a:cxn ang="0">
                  <a:pos x="58" y="38"/>
                </a:cxn>
                <a:cxn ang="0">
                  <a:pos x="58" y="38"/>
                </a:cxn>
                <a:cxn ang="0">
                  <a:pos x="60" y="38"/>
                </a:cxn>
                <a:cxn ang="0">
                  <a:pos x="62" y="36"/>
                </a:cxn>
                <a:cxn ang="0">
                  <a:pos x="68" y="34"/>
                </a:cxn>
                <a:cxn ang="0">
                  <a:pos x="70" y="30"/>
                </a:cxn>
                <a:cxn ang="0">
                  <a:pos x="70" y="26"/>
                </a:cxn>
                <a:cxn ang="0">
                  <a:pos x="72" y="20"/>
                </a:cxn>
                <a:cxn ang="0">
                  <a:pos x="68" y="14"/>
                </a:cxn>
                <a:cxn ang="0">
                  <a:pos x="70" y="12"/>
                </a:cxn>
                <a:cxn ang="0">
                  <a:pos x="68" y="10"/>
                </a:cxn>
                <a:cxn ang="0">
                  <a:pos x="68" y="10"/>
                </a:cxn>
                <a:cxn ang="0">
                  <a:pos x="68" y="8"/>
                </a:cxn>
                <a:cxn ang="0">
                  <a:pos x="70" y="4"/>
                </a:cxn>
                <a:cxn ang="0">
                  <a:pos x="70" y="0"/>
                </a:cxn>
                <a:cxn ang="0">
                  <a:pos x="68" y="4"/>
                </a:cxn>
                <a:cxn ang="0">
                  <a:pos x="62" y="6"/>
                </a:cxn>
                <a:cxn ang="0">
                  <a:pos x="56" y="2"/>
                </a:cxn>
                <a:cxn ang="0">
                  <a:pos x="54" y="4"/>
                </a:cxn>
                <a:cxn ang="0">
                  <a:pos x="52" y="6"/>
                </a:cxn>
                <a:cxn ang="0">
                  <a:pos x="50" y="6"/>
                </a:cxn>
                <a:cxn ang="0">
                  <a:pos x="50" y="6"/>
                </a:cxn>
                <a:cxn ang="0">
                  <a:pos x="50" y="8"/>
                </a:cxn>
                <a:cxn ang="0">
                  <a:pos x="52" y="10"/>
                </a:cxn>
                <a:cxn ang="0">
                  <a:pos x="50" y="12"/>
                </a:cxn>
                <a:cxn ang="0">
                  <a:pos x="46" y="10"/>
                </a:cxn>
                <a:cxn ang="0">
                  <a:pos x="38" y="6"/>
                </a:cxn>
                <a:cxn ang="0">
                  <a:pos x="36" y="6"/>
                </a:cxn>
                <a:cxn ang="0">
                  <a:pos x="28" y="6"/>
                </a:cxn>
                <a:cxn ang="0">
                  <a:pos x="22" y="6"/>
                </a:cxn>
                <a:cxn ang="0">
                  <a:pos x="16" y="6"/>
                </a:cxn>
                <a:cxn ang="0">
                  <a:pos x="10" y="6"/>
                </a:cxn>
                <a:cxn ang="0">
                  <a:pos x="8" y="8"/>
                </a:cxn>
                <a:cxn ang="0">
                  <a:pos x="6" y="10"/>
                </a:cxn>
                <a:cxn ang="0">
                  <a:pos x="2" y="16"/>
                </a:cxn>
                <a:cxn ang="0">
                  <a:pos x="0" y="18"/>
                </a:cxn>
                <a:cxn ang="0">
                  <a:pos x="0" y="20"/>
                </a:cxn>
                <a:cxn ang="0">
                  <a:pos x="2" y="28"/>
                </a:cxn>
                <a:cxn ang="0">
                  <a:pos x="4" y="32"/>
                </a:cxn>
                <a:cxn ang="0">
                  <a:pos x="4" y="36"/>
                </a:cxn>
                <a:cxn ang="0">
                  <a:pos x="6" y="40"/>
                </a:cxn>
                <a:cxn ang="0">
                  <a:pos x="8" y="44"/>
                </a:cxn>
                <a:cxn ang="0">
                  <a:pos x="10" y="46"/>
                </a:cxn>
                <a:cxn ang="0">
                  <a:pos x="10" y="48"/>
                </a:cxn>
                <a:cxn ang="0">
                  <a:pos x="10" y="54"/>
                </a:cxn>
                <a:cxn ang="0">
                  <a:pos x="14" y="52"/>
                </a:cxn>
                <a:cxn ang="0">
                  <a:pos x="16" y="50"/>
                </a:cxn>
                <a:cxn ang="0">
                  <a:pos x="16" y="50"/>
                </a:cxn>
                <a:cxn ang="0">
                  <a:pos x="18" y="54"/>
                </a:cxn>
                <a:cxn ang="0">
                  <a:pos x="18" y="56"/>
                </a:cxn>
                <a:cxn ang="0">
                  <a:pos x="16" y="60"/>
                </a:cxn>
                <a:cxn ang="0">
                  <a:pos x="20" y="56"/>
                </a:cxn>
                <a:cxn ang="0">
                  <a:pos x="24" y="58"/>
                </a:cxn>
                <a:cxn ang="0">
                  <a:pos x="28" y="60"/>
                </a:cxn>
                <a:cxn ang="0">
                  <a:pos x="38" y="54"/>
                </a:cxn>
                <a:cxn ang="0">
                  <a:pos x="46" y="52"/>
                </a:cxn>
              </a:cxnLst>
              <a:rect l="0" t="0" r="r" b="b"/>
              <a:pathLst>
                <a:path w="72" h="60">
                  <a:moveTo>
                    <a:pt x="46" y="52"/>
                  </a:moveTo>
                  <a:lnTo>
                    <a:pt x="48" y="46"/>
                  </a:lnTo>
                  <a:lnTo>
                    <a:pt x="46" y="44"/>
                  </a:lnTo>
                  <a:lnTo>
                    <a:pt x="56" y="42"/>
                  </a:lnTo>
                  <a:lnTo>
                    <a:pt x="56" y="40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0" y="38"/>
                  </a:lnTo>
                  <a:lnTo>
                    <a:pt x="62" y="36"/>
                  </a:lnTo>
                  <a:lnTo>
                    <a:pt x="68" y="34"/>
                  </a:lnTo>
                  <a:lnTo>
                    <a:pt x="70" y="30"/>
                  </a:lnTo>
                  <a:lnTo>
                    <a:pt x="70" y="26"/>
                  </a:lnTo>
                  <a:lnTo>
                    <a:pt x="72" y="20"/>
                  </a:lnTo>
                  <a:lnTo>
                    <a:pt x="68" y="14"/>
                  </a:lnTo>
                  <a:lnTo>
                    <a:pt x="70" y="12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8"/>
                  </a:lnTo>
                  <a:lnTo>
                    <a:pt x="70" y="4"/>
                  </a:lnTo>
                  <a:lnTo>
                    <a:pt x="70" y="0"/>
                  </a:lnTo>
                  <a:lnTo>
                    <a:pt x="68" y="4"/>
                  </a:lnTo>
                  <a:lnTo>
                    <a:pt x="62" y="6"/>
                  </a:lnTo>
                  <a:lnTo>
                    <a:pt x="56" y="2"/>
                  </a:lnTo>
                  <a:lnTo>
                    <a:pt x="54" y="4"/>
                  </a:lnTo>
                  <a:lnTo>
                    <a:pt x="52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8"/>
                  </a:lnTo>
                  <a:lnTo>
                    <a:pt x="52" y="10"/>
                  </a:lnTo>
                  <a:lnTo>
                    <a:pt x="50" y="12"/>
                  </a:lnTo>
                  <a:lnTo>
                    <a:pt x="46" y="10"/>
                  </a:lnTo>
                  <a:lnTo>
                    <a:pt x="38" y="6"/>
                  </a:lnTo>
                  <a:lnTo>
                    <a:pt x="36" y="6"/>
                  </a:lnTo>
                  <a:lnTo>
                    <a:pt x="28" y="6"/>
                  </a:lnTo>
                  <a:lnTo>
                    <a:pt x="22" y="6"/>
                  </a:lnTo>
                  <a:lnTo>
                    <a:pt x="16" y="6"/>
                  </a:lnTo>
                  <a:lnTo>
                    <a:pt x="10" y="6"/>
                  </a:lnTo>
                  <a:lnTo>
                    <a:pt x="8" y="8"/>
                  </a:lnTo>
                  <a:lnTo>
                    <a:pt x="6" y="10"/>
                  </a:lnTo>
                  <a:lnTo>
                    <a:pt x="2" y="16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8" y="44"/>
                  </a:lnTo>
                  <a:lnTo>
                    <a:pt x="10" y="46"/>
                  </a:lnTo>
                  <a:lnTo>
                    <a:pt x="10" y="48"/>
                  </a:lnTo>
                  <a:lnTo>
                    <a:pt x="10" y="54"/>
                  </a:lnTo>
                  <a:lnTo>
                    <a:pt x="14" y="52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8" y="54"/>
                  </a:lnTo>
                  <a:lnTo>
                    <a:pt x="18" y="56"/>
                  </a:lnTo>
                  <a:lnTo>
                    <a:pt x="16" y="60"/>
                  </a:lnTo>
                  <a:lnTo>
                    <a:pt x="20" y="56"/>
                  </a:lnTo>
                  <a:lnTo>
                    <a:pt x="24" y="58"/>
                  </a:lnTo>
                  <a:lnTo>
                    <a:pt x="28" y="60"/>
                  </a:lnTo>
                  <a:lnTo>
                    <a:pt x="38" y="54"/>
                  </a:lnTo>
                  <a:lnTo>
                    <a:pt x="46" y="52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8" name="Freeform 679">
              <a:extLst>
                <a:ext uri="{FF2B5EF4-FFF2-40B4-BE49-F238E27FC236}">
                  <a16:creationId xmlns:a16="http://schemas.microsoft.com/office/drawing/2014/main" id="{81941E77-8F7F-49D3-BE02-91ECF05D3E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8113" y="3833813"/>
              <a:ext cx="165100" cy="193675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8" y="34"/>
                </a:cxn>
                <a:cxn ang="0">
                  <a:pos x="10" y="42"/>
                </a:cxn>
                <a:cxn ang="0">
                  <a:pos x="16" y="42"/>
                </a:cxn>
                <a:cxn ang="0">
                  <a:pos x="14" y="62"/>
                </a:cxn>
                <a:cxn ang="0">
                  <a:pos x="14" y="72"/>
                </a:cxn>
                <a:cxn ang="0">
                  <a:pos x="20" y="68"/>
                </a:cxn>
                <a:cxn ang="0">
                  <a:pos x="30" y="62"/>
                </a:cxn>
                <a:cxn ang="0">
                  <a:pos x="42" y="62"/>
                </a:cxn>
                <a:cxn ang="0">
                  <a:pos x="54" y="60"/>
                </a:cxn>
                <a:cxn ang="0">
                  <a:pos x="64" y="74"/>
                </a:cxn>
                <a:cxn ang="0">
                  <a:pos x="66" y="86"/>
                </a:cxn>
                <a:cxn ang="0">
                  <a:pos x="76" y="96"/>
                </a:cxn>
                <a:cxn ang="0">
                  <a:pos x="76" y="102"/>
                </a:cxn>
                <a:cxn ang="0">
                  <a:pos x="74" y="114"/>
                </a:cxn>
                <a:cxn ang="0">
                  <a:pos x="78" y="120"/>
                </a:cxn>
                <a:cxn ang="0">
                  <a:pos x="84" y="120"/>
                </a:cxn>
                <a:cxn ang="0">
                  <a:pos x="82" y="116"/>
                </a:cxn>
                <a:cxn ang="0">
                  <a:pos x="84" y="116"/>
                </a:cxn>
                <a:cxn ang="0">
                  <a:pos x="88" y="112"/>
                </a:cxn>
                <a:cxn ang="0">
                  <a:pos x="100" y="114"/>
                </a:cxn>
                <a:cxn ang="0">
                  <a:pos x="104" y="106"/>
                </a:cxn>
                <a:cxn ang="0">
                  <a:pos x="102" y="100"/>
                </a:cxn>
                <a:cxn ang="0">
                  <a:pos x="100" y="92"/>
                </a:cxn>
                <a:cxn ang="0">
                  <a:pos x="94" y="86"/>
                </a:cxn>
                <a:cxn ang="0">
                  <a:pos x="90" y="84"/>
                </a:cxn>
                <a:cxn ang="0">
                  <a:pos x="88" y="78"/>
                </a:cxn>
                <a:cxn ang="0">
                  <a:pos x="70" y="60"/>
                </a:cxn>
                <a:cxn ang="0">
                  <a:pos x="60" y="50"/>
                </a:cxn>
                <a:cxn ang="0">
                  <a:pos x="54" y="44"/>
                </a:cxn>
                <a:cxn ang="0">
                  <a:pos x="58" y="40"/>
                </a:cxn>
                <a:cxn ang="0">
                  <a:pos x="68" y="36"/>
                </a:cxn>
                <a:cxn ang="0">
                  <a:pos x="60" y="24"/>
                </a:cxn>
                <a:cxn ang="0">
                  <a:pos x="52" y="24"/>
                </a:cxn>
                <a:cxn ang="0">
                  <a:pos x="42" y="24"/>
                </a:cxn>
                <a:cxn ang="0">
                  <a:pos x="40" y="10"/>
                </a:cxn>
                <a:cxn ang="0">
                  <a:pos x="34" y="6"/>
                </a:cxn>
                <a:cxn ang="0">
                  <a:pos x="22" y="0"/>
                </a:cxn>
                <a:cxn ang="0">
                  <a:pos x="24" y="10"/>
                </a:cxn>
                <a:cxn ang="0">
                  <a:pos x="22" y="18"/>
                </a:cxn>
                <a:cxn ang="0">
                  <a:pos x="16" y="14"/>
                </a:cxn>
                <a:cxn ang="0">
                  <a:pos x="4" y="24"/>
                </a:cxn>
              </a:cxnLst>
              <a:rect l="0" t="0" r="r" b="b"/>
              <a:pathLst>
                <a:path w="104" h="122">
                  <a:moveTo>
                    <a:pt x="4" y="24"/>
                  </a:moveTo>
                  <a:lnTo>
                    <a:pt x="0" y="32"/>
                  </a:lnTo>
                  <a:lnTo>
                    <a:pt x="6" y="34"/>
                  </a:lnTo>
                  <a:lnTo>
                    <a:pt x="8" y="34"/>
                  </a:lnTo>
                  <a:lnTo>
                    <a:pt x="6" y="40"/>
                  </a:lnTo>
                  <a:lnTo>
                    <a:pt x="10" y="42"/>
                  </a:lnTo>
                  <a:lnTo>
                    <a:pt x="12" y="42"/>
                  </a:lnTo>
                  <a:lnTo>
                    <a:pt x="16" y="42"/>
                  </a:lnTo>
                  <a:lnTo>
                    <a:pt x="18" y="46"/>
                  </a:lnTo>
                  <a:lnTo>
                    <a:pt x="14" y="62"/>
                  </a:lnTo>
                  <a:lnTo>
                    <a:pt x="12" y="70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20" y="68"/>
                  </a:lnTo>
                  <a:lnTo>
                    <a:pt x="26" y="62"/>
                  </a:lnTo>
                  <a:lnTo>
                    <a:pt x="30" y="62"/>
                  </a:lnTo>
                  <a:lnTo>
                    <a:pt x="42" y="64"/>
                  </a:lnTo>
                  <a:lnTo>
                    <a:pt x="42" y="62"/>
                  </a:lnTo>
                  <a:lnTo>
                    <a:pt x="46" y="58"/>
                  </a:lnTo>
                  <a:lnTo>
                    <a:pt x="54" y="60"/>
                  </a:lnTo>
                  <a:lnTo>
                    <a:pt x="60" y="70"/>
                  </a:lnTo>
                  <a:lnTo>
                    <a:pt x="64" y="74"/>
                  </a:lnTo>
                  <a:lnTo>
                    <a:pt x="64" y="80"/>
                  </a:lnTo>
                  <a:lnTo>
                    <a:pt x="66" y="86"/>
                  </a:lnTo>
                  <a:lnTo>
                    <a:pt x="70" y="92"/>
                  </a:lnTo>
                  <a:lnTo>
                    <a:pt x="76" y="96"/>
                  </a:lnTo>
                  <a:lnTo>
                    <a:pt x="74" y="102"/>
                  </a:lnTo>
                  <a:lnTo>
                    <a:pt x="76" y="102"/>
                  </a:lnTo>
                  <a:lnTo>
                    <a:pt x="74" y="110"/>
                  </a:lnTo>
                  <a:lnTo>
                    <a:pt x="74" y="114"/>
                  </a:lnTo>
                  <a:lnTo>
                    <a:pt x="70" y="116"/>
                  </a:lnTo>
                  <a:lnTo>
                    <a:pt x="78" y="120"/>
                  </a:lnTo>
                  <a:lnTo>
                    <a:pt x="82" y="122"/>
                  </a:lnTo>
                  <a:lnTo>
                    <a:pt x="84" y="120"/>
                  </a:lnTo>
                  <a:lnTo>
                    <a:pt x="82" y="118"/>
                  </a:lnTo>
                  <a:lnTo>
                    <a:pt x="82" y="116"/>
                  </a:lnTo>
                  <a:lnTo>
                    <a:pt x="82" y="116"/>
                  </a:lnTo>
                  <a:lnTo>
                    <a:pt x="84" y="116"/>
                  </a:lnTo>
                  <a:lnTo>
                    <a:pt x="86" y="114"/>
                  </a:lnTo>
                  <a:lnTo>
                    <a:pt x="88" y="112"/>
                  </a:lnTo>
                  <a:lnTo>
                    <a:pt x="94" y="116"/>
                  </a:lnTo>
                  <a:lnTo>
                    <a:pt x="100" y="114"/>
                  </a:lnTo>
                  <a:lnTo>
                    <a:pt x="102" y="110"/>
                  </a:lnTo>
                  <a:lnTo>
                    <a:pt x="104" y="106"/>
                  </a:lnTo>
                  <a:lnTo>
                    <a:pt x="104" y="102"/>
                  </a:lnTo>
                  <a:lnTo>
                    <a:pt x="102" y="100"/>
                  </a:lnTo>
                  <a:lnTo>
                    <a:pt x="98" y="96"/>
                  </a:lnTo>
                  <a:lnTo>
                    <a:pt x="100" y="92"/>
                  </a:lnTo>
                  <a:lnTo>
                    <a:pt x="96" y="90"/>
                  </a:lnTo>
                  <a:lnTo>
                    <a:pt x="94" y="86"/>
                  </a:lnTo>
                  <a:lnTo>
                    <a:pt x="92" y="86"/>
                  </a:lnTo>
                  <a:lnTo>
                    <a:pt x="90" y="84"/>
                  </a:lnTo>
                  <a:lnTo>
                    <a:pt x="88" y="80"/>
                  </a:lnTo>
                  <a:lnTo>
                    <a:pt x="88" y="78"/>
                  </a:lnTo>
                  <a:lnTo>
                    <a:pt x="78" y="68"/>
                  </a:lnTo>
                  <a:lnTo>
                    <a:pt x="70" y="60"/>
                  </a:lnTo>
                  <a:lnTo>
                    <a:pt x="70" y="56"/>
                  </a:lnTo>
                  <a:lnTo>
                    <a:pt x="60" y="50"/>
                  </a:lnTo>
                  <a:lnTo>
                    <a:pt x="52" y="46"/>
                  </a:lnTo>
                  <a:lnTo>
                    <a:pt x="54" y="44"/>
                  </a:lnTo>
                  <a:lnTo>
                    <a:pt x="54" y="40"/>
                  </a:lnTo>
                  <a:lnTo>
                    <a:pt x="58" y="40"/>
                  </a:lnTo>
                  <a:lnTo>
                    <a:pt x="64" y="40"/>
                  </a:lnTo>
                  <a:lnTo>
                    <a:pt x="68" y="36"/>
                  </a:lnTo>
                  <a:lnTo>
                    <a:pt x="62" y="26"/>
                  </a:lnTo>
                  <a:lnTo>
                    <a:pt x="60" y="24"/>
                  </a:lnTo>
                  <a:lnTo>
                    <a:pt x="56" y="22"/>
                  </a:lnTo>
                  <a:lnTo>
                    <a:pt x="52" y="24"/>
                  </a:lnTo>
                  <a:lnTo>
                    <a:pt x="50" y="26"/>
                  </a:lnTo>
                  <a:lnTo>
                    <a:pt x="42" y="24"/>
                  </a:lnTo>
                  <a:lnTo>
                    <a:pt x="38" y="16"/>
                  </a:lnTo>
                  <a:lnTo>
                    <a:pt x="40" y="10"/>
                  </a:lnTo>
                  <a:lnTo>
                    <a:pt x="38" y="8"/>
                  </a:lnTo>
                  <a:lnTo>
                    <a:pt x="34" y="6"/>
                  </a:lnTo>
                  <a:lnTo>
                    <a:pt x="28" y="2"/>
                  </a:lnTo>
                  <a:lnTo>
                    <a:pt x="22" y="0"/>
                  </a:lnTo>
                  <a:lnTo>
                    <a:pt x="22" y="6"/>
                  </a:lnTo>
                  <a:lnTo>
                    <a:pt x="24" y="10"/>
                  </a:lnTo>
                  <a:lnTo>
                    <a:pt x="24" y="14"/>
                  </a:lnTo>
                  <a:lnTo>
                    <a:pt x="22" y="18"/>
                  </a:lnTo>
                  <a:lnTo>
                    <a:pt x="18" y="18"/>
                  </a:lnTo>
                  <a:lnTo>
                    <a:pt x="16" y="14"/>
                  </a:lnTo>
                  <a:lnTo>
                    <a:pt x="10" y="16"/>
                  </a:lnTo>
                  <a:lnTo>
                    <a:pt x="4" y="24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9" name="Freeform 89">
              <a:extLst>
                <a:ext uri="{FF2B5EF4-FFF2-40B4-BE49-F238E27FC236}">
                  <a16:creationId xmlns:a16="http://schemas.microsoft.com/office/drawing/2014/main" id="{FE5A5ABB-5414-4917-9FFD-C9FEB5311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1288" y="4186238"/>
              <a:ext cx="85725" cy="11430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10"/>
                </a:cxn>
                <a:cxn ang="0">
                  <a:pos x="4" y="22"/>
                </a:cxn>
                <a:cxn ang="0">
                  <a:pos x="6" y="30"/>
                </a:cxn>
                <a:cxn ang="0">
                  <a:pos x="6" y="34"/>
                </a:cxn>
                <a:cxn ang="0">
                  <a:pos x="10" y="36"/>
                </a:cxn>
                <a:cxn ang="0">
                  <a:pos x="8" y="38"/>
                </a:cxn>
                <a:cxn ang="0">
                  <a:pos x="10" y="40"/>
                </a:cxn>
                <a:cxn ang="0">
                  <a:pos x="16" y="50"/>
                </a:cxn>
                <a:cxn ang="0">
                  <a:pos x="16" y="52"/>
                </a:cxn>
                <a:cxn ang="0">
                  <a:pos x="20" y="56"/>
                </a:cxn>
                <a:cxn ang="0">
                  <a:pos x="32" y="62"/>
                </a:cxn>
                <a:cxn ang="0">
                  <a:pos x="34" y="64"/>
                </a:cxn>
                <a:cxn ang="0">
                  <a:pos x="40" y="66"/>
                </a:cxn>
                <a:cxn ang="0">
                  <a:pos x="48" y="70"/>
                </a:cxn>
                <a:cxn ang="0">
                  <a:pos x="54" y="72"/>
                </a:cxn>
                <a:cxn ang="0">
                  <a:pos x="54" y="66"/>
                </a:cxn>
                <a:cxn ang="0">
                  <a:pos x="52" y="58"/>
                </a:cxn>
                <a:cxn ang="0">
                  <a:pos x="50" y="54"/>
                </a:cxn>
                <a:cxn ang="0">
                  <a:pos x="48" y="54"/>
                </a:cxn>
                <a:cxn ang="0">
                  <a:pos x="44" y="42"/>
                </a:cxn>
                <a:cxn ang="0">
                  <a:pos x="44" y="38"/>
                </a:cxn>
                <a:cxn ang="0">
                  <a:pos x="44" y="34"/>
                </a:cxn>
                <a:cxn ang="0">
                  <a:pos x="44" y="34"/>
                </a:cxn>
                <a:cxn ang="0">
                  <a:pos x="42" y="22"/>
                </a:cxn>
                <a:cxn ang="0">
                  <a:pos x="36" y="12"/>
                </a:cxn>
                <a:cxn ang="0">
                  <a:pos x="30" y="6"/>
                </a:cxn>
                <a:cxn ang="0">
                  <a:pos x="26" y="6"/>
                </a:cxn>
                <a:cxn ang="0">
                  <a:pos x="26" y="6"/>
                </a:cxn>
                <a:cxn ang="0">
                  <a:pos x="22" y="12"/>
                </a:cxn>
                <a:cxn ang="0">
                  <a:pos x="20" y="12"/>
                </a:cxn>
                <a:cxn ang="0">
                  <a:pos x="20" y="10"/>
                </a:cxn>
                <a:cxn ang="0">
                  <a:pos x="18" y="10"/>
                </a:cxn>
                <a:cxn ang="0">
                  <a:pos x="16" y="10"/>
                </a:cxn>
                <a:cxn ang="0">
                  <a:pos x="14" y="14"/>
                </a:cxn>
                <a:cxn ang="0">
                  <a:pos x="12" y="10"/>
                </a:cxn>
                <a:cxn ang="0">
                  <a:pos x="12" y="4"/>
                </a:cxn>
                <a:cxn ang="0">
                  <a:pos x="6" y="2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54" h="72">
                  <a:moveTo>
                    <a:pt x="0" y="2"/>
                  </a:moveTo>
                  <a:lnTo>
                    <a:pt x="2" y="10"/>
                  </a:lnTo>
                  <a:lnTo>
                    <a:pt x="4" y="22"/>
                  </a:lnTo>
                  <a:lnTo>
                    <a:pt x="6" y="30"/>
                  </a:lnTo>
                  <a:lnTo>
                    <a:pt x="6" y="34"/>
                  </a:lnTo>
                  <a:lnTo>
                    <a:pt x="10" y="36"/>
                  </a:lnTo>
                  <a:lnTo>
                    <a:pt x="8" y="38"/>
                  </a:lnTo>
                  <a:lnTo>
                    <a:pt x="10" y="40"/>
                  </a:lnTo>
                  <a:lnTo>
                    <a:pt x="16" y="50"/>
                  </a:lnTo>
                  <a:lnTo>
                    <a:pt x="16" y="52"/>
                  </a:lnTo>
                  <a:lnTo>
                    <a:pt x="20" y="56"/>
                  </a:lnTo>
                  <a:lnTo>
                    <a:pt x="32" y="62"/>
                  </a:lnTo>
                  <a:lnTo>
                    <a:pt x="34" y="64"/>
                  </a:lnTo>
                  <a:lnTo>
                    <a:pt x="40" y="66"/>
                  </a:lnTo>
                  <a:lnTo>
                    <a:pt x="48" y="70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52" y="58"/>
                  </a:lnTo>
                  <a:lnTo>
                    <a:pt x="50" y="54"/>
                  </a:lnTo>
                  <a:lnTo>
                    <a:pt x="48" y="54"/>
                  </a:lnTo>
                  <a:lnTo>
                    <a:pt x="44" y="42"/>
                  </a:lnTo>
                  <a:lnTo>
                    <a:pt x="44" y="38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2" y="22"/>
                  </a:lnTo>
                  <a:lnTo>
                    <a:pt x="36" y="12"/>
                  </a:lnTo>
                  <a:lnTo>
                    <a:pt x="30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2" y="12"/>
                  </a:lnTo>
                  <a:lnTo>
                    <a:pt x="20" y="12"/>
                  </a:lnTo>
                  <a:lnTo>
                    <a:pt x="20" y="10"/>
                  </a:lnTo>
                  <a:lnTo>
                    <a:pt x="18" y="10"/>
                  </a:lnTo>
                  <a:lnTo>
                    <a:pt x="16" y="10"/>
                  </a:lnTo>
                  <a:lnTo>
                    <a:pt x="14" y="14"/>
                  </a:lnTo>
                  <a:lnTo>
                    <a:pt x="12" y="10"/>
                  </a:lnTo>
                  <a:lnTo>
                    <a:pt x="12" y="4"/>
                  </a:lnTo>
                  <a:lnTo>
                    <a:pt x="6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0" name="Freeform 90">
              <a:extLst>
                <a:ext uri="{FF2B5EF4-FFF2-40B4-BE49-F238E27FC236}">
                  <a16:creationId xmlns:a16="http://schemas.microsoft.com/office/drawing/2014/main" id="{F0AE4B58-AD6D-456A-8404-B2CD015987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0963" y="3881438"/>
              <a:ext cx="177800" cy="327025"/>
            </a:xfrm>
            <a:custGeom>
              <a:avLst/>
              <a:gdLst/>
              <a:ahLst/>
              <a:cxnLst>
                <a:cxn ang="0">
                  <a:pos x="44" y="194"/>
                </a:cxn>
                <a:cxn ang="0">
                  <a:pos x="52" y="206"/>
                </a:cxn>
                <a:cxn ang="0">
                  <a:pos x="58" y="202"/>
                </a:cxn>
                <a:cxn ang="0">
                  <a:pos x="64" y="198"/>
                </a:cxn>
                <a:cxn ang="0">
                  <a:pos x="50" y="188"/>
                </a:cxn>
                <a:cxn ang="0">
                  <a:pos x="38" y="180"/>
                </a:cxn>
                <a:cxn ang="0">
                  <a:pos x="40" y="170"/>
                </a:cxn>
                <a:cxn ang="0">
                  <a:pos x="34" y="156"/>
                </a:cxn>
                <a:cxn ang="0">
                  <a:pos x="24" y="146"/>
                </a:cxn>
                <a:cxn ang="0">
                  <a:pos x="34" y="114"/>
                </a:cxn>
                <a:cxn ang="0">
                  <a:pos x="40" y="98"/>
                </a:cxn>
                <a:cxn ang="0">
                  <a:pos x="48" y="98"/>
                </a:cxn>
                <a:cxn ang="0">
                  <a:pos x="52" y="110"/>
                </a:cxn>
                <a:cxn ang="0">
                  <a:pos x="72" y="118"/>
                </a:cxn>
                <a:cxn ang="0">
                  <a:pos x="72" y="116"/>
                </a:cxn>
                <a:cxn ang="0">
                  <a:pos x="68" y="100"/>
                </a:cxn>
                <a:cxn ang="0">
                  <a:pos x="74" y="90"/>
                </a:cxn>
                <a:cxn ang="0">
                  <a:pos x="84" y="86"/>
                </a:cxn>
                <a:cxn ang="0">
                  <a:pos x="104" y="86"/>
                </a:cxn>
                <a:cxn ang="0">
                  <a:pos x="110" y="80"/>
                </a:cxn>
                <a:cxn ang="0">
                  <a:pos x="112" y="66"/>
                </a:cxn>
                <a:cxn ang="0">
                  <a:pos x="100" y="50"/>
                </a:cxn>
                <a:cxn ang="0">
                  <a:pos x="90" y="30"/>
                </a:cxn>
                <a:cxn ang="0">
                  <a:pos x="78" y="34"/>
                </a:cxn>
                <a:cxn ang="0">
                  <a:pos x="56" y="38"/>
                </a:cxn>
                <a:cxn ang="0">
                  <a:pos x="48" y="40"/>
                </a:cxn>
                <a:cxn ang="0">
                  <a:pos x="52" y="12"/>
                </a:cxn>
                <a:cxn ang="0">
                  <a:pos x="42" y="10"/>
                </a:cxn>
                <a:cxn ang="0">
                  <a:pos x="36" y="2"/>
                </a:cxn>
                <a:cxn ang="0">
                  <a:pos x="28" y="0"/>
                </a:cxn>
                <a:cxn ang="0">
                  <a:pos x="16" y="10"/>
                </a:cxn>
                <a:cxn ang="0">
                  <a:pos x="6" y="16"/>
                </a:cxn>
                <a:cxn ang="0">
                  <a:pos x="4" y="26"/>
                </a:cxn>
                <a:cxn ang="0">
                  <a:pos x="4" y="30"/>
                </a:cxn>
                <a:cxn ang="0">
                  <a:pos x="12" y="46"/>
                </a:cxn>
                <a:cxn ang="0">
                  <a:pos x="18" y="60"/>
                </a:cxn>
                <a:cxn ang="0">
                  <a:pos x="16" y="70"/>
                </a:cxn>
                <a:cxn ang="0">
                  <a:pos x="12" y="76"/>
                </a:cxn>
                <a:cxn ang="0">
                  <a:pos x="24" y="100"/>
                </a:cxn>
                <a:cxn ang="0">
                  <a:pos x="30" y="118"/>
                </a:cxn>
                <a:cxn ang="0">
                  <a:pos x="20" y="136"/>
                </a:cxn>
                <a:cxn ang="0">
                  <a:pos x="16" y="148"/>
                </a:cxn>
                <a:cxn ang="0">
                  <a:pos x="14" y="172"/>
                </a:cxn>
                <a:cxn ang="0">
                  <a:pos x="22" y="174"/>
                </a:cxn>
                <a:cxn ang="0">
                  <a:pos x="32" y="190"/>
                </a:cxn>
              </a:cxnLst>
              <a:rect l="0" t="0" r="r" b="b"/>
              <a:pathLst>
                <a:path w="112" h="206">
                  <a:moveTo>
                    <a:pt x="38" y="194"/>
                  </a:moveTo>
                  <a:lnTo>
                    <a:pt x="40" y="192"/>
                  </a:lnTo>
                  <a:lnTo>
                    <a:pt x="44" y="194"/>
                  </a:lnTo>
                  <a:lnTo>
                    <a:pt x="50" y="196"/>
                  </a:lnTo>
                  <a:lnTo>
                    <a:pt x="50" y="202"/>
                  </a:lnTo>
                  <a:lnTo>
                    <a:pt x="52" y="206"/>
                  </a:lnTo>
                  <a:lnTo>
                    <a:pt x="54" y="202"/>
                  </a:lnTo>
                  <a:lnTo>
                    <a:pt x="56" y="202"/>
                  </a:lnTo>
                  <a:lnTo>
                    <a:pt x="58" y="202"/>
                  </a:lnTo>
                  <a:lnTo>
                    <a:pt x="58" y="204"/>
                  </a:lnTo>
                  <a:lnTo>
                    <a:pt x="60" y="204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56" y="190"/>
                  </a:lnTo>
                  <a:lnTo>
                    <a:pt x="50" y="188"/>
                  </a:lnTo>
                  <a:lnTo>
                    <a:pt x="44" y="186"/>
                  </a:lnTo>
                  <a:lnTo>
                    <a:pt x="40" y="184"/>
                  </a:lnTo>
                  <a:lnTo>
                    <a:pt x="38" y="180"/>
                  </a:lnTo>
                  <a:lnTo>
                    <a:pt x="40" y="176"/>
                  </a:lnTo>
                  <a:lnTo>
                    <a:pt x="42" y="180"/>
                  </a:lnTo>
                  <a:lnTo>
                    <a:pt x="40" y="170"/>
                  </a:lnTo>
                  <a:lnTo>
                    <a:pt x="38" y="168"/>
                  </a:lnTo>
                  <a:lnTo>
                    <a:pt x="36" y="166"/>
                  </a:lnTo>
                  <a:lnTo>
                    <a:pt x="34" y="156"/>
                  </a:lnTo>
                  <a:lnTo>
                    <a:pt x="26" y="158"/>
                  </a:lnTo>
                  <a:lnTo>
                    <a:pt x="24" y="154"/>
                  </a:lnTo>
                  <a:lnTo>
                    <a:pt x="24" y="146"/>
                  </a:lnTo>
                  <a:lnTo>
                    <a:pt x="26" y="138"/>
                  </a:lnTo>
                  <a:lnTo>
                    <a:pt x="28" y="130"/>
                  </a:lnTo>
                  <a:lnTo>
                    <a:pt x="34" y="114"/>
                  </a:lnTo>
                  <a:lnTo>
                    <a:pt x="36" y="108"/>
                  </a:lnTo>
                  <a:lnTo>
                    <a:pt x="36" y="100"/>
                  </a:lnTo>
                  <a:lnTo>
                    <a:pt x="40" y="98"/>
                  </a:lnTo>
                  <a:lnTo>
                    <a:pt x="44" y="96"/>
                  </a:lnTo>
                  <a:lnTo>
                    <a:pt x="46" y="98"/>
                  </a:lnTo>
                  <a:lnTo>
                    <a:pt x="48" y="98"/>
                  </a:lnTo>
                  <a:lnTo>
                    <a:pt x="48" y="102"/>
                  </a:lnTo>
                  <a:lnTo>
                    <a:pt x="48" y="108"/>
                  </a:lnTo>
                  <a:lnTo>
                    <a:pt x="52" y="110"/>
                  </a:lnTo>
                  <a:lnTo>
                    <a:pt x="60" y="110"/>
                  </a:lnTo>
                  <a:lnTo>
                    <a:pt x="66" y="114"/>
                  </a:lnTo>
                  <a:lnTo>
                    <a:pt x="72" y="118"/>
                  </a:lnTo>
                  <a:lnTo>
                    <a:pt x="76" y="124"/>
                  </a:lnTo>
                  <a:lnTo>
                    <a:pt x="74" y="120"/>
                  </a:lnTo>
                  <a:lnTo>
                    <a:pt x="72" y="116"/>
                  </a:lnTo>
                  <a:lnTo>
                    <a:pt x="72" y="112"/>
                  </a:lnTo>
                  <a:lnTo>
                    <a:pt x="70" y="108"/>
                  </a:lnTo>
                  <a:lnTo>
                    <a:pt x="68" y="100"/>
                  </a:lnTo>
                  <a:lnTo>
                    <a:pt x="68" y="98"/>
                  </a:lnTo>
                  <a:lnTo>
                    <a:pt x="70" y="96"/>
                  </a:lnTo>
                  <a:lnTo>
                    <a:pt x="74" y="90"/>
                  </a:lnTo>
                  <a:lnTo>
                    <a:pt x="76" y="88"/>
                  </a:lnTo>
                  <a:lnTo>
                    <a:pt x="78" y="86"/>
                  </a:lnTo>
                  <a:lnTo>
                    <a:pt x="84" y="86"/>
                  </a:lnTo>
                  <a:lnTo>
                    <a:pt x="90" y="86"/>
                  </a:lnTo>
                  <a:lnTo>
                    <a:pt x="96" y="86"/>
                  </a:lnTo>
                  <a:lnTo>
                    <a:pt x="104" y="86"/>
                  </a:lnTo>
                  <a:lnTo>
                    <a:pt x="106" y="86"/>
                  </a:lnTo>
                  <a:lnTo>
                    <a:pt x="110" y="84"/>
                  </a:lnTo>
                  <a:lnTo>
                    <a:pt x="110" y="80"/>
                  </a:lnTo>
                  <a:lnTo>
                    <a:pt x="112" y="72"/>
                  </a:lnTo>
                  <a:lnTo>
                    <a:pt x="110" y="72"/>
                  </a:lnTo>
                  <a:lnTo>
                    <a:pt x="112" y="66"/>
                  </a:lnTo>
                  <a:lnTo>
                    <a:pt x="106" y="62"/>
                  </a:lnTo>
                  <a:lnTo>
                    <a:pt x="102" y="56"/>
                  </a:lnTo>
                  <a:lnTo>
                    <a:pt x="100" y="50"/>
                  </a:lnTo>
                  <a:lnTo>
                    <a:pt x="100" y="44"/>
                  </a:lnTo>
                  <a:lnTo>
                    <a:pt x="96" y="40"/>
                  </a:lnTo>
                  <a:lnTo>
                    <a:pt x="90" y="30"/>
                  </a:lnTo>
                  <a:lnTo>
                    <a:pt x="82" y="28"/>
                  </a:lnTo>
                  <a:lnTo>
                    <a:pt x="78" y="32"/>
                  </a:lnTo>
                  <a:lnTo>
                    <a:pt x="78" y="34"/>
                  </a:lnTo>
                  <a:lnTo>
                    <a:pt x="66" y="32"/>
                  </a:lnTo>
                  <a:lnTo>
                    <a:pt x="62" y="32"/>
                  </a:lnTo>
                  <a:lnTo>
                    <a:pt x="56" y="38"/>
                  </a:lnTo>
                  <a:lnTo>
                    <a:pt x="52" y="42"/>
                  </a:lnTo>
                  <a:lnTo>
                    <a:pt x="50" y="42"/>
                  </a:lnTo>
                  <a:lnTo>
                    <a:pt x="48" y="40"/>
                  </a:lnTo>
                  <a:lnTo>
                    <a:pt x="50" y="32"/>
                  </a:lnTo>
                  <a:lnTo>
                    <a:pt x="54" y="16"/>
                  </a:lnTo>
                  <a:lnTo>
                    <a:pt x="52" y="12"/>
                  </a:lnTo>
                  <a:lnTo>
                    <a:pt x="48" y="12"/>
                  </a:lnTo>
                  <a:lnTo>
                    <a:pt x="46" y="12"/>
                  </a:lnTo>
                  <a:lnTo>
                    <a:pt x="42" y="10"/>
                  </a:lnTo>
                  <a:lnTo>
                    <a:pt x="44" y="4"/>
                  </a:lnTo>
                  <a:lnTo>
                    <a:pt x="42" y="4"/>
                  </a:lnTo>
                  <a:lnTo>
                    <a:pt x="36" y="2"/>
                  </a:lnTo>
                  <a:lnTo>
                    <a:pt x="34" y="0"/>
                  </a:lnTo>
                  <a:lnTo>
                    <a:pt x="34" y="2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0" y="8"/>
                  </a:lnTo>
                  <a:lnTo>
                    <a:pt x="16" y="10"/>
                  </a:lnTo>
                  <a:lnTo>
                    <a:pt x="12" y="10"/>
                  </a:lnTo>
                  <a:lnTo>
                    <a:pt x="8" y="10"/>
                  </a:lnTo>
                  <a:lnTo>
                    <a:pt x="6" y="16"/>
                  </a:lnTo>
                  <a:lnTo>
                    <a:pt x="4" y="22"/>
                  </a:lnTo>
                  <a:lnTo>
                    <a:pt x="6" y="26"/>
                  </a:lnTo>
                  <a:lnTo>
                    <a:pt x="4" y="26"/>
                  </a:lnTo>
                  <a:lnTo>
                    <a:pt x="0" y="26"/>
                  </a:lnTo>
                  <a:lnTo>
                    <a:pt x="2" y="30"/>
                  </a:lnTo>
                  <a:lnTo>
                    <a:pt x="4" y="30"/>
                  </a:lnTo>
                  <a:lnTo>
                    <a:pt x="4" y="34"/>
                  </a:lnTo>
                  <a:lnTo>
                    <a:pt x="4" y="38"/>
                  </a:lnTo>
                  <a:lnTo>
                    <a:pt x="12" y="46"/>
                  </a:lnTo>
                  <a:lnTo>
                    <a:pt x="16" y="50"/>
                  </a:lnTo>
                  <a:lnTo>
                    <a:pt x="16" y="56"/>
                  </a:lnTo>
                  <a:lnTo>
                    <a:pt x="18" y="60"/>
                  </a:lnTo>
                  <a:lnTo>
                    <a:pt x="16" y="62"/>
                  </a:lnTo>
                  <a:lnTo>
                    <a:pt x="16" y="66"/>
                  </a:lnTo>
                  <a:lnTo>
                    <a:pt x="16" y="70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6"/>
                  </a:lnTo>
                  <a:lnTo>
                    <a:pt x="16" y="86"/>
                  </a:lnTo>
                  <a:lnTo>
                    <a:pt x="22" y="90"/>
                  </a:lnTo>
                  <a:lnTo>
                    <a:pt x="24" y="100"/>
                  </a:lnTo>
                  <a:lnTo>
                    <a:pt x="24" y="106"/>
                  </a:lnTo>
                  <a:lnTo>
                    <a:pt x="26" y="110"/>
                  </a:lnTo>
                  <a:lnTo>
                    <a:pt x="30" y="118"/>
                  </a:lnTo>
                  <a:lnTo>
                    <a:pt x="30" y="122"/>
                  </a:lnTo>
                  <a:lnTo>
                    <a:pt x="22" y="134"/>
                  </a:lnTo>
                  <a:lnTo>
                    <a:pt x="20" y="136"/>
                  </a:lnTo>
                  <a:lnTo>
                    <a:pt x="18" y="142"/>
                  </a:lnTo>
                  <a:lnTo>
                    <a:pt x="16" y="146"/>
                  </a:lnTo>
                  <a:lnTo>
                    <a:pt x="16" y="148"/>
                  </a:lnTo>
                  <a:lnTo>
                    <a:pt x="14" y="156"/>
                  </a:lnTo>
                  <a:lnTo>
                    <a:pt x="12" y="166"/>
                  </a:lnTo>
                  <a:lnTo>
                    <a:pt x="14" y="172"/>
                  </a:lnTo>
                  <a:lnTo>
                    <a:pt x="14" y="170"/>
                  </a:lnTo>
                  <a:lnTo>
                    <a:pt x="18" y="168"/>
                  </a:lnTo>
                  <a:lnTo>
                    <a:pt x="22" y="174"/>
                  </a:lnTo>
                  <a:lnTo>
                    <a:pt x="26" y="182"/>
                  </a:lnTo>
                  <a:lnTo>
                    <a:pt x="32" y="186"/>
                  </a:lnTo>
                  <a:lnTo>
                    <a:pt x="32" y="190"/>
                  </a:lnTo>
                  <a:lnTo>
                    <a:pt x="38" y="194"/>
                  </a:lnTo>
                  <a:lnTo>
                    <a:pt x="38" y="194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1" name="Freeform 627">
              <a:extLst>
                <a:ext uri="{FF2B5EF4-FFF2-40B4-BE49-F238E27FC236}">
                  <a16:creationId xmlns:a16="http://schemas.microsoft.com/office/drawing/2014/main" id="{D4620FA0-DD36-4D96-97F5-65B8311EA8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4338" y="4560888"/>
              <a:ext cx="879475" cy="809625"/>
            </a:xfrm>
            <a:custGeom>
              <a:avLst/>
              <a:gdLst/>
              <a:ahLst/>
              <a:cxnLst/>
              <a:rect l="l" t="t" r="r" b="b"/>
              <a:pathLst>
                <a:path w="879475" h="809625">
                  <a:moveTo>
                    <a:pt x="688975" y="727075"/>
                  </a:moveTo>
                  <a:lnTo>
                    <a:pt x="698500" y="730250"/>
                  </a:lnTo>
                  <a:lnTo>
                    <a:pt x="711200" y="736600"/>
                  </a:lnTo>
                  <a:lnTo>
                    <a:pt x="723900" y="739775"/>
                  </a:lnTo>
                  <a:lnTo>
                    <a:pt x="736600" y="736600"/>
                  </a:lnTo>
                  <a:lnTo>
                    <a:pt x="758825" y="727075"/>
                  </a:lnTo>
                  <a:lnTo>
                    <a:pt x="765175" y="730250"/>
                  </a:lnTo>
                  <a:lnTo>
                    <a:pt x="765175" y="739775"/>
                  </a:lnTo>
                  <a:lnTo>
                    <a:pt x="765175" y="758825"/>
                  </a:lnTo>
                  <a:lnTo>
                    <a:pt x="762000" y="765175"/>
                  </a:lnTo>
                  <a:lnTo>
                    <a:pt x="758825" y="771525"/>
                  </a:lnTo>
                  <a:lnTo>
                    <a:pt x="755650" y="784225"/>
                  </a:lnTo>
                  <a:lnTo>
                    <a:pt x="749300" y="787400"/>
                  </a:lnTo>
                  <a:lnTo>
                    <a:pt x="746125" y="790575"/>
                  </a:lnTo>
                  <a:lnTo>
                    <a:pt x="742950" y="800100"/>
                  </a:lnTo>
                  <a:lnTo>
                    <a:pt x="730250" y="809625"/>
                  </a:lnTo>
                  <a:lnTo>
                    <a:pt x="723900" y="806450"/>
                  </a:lnTo>
                  <a:lnTo>
                    <a:pt x="717550" y="806450"/>
                  </a:lnTo>
                  <a:lnTo>
                    <a:pt x="704850" y="790575"/>
                  </a:lnTo>
                  <a:lnTo>
                    <a:pt x="698500" y="771525"/>
                  </a:lnTo>
                  <a:lnTo>
                    <a:pt x="701675" y="768350"/>
                  </a:lnTo>
                  <a:lnTo>
                    <a:pt x="698500" y="762000"/>
                  </a:lnTo>
                  <a:lnTo>
                    <a:pt x="688975" y="746125"/>
                  </a:lnTo>
                  <a:lnTo>
                    <a:pt x="685800" y="730250"/>
                  </a:lnTo>
                  <a:close/>
                  <a:moveTo>
                    <a:pt x="758825" y="698500"/>
                  </a:moveTo>
                  <a:lnTo>
                    <a:pt x="765175" y="704850"/>
                  </a:lnTo>
                  <a:lnTo>
                    <a:pt x="765175" y="711200"/>
                  </a:lnTo>
                  <a:lnTo>
                    <a:pt x="762000" y="714375"/>
                  </a:lnTo>
                  <a:lnTo>
                    <a:pt x="758825" y="708025"/>
                  </a:lnTo>
                  <a:lnTo>
                    <a:pt x="755650" y="704850"/>
                  </a:lnTo>
                  <a:lnTo>
                    <a:pt x="755650" y="701675"/>
                  </a:lnTo>
                  <a:close/>
                  <a:moveTo>
                    <a:pt x="676275" y="695325"/>
                  </a:moveTo>
                  <a:lnTo>
                    <a:pt x="676275" y="704850"/>
                  </a:lnTo>
                  <a:lnTo>
                    <a:pt x="669925" y="708025"/>
                  </a:lnTo>
                  <a:lnTo>
                    <a:pt x="669925" y="698500"/>
                  </a:lnTo>
                  <a:close/>
                  <a:moveTo>
                    <a:pt x="523875" y="587375"/>
                  </a:moveTo>
                  <a:lnTo>
                    <a:pt x="536575" y="587375"/>
                  </a:lnTo>
                  <a:lnTo>
                    <a:pt x="546100" y="590550"/>
                  </a:lnTo>
                  <a:lnTo>
                    <a:pt x="542925" y="596900"/>
                  </a:lnTo>
                  <a:lnTo>
                    <a:pt x="530225" y="600075"/>
                  </a:lnTo>
                  <a:lnTo>
                    <a:pt x="527050" y="596900"/>
                  </a:lnTo>
                  <a:lnTo>
                    <a:pt x="520700" y="596900"/>
                  </a:lnTo>
                  <a:lnTo>
                    <a:pt x="517525" y="596900"/>
                  </a:lnTo>
                  <a:lnTo>
                    <a:pt x="511175" y="593725"/>
                  </a:lnTo>
                  <a:lnTo>
                    <a:pt x="514350" y="590550"/>
                  </a:lnTo>
                  <a:close/>
                  <a:moveTo>
                    <a:pt x="3175" y="333375"/>
                  </a:moveTo>
                  <a:lnTo>
                    <a:pt x="3175" y="336550"/>
                  </a:lnTo>
                  <a:lnTo>
                    <a:pt x="6350" y="342900"/>
                  </a:lnTo>
                  <a:lnTo>
                    <a:pt x="6350" y="346075"/>
                  </a:lnTo>
                  <a:lnTo>
                    <a:pt x="0" y="336550"/>
                  </a:lnTo>
                  <a:close/>
                  <a:moveTo>
                    <a:pt x="873125" y="314325"/>
                  </a:moveTo>
                  <a:lnTo>
                    <a:pt x="876300" y="320675"/>
                  </a:lnTo>
                  <a:lnTo>
                    <a:pt x="873125" y="327025"/>
                  </a:lnTo>
                  <a:lnTo>
                    <a:pt x="869950" y="336550"/>
                  </a:lnTo>
                  <a:lnTo>
                    <a:pt x="869950" y="317500"/>
                  </a:lnTo>
                  <a:close/>
                  <a:moveTo>
                    <a:pt x="571500" y="127000"/>
                  </a:moveTo>
                  <a:lnTo>
                    <a:pt x="581025" y="127000"/>
                  </a:lnTo>
                  <a:lnTo>
                    <a:pt x="568325" y="133350"/>
                  </a:lnTo>
                  <a:close/>
                  <a:moveTo>
                    <a:pt x="514350" y="66675"/>
                  </a:moveTo>
                  <a:lnTo>
                    <a:pt x="517525" y="73025"/>
                  </a:lnTo>
                  <a:lnTo>
                    <a:pt x="520700" y="76200"/>
                  </a:lnTo>
                  <a:lnTo>
                    <a:pt x="508000" y="76200"/>
                  </a:lnTo>
                  <a:lnTo>
                    <a:pt x="508000" y="69850"/>
                  </a:lnTo>
                  <a:close/>
                  <a:moveTo>
                    <a:pt x="374650" y="15875"/>
                  </a:moveTo>
                  <a:lnTo>
                    <a:pt x="381000" y="19050"/>
                  </a:lnTo>
                  <a:lnTo>
                    <a:pt x="377825" y="25400"/>
                  </a:lnTo>
                  <a:lnTo>
                    <a:pt x="368300" y="25400"/>
                  </a:lnTo>
                  <a:close/>
                  <a:moveTo>
                    <a:pt x="377825" y="9525"/>
                  </a:moveTo>
                  <a:lnTo>
                    <a:pt x="381000" y="9525"/>
                  </a:lnTo>
                  <a:lnTo>
                    <a:pt x="387350" y="12700"/>
                  </a:lnTo>
                  <a:lnTo>
                    <a:pt x="393700" y="12700"/>
                  </a:lnTo>
                  <a:lnTo>
                    <a:pt x="396875" y="9525"/>
                  </a:lnTo>
                  <a:lnTo>
                    <a:pt x="403225" y="12700"/>
                  </a:lnTo>
                  <a:lnTo>
                    <a:pt x="396875" y="22225"/>
                  </a:lnTo>
                  <a:lnTo>
                    <a:pt x="390525" y="25400"/>
                  </a:lnTo>
                  <a:lnTo>
                    <a:pt x="381000" y="19050"/>
                  </a:lnTo>
                  <a:lnTo>
                    <a:pt x="377825" y="12700"/>
                  </a:lnTo>
                  <a:close/>
                  <a:moveTo>
                    <a:pt x="644525" y="0"/>
                  </a:moveTo>
                  <a:lnTo>
                    <a:pt x="650875" y="25400"/>
                  </a:lnTo>
                  <a:lnTo>
                    <a:pt x="654050" y="28575"/>
                  </a:lnTo>
                  <a:lnTo>
                    <a:pt x="660400" y="38100"/>
                  </a:lnTo>
                  <a:lnTo>
                    <a:pt x="663575" y="50800"/>
                  </a:lnTo>
                  <a:lnTo>
                    <a:pt x="663575" y="66675"/>
                  </a:lnTo>
                  <a:lnTo>
                    <a:pt x="666750" y="79375"/>
                  </a:lnTo>
                  <a:lnTo>
                    <a:pt x="673100" y="82550"/>
                  </a:lnTo>
                  <a:lnTo>
                    <a:pt x="679450" y="79375"/>
                  </a:lnTo>
                  <a:lnTo>
                    <a:pt x="682625" y="76200"/>
                  </a:lnTo>
                  <a:lnTo>
                    <a:pt x="685800" y="79375"/>
                  </a:lnTo>
                  <a:lnTo>
                    <a:pt x="688975" y="85725"/>
                  </a:lnTo>
                  <a:lnTo>
                    <a:pt x="698500" y="95250"/>
                  </a:lnTo>
                  <a:lnTo>
                    <a:pt x="701675" y="98425"/>
                  </a:lnTo>
                  <a:lnTo>
                    <a:pt x="701675" y="107950"/>
                  </a:lnTo>
                  <a:lnTo>
                    <a:pt x="704850" y="120650"/>
                  </a:lnTo>
                  <a:lnTo>
                    <a:pt x="704850" y="127000"/>
                  </a:lnTo>
                  <a:lnTo>
                    <a:pt x="708025" y="133350"/>
                  </a:lnTo>
                  <a:lnTo>
                    <a:pt x="711200" y="136525"/>
                  </a:lnTo>
                  <a:lnTo>
                    <a:pt x="714375" y="139700"/>
                  </a:lnTo>
                  <a:lnTo>
                    <a:pt x="717550" y="155575"/>
                  </a:lnTo>
                  <a:lnTo>
                    <a:pt x="717550" y="165100"/>
                  </a:lnTo>
                  <a:lnTo>
                    <a:pt x="720725" y="180975"/>
                  </a:lnTo>
                  <a:lnTo>
                    <a:pt x="730250" y="187325"/>
                  </a:lnTo>
                  <a:lnTo>
                    <a:pt x="746125" y="196850"/>
                  </a:lnTo>
                  <a:lnTo>
                    <a:pt x="755650" y="203200"/>
                  </a:lnTo>
                  <a:lnTo>
                    <a:pt x="768350" y="206375"/>
                  </a:lnTo>
                  <a:lnTo>
                    <a:pt x="774700" y="209550"/>
                  </a:lnTo>
                  <a:lnTo>
                    <a:pt x="777875" y="215900"/>
                  </a:lnTo>
                  <a:lnTo>
                    <a:pt x="784225" y="231775"/>
                  </a:lnTo>
                  <a:lnTo>
                    <a:pt x="790575" y="250825"/>
                  </a:lnTo>
                  <a:lnTo>
                    <a:pt x="796925" y="260350"/>
                  </a:lnTo>
                  <a:lnTo>
                    <a:pt x="803275" y="266700"/>
                  </a:lnTo>
                  <a:lnTo>
                    <a:pt x="803275" y="257175"/>
                  </a:lnTo>
                  <a:lnTo>
                    <a:pt x="803275" y="254000"/>
                  </a:lnTo>
                  <a:lnTo>
                    <a:pt x="809625" y="260350"/>
                  </a:lnTo>
                  <a:lnTo>
                    <a:pt x="812800" y="260350"/>
                  </a:lnTo>
                  <a:lnTo>
                    <a:pt x="815975" y="260350"/>
                  </a:lnTo>
                  <a:lnTo>
                    <a:pt x="819150" y="263525"/>
                  </a:lnTo>
                  <a:lnTo>
                    <a:pt x="819150" y="269875"/>
                  </a:lnTo>
                  <a:lnTo>
                    <a:pt x="819150" y="273050"/>
                  </a:lnTo>
                  <a:lnTo>
                    <a:pt x="819150" y="276225"/>
                  </a:lnTo>
                  <a:lnTo>
                    <a:pt x="822325" y="285750"/>
                  </a:lnTo>
                  <a:lnTo>
                    <a:pt x="828675" y="295275"/>
                  </a:lnTo>
                  <a:lnTo>
                    <a:pt x="838200" y="298450"/>
                  </a:lnTo>
                  <a:lnTo>
                    <a:pt x="844550" y="307975"/>
                  </a:lnTo>
                  <a:lnTo>
                    <a:pt x="857250" y="323850"/>
                  </a:lnTo>
                  <a:lnTo>
                    <a:pt x="863600" y="333375"/>
                  </a:lnTo>
                  <a:lnTo>
                    <a:pt x="866775" y="339725"/>
                  </a:lnTo>
                  <a:lnTo>
                    <a:pt x="869950" y="346075"/>
                  </a:lnTo>
                  <a:lnTo>
                    <a:pt x="869950" y="352425"/>
                  </a:lnTo>
                  <a:lnTo>
                    <a:pt x="869950" y="361950"/>
                  </a:lnTo>
                  <a:lnTo>
                    <a:pt x="869950" y="365125"/>
                  </a:lnTo>
                  <a:lnTo>
                    <a:pt x="869950" y="368300"/>
                  </a:lnTo>
                  <a:lnTo>
                    <a:pt x="869950" y="371475"/>
                  </a:lnTo>
                  <a:lnTo>
                    <a:pt x="866775" y="374650"/>
                  </a:lnTo>
                  <a:lnTo>
                    <a:pt x="873125" y="381000"/>
                  </a:lnTo>
                  <a:lnTo>
                    <a:pt x="876300" y="393700"/>
                  </a:lnTo>
                  <a:lnTo>
                    <a:pt x="879475" y="422275"/>
                  </a:lnTo>
                  <a:lnTo>
                    <a:pt x="873125" y="444500"/>
                  </a:lnTo>
                  <a:lnTo>
                    <a:pt x="866775" y="454025"/>
                  </a:lnTo>
                  <a:lnTo>
                    <a:pt x="866775" y="463550"/>
                  </a:lnTo>
                  <a:lnTo>
                    <a:pt x="866775" y="476250"/>
                  </a:lnTo>
                  <a:lnTo>
                    <a:pt x="863600" y="488950"/>
                  </a:lnTo>
                  <a:lnTo>
                    <a:pt x="857250" y="495300"/>
                  </a:lnTo>
                  <a:lnTo>
                    <a:pt x="857250" y="504825"/>
                  </a:lnTo>
                  <a:lnTo>
                    <a:pt x="847725" y="511175"/>
                  </a:lnTo>
                  <a:lnTo>
                    <a:pt x="838200" y="520700"/>
                  </a:lnTo>
                  <a:lnTo>
                    <a:pt x="831850" y="533400"/>
                  </a:lnTo>
                  <a:lnTo>
                    <a:pt x="828675" y="546100"/>
                  </a:lnTo>
                  <a:lnTo>
                    <a:pt x="803275" y="600075"/>
                  </a:lnTo>
                  <a:lnTo>
                    <a:pt x="806450" y="603250"/>
                  </a:lnTo>
                  <a:lnTo>
                    <a:pt x="803275" y="606425"/>
                  </a:lnTo>
                  <a:lnTo>
                    <a:pt x="803275" y="615950"/>
                  </a:lnTo>
                  <a:lnTo>
                    <a:pt x="800100" y="622300"/>
                  </a:lnTo>
                  <a:lnTo>
                    <a:pt x="803275" y="638175"/>
                  </a:lnTo>
                  <a:lnTo>
                    <a:pt x="790575" y="644525"/>
                  </a:lnTo>
                  <a:lnTo>
                    <a:pt x="765175" y="647700"/>
                  </a:lnTo>
                  <a:lnTo>
                    <a:pt x="742950" y="660400"/>
                  </a:lnTo>
                  <a:lnTo>
                    <a:pt x="733425" y="669925"/>
                  </a:lnTo>
                  <a:lnTo>
                    <a:pt x="720725" y="673100"/>
                  </a:lnTo>
                  <a:lnTo>
                    <a:pt x="714375" y="669925"/>
                  </a:lnTo>
                  <a:lnTo>
                    <a:pt x="708025" y="666750"/>
                  </a:lnTo>
                  <a:lnTo>
                    <a:pt x="698500" y="654050"/>
                  </a:lnTo>
                  <a:lnTo>
                    <a:pt x="692150" y="647700"/>
                  </a:lnTo>
                  <a:lnTo>
                    <a:pt x="685800" y="650875"/>
                  </a:lnTo>
                  <a:lnTo>
                    <a:pt x="682625" y="657225"/>
                  </a:lnTo>
                  <a:lnTo>
                    <a:pt x="676275" y="663575"/>
                  </a:lnTo>
                  <a:lnTo>
                    <a:pt x="669925" y="669925"/>
                  </a:lnTo>
                  <a:lnTo>
                    <a:pt x="660400" y="673100"/>
                  </a:lnTo>
                  <a:lnTo>
                    <a:pt x="647700" y="666750"/>
                  </a:lnTo>
                  <a:lnTo>
                    <a:pt x="635000" y="660400"/>
                  </a:lnTo>
                  <a:lnTo>
                    <a:pt x="606425" y="650875"/>
                  </a:lnTo>
                  <a:lnTo>
                    <a:pt x="600075" y="650875"/>
                  </a:lnTo>
                  <a:lnTo>
                    <a:pt x="590550" y="641350"/>
                  </a:lnTo>
                  <a:lnTo>
                    <a:pt x="581025" y="628650"/>
                  </a:lnTo>
                  <a:lnTo>
                    <a:pt x="581025" y="622300"/>
                  </a:lnTo>
                  <a:lnTo>
                    <a:pt x="584200" y="619125"/>
                  </a:lnTo>
                  <a:lnTo>
                    <a:pt x="577850" y="600075"/>
                  </a:lnTo>
                  <a:lnTo>
                    <a:pt x="574675" y="593725"/>
                  </a:lnTo>
                  <a:lnTo>
                    <a:pt x="571500" y="581025"/>
                  </a:lnTo>
                  <a:lnTo>
                    <a:pt x="568325" y="581025"/>
                  </a:lnTo>
                  <a:lnTo>
                    <a:pt x="561975" y="584200"/>
                  </a:lnTo>
                  <a:lnTo>
                    <a:pt x="555625" y="587375"/>
                  </a:lnTo>
                  <a:lnTo>
                    <a:pt x="549275" y="587375"/>
                  </a:lnTo>
                  <a:lnTo>
                    <a:pt x="546100" y="584200"/>
                  </a:lnTo>
                  <a:lnTo>
                    <a:pt x="552450" y="571500"/>
                  </a:lnTo>
                  <a:lnTo>
                    <a:pt x="552450" y="558800"/>
                  </a:lnTo>
                  <a:lnTo>
                    <a:pt x="546100" y="549275"/>
                  </a:lnTo>
                  <a:lnTo>
                    <a:pt x="539750" y="565150"/>
                  </a:lnTo>
                  <a:lnTo>
                    <a:pt x="536575" y="574675"/>
                  </a:lnTo>
                  <a:lnTo>
                    <a:pt x="527050" y="574675"/>
                  </a:lnTo>
                  <a:lnTo>
                    <a:pt x="520700" y="577850"/>
                  </a:lnTo>
                  <a:lnTo>
                    <a:pt x="520700" y="574675"/>
                  </a:lnTo>
                  <a:lnTo>
                    <a:pt x="520700" y="568325"/>
                  </a:lnTo>
                  <a:lnTo>
                    <a:pt x="527050" y="568325"/>
                  </a:lnTo>
                  <a:lnTo>
                    <a:pt x="533400" y="555625"/>
                  </a:lnTo>
                  <a:lnTo>
                    <a:pt x="536575" y="539750"/>
                  </a:lnTo>
                  <a:lnTo>
                    <a:pt x="539750" y="511175"/>
                  </a:lnTo>
                  <a:lnTo>
                    <a:pt x="536575" y="508000"/>
                  </a:lnTo>
                  <a:lnTo>
                    <a:pt x="536575" y="517525"/>
                  </a:lnTo>
                  <a:lnTo>
                    <a:pt x="530225" y="530225"/>
                  </a:lnTo>
                  <a:lnTo>
                    <a:pt x="520700" y="536575"/>
                  </a:lnTo>
                  <a:lnTo>
                    <a:pt x="514350" y="539750"/>
                  </a:lnTo>
                  <a:lnTo>
                    <a:pt x="508000" y="546100"/>
                  </a:lnTo>
                  <a:lnTo>
                    <a:pt x="498475" y="558800"/>
                  </a:lnTo>
                  <a:lnTo>
                    <a:pt x="488950" y="558800"/>
                  </a:lnTo>
                  <a:lnTo>
                    <a:pt x="482600" y="546100"/>
                  </a:lnTo>
                  <a:lnTo>
                    <a:pt x="476250" y="530225"/>
                  </a:lnTo>
                  <a:lnTo>
                    <a:pt x="469900" y="517525"/>
                  </a:lnTo>
                  <a:lnTo>
                    <a:pt x="460375" y="504825"/>
                  </a:lnTo>
                  <a:lnTo>
                    <a:pt x="454025" y="501650"/>
                  </a:lnTo>
                  <a:lnTo>
                    <a:pt x="450850" y="498475"/>
                  </a:lnTo>
                  <a:lnTo>
                    <a:pt x="444500" y="498475"/>
                  </a:lnTo>
                  <a:lnTo>
                    <a:pt x="438150" y="498475"/>
                  </a:lnTo>
                  <a:lnTo>
                    <a:pt x="409575" y="488950"/>
                  </a:lnTo>
                  <a:lnTo>
                    <a:pt x="390525" y="479425"/>
                  </a:lnTo>
                  <a:lnTo>
                    <a:pt x="355600" y="485775"/>
                  </a:lnTo>
                  <a:lnTo>
                    <a:pt x="346075" y="485775"/>
                  </a:lnTo>
                  <a:lnTo>
                    <a:pt x="336550" y="492125"/>
                  </a:lnTo>
                  <a:lnTo>
                    <a:pt x="307975" y="501650"/>
                  </a:lnTo>
                  <a:lnTo>
                    <a:pt x="298450" y="501650"/>
                  </a:lnTo>
                  <a:lnTo>
                    <a:pt x="285750" y="498475"/>
                  </a:lnTo>
                  <a:lnTo>
                    <a:pt x="276225" y="504825"/>
                  </a:lnTo>
                  <a:lnTo>
                    <a:pt x="260350" y="511175"/>
                  </a:lnTo>
                  <a:lnTo>
                    <a:pt x="244475" y="523875"/>
                  </a:lnTo>
                  <a:lnTo>
                    <a:pt x="234950" y="539750"/>
                  </a:lnTo>
                  <a:lnTo>
                    <a:pt x="225425" y="542925"/>
                  </a:lnTo>
                  <a:lnTo>
                    <a:pt x="222250" y="539750"/>
                  </a:lnTo>
                  <a:lnTo>
                    <a:pt x="212725" y="542925"/>
                  </a:lnTo>
                  <a:lnTo>
                    <a:pt x="200025" y="542925"/>
                  </a:lnTo>
                  <a:lnTo>
                    <a:pt x="196850" y="539750"/>
                  </a:lnTo>
                  <a:lnTo>
                    <a:pt x="187325" y="539750"/>
                  </a:lnTo>
                  <a:lnTo>
                    <a:pt x="177800" y="539750"/>
                  </a:lnTo>
                  <a:lnTo>
                    <a:pt x="158750" y="542925"/>
                  </a:lnTo>
                  <a:lnTo>
                    <a:pt x="149225" y="546100"/>
                  </a:lnTo>
                  <a:lnTo>
                    <a:pt x="133350" y="555625"/>
                  </a:lnTo>
                  <a:lnTo>
                    <a:pt x="123825" y="561975"/>
                  </a:lnTo>
                  <a:lnTo>
                    <a:pt x="114300" y="571500"/>
                  </a:lnTo>
                  <a:lnTo>
                    <a:pt x="98425" y="571500"/>
                  </a:lnTo>
                  <a:lnTo>
                    <a:pt x="85725" y="571500"/>
                  </a:lnTo>
                  <a:lnTo>
                    <a:pt x="73025" y="568325"/>
                  </a:lnTo>
                  <a:lnTo>
                    <a:pt x="63500" y="558800"/>
                  </a:lnTo>
                  <a:lnTo>
                    <a:pt x="50800" y="552450"/>
                  </a:lnTo>
                  <a:lnTo>
                    <a:pt x="47625" y="549275"/>
                  </a:lnTo>
                  <a:lnTo>
                    <a:pt x="47625" y="533400"/>
                  </a:lnTo>
                  <a:lnTo>
                    <a:pt x="50800" y="533400"/>
                  </a:lnTo>
                  <a:lnTo>
                    <a:pt x="57150" y="533400"/>
                  </a:lnTo>
                  <a:lnTo>
                    <a:pt x="60325" y="527050"/>
                  </a:lnTo>
                  <a:lnTo>
                    <a:pt x="63500" y="517525"/>
                  </a:lnTo>
                  <a:lnTo>
                    <a:pt x="63500" y="504825"/>
                  </a:lnTo>
                  <a:lnTo>
                    <a:pt x="63500" y="488950"/>
                  </a:lnTo>
                  <a:lnTo>
                    <a:pt x="60325" y="479425"/>
                  </a:lnTo>
                  <a:lnTo>
                    <a:pt x="50800" y="466725"/>
                  </a:lnTo>
                  <a:lnTo>
                    <a:pt x="47625" y="454025"/>
                  </a:lnTo>
                  <a:lnTo>
                    <a:pt x="47625" y="441325"/>
                  </a:lnTo>
                  <a:lnTo>
                    <a:pt x="44450" y="425450"/>
                  </a:lnTo>
                  <a:lnTo>
                    <a:pt x="31750" y="400050"/>
                  </a:lnTo>
                  <a:lnTo>
                    <a:pt x="28575" y="393700"/>
                  </a:lnTo>
                  <a:lnTo>
                    <a:pt x="28575" y="387350"/>
                  </a:lnTo>
                  <a:lnTo>
                    <a:pt x="22225" y="374650"/>
                  </a:lnTo>
                  <a:lnTo>
                    <a:pt x="15875" y="361950"/>
                  </a:lnTo>
                  <a:lnTo>
                    <a:pt x="12700" y="358775"/>
                  </a:lnTo>
                  <a:lnTo>
                    <a:pt x="9525" y="352425"/>
                  </a:lnTo>
                  <a:lnTo>
                    <a:pt x="9525" y="346075"/>
                  </a:lnTo>
                  <a:lnTo>
                    <a:pt x="12700" y="346075"/>
                  </a:lnTo>
                  <a:lnTo>
                    <a:pt x="15875" y="355600"/>
                  </a:lnTo>
                  <a:lnTo>
                    <a:pt x="15875" y="358775"/>
                  </a:lnTo>
                  <a:lnTo>
                    <a:pt x="22225" y="358775"/>
                  </a:lnTo>
                  <a:lnTo>
                    <a:pt x="15875" y="349250"/>
                  </a:lnTo>
                  <a:lnTo>
                    <a:pt x="12700" y="339725"/>
                  </a:lnTo>
                  <a:lnTo>
                    <a:pt x="12700" y="336550"/>
                  </a:lnTo>
                  <a:lnTo>
                    <a:pt x="19050" y="346075"/>
                  </a:lnTo>
                  <a:lnTo>
                    <a:pt x="25400" y="355600"/>
                  </a:lnTo>
                  <a:lnTo>
                    <a:pt x="28575" y="352425"/>
                  </a:lnTo>
                  <a:lnTo>
                    <a:pt x="31750" y="346075"/>
                  </a:lnTo>
                  <a:lnTo>
                    <a:pt x="28575" y="342900"/>
                  </a:lnTo>
                  <a:lnTo>
                    <a:pt x="25400" y="336550"/>
                  </a:lnTo>
                  <a:lnTo>
                    <a:pt x="19050" y="323850"/>
                  </a:lnTo>
                  <a:lnTo>
                    <a:pt x="12700" y="307975"/>
                  </a:lnTo>
                  <a:lnTo>
                    <a:pt x="12700" y="304800"/>
                  </a:lnTo>
                  <a:lnTo>
                    <a:pt x="12700" y="301625"/>
                  </a:lnTo>
                  <a:lnTo>
                    <a:pt x="15875" y="288925"/>
                  </a:lnTo>
                  <a:lnTo>
                    <a:pt x="19050" y="288925"/>
                  </a:lnTo>
                  <a:lnTo>
                    <a:pt x="19050" y="282575"/>
                  </a:lnTo>
                  <a:lnTo>
                    <a:pt x="19050" y="269875"/>
                  </a:lnTo>
                  <a:lnTo>
                    <a:pt x="22225" y="257175"/>
                  </a:lnTo>
                  <a:lnTo>
                    <a:pt x="28575" y="247650"/>
                  </a:lnTo>
                  <a:lnTo>
                    <a:pt x="28575" y="254000"/>
                  </a:lnTo>
                  <a:lnTo>
                    <a:pt x="28575" y="263525"/>
                  </a:lnTo>
                  <a:lnTo>
                    <a:pt x="34925" y="260350"/>
                  </a:lnTo>
                  <a:lnTo>
                    <a:pt x="34925" y="257175"/>
                  </a:lnTo>
                  <a:lnTo>
                    <a:pt x="38100" y="247650"/>
                  </a:lnTo>
                  <a:lnTo>
                    <a:pt x="44450" y="244475"/>
                  </a:lnTo>
                  <a:lnTo>
                    <a:pt x="66675" y="231775"/>
                  </a:lnTo>
                  <a:lnTo>
                    <a:pt x="79375" y="222250"/>
                  </a:lnTo>
                  <a:lnTo>
                    <a:pt x="92075" y="219075"/>
                  </a:lnTo>
                  <a:lnTo>
                    <a:pt x="101600" y="222250"/>
                  </a:lnTo>
                  <a:lnTo>
                    <a:pt x="111125" y="219075"/>
                  </a:lnTo>
                  <a:lnTo>
                    <a:pt x="117475" y="212725"/>
                  </a:lnTo>
                  <a:lnTo>
                    <a:pt x="123825" y="212725"/>
                  </a:lnTo>
                  <a:lnTo>
                    <a:pt x="130175" y="212725"/>
                  </a:lnTo>
                  <a:lnTo>
                    <a:pt x="133350" y="209550"/>
                  </a:lnTo>
                  <a:lnTo>
                    <a:pt x="149225" y="206375"/>
                  </a:lnTo>
                  <a:lnTo>
                    <a:pt x="174625" y="196850"/>
                  </a:lnTo>
                  <a:lnTo>
                    <a:pt x="190500" y="180975"/>
                  </a:lnTo>
                  <a:lnTo>
                    <a:pt x="196850" y="168275"/>
                  </a:lnTo>
                  <a:lnTo>
                    <a:pt x="200025" y="161925"/>
                  </a:lnTo>
                  <a:lnTo>
                    <a:pt x="203200" y="155575"/>
                  </a:lnTo>
                  <a:lnTo>
                    <a:pt x="203200" y="142875"/>
                  </a:lnTo>
                  <a:lnTo>
                    <a:pt x="212725" y="130175"/>
                  </a:lnTo>
                  <a:lnTo>
                    <a:pt x="222250" y="127000"/>
                  </a:lnTo>
                  <a:lnTo>
                    <a:pt x="222250" y="133350"/>
                  </a:lnTo>
                  <a:lnTo>
                    <a:pt x="225425" y="139700"/>
                  </a:lnTo>
                  <a:lnTo>
                    <a:pt x="231775" y="149225"/>
                  </a:lnTo>
                  <a:lnTo>
                    <a:pt x="238125" y="136525"/>
                  </a:lnTo>
                  <a:lnTo>
                    <a:pt x="231775" y="123825"/>
                  </a:lnTo>
                  <a:lnTo>
                    <a:pt x="238125" y="120650"/>
                  </a:lnTo>
                  <a:lnTo>
                    <a:pt x="238125" y="123825"/>
                  </a:lnTo>
                  <a:lnTo>
                    <a:pt x="247650" y="123825"/>
                  </a:lnTo>
                  <a:lnTo>
                    <a:pt x="250825" y="123825"/>
                  </a:lnTo>
                  <a:lnTo>
                    <a:pt x="260350" y="123825"/>
                  </a:lnTo>
                  <a:lnTo>
                    <a:pt x="254000" y="120650"/>
                  </a:lnTo>
                  <a:lnTo>
                    <a:pt x="250825" y="114300"/>
                  </a:lnTo>
                  <a:lnTo>
                    <a:pt x="250825" y="104775"/>
                  </a:lnTo>
                  <a:lnTo>
                    <a:pt x="263525" y="95250"/>
                  </a:lnTo>
                  <a:lnTo>
                    <a:pt x="266700" y="92075"/>
                  </a:lnTo>
                  <a:lnTo>
                    <a:pt x="266700" y="85725"/>
                  </a:lnTo>
                  <a:lnTo>
                    <a:pt x="273050" y="82550"/>
                  </a:lnTo>
                  <a:lnTo>
                    <a:pt x="279400" y="82550"/>
                  </a:lnTo>
                  <a:lnTo>
                    <a:pt x="282575" y="85725"/>
                  </a:lnTo>
                  <a:lnTo>
                    <a:pt x="285750" y="79375"/>
                  </a:lnTo>
                  <a:lnTo>
                    <a:pt x="288925" y="76200"/>
                  </a:lnTo>
                  <a:lnTo>
                    <a:pt x="295275" y="69850"/>
                  </a:lnTo>
                  <a:lnTo>
                    <a:pt x="304800" y="66675"/>
                  </a:lnTo>
                  <a:lnTo>
                    <a:pt x="314325" y="69850"/>
                  </a:lnTo>
                  <a:lnTo>
                    <a:pt x="320675" y="76200"/>
                  </a:lnTo>
                  <a:lnTo>
                    <a:pt x="336550" y="88900"/>
                  </a:lnTo>
                  <a:lnTo>
                    <a:pt x="339725" y="88900"/>
                  </a:lnTo>
                  <a:lnTo>
                    <a:pt x="342900" y="88900"/>
                  </a:lnTo>
                  <a:lnTo>
                    <a:pt x="352425" y="92075"/>
                  </a:lnTo>
                  <a:lnTo>
                    <a:pt x="361950" y="88900"/>
                  </a:lnTo>
                  <a:lnTo>
                    <a:pt x="358775" y="79375"/>
                  </a:lnTo>
                  <a:lnTo>
                    <a:pt x="358775" y="76200"/>
                  </a:lnTo>
                  <a:lnTo>
                    <a:pt x="368300" y="63500"/>
                  </a:lnTo>
                  <a:lnTo>
                    <a:pt x="371475" y="60325"/>
                  </a:lnTo>
                  <a:lnTo>
                    <a:pt x="374650" y="53975"/>
                  </a:lnTo>
                  <a:lnTo>
                    <a:pt x="374650" y="50800"/>
                  </a:lnTo>
                  <a:lnTo>
                    <a:pt x="374650" y="47625"/>
                  </a:lnTo>
                  <a:lnTo>
                    <a:pt x="377825" y="47625"/>
                  </a:lnTo>
                  <a:lnTo>
                    <a:pt x="381000" y="38100"/>
                  </a:lnTo>
                  <a:lnTo>
                    <a:pt x="393700" y="31750"/>
                  </a:lnTo>
                  <a:lnTo>
                    <a:pt x="400050" y="31750"/>
                  </a:lnTo>
                  <a:lnTo>
                    <a:pt x="409575" y="31750"/>
                  </a:lnTo>
                  <a:lnTo>
                    <a:pt x="412750" y="31750"/>
                  </a:lnTo>
                  <a:lnTo>
                    <a:pt x="419100" y="31750"/>
                  </a:lnTo>
                  <a:lnTo>
                    <a:pt x="428625" y="28575"/>
                  </a:lnTo>
                  <a:lnTo>
                    <a:pt x="428625" y="22225"/>
                  </a:lnTo>
                  <a:lnTo>
                    <a:pt x="428625" y="19050"/>
                  </a:lnTo>
                  <a:lnTo>
                    <a:pt x="422275" y="15875"/>
                  </a:lnTo>
                  <a:lnTo>
                    <a:pt x="419100" y="15875"/>
                  </a:lnTo>
                  <a:lnTo>
                    <a:pt x="412750" y="12700"/>
                  </a:lnTo>
                  <a:lnTo>
                    <a:pt x="409575" y="9525"/>
                  </a:lnTo>
                  <a:lnTo>
                    <a:pt x="412750" y="9525"/>
                  </a:lnTo>
                  <a:lnTo>
                    <a:pt x="422275" y="9525"/>
                  </a:lnTo>
                  <a:lnTo>
                    <a:pt x="428625" y="9525"/>
                  </a:lnTo>
                  <a:lnTo>
                    <a:pt x="438150" y="19050"/>
                  </a:lnTo>
                  <a:lnTo>
                    <a:pt x="444500" y="22225"/>
                  </a:lnTo>
                  <a:lnTo>
                    <a:pt x="460375" y="28575"/>
                  </a:lnTo>
                  <a:lnTo>
                    <a:pt x="476250" y="28575"/>
                  </a:lnTo>
                  <a:lnTo>
                    <a:pt x="479425" y="31750"/>
                  </a:lnTo>
                  <a:lnTo>
                    <a:pt x="485775" y="31750"/>
                  </a:lnTo>
                  <a:lnTo>
                    <a:pt x="495300" y="31750"/>
                  </a:lnTo>
                  <a:lnTo>
                    <a:pt x="501650" y="38100"/>
                  </a:lnTo>
                  <a:lnTo>
                    <a:pt x="508000" y="34925"/>
                  </a:lnTo>
                  <a:lnTo>
                    <a:pt x="504825" y="31750"/>
                  </a:lnTo>
                  <a:lnTo>
                    <a:pt x="508000" y="25400"/>
                  </a:lnTo>
                  <a:lnTo>
                    <a:pt x="514350" y="28575"/>
                  </a:lnTo>
                  <a:lnTo>
                    <a:pt x="520700" y="34925"/>
                  </a:lnTo>
                  <a:lnTo>
                    <a:pt x="517525" y="38100"/>
                  </a:lnTo>
                  <a:lnTo>
                    <a:pt x="511175" y="47625"/>
                  </a:lnTo>
                  <a:lnTo>
                    <a:pt x="511175" y="50800"/>
                  </a:lnTo>
                  <a:lnTo>
                    <a:pt x="508000" y="57150"/>
                  </a:lnTo>
                  <a:lnTo>
                    <a:pt x="508000" y="50800"/>
                  </a:lnTo>
                  <a:lnTo>
                    <a:pt x="501650" y="53975"/>
                  </a:lnTo>
                  <a:lnTo>
                    <a:pt x="498475" y="57150"/>
                  </a:lnTo>
                  <a:lnTo>
                    <a:pt x="498475" y="63500"/>
                  </a:lnTo>
                  <a:lnTo>
                    <a:pt x="498475" y="66675"/>
                  </a:lnTo>
                  <a:lnTo>
                    <a:pt x="498475" y="69850"/>
                  </a:lnTo>
                  <a:lnTo>
                    <a:pt x="488950" y="85725"/>
                  </a:lnTo>
                  <a:lnTo>
                    <a:pt x="488950" y="92075"/>
                  </a:lnTo>
                  <a:lnTo>
                    <a:pt x="498475" y="98425"/>
                  </a:lnTo>
                  <a:lnTo>
                    <a:pt x="508000" y="107950"/>
                  </a:lnTo>
                  <a:lnTo>
                    <a:pt x="520700" y="114300"/>
                  </a:lnTo>
                  <a:lnTo>
                    <a:pt x="533400" y="117475"/>
                  </a:lnTo>
                  <a:lnTo>
                    <a:pt x="536575" y="120650"/>
                  </a:lnTo>
                  <a:lnTo>
                    <a:pt x="539750" y="127000"/>
                  </a:lnTo>
                  <a:lnTo>
                    <a:pt x="549275" y="133350"/>
                  </a:lnTo>
                  <a:lnTo>
                    <a:pt x="561975" y="136525"/>
                  </a:lnTo>
                  <a:lnTo>
                    <a:pt x="568325" y="139700"/>
                  </a:lnTo>
                  <a:lnTo>
                    <a:pt x="571500" y="146050"/>
                  </a:lnTo>
                  <a:lnTo>
                    <a:pt x="584200" y="152400"/>
                  </a:lnTo>
                  <a:lnTo>
                    <a:pt x="603250" y="149225"/>
                  </a:lnTo>
                  <a:lnTo>
                    <a:pt x="609600" y="136525"/>
                  </a:lnTo>
                  <a:lnTo>
                    <a:pt x="615950" y="127000"/>
                  </a:lnTo>
                  <a:lnTo>
                    <a:pt x="619125" y="95250"/>
                  </a:lnTo>
                  <a:lnTo>
                    <a:pt x="622300" y="88900"/>
                  </a:lnTo>
                  <a:lnTo>
                    <a:pt x="619125" y="85725"/>
                  </a:lnTo>
                  <a:lnTo>
                    <a:pt x="619125" y="69850"/>
                  </a:lnTo>
                  <a:lnTo>
                    <a:pt x="619125" y="57150"/>
                  </a:lnTo>
                  <a:lnTo>
                    <a:pt x="622300" y="44450"/>
                  </a:lnTo>
                  <a:lnTo>
                    <a:pt x="622300" y="31750"/>
                  </a:lnTo>
                  <a:lnTo>
                    <a:pt x="628650" y="1905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2" name="Freeform 639">
              <a:extLst>
                <a:ext uri="{FF2B5EF4-FFF2-40B4-BE49-F238E27FC236}">
                  <a16:creationId xmlns:a16="http://schemas.microsoft.com/office/drawing/2014/main" id="{4C78DAB3-19E0-4E04-BC5F-45915A0A9C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0513" y="5129213"/>
              <a:ext cx="387350" cy="473075"/>
            </a:xfrm>
            <a:custGeom>
              <a:avLst/>
              <a:gdLst/>
              <a:ahLst/>
              <a:cxnLst/>
              <a:rect l="l" t="t" r="r" b="b"/>
              <a:pathLst>
                <a:path w="387350" h="473075">
                  <a:moveTo>
                    <a:pt x="3175" y="463550"/>
                  </a:moveTo>
                  <a:lnTo>
                    <a:pt x="6350" y="463550"/>
                  </a:lnTo>
                  <a:lnTo>
                    <a:pt x="6350" y="473075"/>
                  </a:lnTo>
                  <a:lnTo>
                    <a:pt x="0" y="473075"/>
                  </a:lnTo>
                  <a:close/>
                  <a:moveTo>
                    <a:pt x="44450" y="336550"/>
                  </a:moveTo>
                  <a:lnTo>
                    <a:pt x="47625" y="349250"/>
                  </a:lnTo>
                  <a:lnTo>
                    <a:pt x="34925" y="355600"/>
                  </a:lnTo>
                  <a:lnTo>
                    <a:pt x="34925" y="352425"/>
                  </a:lnTo>
                  <a:lnTo>
                    <a:pt x="38100" y="339725"/>
                  </a:lnTo>
                  <a:close/>
                  <a:moveTo>
                    <a:pt x="381000" y="244475"/>
                  </a:moveTo>
                  <a:lnTo>
                    <a:pt x="387350" y="244475"/>
                  </a:lnTo>
                  <a:lnTo>
                    <a:pt x="381000" y="247650"/>
                  </a:lnTo>
                  <a:lnTo>
                    <a:pt x="381000" y="250825"/>
                  </a:lnTo>
                  <a:lnTo>
                    <a:pt x="381000" y="257175"/>
                  </a:lnTo>
                  <a:lnTo>
                    <a:pt x="374650" y="254000"/>
                  </a:lnTo>
                  <a:lnTo>
                    <a:pt x="377825" y="250825"/>
                  </a:lnTo>
                  <a:lnTo>
                    <a:pt x="374650" y="247650"/>
                  </a:lnTo>
                  <a:close/>
                  <a:moveTo>
                    <a:pt x="146050" y="152400"/>
                  </a:moveTo>
                  <a:lnTo>
                    <a:pt x="146050" y="158750"/>
                  </a:lnTo>
                  <a:lnTo>
                    <a:pt x="152400" y="171450"/>
                  </a:lnTo>
                  <a:lnTo>
                    <a:pt x="155575" y="174625"/>
                  </a:lnTo>
                  <a:lnTo>
                    <a:pt x="161925" y="171450"/>
                  </a:lnTo>
                  <a:lnTo>
                    <a:pt x="168275" y="165100"/>
                  </a:lnTo>
                  <a:lnTo>
                    <a:pt x="171450" y="171450"/>
                  </a:lnTo>
                  <a:lnTo>
                    <a:pt x="177800" y="165100"/>
                  </a:lnTo>
                  <a:lnTo>
                    <a:pt x="180975" y="168275"/>
                  </a:lnTo>
                  <a:lnTo>
                    <a:pt x="180975" y="174625"/>
                  </a:lnTo>
                  <a:lnTo>
                    <a:pt x="177800" y="184150"/>
                  </a:lnTo>
                  <a:lnTo>
                    <a:pt x="174625" y="187325"/>
                  </a:lnTo>
                  <a:lnTo>
                    <a:pt x="174625" y="193675"/>
                  </a:lnTo>
                  <a:lnTo>
                    <a:pt x="161925" y="219075"/>
                  </a:lnTo>
                  <a:lnTo>
                    <a:pt x="146050" y="234950"/>
                  </a:lnTo>
                  <a:lnTo>
                    <a:pt x="155575" y="244475"/>
                  </a:lnTo>
                  <a:lnTo>
                    <a:pt x="152400" y="247650"/>
                  </a:lnTo>
                  <a:lnTo>
                    <a:pt x="142875" y="247650"/>
                  </a:lnTo>
                  <a:lnTo>
                    <a:pt x="136525" y="250825"/>
                  </a:lnTo>
                  <a:lnTo>
                    <a:pt x="130175" y="254000"/>
                  </a:lnTo>
                  <a:lnTo>
                    <a:pt x="120650" y="257175"/>
                  </a:lnTo>
                  <a:lnTo>
                    <a:pt x="120650" y="263525"/>
                  </a:lnTo>
                  <a:lnTo>
                    <a:pt x="114300" y="279400"/>
                  </a:lnTo>
                  <a:lnTo>
                    <a:pt x="107950" y="292100"/>
                  </a:lnTo>
                  <a:lnTo>
                    <a:pt x="98425" y="314325"/>
                  </a:lnTo>
                  <a:lnTo>
                    <a:pt x="82550" y="330200"/>
                  </a:lnTo>
                  <a:lnTo>
                    <a:pt x="76200" y="333375"/>
                  </a:lnTo>
                  <a:lnTo>
                    <a:pt x="63500" y="336550"/>
                  </a:lnTo>
                  <a:lnTo>
                    <a:pt x="53975" y="330200"/>
                  </a:lnTo>
                  <a:lnTo>
                    <a:pt x="44450" y="323850"/>
                  </a:lnTo>
                  <a:lnTo>
                    <a:pt x="34925" y="320675"/>
                  </a:lnTo>
                  <a:lnTo>
                    <a:pt x="28575" y="323850"/>
                  </a:lnTo>
                  <a:lnTo>
                    <a:pt x="19050" y="320675"/>
                  </a:lnTo>
                  <a:lnTo>
                    <a:pt x="15875" y="314325"/>
                  </a:lnTo>
                  <a:lnTo>
                    <a:pt x="19050" y="314325"/>
                  </a:lnTo>
                  <a:lnTo>
                    <a:pt x="19050" y="304800"/>
                  </a:lnTo>
                  <a:lnTo>
                    <a:pt x="19050" y="295275"/>
                  </a:lnTo>
                  <a:lnTo>
                    <a:pt x="25400" y="285750"/>
                  </a:lnTo>
                  <a:lnTo>
                    <a:pt x="28575" y="282575"/>
                  </a:lnTo>
                  <a:lnTo>
                    <a:pt x="31750" y="279400"/>
                  </a:lnTo>
                  <a:lnTo>
                    <a:pt x="38100" y="273050"/>
                  </a:lnTo>
                  <a:lnTo>
                    <a:pt x="47625" y="260350"/>
                  </a:lnTo>
                  <a:lnTo>
                    <a:pt x="53975" y="257175"/>
                  </a:lnTo>
                  <a:lnTo>
                    <a:pt x="76200" y="244475"/>
                  </a:lnTo>
                  <a:lnTo>
                    <a:pt x="82550" y="238125"/>
                  </a:lnTo>
                  <a:lnTo>
                    <a:pt x="88900" y="234950"/>
                  </a:lnTo>
                  <a:lnTo>
                    <a:pt x="101600" y="222250"/>
                  </a:lnTo>
                  <a:lnTo>
                    <a:pt x="107950" y="219075"/>
                  </a:lnTo>
                  <a:lnTo>
                    <a:pt x="114300" y="209550"/>
                  </a:lnTo>
                  <a:lnTo>
                    <a:pt x="120650" y="187325"/>
                  </a:lnTo>
                  <a:lnTo>
                    <a:pt x="127000" y="187325"/>
                  </a:lnTo>
                  <a:lnTo>
                    <a:pt x="130175" y="177800"/>
                  </a:lnTo>
                  <a:lnTo>
                    <a:pt x="133350" y="168275"/>
                  </a:lnTo>
                  <a:lnTo>
                    <a:pt x="136525" y="158750"/>
                  </a:lnTo>
                  <a:close/>
                  <a:moveTo>
                    <a:pt x="155575" y="0"/>
                  </a:moveTo>
                  <a:lnTo>
                    <a:pt x="171450" y="0"/>
                  </a:lnTo>
                  <a:lnTo>
                    <a:pt x="177800" y="6350"/>
                  </a:lnTo>
                  <a:lnTo>
                    <a:pt x="180975" y="9525"/>
                  </a:lnTo>
                  <a:lnTo>
                    <a:pt x="184150" y="15875"/>
                  </a:lnTo>
                  <a:lnTo>
                    <a:pt x="187325" y="19050"/>
                  </a:lnTo>
                  <a:lnTo>
                    <a:pt x="184150" y="22225"/>
                  </a:lnTo>
                  <a:lnTo>
                    <a:pt x="184150" y="25400"/>
                  </a:lnTo>
                  <a:lnTo>
                    <a:pt x="190500" y="38100"/>
                  </a:lnTo>
                  <a:lnTo>
                    <a:pt x="190500" y="47625"/>
                  </a:lnTo>
                  <a:lnTo>
                    <a:pt x="200025" y="53975"/>
                  </a:lnTo>
                  <a:lnTo>
                    <a:pt x="203200" y="60325"/>
                  </a:lnTo>
                  <a:lnTo>
                    <a:pt x="206375" y="60325"/>
                  </a:lnTo>
                  <a:lnTo>
                    <a:pt x="209550" y="60325"/>
                  </a:lnTo>
                  <a:lnTo>
                    <a:pt x="206375" y="50800"/>
                  </a:lnTo>
                  <a:lnTo>
                    <a:pt x="203200" y="41275"/>
                  </a:lnTo>
                  <a:lnTo>
                    <a:pt x="209550" y="44450"/>
                  </a:lnTo>
                  <a:lnTo>
                    <a:pt x="215900" y="50800"/>
                  </a:lnTo>
                  <a:lnTo>
                    <a:pt x="215900" y="63500"/>
                  </a:lnTo>
                  <a:lnTo>
                    <a:pt x="219075" y="69850"/>
                  </a:lnTo>
                  <a:lnTo>
                    <a:pt x="228600" y="76200"/>
                  </a:lnTo>
                  <a:lnTo>
                    <a:pt x="241300" y="82550"/>
                  </a:lnTo>
                  <a:lnTo>
                    <a:pt x="250825" y="79375"/>
                  </a:lnTo>
                  <a:lnTo>
                    <a:pt x="254000" y="73025"/>
                  </a:lnTo>
                  <a:lnTo>
                    <a:pt x="260350" y="69850"/>
                  </a:lnTo>
                  <a:lnTo>
                    <a:pt x="269875" y="73025"/>
                  </a:lnTo>
                  <a:lnTo>
                    <a:pt x="269875" y="85725"/>
                  </a:lnTo>
                  <a:lnTo>
                    <a:pt x="263525" y="101600"/>
                  </a:lnTo>
                  <a:lnTo>
                    <a:pt x="257175" y="111125"/>
                  </a:lnTo>
                  <a:lnTo>
                    <a:pt x="254000" y="111125"/>
                  </a:lnTo>
                  <a:lnTo>
                    <a:pt x="241300" y="114300"/>
                  </a:lnTo>
                  <a:lnTo>
                    <a:pt x="238125" y="130175"/>
                  </a:lnTo>
                  <a:lnTo>
                    <a:pt x="241300" y="127000"/>
                  </a:lnTo>
                  <a:lnTo>
                    <a:pt x="241300" y="133350"/>
                  </a:lnTo>
                  <a:lnTo>
                    <a:pt x="234950" y="146050"/>
                  </a:lnTo>
                  <a:lnTo>
                    <a:pt x="228600" y="152400"/>
                  </a:lnTo>
                  <a:lnTo>
                    <a:pt x="228600" y="155575"/>
                  </a:lnTo>
                  <a:lnTo>
                    <a:pt x="219075" y="165100"/>
                  </a:lnTo>
                  <a:lnTo>
                    <a:pt x="203200" y="184150"/>
                  </a:lnTo>
                  <a:lnTo>
                    <a:pt x="200025" y="180975"/>
                  </a:lnTo>
                  <a:lnTo>
                    <a:pt x="193675" y="177800"/>
                  </a:lnTo>
                  <a:lnTo>
                    <a:pt x="187325" y="174625"/>
                  </a:lnTo>
                  <a:lnTo>
                    <a:pt x="190500" y="168275"/>
                  </a:lnTo>
                  <a:lnTo>
                    <a:pt x="200025" y="155575"/>
                  </a:lnTo>
                  <a:lnTo>
                    <a:pt x="200025" y="139700"/>
                  </a:lnTo>
                  <a:lnTo>
                    <a:pt x="190500" y="133350"/>
                  </a:lnTo>
                  <a:lnTo>
                    <a:pt x="177800" y="127000"/>
                  </a:lnTo>
                  <a:lnTo>
                    <a:pt x="168275" y="120650"/>
                  </a:lnTo>
                  <a:lnTo>
                    <a:pt x="174625" y="111125"/>
                  </a:lnTo>
                  <a:lnTo>
                    <a:pt x="180975" y="107950"/>
                  </a:lnTo>
                  <a:lnTo>
                    <a:pt x="184150" y="107950"/>
                  </a:lnTo>
                  <a:lnTo>
                    <a:pt x="190500" y="95250"/>
                  </a:lnTo>
                  <a:lnTo>
                    <a:pt x="193675" y="82550"/>
                  </a:lnTo>
                  <a:lnTo>
                    <a:pt x="190500" y="66675"/>
                  </a:lnTo>
                  <a:lnTo>
                    <a:pt x="190500" y="57150"/>
                  </a:lnTo>
                  <a:lnTo>
                    <a:pt x="187325" y="53975"/>
                  </a:lnTo>
                  <a:lnTo>
                    <a:pt x="184150" y="50800"/>
                  </a:lnTo>
                  <a:lnTo>
                    <a:pt x="180975" y="44450"/>
                  </a:lnTo>
                  <a:lnTo>
                    <a:pt x="180975" y="41275"/>
                  </a:lnTo>
                  <a:lnTo>
                    <a:pt x="174625" y="34925"/>
                  </a:lnTo>
                  <a:lnTo>
                    <a:pt x="168275" y="28575"/>
                  </a:lnTo>
                  <a:lnTo>
                    <a:pt x="161925" y="19050"/>
                  </a:lnTo>
                  <a:lnTo>
                    <a:pt x="158750" y="952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3" name="Freeform 633">
              <a:extLst>
                <a:ext uri="{FF2B5EF4-FFF2-40B4-BE49-F238E27FC236}">
                  <a16:creationId xmlns:a16="http://schemas.microsoft.com/office/drawing/2014/main" id="{2D277762-F992-4C31-8CA3-8D4D53A928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4767263"/>
              <a:ext cx="63500" cy="53975"/>
            </a:xfrm>
            <a:custGeom>
              <a:avLst/>
              <a:gdLst/>
              <a:ahLst/>
              <a:cxnLst>
                <a:cxn ang="0">
                  <a:pos x="38" y="30"/>
                </a:cxn>
                <a:cxn ang="0">
                  <a:pos x="14" y="10"/>
                </a:cxn>
                <a:cxn ang="0">
                  <a:pos x="6" y="4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6" y="12"/>
                </a:cxn>
                <a:cxn ang="0">
                  <a:pos x="16" y="20"/>
                </a:cxn>
                <a:cxn ang="0">
                  <a:pos x="18" y="24"/>
                </a:cxn>
                <a:cxn ang="0">
                  <a:pos x="28" y="30"/>
                </a:cxn>
                <a:cxn ang="0">
                  <a:pos x="34" y="32"/>
                </a:cxn>
                <a:cxn ang="0">
                  <a:pos x="40" y="34"/>
                </a:cxn>
                <a:cxn ang="0">
                  <a:pos x="38" y="30"/>
                </a:cxn>
              </a:cxnLst>
              <a:rect l="0" t="0" r="r" b="b"/>
              <a:pathLst>
                <a:path w="40" h="34">
                  <a:moveTo>
                    <a:pt x="38" y="30"/>
                  </a:moveTo>
                  <a:lnTo>
                    <a:pt x="14" y="10"/>
                  </a:lnTo>
                  <a:lnTo>
                    <a:pt x="6" y="4"/>
                  </a:lnTo>
                  <a:lnTo>
                    <a:pt x="0" y="0"/>
                  </a:lnTo>
                  <a:lnTo>
                    <a:pt x="0" y="2"/>
                  </a:lnTo>
                  <a:lnTo>
                    <a:pt x="6" y="12"/>
                  </a:lnTo>
                  <a:lnTo>
                    <a:pt x="16" y="20"/>
                  </a:lnTo>
                  <a:lnTo>
                    <a:pt x="18" y="24"/>
                  </a:lnTo>
                  <a:lnTo>
                    <a:pt x="28" y="30"/>
                  </a:lnTo>
                  <a:lnTo>
                    <a:pt x="34" y="32"/>
                  </a:lnTo>
                  <a:lnTo>
                    <a:pt x="40" y="34"/>
                  </a:lnTo>
                  <a:lnTo>
                    <a:pt x="38" y="3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4" name="Freeform 563">
              <a:extLst>
                <a:ext uri="{FF2B5EF4-FFF2-40B4-BE49-F238E27FC236}">
                  <a16:creationId xmlns:a16="http://schemas.microsoft.com/office/drawing/2014/main" id="{770C3F8D-C22D-4C57-9B86-7CB1C22EB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69213" y="4446588"/>
              <a:ext cx="165100" cy="136525"/>
            </a:xfrm>
            <a:custGeom>
              <a:avLst/>
              <a:gdLst/>
              <a:ahLst/>
              <a:cxnLst/>
              <a:rect l="l" t="t" r="r" b="b"/>
              <a:pathLst>
                <a:path w="165100" h="136525">
                  <a:moveTo>
                    <a:pt x="114300" y="130175"/>
                  </a:moveTo>
                  <a:lnTo>
                    <a:pt x="123825" y="133350"/>
                  </a:lnTo>
                  <a:lnTo>
                    <a:pt x="123825" y="136525"/>
                  </a:lnTo>
                  <a:lnTo>
                    <a:pt x="114300" y="133350"/>
                  </a:lnTo>
                  <a:close/>
                  <a:moveTo>
                    <a:pt x="142875" y="101600"/>
                  </a:moveTo>
                  <a:lnTo>
                    <a:pt x="149225" y="107950"/>
                  </a:lnTo>
                  <a:lnTo>
                    <a:pt x="155575" y="107950"/>
                  </a:lnTo>
                  <a:lnTo>
                    <a:pt x="158750" y="107950"/>
                  </a:lnTo>
                  <a:lnTo>
                    <a:pt x="161925" y="114300"/>
                  </a:lnTo>
                  <a:lnTo>
                    <a:pt x="165100" y="117475"/>
                  </a:lnTo>
                  <a:lnTo>
                    <a:pt x="155575" y="114300"/>
                  </a:lnTo>
                  <a:lnTo>
                    <a:pt x="142875" y="107950"/>
                  </a:lnTo>
                  <a:close/>
                  <a:moveTo>
                    <a:pt x="107950" y="82550"/>
                  </a:moveTo>
                  <a:lnTo>
                    <a:pt x="117475" y="85725"/>
                  </a:lnTo>
                  <a:lnTo>
                    <a:pt x="123825" y="85725"/>
                  </a:lnTo>
                  <a:lnTo>
                    <a:pt x="130175" y="92075"/>
                  </a:lnTo>
                  <a:lnTo>
                    <a:pt x="130175" y="95250"/>
                  </a:lnTo>
                  <a:lnTo>
                    <a:pt x="120650" y="95250"/>
                  </a:lnTo>
                  <a:lnTo>
                    <a:pt x="111125" y="92075"/>
                  </a:lnTo>
                  <a:lnTo>
                    <a:pt x="104775" y="88900"/>
                  </a:lnTo>
                  <a:close/>
                  <a:moveTo>
                    <a:pt x="69850" y="66675"/>
                  </a:moveTo>
                  <a:lnTo>
                    <a:pt x="73025" y="69850"/>
                  </a:lnTo>
                  <a:lnTo>
                    <a:pt x="66675" y="69850"/>
                  </a:lnTo>
                  <a:close/>
                  <a:moveTo>
                    <a:pt x="130175" y="60325"/>
                  </a:moveTo>
                  <a:lnTo>
                    <a:pt x="133350" y="66675"/>
                  </a:lnTo>
                  <a:lnTo>
                    <a:pt x="139700" y="76200"/>
                  </a:lnTo>
                  <a:lnTo>
                    <a:pt x="142875" y="82550"/>
                  </a:lnTo>
                  <a:lnTo>
                    <a:pt x="142875" y="88900"/>
                  </a:lnTo>
                  <a:lnTo>
                    <a:pt x="139700" y="85725"/>
                  </a:lnTo>
                  <a:lnTo>
                    <a:pt x="136525" y="82550"/>
                  </a:lnTo>
                  <a:lnTo>
                    <a:pt x="130175" y="79375"/>
                  </a:lnTo>
                  <a:lnTo>
                    <a:pt x="130175" y="73025"/>
                  </a:lnTo>
                  <a:lnTo>
                    <a:pt x="127000" y="69850"/>
                  </a:lnTo>
                  <a:lnTo>
                    <a:pt x="127000" y="66675"/>
                  </a:lnTo>
                  <a:lnTo>
                    <a:pt x="130175" y="66675"/>
                  </a:lnTo>
                  <a:close/>
                  <a:moveTo>
                    <a:pt x="60325" y="53975"/>
                  </a:moveTo>
                  <a:lnTo>
                    <a:pt x="66675" y="63500"/>
                  </a:lnTo>
                  <a:lnTo>
                    <a:pt x="66675" y="66675"/>
                  </a:lnTo>
                  <a:lnTo>
                    <a:pt x="63500" y="66675"/>
                  </a:lnTo>
                  <a:lnTo>
                    <a:pt x="53975" y="60325"/>
                  </a:lnTo>
                  <a:close/>
                  <a:moveTo>
                    <a:pt x="79375" y="44450"/>
                  </a:moveTo>
                  <a:lnTo>
                    <a:pt x="101600" y="53975"/>
                  </a:lnTo>
                  <a:lnTo>
                    <a:pt x="107950" y="60325"/>
                  </a:lnTo>
                  <a:lnTo>
                    <a:pt x="111125" y="60325"/>
                  </a:lnTo>
                  <a:lnTo>
                    <a:pt x="111125" y="66675"/>
                  </a:lnTo>
                  <a:lnTo>
                    <a:pt x="104775" y="63500"/>
                  </a:lnTo>
                  <a:lnTo>
                    <a:pt x="92075" y="57150"/>
                  </a:lnTo>
                  <a:lnTo>
                    <a:pt x="85725" y="50800"/>
                  </a:lnTo>
                  <a:close/>
                  <a:moveTo>
                    <a:pt x="38100" y="25400"/>
                  </a:moveTo>
                  <a:lnTo>
                    <a:pt x="50800" y="31750"/>
                  </a:lnTo>
                  <a:lnTo>
                    <a:pt x="57150" y="38100"/>
                  </a:lnTo>
                  <a:lnTo>
                    <a:pt x="60325" y="41275"/>
                  </a:lnTo>
                  <a:lnTo>
                    <a:pt x="44450" y="34925"/>
                  </a:lnTo>
                  <a:close/>
                  <a:moveTo>
                    <a:pt x="0" y="0"/>
                  </a:moveTo>
                  <a:lnTo>
                    <a:pt x="9525" y="6350"/>
                  </a:lnTo>
                  <a:lnTo>
                    <a:pt x="19050" y="12700"/>
                  </a:lnTo>
                  <a:lnTo>
                    <a:pt x="25400" y="22225"/>
                  </a:lnTo>
                  <a:lnTo>
                    <a:pt x="22225" y="28575"/>
                  </a:lnTo>
                  <a:lnTo>
                    <a:pt x="15875" y="28575"/>
                  </a:lnTo>
                  <a:lnTo>
                    <a:pt x="9525" y="22225"/>
                  </a:lnTo>
                  <a:lnTo>
                    <a:pt x="0" y="952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5" name="Freeform 623">
              <a:extLst>
                <a:ext uri="{FF2B5EF4-FFF2-40B4-BE49-F238E27FC236}">
                  <a16:creationId xmlns:a16="http://schemas.microsoft.com/office/drawing/2014/main" id="{7B95C808-FA99-4735-BE04-58E4B4A6AF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4988" y="4621213"/>
              <a:ext cx="244475" cy="174625"/>
            </a:xfrm>
            <a:custGeom>
              <a:avLst/>
              <a:gdLst/>
              <a:ahLst/>
              <a:cxnLst/>
              <a:rect l="l" t="t" r="r" b="b"/>
              <a:pathLst>
                <a:path w="244475" h="174625">
                  <a:moveTo>
                    <a:pt x="161925" y="171450"/>
                  </a:moveTo>
                  <a:lnTo>
                    <a:pt x="165100" y="171450"/>
                  </a:lnTo>
                  <a:lnTo>
                    <a:pt x="165100" y="174625"/>
                  </a:lnTo>
                  <a:close/>
                  <a:moveTo>
                    <a:pt x="15875" y="123825"/>
                  </a:moveTo>
                  <a:lnTo>
                    <a:pt x="19050" y="123825"/>
                  </a:lnTo>
                  <a:lnTo>
                    <a:pt x="25400" y="123825"/>
                  </a:lnTo>
                  <a:lnTo>
                    <a:pt x="19050" y="127000"/>
                  </a:lnTo>
                  <a:close/>
                  <a:moveTo>
                    <a:pt x="22225" y="85725"/>
                  </a:moveTo>
                  <a:lnTo>
                    <a:pt x="28575" y="92075"/>
                  </a:lnTo>
                  <a:lnTo>
                    <a:pt x="31750" y="101600"/>
                  </a:lnTo>
                  <a:lnTo>
                    <a:pt x="25400" y="101600"/>
                  </a:lnTo>
                  <a:lnTo>
                    <a:pt x="15875" y="104775"/>
                  </a:lnTo>
                  <a:lnTo>
                    <a:pt x="3175" y="101600"/>
                  </a:lnTo>
                  <a:lnTo>
                    <a:pt x="0" y="98425"/>
                  </a:lnTo>
                  <a:lnTo>
                    <a:pt x="6350" y="88900"/>
                  </a:lnTo>
                  <a:close/>
                  <a:moveTo>
                    <a:pt x="60325" y="60325"/>
                  </a:moveTo>
                  <a:lnTo>
                    <a:pt x="53975" y="63500"/>
                  </a:lnTo>
                  <a:lnTo>
                    <a:pt x="53975" y="66675"/>
                  </a:lnTo>
                  <a:lnTo>
                    <a:pt x="53975" y="73025"/>
                  </a:lnTo>
                  <a:lnTo>
                    <a:pt x="41275" y="73025"/>
                  </a:lnTo>
                  <a:lnTo>
                    <a:pt x="34925" y="76200"/>
                  </a:lnTo>
                  <a:lnTo>
                    <a:pt x="28575" y="76200"/>
                  </a:lnTo>
                  <a:lnTo>
                    <a:pt x="25400" y="73025"/>
                  </a:lnTo>
                  <a:lnTo>
                    <a:pt x="31750" y="66675"/>
                  </a:lnTo>
                  <a:close/>
                  <a:moveTo>
                    <a:pt x="231775" y="6350"/>
                  </a:moveTo>
                  <a:lnTo>
                    <a:pt x="234950" y="6350"/>
                  </a:lnTo>
                  <a:lnTo>
                    <a:pt x="244475" y="9525"/>
                  </a:lnTo>
                  <a:lnTo>
                    <a:pt x="238125" y="12700"/>
                  </a:lnTo>
                  <a:close/>
                  <a:moveTo>
                    <a:pt x="215900" y="0"/>
                  </a:moveTo>
                  <a:lnTo>
                    <a:pt x="228600" y="0"/>
                  </a:lnTo>
                  <a:lnTo>
                    <a:pt x="228600" y="3175"/>
                  </a:lnTo>
                  <a:lnTo>
                    <a:pt x="228600" y="6350"/>
                  </a:lnTo>
                  <a:lnTo>
                    <a:pt x="225425" y="6350"/>
                  </a:lnTo>
                  <a:lnTo>
                    <a:pt x="222250" y="635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6" name="Rectangle 624">
              <a:extLst>
                <a:ext uri="{FF2B5EF4-FFF2-40B4-BE49-F238E27FC236}">
                  <a16:creationId xmlns:a16="http://schemas.microsoft.com/office/drawing/2014/main" id="{9ACC118B-E1AB-4B97-9855-E36ABED5C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23213" y="4646612"/>
              <a:ext cx="60325" cy="146050"/>
            </a:xfrm>
            <a:custGeom>
              <a:avLst/>
              <a:gdLst/>
              <a:ahLst/>
              <a:cxnLst/>
              <a:rect l="l" t="t" r="r" b="b"/>
              <a:pathLst>
                <a:path w="60325" h="146050">
                  <a:moveTo>
                    <a:pt x="15875" y="136525"/>
                  </a:moveTo>
                  <a:lnTo>
                    <a:pt x="19050" y="142875"/>
                  </a:lnTo>
                  <a:lnTo>
                    <a:pt x="19050" y="146050"/>
                  </a:lnTo>
                  <a:lnTo>
                    <a:pt x="12700" y="139700"/>
                  </a:lnTo>
                  <a:close/>
                  <a:moveTo>
                    <a:pt x="53975" y="88900"/>
                  </a:moveTo>
                  <a:lnTo>
                    <a:pt x="57150" y="92075"/>
                  </a:lnTo>
                  <a:lnTo>
                    <a:pt x="60325" y="95250"/>
                  </a:lnTo>
                  <a:lnTo>
                    <a:pt x="57150" y="95250"/>
                  </a:lnTo>
                  <a:lnTo>
                    <a:pt x="53975" y="92075"/>
                  </a:lnTo>
                  <a:close/>
                  <a:moveTo>
                    <a:pt x="38100" y="63500"/>
                  </a:moveTo>
                  <a:lnTo>
                    <a:pt x="44450" y="66675"/>
                  </a:lnTo>
                  <a:lnTo>
                    <a:pt x="41275" y="69850"/>
                  </a:lnTo>
                  <a:lnTo>
                    <a:pt x="34925" y="69850"/>
                  </a:lnTo>
                  <a:close/>
                  <a:moveTo>
                    <a:pt x="31750" y="34925"/>
                  </a:moveTo>
                  <a:lnTo>
                    <a:pt x="38100" y="34925"/>
                  </a:lnTo>
                  <a:lnTo>
                    <a:pt x="38100" y="38100"/>
                  </a:lnTo>
                  <a:lnTo>
                    <a:pt x="31750" y="38100"/>
                  </a:lnTo>
                  <a:close/>
                  <a:moveTo>
                    <a:pt x="12700" y="28575"/>
                  </a:moveTo>
                  <a:lnTo>
                    <a:pt x="22225" y="31750"/>
                  </a:lnTo>
                  <a:lnTo>
                    <a:pt x="25400" y="38100"/>
                  </a:lnTo>
                  <a:lnTo>
                    <a:pt x="28575" y="41275"/>
                  </a:lnTo>
                  <a:lnTo>
                    <a:pt x="19050" y="41275"/>
                  </a:lnTo>
                  <a:close/>
                  <a:moveTo>
                    <a:pt x="3175" y="0"/>
                  </a:moveTo>
                  <a:lnTo>
                    <a:pt x="6350" y="6350"/>
                  </a:lnTo>
                  <a:lnTo>
                    <a:pt x="6350" y="12700"/>
                  </a:lnTo>
                  <a:lnTo>
                    <a:pt x="9525" y="9525"/>
                  </a:lnTo>
                  <a:lnTo>
                    <a:pt x="12700" y="6350"/>
                  </a:lnTo>
                  <a:lnTo>
                    <a:pt x="15875" y="15875"/>
                  </a:lnTo>
                  <a:lnTo>
                    <a:pt x="12700" y="19050"/>
                  </a:lnTo>
                  <a:lnTo>
                    <a:pt x="9525" y="22225"/>
                  </a:lnTo>
                  <a:lnTo>
                    <a:pt x="3175" y="15875"/>
                  </a:lnTo>
                  <a:lnTo>
                    <a:pt x="0" y="635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7" name="Freeform 474">
              <a:extLst>
                <a:ext uri="{FF2B5EF4-FFF2-40B4-BE49-F238E27FC236}">
                  <a16:creationId xmlns:a16="http://schemas.microsoft.com/office/drawing/2014/main" id="{E857D98B-DA78-447F-84BF-524B5CAA63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0763" y="4370388"/>
              <a:ext cx="263525" cy="187325"/>
            </a:xfrm>
            <a:custGeom>
              <a:avLst/>
              <a:gdLst/>
              <a:ahLst/>
              <a:cxnLst/>
              <a:rect l="l" t="t" r="r" b="b"/>
              <a:pathLst>
                <a:path w="263525" h="187325">
                  <a:moveTo>
                    <a:pt x="212725" y="171450"/>
                  </a:moveTo>
                  <a:lnTo>
                    <a:pt x="222250" y="174625"/>
                  </a:lnTo>
                  <a:lnTo>
                    <a:pt x="225425" y="177800"/>
                  </a:lnTo>
                  <a:lnTo>
                    <a:pt x="219075" y="177800"/>
                  </a:lnTo>
                  <a:lnTo>
                    <a:pt x="215900" y="174625"/>
                  </a:lnTo>
                  <a:close/>
                  <a:moveTo>
                    <a:pt x="206375" y="158750"/>
                  </a:moveTo>
                  <a:lnTo>
                    <a:pt x="212725" y="161925"/>
                  </a:lnTo>
                  <a:lnTo>
                    <a:pt x="215900" y="165100"/>
                  </a:lnTo>
                  <a:lnTo>
                    <a:pt x="212725" y="168275"/>
                  </a:lnTo>
                  <a:lnTo>
                    <a:pt x="206375" y="165100"/>
                  </a:lnTo>
                  <a:lnTo>
                    <a:pt x="206375" y="161925"/>
                  </a:lnTo>
                  <a:close/>
                  <a:moveTo>
                    <a:pt x="244475" y="47625"/>
                  </a:moveTo>
                  <a:lnTo>
                    <a:pt x="247650" y="63500"/>
                  </a:lnTo>
                  <a:lnTo>
                    <a:pt x="241300" y="73025"/>
                  </a:lnTo>
                  <a:lnTo>
                    <a:pt x="234950" y="79375"/>
                  </a:lnTo>
                  <a:lnTo>
                    <a:pt x="215900" y="88900"/>
                  </a:lnTo>
                  <a:lnTo>
                    <a:pt x="206375" y="92075"/>
                  </a:lnTo>
                  <a:lnTo>
                    <a:pt x="196850" y="95250"/>
                  </a:lnTo>
                  <a:lnTo>
                    <a:pt x="187325" y="92075"/>
                  </a:lnTo>
                  <a:lnTo>
                    <a:pt x="177800" y="88900"/>
                  </a:lnTo>
                  <a:lnTo>
                    <a:pt x="168275" y="85725"/>
                  </a:lnTo>
                  <a:lnTo>
                    <a:pt x="158750" y="79375"/>
                  </a:lnTo>
                  <a:lnTo>
                    <a:pt x="174625" y="76200"/>
                  </a:lnTo>
                  <a:lnTo>
                    <a:pt x="193675" y="76200"/>
                  </a:lnTo>
                  <a:lnTo>
                    <a:pt x="200025" y="76200"/>
                  </a:lnTo>
                  <a:lnTo>
                    <a:pt x="209550" y="76200"/>
                  </a:lnTo>
                  <a:lnTo>
                    <a:pt x="215900" y="76200"/>
                  </a:lnTo>
                  <a:lnTo>
                    <a:pt x="219075" y="69850"/>
                  </a:lnTo>
                  <a:lnTo>
                    <a:pt x="222250" y="66675"/>
                  </a:lnTo>
                  <a:lnTo>
                    <a:pt x="228600" y="57150"/>
                  </a:lnTo>
                  <a:close/>
                  <a:moveTo>
                    <a:pt x="212725" y="12700"/>
                  </a:moveTo>
                  <a:lnTo>
                    <a:pt x="219075" y="15875"/>
                  </a:lnTo>
                  <a:lnTo>
                    <a:pt x="225425" y="19050"/>
                  </a:lnTo>
                  <a:lnTo>
                    <a:pt x="234950" y="25400"/>
                  </a:lnTo>
                  <a:lnTo>
                    <a:pt x="254000" y="41275"/>
                  </a:lnTo>
                  <a:lnTo>
                    <a:pt x="260350" y="44450"/>
                  </a:lnTo>
                  <a:lnTo>
                    <a:pt x="263525" y="50800"/>
                  </a:lnTo>
                  <a:lnTo>
                    <a:pt x="260350" y="57150"/>
                  </a:lnTo>
                  <a:lnTo>
                    <a:pt x="260350" y="63500"/>
                  </a:lnTo>
                  <a:lnTo>
                    <a:pt x="254000" y="60325"/>
                  </a:lnTo>
                  <a:lnTo>
                    <a:pt x="254000" y="50800"/>
                  </a:lnTo>
                  <a:lnTo>
                    <a:pt x="247650" y="38100"/>
                  </a:lnTo>
                  <a:lnTo>
                    <a:pt x="225425" y="22225"/>
                  </a:lnTo>
                  <a:lnTo>
                    <a:pt x="215900" y="19050"/>
                  </a:lnTo>
                  <a:close/>
                  <a:moveTo>
                    <a:pt x="3175" y="12700"/>
                  </a:moveTo>
                  <a:lnTo>
                    <a:pt x="9525" y="15875"/>
                  </a:lnTo>
                  <a:lnTo>
                    <a:pt x="25400" y="22225"/>
                  </a:lnTo>
                  <a:lnTo>
                    <a:pt x="50800" y="31750"/>
                  </a:lnTo>
                  <a:lnTo>
                    <a:pt x="76200" y="41275"/>
                  </a:lnTo>
                  <a:lnTo>
                    <a:pt x="85725" y="47625"/>
                  </a:lnTo>
                  <a:lnTo>
                    <a:pt x="92075" y="50800"/>
                  </a:lnTo>
                  <a:lnTo>
                    <a:pt x="95250" y="53975"/>
                  </a:lnTo>
                  <a:lnTo>
                    <a:pt x="104775" y="60325"/>
                  </a:lnTo>
                  <a:lnTo>
                    <a:pt x="104775" y="66675"/>
                  </a:lnTo>
                  <a:lnTo>
                    <a:pt x="104775" y="76200"/>
                  </a:lnTo>
                  <a:lnTo>
                    <a:pt x="111125" y="76200"/>
                  </a:lnTo>
                  <a:lnTo>
                    <a:pt x="123825" y="82550"/>
                  </a:lnTo>
                  <a:lnTo>
                    <a:pt x="136525" y="85725"/>
                  </a:lnTo>
                  <a:lnTo>
                    <a:pt x="139700" y="85725"/>
                  </a:lnTo>
                  <a:lnTo>
                    <a:pt x="142875" y="88900"/>
                  </a:lnTo>
                  <a:lnTo>
                    <a:pt x="149225" y="98425"/>
                  </a:lnTo>
                  <a:lnTo>
                    <a:pt x="146050" y="101600"/>
                  </a:lnTo>
                  <a:lnTo>
                    <a:pt x="142875" y="104775"/>
                  </a:lnTo>
                  <a:lnTo>
                    <a:pt x="136525" y="104775"/>
                  </a:lnTo>
                  <a:lnTo>
                    <a:pt x="133350" y="101600"/>
                  </a:lnTo>
                  <a:lnTo>
                    <a:pt x="130175" y="104775"/>
                  </a:lnTo>
                  <a:lnTo>
                    <a:pt x="136525" y="117475"/>
                  </a:lnTo>
                  <a:lnTo>
                    <a:pt x="146050" y="127000"/>
                  </a:lnTo>
                  <a:lnTo>
                    <a:pt x="149225" y="130175"/>
                  </a:lnTo>
                  <a:lnTo>
                    <a:pt x="155575" y="133350"/>
                  </a:lnTo>
                  <a:lnTo>
                    <a:pt x="155575" y="139700"/>
                  </a:lnTo>
                  <a:lnTo>
                    <a:pt x="158750" y="142875"/>
                  </a:lnTo>
                  <a:lnTo>
                    <a:pt x="165100" y="152400"/>
                  </a:lnTo>
                  <a:lnTo>
                    <a:pt x="180975" y="161925"/>
                  </a:lnTo>
                  <a:lnTo>
                    <a:pt x="190500" y="165100"/>
                  </a:lnTo>
                  <a:lnTo>
                    <a:pt x="193675" y="165100"/>
                  </a:lnTo>
                  <a:lnTo>
                    <a:pt x="193675" y="168275"/>
                  </a:lnTo>
                  <a:lnTo>
                    <a:pt x="193675" y="174625"/>
                  </a:lnTo>
                  <a:lnTo>
                    <a:pt x="200025" y="177800"/>
                  </a:lnTo>
                  <a:lnTo>
                    <a:pt x="209550" y="180975"/>
                  </a:lnTo>
                  <a:lnTo>
                    <a:pt x="209550" y="184150"/>
                  </a:lnTo>
                  <a:lnTo>
                    <a:pt x="209550" y="187325"/>
                  </a:lnTo>
                  <a:lnTo>
                    <a:pt x="200025" y="187325"/>
                  </a:lnTo>
                  <a:lnTo>
                    <a:pt x="193675" y="187325"/>
                  </a:lnTo>
                  <a:lnTo>
                    <a:pt x="196850" y="184150"/>
                  </a:lnTo>
                  <a:lnTo>
                    <a:pt x="174625" y="177800"/>
                  </a:lnTo>
                  <a:lnTo>
                    <a:pt x="158750" y="177800"/>
                  </a:lnTo>
                  <a:lnTo>
                    <a:pt x="146050" y="174625"/>
                  </a:lnTo>
                  <a:lnTo>
                    <a:pt x="133350" y="165100"/>
                  </a:lnTo>
                  <a:lnTo>
                    <a:pt x="127000" y="155575"/>
                  </a:lnTo>
                  <a:lnTo>
                    <a:pt x="120650" y="142875"/>
                  </a:lnTo>
                  <a:lnTo>
                    <a:pt x="111125" y="133350"/>
                  </a:lnTo>
                  <a:lnTo>
                    <a:pt x="98425" y="127000"/>
                  </a:lnTo>
                  <a:lnTo>
                    <a:pt x="85725" y="127000"/>
                  </a:lnTo>
                  <a:lnTo>
                    <a:pt x="79375" y="123825"/>
                  </a:lnTo>
                  <a:lnTo>
                    <a:pt x="79375" y="120650"/>
                  </a:lnTo>
                  <a:lnTo>
                    <a:pt x="76200" y="120650"/>
                  </a:lnTo>
                  <a:lnTo>
                    <a:pt x="73025" y="123825"/>
                  </a:lnTo>
                  <a:lnTo>
                    <a:pt x="63500" y="123825"/>
                  </a:lnTo>
                  <a:lnTo>
                    <a:pt x="66675" y="130175"/>
                  </a:lnTo>
                  <a:lnTo>
                    <a:pt x="57150" y="133350"/>
                  </a:lnTo>
                  <a:lnTo>
                    <a:pt x="41275" y="136525"/>
                  </a:lnTo>
                  <a:lnTo>
                    <a:pt x="50800" y="142875"/>
                  </a:lnTo>
                  <a:lnTo>
                    <a:pt x="53975" y="152400"/>
                  </a:lnTo>
                  <a:lnTo>
                    <a:pt x="47625" y="155575"/>
                  </a:lnTo>
                  <a:lnTo>
                    <a:pt x="34925" y="158750"/>
                  </a:lnTo>
                  <a:lnTo>
                    <a:pt x="28575" y="155575"/>
                  </a:lnTo>
                  <a:lnTo>
                    <a:pt x="22225" y="155575"/>
                  </a:lnTo>
                  <a:lnTo>
                    <a:pt x="9525" y="158750"/>
                  </a:lnTo>
                  <a:lnTo>
                    <a:pt x="3175" y="155575"/>
                  </a:lnTo>
                  <a:lnTo>
                    <a:pt x="3175" y="107950"/>
                  </a:lnTo>
                  <a:lnTo>
                    <a:pt x="0" y="101600"/>
                  </a:lnTo>
                  <a:lnTo>
                    <a:pt x="0" y="95250"/>
                  </a:lnTo>
                  <a:lnTo>
                    <a:pt x="3175" y="95250"/>
                  </a:lnTo>
                  <a:close/>
                  <a:moveTo>
                    <a:pt x="203200" y="9525"/>
                  </a:moveTo>
                  <a:lnTo>
                    <a:pt x="206375" y="15875"/>
                  </a:lnTo>
                  <a:lnTo>
                    <a:pt x="200025" y="15875"/>
                  </a:lnTo>
                  <a:lnTo>
                    <a:pt x="193675" y="12700"/>
                  </a:lnTo>
                  <a:close/>
                  <a:moveTo>
                    <a:pt x="120650" y="0"/>
                  </a:moveTo>
                  <a:lnTo>
                    <a:pt x="127000" y="0"/>
                  </a:lnTo>
                  <a:lnTo>
                    <a:pt x="139700" y="0"/>
                  </a:lnTo>
                  <a:lnTo>
                    <a:pt x="133350" y="6350"/>
                  </a:lnTo>
                  <a:lnTo>
                    <a:pt x="127000" y="6350"/>
                  </a:lnTo>
                  <a:lnTo>
                    <a:pt x="120650" y="635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8" name="Freeform 690">
              <a:extLst>
                <a:ext uri="{FF2B5EF4-FFF2-40B4-BE49-F238E27FC236}">
                  <a16:creationId xmlns:a16="http://schemas.microsoft.com/office/drawing/2014/main" id="{3687D25A-62C8-4E75-B2E4-BB9D0289A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7" y="4506913"/>
              <a:ext cx="69850" cy="25400"/>
            </a:xfrm>
            <a:custGeom>
              <a:avLst/>
              <a:gdLst/>
              <a:ahLst/>
              <a:cxnLst/>
              <a:rect l="l" t="t" r="r" b="b"/>
              <a:pathLst>
                <a:path w="69850" h="25400">
                  <a:moveTo>
                    <a:pt x="9525" y="19050"/>
                  </a:moveTo>
                  <a:lnTo>
                    <a:pt x="6350" y="25400"/>
                  </a:lnTo>
                  <a:lnTo>
                    <a:pt x="3175" y="25400"/>
                  </a:lnTo>
                  <a:lnTo>
                    <a:pt x="0" y="22225"/>
                  </a:lnTo>
                  <a:close/>
                  <a:moveTo>
                    <a:pt x="66675" y="0"/>
                  </a:moveTo>
                  <a:lnTo>
                    <a:pt x="69850" y="3175"/>
                  </a:lnTo>
                  <a:lnTo>
                    <a:pt x="63500" y="9525"/>
                  </a:lnTo>
                  <a:lnTo>
                    <a:pt x="53975" y="12700"/>
                  </a:lnTo>
                  <a:lnTo>
                    <a:pt x="44450" y="15875"/>
                  </a:lnTo>
                  <a:lnTo>
                    <a:pt x="25400" y="25400"/>
                  </a:lnTo>
                  <a:lnTo>
                    <a:pt x="19050" y="15875"/>
                  </a:lnTo>
                  <a:lnTo>
                    <a:pt x="22225" y="9525"/>
                  </a:lnTo>
                  <a:lnTo>
                    <a:pt x="28575" y="6350"/>
                  </a:lnTo>
                  <a:lnTo>
                    <a:pt x="38100" y="3175"/>
                  </a:lnTo>
                  <a:lnTo>
                    <a:pt x="50800" y="3175"/>
                  </a:lnTo>
                  <a:lnTo>
                    <a:pt x="57150" y="317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9" name="Freeform 533">
              <a:extLst>
                <a:ext uri="{FF2B5EF4-FFF2-40B4-BE49-F238E27FC236}">
                  <a16:creationId xmlns:a16="http://schemas.microsoft.com/office/drawing/2014/main" id="{785B02B8-A087-4D40-B959-BD1FF26F38BE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0087" y="3427412"/>
              <a:ext cx="76200" cy="146050"/>
            </a:xfrm>
            <a:custGeom>
              <a:avLst/>
              <a:gdLst/>
              <a:ahLst/>
              <a:cxnLst/>
              <a:rect l="l" t="t" r="r" b="b"/>
              <a:pathLst>
                <a:path w="76200" h="146050">
                  <a:moveTo>
                    <a:pt x="15875" y="136525"/>
                  </a:moveTo>
                  <a:lnTo>
                    <a:pt x="19050" y="139700"/>
                  </a:lnTo>
                  <a:lnTo>
                    <a:pt x="12700" y="142875"/>
                  </a:lnTo>
                  <a:lnTo>
                    <a:pt x="3175" y="146050"/>
                  </a:lnTo>
                  <a:close/>
                  <a:moveTo>
                    <a:pt x="69850" y="107950"/>
                  </a:moveTo>
                  <a:lnTo>
                    <a:pt x="73025" y="107950"/>
                  </a:lnTo>
                  <a:lnTo>
                    <a:pt x="73025" y="111125"/>
                  </a:lnTo>
                  <a:lnTo>
                    <a:pt x="69850" y="117475"/>
                  </a:lnTo>
                  <a:lnTo>
                    <a:pt x="69850" y="114300"/>
                  </a:lnTo>
                  <a:close/>
                  <a:moveTo>
                    <a:pt x="50800" y="0"/>
                  </a:moveTo>
                  <a:lnTo>
                    <a:pt x="63500" y="28575"/>
                  </a:lnTo>
                  <a:lnTo>
                    <a:pt x="73025" y="50800"/>
                  </a:lnTo>
                  <a:lnTo>
                    <a:pt x="76200" y="69850"/>
                  </a:lnTo>
                  <a:lnTo>
                    <a:pt x="73025" y="82550"/>
                  </a:lnTo>
                  <a:lnTo>
                    <a:pt x="69850" y="95250"/>
                  </a:lnTo>
                  <a:lnTo>
                    <a:pt x="60325" y="95250"/>
                  </a:lnTo>
                  <a:lnTo>
                    <a:pt x="50800" y="101600"/>
                  </a:lnTo>
                  <a:lnTo>
                    <a:pt x="44450" y="101600"/>
                  </a:lnTo>
                  <a:lnTo>
                    <a:pt x="41275" y="98425"/>
                  </a:lnTo>
                  <a:lnTo>
                    <a:pt x="38100" y="101600"/>
                  </a:lnTo>
                  <a:lnTo>
                    <a:pt x="38100" y="104775"/>
                  </a:lnTo>
                  <a:lnTo>
                    <a:pt x="28575" y="111125"/>
                  </a:lnTo>
                  <a:lnTo>
                    <a:pt x="25400" y="111125"/>
                  </a:lnTo>
                  <a:lnTo>
                    <a:pt x="15875" y="114300"/>
                  </a:lnTo>
                  <a:lnTo>
                    <a:pt x="9525" y="117475"/>
                  </a:lnTo>
                  <a:lnTo>
                    <a:pt x="6350" y="104775"/>
                  </a:lnTo>
                  <a:lnTo>
                    <a:pt x="3175" y="95250"/>
                  </a:lnTo>
                  <a:lnTo>
                    <a:pt x="6350" y="88900"/>
                  </a:lnTo>
                  <a:lnTo>
                    <a:pt x="12700" y="73025"/>
                  </a:lnTo>
                  <a:lnTo>
                    <a:pt x="9525" y="60325"/>
                  </a:lnTo>
                  <a:lnTo>
                    <a:pt x="9525" y="57150"/>
                  </a:lnTo>
                  <a:lnTo>
                    <a:pt x="3175" y="53975"/>
                  </a:lnTo>
                  <a:lnTo>
                    <a:pt x="0" y="50800"/>
                  </a:lnTo>
                  <a:lnTo>
                    <a:pt x="15875" y="47625"/>
                  </a:lnTo>
                  <a:lnTo>
                    <a:pt x="12700" y="28575"/>
                  </a:lnTo>
                  <a:lnTo>
                    <a:pt x="9525" y="25400"/>
                  </a:lnTo>
                  <a:lnTo>
                    <a:pt x="12700" y="25400"/>
                  </a:lnTo>
                  <a:lnTo>
                    <a:pt x="12700" y="22225"/>
                  </a:lnTo>
                  <a:lnTo>
                    <a:pt x="22225" y="12700"/>
                  </a:lnTo>
                  <a:lnTo>
                    <a:pt x="34925" y="9525"/>
                  </a:lnTo>
                  <a:lnTo>
                    <a:pt x="44450" y="952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0" name="Freeform 541">
              <a:extLst>
                <a:ext uri="{FF2B5EF4-FFF2-40B4-BE49-F238E27FC236}">
                  <a16:creationId xmlns:a16="http://schemas.microsoft.com/office/drawing/2014/main" id="{4A6EFC9A-1DA1-4986-A48E-44DF4ED8B6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9587" y="3925888"/>
              <a:ext cx="203200" cy="282575"/>
            </a:xfrm>
            <a:custGeom>
              <a:avLst/>
              <a:gdLst/>
              <a:ahLst/>
              <a:cxnLst/>
              <a:rect l="l" t="t" r="r" b="b"/>
              <a:pathLst>
                <a:path w="203200" h="282575">
                  <a:moveTo>
                    <a:pt x="82550" y="273050"/>
                  </a:moveTo>
                  <a:lnTo>
                    <a:pt x="85725" y="273050"/>
                  </a:lnTo>
                  <a:lnTo>
                    <a:pt x="88900" y="273050"/>
                  </a:lnTo>
                  <a:lnTo>
                    <a:pt x="88900" y="276225"/>
                  </a:lnTo>
                  <a:lnTo>
                    <a:pt x="79375" y="276225"/>
                  </a:lnTo>
                  <a:close/>
                  <a:moveTo>
                    <a:pt x="104775" y="257175"/>
                  </a:moveTo>
                  <a:lnTo>
                    <a:pt x="107950" y="260350"/>
                  </a:lnTo>
                  <a:lnTo>
                    <a:pt x="101600" y="266700"/>
                  </a:lnTo>
                  <a:lnTo>
                    <a:pt x="98425" y="260350"/>
                  </a:lnTo>
                  <a:close/>
                  <a:moveTo>
                    <a:pt x="177800" y="193675"/>
                  </a:moveTo>
                  <a:lnTo>
                    <a:pt x="180975" y="193675"/>
                  </a:lnTo>
                  <a:lnTo>
                    <a:pt x="184150" y="196850"/>
                  </a:lnTo>
                  <a:lnTo>
                    <a:pt x="190500" y="203200"/>
                  </a:lnTo>
                  <a:lnTo>
                    <a:pt x="193675" y="203200"/>
                  </a:lnTo>
                  <a:lnTo>
                    <a:pt x="203200" y="238125"/>
                  </a:lnTo>
                  <a:lnTo>
                    <a:pt x="203200" y="247650"/>
                  </a:lnTo>
                  <a:lnTo>
                    <a:pt x="196850" y="254000"/>
                  </a:lnTo>
                  <a:lnTo>
                    <a:pt x="193675" y="260350"/>
                  </a:lnTo>
                  <a:lnTo>
                    <a:pt x="190500" y="257175"/>
                  </a:lnTo>
                  <a:lnTo>
                    <a:pt x="184150" y="247650"/>
                  </a:lnTo>
                  <a:lnTo>
                    <a:pt x="180975" y="247650"/>
                  </a:lnTo>
                  <a:lnTo>
                    <a:pt x="177800" y="254000"/>
                  </a:lnTo>
                  <a:lnTo>
                    <a:pt x="177800" y="260350"/>
                  </a:lnTo>
                  <a:lnTo>
                    <a:pt x="177800" y="263525"/>
                  </a:lnTo>
                  <a:lnTo>
                    <a:pt x="180975" y="266700"/>
                  </a:lnTo>
                  <a:lnTo>
                    <a:pt x="180975" y="276225"/>
                  </a:lnTo>
                  <a:lnTo>
                    <a:pt x="174625" y="282575"/>
                  </a:lnTo>
                  <a:lnTo>
                    <a:pt x="171450" y="279400"/>
                  </a:lnTo>
                  <a:lnTo>
                    <a:pt x="168275" y="276225"/>
                  </a:lnTo>
                  <a:lnTo>
                    <a:pt x="158750" y="273050"/>
                  </a:lnTo>
                  <a:lnTo>
                    <a:pt x="149225" y="266700"/>
                  </a:lnTo>
                  <a:lnTo>
                    <a:pt x="146050" y="257175"/>
                  </a:lnTo>
                  <a:lnTo>
                    <a:pt x="149225" y="247650"/>
                  </a:lnTo>
                  <a:lnTo>
                    <a:pt x="139700" y="234950"/>
                  </a:lnTo>
                  <a:lnTo>
                    <a:pt x="133350" y="234950"/>
                  </a:lnTo>
                  <a:lnTo>
                    <a:pt x="133350" y="244475"/>
                  </a:lnTo>
                  <a:lnTo>
                    <a:pt x="120650" y="241300"/>
                  </a:lnTo>
                  <a:lnTo>
                    <a:pt x="117475" y="234950"/>
                  </a:lnTo>
                  <a:lnTo>
                    <a:pt x="114300" y="238125"/>
                  </a:lnTo>
                  <a:lnTo>
                    <a:pt x="111125" y="241300"/>
                  </a:lnTo>
                  <a:lnTo>
                    <a:pt x="104775" y="254000"/>
                  </a:lnTo>
                  <a:lnTo>
                    <a:pt x="101600" y="250825"/>
                  </a:lnTo>
                  <a:lnTo>
                    <a:pt x="104775" y="238125"/>
                  </a:lnTo>
                  <a:lnTo>
                    <a:pt x="107950" y="231775"/>
                  </a:lnTo>
                  <a:lnTo>
                    <a:pt x="133350" y="215900"/>
                  </a:lnTo>
                  <a:lnTo>
                    <a:pt x="142875" y="222250"/>
                  </a:lnTo>
                  <a:lnTo>
                    <a:pt x="142875" y="225425"/>
                  </a:lnTo>
                  <a:lnTo>
                    <a:pt x="142875" y="228600"/>
                  </a:lnTo>
                  <a:lnTo>
                    <a:pt x="149225" y="225425"/>
                  </a:lnTo>
                  <a:lnTo>
                    <a:pt x="152400" y="225425"/>
                  </a:lnTo>
                  <a:lnTo>
                    <a:pt x="152400" y="222250"/>
                  </a:lnTo>
                  <a:lnTo>
                    <a:pt x="155575" y="219075"/>
                  </a:lnTo>
                  <a:lnTo>
                    <a:pt x="161925" y="219075"/>
                  </a:lnTo>
                  <a:lnTo>
                    <a:pt x="161925" y="215900"/>
                  </a:lnTo>
                  <a:lnTo>
                    <a:pt x="168275" y="212725"/>
                  </a:lnTo>
                  <a:lnTo>
                    <a:pt x="174625" y="209550"/>
                  </a:lnTo>
                  <a:lnTo>
                    <a:pt x="177800" y="203200"/>
                  </a:lnTo>
                  <a:close/>
                  <a:moveTo>
                    <a:pt x="190500" y="187325"/>
                  </a:moveTo>
                  <a:lnTo>
                    <a:pt x="193675" y="190500"/>
                  </a:lnTo>
                  <a:lnTo>
                    <a:pt x="190500" y="190500"/>
                  </a:lnTo>
                  <a:close/>
                  <a:moveTo>
                    <a:pt x="155575" y="184150"/>
                  </a:moveTo>
                  <a:lnTo>
                    <a:pt x="158750" y="190500"/>
                  </a:lnTo>
                  <a:lnTo>
                    <a:pt x="155575" y="193675"/>
                  </a:lnTo>
                  <a:lnTo>
                    <a:pt x="146050" y="196850"/>
                  </a:lnTo>
                  <a:lnTo>
                    <a:pt x="142875" y="187325"/>
                  </a:lnTo>
                  <a:close/>
                  <a:moveTo>
                    <a:pt x="180975" y="177800"/>
                  </a:moveTo>
                  <a:lnTo>
                    <a:pt x="180975" y="180975"/>
                  </a:lnTo>
                  <a:lnTo>
                    <a:pt x="180975" y="184150"/>
                  </a:lnTo>
                  <a:lnTo>
                    <a:pt x="184150" y="190500"/>
                  </a:lnTo>
                  <a:lnTo>
                    <a:pt x="177800" y="184150"/>
                  </a:lnTo>
                  <a:close/>
                  <a:moveTo>
                    <a:pt x="130175" y="165100"/>
                  </a:moveTo>
                  <a:lnTo>
                    <a:pt x="136525" y="168275"/>
                  </a:lnTo>
                  <a:lnTo>
                    <a:pt x="133350" y="177800"/>
                  </a:lnTo>
                  <a:lnTo>
                    <a:pt x="127000" y="190500"/>
                  </a:lnTo>
                  <a:lnTo>
                    <a:pt x="127000" y="196850"/>
                  </a:lnTo>
                  <a:lnTo>
                    <a:pt x="130175" y="203200"/>
                  </a:lnTo>
                  <a:lnTo>
                    <a:pt x="123825" y="206375"/>
                  </a:lnTo>
                  <a:lnTo>
                    <a:pt x="117475" y="200025"/>
                  </a:lnTo>
                  <a:lnTo>
                    <a:pt x="111125" y="193675"/>
                  </a:lnTo>
                  <a:lnTo>
                    <a:pt x="114300" y="187325"/>
                  </a:lnTo>
                  <a:lnTo>
                    <a:pt x="117475" y="187325"/>
                  </a:lnTo>
                  <a:lnTo>
                    <a:pt x="120650" y="187325"/>
                  </a:lnTo>
                  <a:lnTo>
                    <a:pt x="120650" y="180975"/>
                  </a:lnTo>
                  <a:lnTo>
                    <a:pt x="123825" y="171450"/>
                  </a:lnTo>
                  <a:close/>
                  <a:moveTo>
                    <a:pt x="146050" y="161925"/>
                  </a:moveTo>
                  <a:lnTo>
                    <a:pt x="146050" y="180975"/>
                  </a:lnTo>
                  <a:lnTo>
                    <a:pt x="130175" y="200025"/>
                  </a:lnTo>
                  <a:lnTo>
                    <a:pt x="133350" y="190500"/>
                  </a:lnTo>
                  <a:lnTo>
                    <a:pt x="136525" y="180975"/>
                  </a:lnTo>
                  <a:close/>
                  <a:moveTo>
                    <a:pt x="47625" y="155575"/>
                  </a:moveTo>
                  <a:lnTo>
                    <a:pt x="50800" y="161925"/>
                  </a:lnTo>
                  <a:lnTo>
                    <a:pt x="50800" y="177800"/>
                  </a:lnTo>
                  <a:lnTo>
                    <a:pt x="44450" y="180975"/>
                  </a:lnTo>
                  <a:lnTo>
                    <a:pt x="31750" y="196850"/>
                  </a:lnTo>
                  <a:lnTo>
                    <a:pt x="15875" y="212725"/>
                  </a:lnTo>
                  <a:lnTo>
                    <a:pt x="3175" y="219075"/>
                  </a:lnTo>
                  <a:lnTo>
                    <a:pt x="0" y="222250"/>
                  </a:lnTo>
                  <a:lnTo>
                    <a:pt x="12700" y="203200"/>
                  </a:lnTo>
                  <a:lnTo>
                    <a:pt x="15875" y="203200"/>
                  </a:lnTo>
                  <a:lnTo>
                    <a:pt x="22225" y="200025"/>
                  </a:lnTo>
                  <a:lnTo>
                    <a:pt x="28575" y="190500"/>
                  </a:lnTo>
                  <a:lnTo>
                    <a:pt x="38100" y="180975"/>
                  </a:lnTo>
                  <a:lnTo>
                    <a:pt x="47625" y="171450"/>
                  </a:lnTo>
                  <a:lnTo>
                    <a:pt x="44450" y="165100"/>
                  </a:lnTo>
                  <a:lnTo>
                    <a:pt x="47625" y="158750"/>
                  </a:lnTo>
                  <a:close/>
                  <a:moveTo>
                    <a:pt x="152400" y="152400"/>
                  </a:moveTo>
                  <a:lnTo>
                    <a:pt x="161925" y="155575"/>
                  </a:lnTo>
                  <a:lnTo>
                    <a:pt x="168275" y="165100"/>
                  </a:lnTo>
                  <a:lnTo>
                    <a:pt x="171450" y="177800"/>
                  </a:lnTo>
                  <a:lnTo>
                    <a:pt x="171450" y="180975"/>
                  </a:lnTo>
                  <a:lnTo>
                    <a:pt x="168275" y="187325"/>
                  </a:lnTo>
                  <a:lnTo>
                    <a:pt x="165100" y="184150"/>
                  </a:lnTo>
                  <a:lnTo>
                    <a:pt x="161925" y="180975"/>
                  </a:lnTo>
                  <a:lnTo>
                    <a:pt x="155575" y="168275"/>
                  </a:lnTo>
                  <a:lnTo>
                    <a:pt x="152400" y="158750"/>
                  </a:lnTo>
                  <a:close/>
                  <a:moveTo>
                    <a:pt x="101600" y="146050"/>
                  </a:moveTo>
                  <a:lnTo>
                    <a:pt x="107950" y="149225"/>
                  </a:lnTo>
                  <a:lnTo>
                    <a:pt x="111125" y="149225"/>
                  </a:lnTo>
                  <a:lnTo>
                    <a:pt x="123825" y="152400"/>
                  </a:lnTo>
                  <a:lnTo>
                    <a:pt x="127000" y="155575"/>
                  </a:lnTo>
                  <a:lnTo>
                    <a:pt x="127000" y="161925"/>
                  </a:lnTo>
                  <a:lnTo>
                    <a:pt x="117475" y="171450"/>
                  </a:lnTo>
                  <a:lnTo>
                    <a:pt x="101600" y="177800"/>
                  </a:lnTo>
                  <a:lnTo>
                    <a:pt x="101600" y="171450"/>
                  </a:lnTo>
                  <a:lnTo>
                    <a:pt x="104775" y="155575"/>
                  </a:lnTo>
                  <a:lnTo>
                    <a:pt x="101600" y="149225"/>
                  </a:lnTo>
                  <a:lnTo>
                    <a:pt x="98425" y="149225"/>
                  </a:lnTo>
                  <a:close/>
                  <a:moveTo>
                    <a:pt x="57150" y="136525"/>
                  </a:moveTo>
                  <a:lnTo>
                    <a:pt x="66675" y="139700"/>
                  </a:lnTo>
                  <a:lnTo>
                    <a:pt x="66675" y="142875"/>
                  </a:lnTo>
                  <a:lnTo>
                    <a:pt x="57150" y="142875"/>
                  </a:lnTo>
                  <a:close/>
                  <a:moveTo>
                    <a:pt x="152400" y="130175"/>
                  </a:moveTo>
                  <a:lnTo>
                    <a:pt x="165100" y="133350"/>
                  </a:lnTo>
                  <a:lnTo>
                    <a:pt x="174625" y="136525"/>
                  </a:lnTo>
                  <a:lnTo>
                    <a:pt x="177800" y="136525"/>
                  </a:lnTo>
                  <a:lnTo>
                    <a:pt x="177800" y="139700"/>
                  </a:lnTo>
                  <a:lnTo>
                    <a:pt x="177800" y="149225"/>
                  </a:lnTo>
                  <a:lnTo>
                    <a:pt x="184150" y="165100"/>
                  </a:lnTo>
                  <a:lnTo>
                    <a:pt x="174625" y="161925"/>
                  </a:lnTo>
                  <a:lnTo>
                    <a:pt x="171450" y="161925"/>
                  </a:lnTo>
                  <a:lnTo>
                    <a:pt x="165100" y="155575"/>
                  </a:lnTo>
                  <a:lnTo>
                    <a:pt x="165100" y="149225"/>
                  </a:lnTo>
                  <a:lnTo>
                    <a:pt x="155575" y="139700"/>
                  </a:lnTo>
                  <a:close/>
                  <a:moveTo>
                    <a:pt x="130175" y="130175"/>
                  </a:moveTo>
                  <a:lnTo>
                    <a:pt x="142875" y="136525"/>
                  </a:lnTo>
                  <a:lnTo>
                    <a:pt x="146050" y="142875"/>
                  </a:lnTo>
                  <a:lnTo>
                    <a:pt x="146050" y="149225"/>
                  </a:lnTo>
                  <a:lnTo>
                    <a:pt x="133350" y="139700"/>
                  </a:lnTo>
                  <a:lnTo>
                    <a:pt x="130175" y="133350"/>
                  </a:lnTo>
                  <a:close/>
                  <a:moveTo>
                    <a:pt x="66675" y="111125"/>
                  </a:moveTo>
                  <a:lnTo>
                    <a:pt x="73025" y="111125"/>
                  </a:lnTo>
                  <a:lnTo>
                    <a:pt x="85725" y="114300"/>
                  </a:lnTo>
                  <a:lnTo>
                    <a:pt x="92075" y="117475"/>
                  </a:lnTo>
                  <a:lnTo>
                    <a:pt x="92075" y="123825"/>
                  </a:lnTo>
                  <a:lnTo>
                    <a:pt x="88900" y="136525"/>
                  </a:lnTo>
                  <a:lnTo>
                    <a:pt x="85725" y="139700"/>
                  </a:lnTo>
                  <a:lnTo>
                    <a:pt x="79375" y="133350"/>
                  </a:lnTo>
                  <a:lnTo>
                    <a:pt x="76200" y="123825"/>
                  </a:lnTo>
                  <a:lnTo>
                    <a:pt x="73025" y="117475"/>
                  </a:lnTo>
                  <a:lnTo>
                    <a:pt x="69850" y="117475"/>
                  </a:lnTo>
                  <a:close/>
                  <a:moveTo>
                    <a:pt x="149225" y="98425"/>
                  </a:moveTo>
                  <a:lnTo>
                    <a:pt x="152400" y="98425"/>
                  </a:lnTo>
                  <a:lnTo>
                    <a:pt x="155575" y="101600"/>
                  </a:lnTo>
                  <a:lnTo>
                    <a:pt x="152400" y="107950"/>
                  </a:lnTo>
                  <a:lnTo>
                    <a:pt x="146050" y="107950"/>
                  </a:lnTo>
                  <a:lnTo>
                    <a:pt x="149225" y="104775"/>
                  </a:lnTo>
                  <a:lnTo>
                    <a:pt x="149225" y="101600"/>
                  </a:lnTo>
                  <a:close/>
                  <a:moveTo>
                    <a:pt x="73025" y="0"/>
                  </a:moveTo>
                  <a:lnTo>
                    <a:pt x="95250" y="3175"/>
                  </a:lnTo>
                  <a:lnTo>
                    <a:pt x="101600" y="3175"/>
                  </a:lnTo>
                  <a:lnTo>
                    <a:pt x="104775" y="15875"/>
                  </a:lnTo>
                  <a:lnTo>
                    <a:pt x="107950" y="22225"/>
                  </a:lnTo>
                  <a:lnTo>
                    <a:pt x="107950" y="25400"/>
                  </a:lnTo>
                  <a:lnTo>
                    <a:pt x="114300" y="31750"/>
                  </a:lnTo>
                  <a:lnTo>
                    <a:pt x="111125" y="38100"/>
                  </a:lnTo>
                  <a:lnTo>
                    <a:pt x="104775" y="50800"/>
                  </a:lnTo>
                  <a:lnTo>
                    <a:pt x="95250" y="57150"/>
                  </a:lnTo>
                  <a:lnTo>
                    <a:pt x="92075" y="66675"/>
                  </a:lnTo>
                  <a:lnTo>
                    <a:pt x="92075" y="79375"/>
                  </a:lnTo>
                  <a:lnTo>
                    <a:pt x="95250" y="92075"/>
                  </a:lnTo>
                  <a:lnTo>
                    <a:pt x="101600" y="98425"/>
                  </a:lnTo>
                  <a:lnTo>
                    <a:pt x="107950" y="98425"/>
                  </a:lnTo>
                  <a:lnTo>
                    <a:pt x="107950" y="95250"/>
                  </a:lnTo>
                  <a:lnTo>
                    <a:pt x="114300" y="92075"/>
                  </a:lnTo>
                  <a:lnTo>
                    <a:pt x="123825" y="98425"/>
                  </a:lnTo>
                  <a:lnTo>
                    <a:pt x="133350" y="101600"/>
                  </a:lnTo>
                  <a:lnTo>
                    <a:pt x="139700" y="101600"/>
                  </a:lnTo>
                  <a:lnTo>
                    <a:pt x="142875" y="104775"/>
                  </a:lnTo>
                  <a:lnTo>
                    <a:pt x="142875" y="114300"/>
                  </a:lnTo>
                  <a:lnTo>
                    <a:pt x="139700" y="117475"/>
                  </a:lnTo>
                  <a:lnTo>
                    <a:pt x="149225" y="120650"/>
                  </a:lnTo>
                  <a:lnTo>
                    <a:pt x="149225" y="130175"/>
                  </a:lnTo>
                  <a:lnTo>
                    <a:pt x="139700" y="123825"/>
                  </a:lnTo>
                  <a:lnTo>
                    <a:pt x="133350" y="117475"/>
                  </a:lnTo>
                  <a:lnTo>
                    <a:pt x="127000" y="111125"/>
                  </a:lnTo>
                  <a:lnTo>
                    <a:pt x="114300" y="101600"/>
                  </a:lnTo>
                  <a:lnTo>
                    <a:pt x="111125" y="101600"/>
                  </a:lnTo>
                  <a:lnTo>
                    <a:pt x="114300" y="107950"/>
                  </a:lnTo>
                  <a:lnTo>
                    <a:pt x="107950" y="107950"/>
                  </a:lnTo>
                  <a:lnTo>
                    <a:pt x="104775" y="104775"/>
                  </a:lnTo>
                  <a:lnTo>
                    <a:pt x="95250" y="101600"/>
                  </a:lnTo>
                  <a:lnTo>
                    <a:pt x="92075" y="101600"/>
                  </a:lnTo>
                  <a:lnTo>
                    <a:pt x="92075" y="104775"/>
                  </a:lnTo>
                  <a:lnTo>
                    <a:pt x="85725" y="104775"/>
                  </a:lnTo>
                  <a:lnTo>
                    <a:pt x="79375" y="104775"/>
                  </a:lnTo>
                  <a:lnTo>
                    <a:pt x="79375" y="101600"/>
                  </a:lnTo>
                  <a:lnTo>
                    <a:pt x="73025" y="101600"/>
                  </a:lnTo>
                  <a:lnTo>
                    <a:pt x="73025" y="95250"/>
                  </a:lnTo>
                  <a:lnTo>
                    <a:pt x="79375" y="88900"/>
                  </a:lnTo>
                  <a:lnTo>
                    <a:pt x="79375" y="85725"/>
                  </a:lnTo>
                  <a:lnTo>
                    <a:pt x="73025" y="82550"/>
                  </a:lnTo>
                  <a:lnTo>
                    <a:pt x="73025" y="88900"/>
                  </a:lnTo>
                  <a:lnTo>
                    <a:pt x="69850" y="88900"/>
                  </a:lnTo>
                  <a:lnTo>
                    <a:pt x="63500" y="82550"/>
                  </a:lnTo>
                  <a:lnTo>
                    <a:pt x="60325" y="66675"/>
                  </a:lnTo>
                  <a:lnTo>
                    <a:pt x="53975" y="50800"/>
                  </a:lnTo>
                  <a:lnTo>
                    <a:pt x="57150" y="47625"/>
                  </a:lnTo>
                  <a:lnTo>
                    <a:pt x="57150" y="50800"/>
                  </a:lnTo>
                  <a:lnTo>
                    <a:pt x="66675" y="53975"/>
                  </a:lnTo>
                  <a:lnTo>
                    <a:pt x="69850" y="41275"/>
                  </a:lnTo>
                  <a:lnTo>
                    <a:pt x="69850" y="28575"/>
                  </a:lnTo>
                  <a:lnTo>
                    <a:pt x="66675" y="15875"/>
                  </a:lnTo>
                  <a:lnTo>
                    <a:pt x="69850" y="635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1" name="Freeform 681">
              <a:extLst>
                <a:ext uri="{FF2B5EF4-FFF2-40B4-BE49-F238E27FC236}">
                  <a16:creationId xmlns:a16="http://schemas.microsoft.com/office/drawing/2014/main" id="{31F953E6-124B-4DA9-822A-D9DB15EB09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4488" y="4183063"/>
              <a:ext cx="209550" cy="127000"/>
            </a:xfrm>
            <a:custGeom>
              <a:avLst/>
              <a:gdLst/>
              <a:ahLst/>
              <a:cxnLst>
                <a:cxn ang="0">
                  <a:pos x="8" y="76"/>
                </a:cxn>
                <a:cxn ang="0">
                  <a:pos x="16" y="80"/>
                </a:cxn>
                <a:cxn ang="0">
                  <a:pos x="22" y="78"/>
                </a:cxn>
                <a:cxn ang="0">
                  <a:pos x="30" y="78"/>
                </a:cxn>
                <a:cxn ang="0">
                  <a:pos x="36" y="72"/>
                </a:cxn>
                <a:cxn ang="0">
                  <a:pos x="48" y="72"/>
                </a:cxn>
                <a:cxn ang="0">
                  <a:pos x="48" y="72"/>
                </a:cxn>
                <a:cxn ang="0">
                  <a:pos x="58" y="72"/>
                </a:cxn>
                <a:cxn ang="0">
                  <a:pos x="68" y="72"/>
                </a:cxn>
                <a:cxn ang="0">
                  <a:pos x="72" y="64"/>
                </a:cxn>
                <a:cxn ang="0">
                  <a:pos x="76" y="58"/>
                </a:cxn>
                <a:cxn ang="0">
                  <a:pos x="76" y="52"/>
                </a:cxn>
                <a:cxn ang="0">
                  <a:pos x="82" y="40"/>
                </a:cxn>
                <a:cxn ang="0">
                  <a:pos x="98" y="32"/>
                </a:cxn>
                <a:cxn ang="0">
                  <a:pos x="108" y="36"/>
                </a:cxn>
                <a:cxn ang="0">
                  <a:pos x="116" y="34"/>
                </a:cxn>
                <a:cxn ang="0">
                  <a:pos x="122" y="30"/>
                </a:cxn>
                <a:cxn ang="0">
                  <a:pos x="120" y="24"/>
                </a:cxn>
                <a:cxn ang="0">
                  <a:pos x="128" y="24"/>
                </a:cxn>
                <a:cxn ang="0">
                  <a:pos x="126" y="16"/>
                </a:cxn>
                <a:cxn ang="0">
                  <a:pos x="112" y="12"/>
                </a:cxn>
                <a:cxn ang="0">
                  <a:pos x="110" y="4"/>
                </a:cxn>
                <a:cxn ang="0">
                  <a:pos x="98" y="0"/>
                </a:cxn>
                <a:cxn ang="0">
                  <a:pos x="88" y="12"/>
                </a:cxn>
                <a:cxn ang="0">
                  <a:pos x="82" y="16"/>
                </a:cxn>
                <a:cxn ang="0">
                  <a:pos x="78" y="20"/>
                </a:cxn>
                <a:cxn ang="0">
                  <a:pos x="76" y="26"/>
                </a:cxn>
                <a:cxn ang="0">
                  <a:pos x="76" y="32"/>
                </a:cxn>
                <a:cxn ang="0">
                  <a:pos x="70" y="28"/>
                </a:cxn>
                <a:cxn ang="0">
                  <a:pos x="68" y="38"/>
                </a:cxn>
                <a:cxn ang="0">
                  <a:pos x="62" y="30"/>
                </a:cxn>
                <a:cxn ang="0">
                  <a:pos x="48" y="48"/>
                </a:cxn>
                <a:cxn ang="0">
                  <a:pos x="34" y="52"/>
                </a:cxn>
                <a:cxn ang="0">
                  <a:pos x="26" y="56"/>
                </a:cxn>
                <a:cxn ang="0">
                  <a:pos x="24" y="60"/>
                </a:cxn>
                <a:cxn ang="0">
                  <a:pos x="22" y="64"/>
                </a:cxn>
                <a:cxn ang="0">
                  <a:pos x="22" y="72"/>
                </a:cxn>
                <a:cxn ang="0">
                  <a:pos x="6" y="68"/>
                </a:cxn>
                <a:cxn ang="0">
                  <a:pos x="0" y="64"/>
                </a:cxn>
                <a:cxn ang="0">
                  <a:pos x="2" y="70"/>
                </a:cxn>
              </a:cxnLst>
              <a:rect l="0" t="0" r="r" b="b"/>
              <a:pathLst>
                <a:path w="132" h="80">
                  <a:moveTo>
                    <a:pt x="2" y="70"/>
                  </a:moveTo>
                  <a:lnTo>
                    <a:pt x="8" y="76"/>
                  </a:lnTo>
                  <a:lnTo>
                    <a:pt x="14" y="80"/>
                  </a:lnTo>
                  <a:lnTo>
                    <a:pt x="16" y="80"/>
                  </a:lnTo>
                  <a:lnTo>
                    <a:pt x="18" y="78"/>
                  </a:lnTo>
                  <a:lnTo>
                    <a:pt x="22" y="78"/>
                  </a:lnTo>
                  <a:lnTo>
                    <a:pt x="26" y="78"/>
                  </a:lnTo>
                  <a:lnTo>
                    <a:pt x="30" y="78"/>
                  </a:lnTo>
                  <a:lnTo>
                    <a:pt x="34" y="76"/>
                  </a:lnTo>
                  <a:lnTo>
                    <a:pt x="36" y="72"/>
                  </a:lnTo>
                  <a:lnTo>
                    <a:pt x="44" y="70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54" y="74"/>
                  </a:lnTo>
                  <a:lnTo>
                    <a:pt x="58" y="72"/>
                  </a:lnTo>
                  <a:lnTo>
                    <a:pt x="62" y="72"/>
                  </a:lnTo>
                  <a:lnTo>
                    <a:pt x="68" y="72"/>
                  </a:lnTo>
                  <a:lnTo>
                    <a:pt x="70" y="68"/>
                  </a:lnTo>
                  <a:lnTo>
                    <a:pt x="72" y="64"/>
                  </a:lnTo>
                  <a:lnTo>
                    <a:pt x="70" y="62"/>
                  </a:lnTo>
                  <a:lnTo>
                    <a:pt x="76" y="58"/>
                  </a:lnTo>
                  <a:lnTo>
                    <a:pt x="76" y="56"/>
                  </a:lnTo>
                  <a:lnTo>
                    <a:pt x="76" y="52"/>
                  </a:lnTo>
                  <a:lnTo>
                    <a:pt x="80" y="50"/>
                  </a:lnTo>
                  <a:lnTo>
                    <a:pt x="82" y="40"/>
                  </a:lnTo>
                  <a:lnTo>
                    <a:pt x="86" y="32"/>
                  </a:lnTo>
                  <a:lnTo>
                    <a:pt x="98" y="32"/>
                  </a:lnTo>
                  <a:lnTo>
                    <a:pt x="104" y="34"/>
                  </a:lnTo>
                  <a:lnTo>
                    <a:pt x="108" y="36"/>
                  </a:lnTo>
                  <a:lnTo>
                    <a:pt x="110" y="32"/>
                  </a:lnTo>
                  <a:lnTo>
                    <a:pt x="116" y="34"/>
                  </a:lnTo>
                  <a:lnTo>
                    <a:pt x="120" y="34"/>
                  </a:lnTo>
                  <a:lnTo>
                    <a:pt x="122" y="30"/>
                  </a:lnTo>
                  <a:lnTo>
                    <a:pt x="116" y="26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8" y="24"/>
                  </a:lnTo>
                  <a:lnTo>
                    <a:pt x="132" y="20"/>
                  </a:lnTo>
                  <a:lnTo>
                    <a:pt x="126" y="16"/>
                  </a:lnTo>
                  <a:lnTo>
                    <a:pt x="118" y="12"/>
                  </a:lnTo>
                  <a:lnTo>
                    <a:pt x="112" y="12"/>
                  </a:lnTo>
                  <a:lnTo>
                    <a:pt x="110" y="8"/>
                  </a:lnTo>
                  <a:lnTo>
                    <a:pt x="110" y="4"/>
                  </a:lnTo>
                  <a:lnTo>
                    <a:pt x="108" y="4"/>
                  </a:lnTo>
                  <a:lnTo>
                    <a:pt x="98" y="0"/>
                  </a:lnTo>
                  <a:lnTo>
                    <a:pt x="92" y="4"/>
                  </a:lnTo>
                  <a:lnTo>
                    <a:pt x="88" y="12"/>
                  </a:lnTo>
                  <a:lnTo>
                    <a:pt x="84" y="16"/>
                  </a:lnTo>
                  <a:lnTo>
                    <a:pt x="82" y="16"/>
                  </a:lnTo>
                  <a:lnTo>
                    <a:pt x="80" y="18"/>
                  </a:lnTo>
                  <a:lnTo>
                    <a:pt x="78" y="20"/>
                  </a:lnTo>
                  <a:lnTo>
                    <a:pt x="82" y="22"/>
                  </a:lnTo>
                  <a:lnTo>
                    <a:pt x="76" y="26"/>
                  </a:lnTo>
                  <a:lnTo>
                    <a:pt x="78" y="32"/>
                  </a:lnTo>
                  <a:lnTo>
                    <a:pt x="76" y="32"/>
                  </a:lnTo>
                  <a:lnTo>
                    <a:pt x="74" y="28"/>
                  </a:lnTo>
                  <a:lnTo>
                    <a:pt x="70" y="28"/>
                  </a:lnTo>
                  <a:lnTo>
                    <a:pt x="72" y="34"/>
                  </a:lnTo>
                  <a:lnTo>
                    <a:pt x="68" y="38"/>
                  </a:lnTo>
                  <a:lnTo>
                    <a:pt x="64" y="32"/>
                  </a:lnTo>
                  <a:lnTo>
                    <a:pt x="62" y="30"/>
                  </a:lnTo>
                  <a:lnTo>
                    <a:pt x="54" y="40"/>
                  </a:lnTo>
                  <a:lnTo>
                    <a:pt x="48" y="48"/>
                  </a:lnTo>
                  <a:lnTo>
                    <a:pt x="42" y="50"/>
                  </a:lnTo>
                  <a:lnTo>
                    <a:pt x="34" y="52"/>
                  </a:lnTo>
                  <a:lnTo>
                    <a:pt x="28" y="54"/>
                  </a:lnTo>
                  <a:lnTo>
                    <a:pt x="26" y="56"/>
                  </a:lnTo>
                  <a:lnTo>
                    <a:pt x="26" y="60"/>
                  </a:lnTo>
                  <a:lnTo>
                    <a:pt x="24" y="60"/>
                  </a:lnTo>
                  <a:lnTo>
                    <a:pt x="22" y="58"/>
                  </a:lnTo>
                  <a:lnTo>
                    <a:pt x="22" y="64"/>
                  </a:lnTo>
                  <a:lnTo>
                    <a:pt x="20" y="70"/>
                  </a:lnTo>
                  <a:lnTo>
                    <a:pt x="22" y="72"/>
                  </a:lnTo>
                  <a:lnTo>
                    <a:pt x="8" y="68"/>
                  </a:lnTo>
                  <a:lnTo>
                    <a:pt x="6" y="68"/>
                  </a:lnTo>
                  <a:lnTo>
                    <a:pt x="2" y="68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2" y="7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2" name="Freeform 684">
              <a:extLst>
                <a:ext uri="{FF2B5EF4-FFF2-40B4-BE49-F238E27FC236}">
                  <a16:creationId xmlns:a16="http://schemas.microsoft.com/office/drawing/2014/main" id="{CC1DB614-9FA1-4C22-9B48-4D1EEC3438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2913" y="4224338"/>
              <a:ext cx="25400" cy="19050"/>
            </a:xfrm>
            <a:custGeom>
              <a:avLst/>
              <a:gdLst/>
              <a:ahLst/>
              <a:cxnLst>
                <a:cxn ang="0">
                  <a:pos x="6" y="12"/>
                </a:cxn>
                <a:cxn ang="0">
                  <a:pos x="10" y="8"/>
                </a:cxn>
                <a:cxn ang="0">
                  <a:pos x="8" y="2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6" y="6"/>
                </a:cxn>
                <a:cxn ang="0">
                  <a:pos x="14" y="0"/>
                </a:cxn>
                <a:cxn ang="0">
                  <a:pos x="6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6" y="12"/>
                </a:cxn>
              </a:cxnLst>
              <a:rect l="0" t="0" r="r" b="b"/>
              <a:pathLst>
                <a:path w="16" h="12">
                  <a:moveTo>
                    <a:pt x="6" y="12"/>
                  </a:moveTo>
                  <a:lnTo>
                    <a:pt x="10" y="8"/>
                  </a:lnTo>
                  <a:lnTo>
                    <a:pt x="8" y="2"/>
                  </a:lnTo>
                  <a:lnTo>
                    <a:pt x="12" y="2"/>
                  </a:lnTo>
                  <a:lnTo>
                    <a:pt x="14" y="6"/>
                  </a:lnTo>
                  <a:lnTo>
                    <a:pt x="16" y="6"/>
                  </a:lnTo>
                  <a:lnTo>
                    <a:pt x="14" y="0"/>
                  </a:lnTo>
                  <a:lnTo>
                    <a:pt x="6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3" name="Freeform 475">
              <a:extLst>
                <a:ext uri="{FF2B5EF4-FFF2-40B4-BE49-F238E27FC236}">
                  <a16:creationId xmlns:a16="http://schemas.microsoft.com/office/drawing/2014/main" id="{F74A1AC2-F909-49B1-9526-BA9FA39C56A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6187" y="4037011"/>
              <a:ext cx="1047751" cy="527050"/>
            </a:xfrm>
            <a:custGeom>
              <a:avLst/>
              <a:gdLst/>
              <a:ahLst/>
              <a:cxnLst/>
              <a:rect l="l" t="t" r="r" b="b"/>
              <a:pathLst>
                <a:path w="1047751" h="527050">
                  <a:moveTo>
                    <a:pt x="663575" y="517525"/>
                  </a:moveTo>
                  <a:lnTo>
                    <a:pt x="666750" y="517525"/>
                  </a:lnTo>
                  <a:lnTo>
                    <a:pt x="666750" y="520700"/>
                  </a:lnTo>
                  <a:lnTo>
                    <a:pt x="657225" y="527050"/>
                  </a:lnTo>
                  <a:lnTo>
                    <a:pt x="654050" y="527050"/>
                  </a:lnTo>
                  <a:lnTo>
                    <a:pt x="654050" y="523875"/>
                  </a:lnTo>
                  <a:close/>
                  <a:moveTo>
                    <a:pt x="577850" y="492125"/>
                  </a:moveTo>
                  <a:lnTo>
                    <a:pt x="584200" y="492125"/>
                  </a:lnTo>
                  <a:lnTo>
                    <a:pt x="590550" y="492125"/>
                  </a:lnTo>
                  <a:lnTo>
                    <a:pt x="603250" y="498475"/>
                  </a:lnTo>
                  <a:lnTo>
                    <a:pt x="609600" y="508000"/>
                  </a:lnTo>
                  <a:lnTo>
                    <a:pt x="603250" y="514350"/>
                  </a:lnTo>
                  <a:lnTo>
                    <a:pt x="593725" y="511175"/>
                  </a:lnTo>
                  <a:lnTo>
                    <a:pt x="590550" y="504825"/>
                  </a:lnTo>
                  <a:lnTo>
                    <a:pt x="584200" y="501650"/>
                  </a:lnTo>
                  <a:lnTo>
                    <a:pt x="571500" y="501650"/>
                  </a:lnTo>
                  <a:lnTo>
                    <a:pt x="571500" y="495300"/>
                  </a:lnTo>
                  <a:close/>
                  <a:moveTo>
                    <a:pt x="698501" y="485776"/>
                  </a:moveTo>
                  <a:lnTo>
                    <a:pt x="704851" y="495301"/>
                  </a:lnTo>
                  <a:lnTo>
                    <a:pt x="701676" y="498476"/>
                  </a:lnTo>
                  <a:lnTo>
                    <a:pt x="695326" y="504826"/>
                  </a:lnTo>
                  <a:lnTo>
                    <a:pt x="685801" y="511176"/>
                  </a:lnTo>
                  <a:lnTo>
                    <a:pt x="669926" y="514351"/>
                  </a:lnTo>
                  <a:lnTo>
                    <a:pt x="669926" y="511176"/>
                  </a:lnTo>
                  <a:lnTo>
                    <a:pt x="669926" y="504826"/>
                  </a:lnTo>
                  <a:lnTo>
                    <a:pt x="673101" y="498476"/>
                  </a:lnTo>
                  <a:lnTo>
                    <a:pt x="679451" y="492126"/>
                  </a:lnTo>
                  <a:lnTo>
                    <a:pt x="682626" y="495301"/>
                  </a:lnTo>
                  <a:lnTo>
                    <a:pt x="685801" y="495301"/>
                  </a:lnTo>
                  <a:lnTo>
                    <a:pt x="688976" y="488951"/>
                  </a:lnTo>
                  <a:close/>
                  <a:moveTo>
                    <a:pt x="666751" y="469901"/>
                  </a:moveTo>
                  <a:lnTo>
                    <a:pt x="673101" y="469901"/>
                  </a:lnTo>
                  <a:lnTo>
                    <a:pt x="669926" y="476251"/>
                  </a:lnTo>
                  <a:lnTo>
                    <a:pt x="663576" y="476251"/>
                  </a:lnTo>
                  <a:close/>
                  <a:moveTo>
                    <a:pt x="514350" y="469900"/>
                  </a:moveTo>
                  <a:lnTo>
                    <a:pt x="523875" y="473075"/>
                  </a:lnTo>
                  <a:lnTo>
                    <a:pt x="520700" y="479425"/>
                  </a:lnTo>
                  <a:lnTo>
                    <a:pt x="514350" y="482600"/>
                  </a:lnTo>
                  <a:lnTo>
                    <a:pt x="504825" y="479425"/>
                  </a:lnTo>
                  <a:close/>
                  <a:moveTo>
                    <a:pt x="688976" y="466726"/>
                  </a:moveTo>
                  <a:lnTo>
                    <a:pt x="695326" y="466726"/>
                  </a:lnTo>
                  <a:lnTo>
                    <a:pt x="701676" y="466726"/>
                  </a:lnTo>
                  <a:lnTo>
                    <a:pt x="704851" y="469901"/>
                  </a:lnTo>
                  <a:lnTo>
                    <a:pt x="701676" y="473076"/>
                  </a:lnTo>
                  <a:lnTo>
                    <a:pt x="692151" y="473076"/>
                  </a:lnTo>
                  <a:lnTo>
                    <a:pt x="685801" y="473076"/>
                  </a:lnTo>
                  <a:close/>
                  <a:moveTo>
                    <a:pt x="685801" y="466726"/>
                  </a:moveTo>
                  <a:lnTo>
                    <a:pt x="682626" y="473076"/>
                  </a:lnTo>
                  <a:lnTo>
                    <a:pt x="679451" y="476251"/>
                  </a:lnTo>
                  <a:lnTo>
                    <a:pt x="679451" y="469901"/>
                  </a:lnTo>
                  <a:close/>
                  <a:moveTo>
                    <a:pt x="657225" y="466725"/>
                  </a:moveTo>
                  <a:lnTo>
                    <a:pt x="657225" y="473075"/>
                  </a:lnTo>
                  <a:lnTo>
                    <a:pt x="654050" y="476250"/>
                  </a:lnTo>
                  <a:lnTo>
                    <a:pt x="644525" y="479425"/>
                  </a:lnTo>
                  <a:lnTo>
                    <a:pt x="631825" y="482600"/>
                  </a:lnTo>
                  <a:lnTo>
                    <a:pt x="615950" y="485775"/>
                  </a:lnTo>
                  <a:lnTo>
                    <a:pt x="606425" y="482600"/>
                  </a:lnTo>
                  <a:lnTo>
                    <a:pt x="593725" y="482600"/>
                  </a:lnTo>
                  <a:lnTo>
                    <a:pt x="587375" y="476250"/>
                  </a:lnTo>
                  <a:lnTo>
                    <a:pt x="600075" y="469900"/>
                  </a:lnTo>
                  <a:lnTo>
                    <a:pt x="606425" y="469900"/>
                  </a:lnTo>
                  <a:lnTo>
                    <a:pt x="612775" y="469900"/>
                  </a:lnTo>
                  <a:lnTo>
                    <a:pt x="619125" y="473075"/>
                  </a:lnTo>
                  <a:lnTo>
                    <a:pt x="622300" y="476250"/>
                  </a:lnTo>
                  <a:lnTo>
                    <a:pt x="625475" y="476250"/>
                  </a:lnTo>
                  <a:lnTo>
                    <a:pt x="628650" y="473075"/>
                  </a:lnTo>
                  <a:lnTo>
                    <a:pt x="635000" y="473075"/>
                  </a:lnTo>
                  <a:lnTo>
                    <a:pt x="638175" y="476250"/>
                  </a:lnTo>
                  <a:lnTo>
                    <a:pt x="644525" y="476250"/>
                  </a:lnTo>
                  <a:lnTo>
                    <a:pt x="647700" y="476250"/>
                  </a:lnTo>
                  <a:lnTo>
                    <a:pt x="654050" y="469900"/>
                  </a:lnTo>
                  <a:close/>
                  <a:moveTo>
                    <a:pt x="549275" y="466725"/>
                  </a:moveTo>
                  <a:lnTo>
                    <a:pt x="555625" y="466725"/>
                  </a:lnTo>
                  <a:lnTo>
                    <a:pt x="571500" y="469900"/>
                  </a:lnTo>
                  <a:lnTo>
                    <a:pt x="571500" y="476250"/>
                  </a:lnTo>
                  <a:lnTo>
                    <a:pt x="574675" y="476250"/>
                  </a:lnTo>
                  <a:lnTo>
                    <a:pt x="571500" y="479425"/>
                  </a:lnTo>
                  <a:lnTo>
                    <a:pt x="568325" y="482600"/>
                  </a:lnTo>
                  <a:lnTo>
                    <a:pt x="558800" y="482600"/>
                  </a:lnTo>
                  <a:lnTo>
                    <a:pt x="533400" y="485775"/>
                  </a:lnTo>
                  <a:lnTo>
                    <a:pt x="527050" y="488950"/>
                  </a:lnTo>
                  <a:lnTo>
                    <a:pt x="523875" y="482600"/>
                  </a:lnTo>
                  <a:lnTo>
                    <a:pt x="527050" y="476250"/>
                  </a:lnTo>
                  <a:lnTo>
                    <a:pt x="533400" y="473075"/>
                  </a:lnTo>
                  <a:lnTo>
                    <a:pt x="542925" y="479425"/>
                  </a:lnTo>
                  <a:lnTo>
                    <a:pt x="552450" y="479425"/>
                  </a:lnTo>
                  <a:lnTo>
                    <a:pt x="552450" y="476250"/>
                  </a:lnTo>
                  <a:lnTo>
                    <a:pt x="549275" y="473075"/>
                  </a:lnTo>
                  <a:lnTo>
                    <a:pt x="546100" y="469900"/>
                  </a:lnTo>
                  <a:close/>
                  <a:moveTo>
                    <a:pt x="488950" y="463550"/>
                  </a:moveTo>
                  <a:lnTo>
                    <a:pt x="501650" y="473075"/>
                  </a:lnTo>
                  <a:lnTo>
                    <a:pt x="492125" y="479425"/>
                  </a:lnTo>
                  <a:lnTo>
                    <a:pt x="488950" y="479425"/>
                  </a:lnTo>
                  <a:lnTo>
                    <a:pt x="482600" y="476250"/>
                  </a:lnTo>
                  <a:lnTo>
                    <a:pt x="476250" y="469900"/>
                  </a:lnTo>
                  <a:lnTo>
                    <a:pt x="473075" y="466725"/>
                  </a:lnTo>
                  <a:lnTo>
                    <a:pt x="485775" y="466725"/>
                  </a:lnTo>
                  <a:close/>
                  <a:moveTo>
                    <a:pt x="733426" y="454026"/>
                  </a:moveTo>
                  <a:lnTo>
                    <a:pt x="739776" y="457201"/>
                  </a:lnTo>
                  <a:lnTo>
                    <a:pt x="736601" y="460376"/>
                  </a:lnTo>
                  <a:lnTo>
                    <a:pt x="720726" y="463551"/>
                  </a:lnTo>
                  <a:lnTo>
                    <a:pt x="720726" y="457201"/>
                  </a:lnTo>
                  <a:lnTo>
                    <a:pt x="730251" y="457201"/>
                  </a:lnTo>
                  <a:close/>
                  <a:moveTo>
                    <a:pt x="844551" y="444501"/>
                  </a:moveTo>
                  <a:lnTo>
                    <a:pt x="841376" y="457201"/>
                  </a:lnTo>
                  <a:lnTo>
                    <a:pt x="838201" y="463551"/>
                  </a:lnTo>
                  <a:lnTo>
                    <a:pt x="831851" y="463551"/>
                  </a:lnTo>
                  <a:lnTo>
                    <a:pt x="831851" y="460376"/>
                  </a:lnTo>
                  <a:lnTo>
                    <a:pt x="835026" y="457201"/>
                  </a:lnTo>
                  <a:close/>
                  <a:moveTo>
                    <a:pt x="441325" y="441325"/>
                  </a:moveTo>
                  <a:lnTo>
                    <a:pt x="454025" y="441325"/>
                  </a:lnTo>
                  <a:lnTo>
                    <a:pt x="463550" y="441325"/>
                  </a:lnTo>
                  <a:lnTo>
                    <a:pt x="463550" y="444500"/>
                  </a:lnTo>
                  <a:lnTo>
                    <a:pt x="444500" y="447675"/>
                  </a:lnTo>
                  <a:lnTo>
                    <a:pt x="434975" y="444500"/>
                  </a:lnTo>
                  <a:close/>
                  <a:moveTo>
                    <a:pt x="898526" y="425451"/>
                  </a:moveTo>
                  <a:lnTo>
                    <a:pt x="904876" y="431801"/>
                  </a:lnTo>
                  <a:lnTo>
                    <a:pt x="901701" y="441326"/>
                  </a:lnTo>
                  <a:lnTo>
                    <a:pt x="895351" y="434976"/>
                  </a:lnTo>
                  <a:close/>
                  <a:moveTo>
                    <a:pt x="292100" y="419100"/>
                  </a:moveTo>
                  <a:lnTo>
                    <a:pt x="307975" y="422275"/>
                  </a:lnTo>
                  <a:lnTo>
                    <a:pt x="320675" y="419100"/>
                  </a:lnTo>
                  <a:lnTo>
                    <a:pt x="327025" y="425450"/>
                  </a:lnTo>
                  <a:lnTo>
                    <a:pt x="336550" y="425450"/>
                  </a:lnTo>
                  <a:lnTo>
                    <a:pt x="339725" y="425450"/>
                  </a:lnTo>
                  <a:lnTo>
                    <a:pt x="342900" y="428625"/>
                  </a:lnTo>
                  <a:lnTo>
                    <a:pt x="346075" y="434975"/>
                  </a:lnTo>
                  <a:lnTo>
                    <a:pt x="352425" y="438150"/>
                  </a:lnTo>
                  <a:lnTo>
                    <a:pt x="368300" y="441325"/>
                  </a:lnTo>
                  <a:lnTo>
                    <a:pt x="384175" y="441325"/>
                  </a:lnTo>
                  <a:lnTo>
                    <a:pt x="390525" y="434975"/>
                  </a:lnTo>
                  <a:lnTo>
                    <a:pt x="393700" y="434975"/>
                  </a:lnTo>
                  <a:lnTo>
                    <a:pt x="400050" y="431800"/>
                  </a:lnTo>
                  <a:lnTo>
                    <a:pt x="415925" y="438150"/>
                  </a:lnTo>
                  <a:lnTo>
                    <a:pt x="425450" y="441325"/>
                  </a:lnTo>
                  <a:lnTo>
                    <a:pt x="431800" y="444500"/>
                  </a:lnTo>
                  <a:lnTo>
                    <a:pt x="434975" y="447675"/>
                  </a:lnTo>
                  <a:lnTo>
                    <a:pt x="438150" y="454025"/>
                  </a:lnTo>
                  <a:lnTo>
                    <a:pt x="447675" y="460375"/>
                  </a:lnTo>
                  <a:lnTo>
                    <a:pt x="454025" y="457200"/>
                  </a:lnTo>
                  <a:lnTo>
                    <a:pt x="463550" y="457200"/>
                  </a:lnTo>
                  <a:lnTo>
                    <a:pt x="473075" y="460375"/>
                  </a:lnTo>
                  <a:lnTo>
                    <a:pt x="473075" y="466725"/>
                  </a:lnTo>
                  <a:lnTo>
                    <a:pt x="473075" y="469900"/>
                  </a:lnTo>
                  <a:lnTo>
                    <a:pt x="473075" y="476250"/>
                  </a:lnTo>
                  <a:lnTo>
                    <a:pt x="476250" y="479425"/>
                  </a:lnTo>
                  <a:lnTo>
                    <a:pt x="469900" y="479425"/>
                  </a:lnTo>
                  <a:lnTo>
                    <a:pt x="444500" y="469900"/>
                  </a:lnTo>
                  <a:lnTo>
                    <a:pt x="441325" y="473075"/>
                  </a:lnTo>
                  <a:lnTo>
                    <a:pt x="434975" y="473075"/>
                  </a:lnTo>
                  <a:lnTo>
                    <a:pt x="428625" y="469900"/>
                  </a:lnTo>
                  <a:lnTo>
                    <a:pt x="419100" y="469900"/>
                  </a:lnTo>
                  <a:lnTo>
                    <a:pt x="409575" y="469900"/>
                  </a:lnTo>
                  <a:lnTo>
                    <a:pt x="393700" y="469900"/>
                  </a:lnTo>
                  <a:lnTo>
                    <a:pt x="384175" y="463550"/>
                  </a:lnTo>
                  <a:lnTo>
                    <a:pt x="368300" y="460375"/>
                  </a:lnTo>
                  <a:lnTo>
                    <a:pt x="358775" y="457200"/>
                  </a:lnTo>
                  <a:lnTo>
                    <a:pt x="349250" y="457200"/>
                  </a:lnTo>
                  <a:lnTo>
                    <a:pt x="346075" y="457200"/>
                  </a:lnTo>
                  <a:lnTo>
                    <a:pt x="346075" y="460375"/>
                  </a:lnTo>
                  <a:lnTo>
                    <a:pt x="339725" y="460375"/>
                  </a:lnTo>
                  <a:lnTo>
                    <a:pt x="327025" y="457200"/>
                  </a:lnTo>
                  <a:lnTo>
                    <a:pt x="314325" y="450850"/>
                  </a:lnTo>
                  <a:lnTo>
                    <a:pt x="298450" y="450850"/>
                  </a:lnTo>
                  <a:lnTo>
                    <a:pt x="298450" y="447675"/>
                  </a:lnTo>
                  <a:lnTo>
                    <a:pt x="298450" y="444500"/>
                  </a:lnTo>
                  <a:lnTo>
                    <a:pt x="292100" y="438150"/>
                  </a:lnTo>
                  <a:lnTo>
                    <a:pt x="285750" y="438150"/>
                  </a:lnTo>
                  <a:lnTo>
                    <a:pt x="279400" y="438150"/>
                  </a:lnTo>
                  <a:lnTo>
                    <a:pt x="285750" y="425450"/>
                  </a:lnTo>
                  <a:close/>
                  <a:moveTo>
                    <a:pt x="904876" y="409576"/>
                  </a:moveTo>
                  <a:lnTo>
                    <a:pt x="911226" y="419101"/>
                  </a:lnTo>
                  <a:lnTo>
                    <a:pt x="908051" y="428626"/>
                  </a:lnTo>
                  <a:lnTo>
                    <a:pt x="901701" y="425451"/>
                  </a:lnTo>
                  <a:lnTo>
                    <a:pt x="901701" y="422276"/>
                  </a:lnTo>
                  <a:lnTo>
                    <a:pt x="901701" y="415926"/>
                  </a:lnTo>
                  <a:close/>
                  <a:moveTo>
                    <a:pt x="650876" y="390526"/>
                  </a:moveTo>
                  <a:lnTo>
                    <a:pt x="650876" y="403226"/>
                  </a:lnTo>
                  <a:lnTo>
                    <a:pt x="647701" y="406401"/>
                  </a:lnTo>
                  <a:lnTo>
                    <a:pt x="644526" y="406401"/>
                  </a:lnTo>
                  <a:lnTo>
                    <a:pt x="644526" y="396876"/>
                  </a:lnTo>
                  <a:close/>
                  <a:moveTo>
                    <a:pt x="657226" y="387351"/>
                  </a:moveTo>
                  <a:lnTo>
                    <a:pt x="660401" y="387351"/>
                  </a:lnTo>
                  <a:lnTo>
                    <a:pt x="663576" y="393701"/>
                  </a:lnTo>
                  <a:lnTo>
                    <a:pt x="663576" y="406401"/>
                  </a:lnTo>
                  <a:lnTo>
                    <a:pt x="660401" y="409576"/>
                  </a:lnTo>
                  <a:lnTo>
                    <a:pt x="654051" y="415926"/>
                  </a:lnTo>
                  <a:lnTo>
                    <a:pt x="650876" y="409576"/>
                  </a:lnTo>
                  <a:lnTo>
                    <a:pt x="654051" y="396876"/>
                  </a:lnTo>
                  <a:close/>
                  <a:moveTo>
                    <a:pt x="511176" y="361951"/>
                  </a:moveTo>
                  <a:lnTo>
                    <a:pt x="514351" y="361951"/>
                  </a:lnTo>
                  <a:lnTo>
                    <a:pt x="514351" y="374651"/>
                  </a:lnTo>
                  <a:lnTo>
                    <a:pt x="511176" y="377826"/>
                  </a:lnTo>
                  <a:lnTo>
                    <a:pt x="508001" y="377826"/>
                  </a:lnTo>
                  <a:lnTo>
                    <a:pt x="508001" y="368301"/>
                  </a:lnTo>
                  <a:close/>
                  <a:moveTo>
                    <a:pt x="723901" y="358776"/>
                  </a:moveTo>
                  <a:lnTo>
                    <a:pt x="742951" y="358776"/>
                  </a:lnTo>
                  <a:lnTo>
                    <a:pt x="749301" y="365126"/>
                  </a:lnTo>
                  <a:lnTo>
                    <a:pt x="746126" y="371476"/>
                  </a:lnTo>
                  <a:lnTo>
                    <a:pt x="736601" y="374651"/>
                  </a:lnTo>
                  <a:lnTo>
                    <a:pt x="727076" y="368301"/>
                  </a:lnTo>
                  <a:lnTo>
                    <a:pt x="723901" y="361951"/>
                  </a:lnTo>
                  <a:close/>
                  <a:moveTo>
                    <a:pt x="781051" y="352426"/>
                  </a:moveTo>
                  <a:lnTo>
                    <a:pt x="790576" y="355601"/>
                  </a:lnTo>
                  <a:lnTo>
                    <a:pt x="800101" y="352426"/>
                  </a:lnTo>
                  <a:lnTo>
                    <a:pt x="812801" y="355601"/>
                  </a:lnTo>
                  <a:lnTo>
                    <a:pt x="822326" y="358776"/>
                  </a:lnTo>
                  <a:lnTo>
                    <a:pt x="828676" y="368301"/>
                  </a:lnTo>
                  <a:lnTo>
                    <a:pt x="825501" y="374651"/>
                  </a:lnTo>
                  <a:lnTo>
                    <a:pt x="822326" y="371476"/>
                  </a:lnTo>
                  <a:lnTo>
                    <a:pt x="812801" y="368301"/>
                  </a:lnTo>
                  <a:lnTo>
                    <a:pt x="809626" y="365126"/>
                  </a:lnTo>
                  <a:lnTo>
                    <a:pt x="790576" y="365126"/>
                  </a:lnTo>
                  <a:lnTo>
                    <a:pt x="787401" y="365126"/>
                  </a:lnTo>
                  <a:lnTo>
                    <a:pt x="781051" y="365126"/>
                  </a:lnTo>
                  <a:lnTo>
                    <a:pt x="765176" y="361951"/>
                  </a:lnTo>
                  <a:lnTo>
                    <a:pt x="765176" y="368301"/>
                  </a:lnTo>
                  <a:lnTo>
                    <a:pt x="762001" y="358776"/>
                  </a:lnTo>
                  <a:lnTo>
                    <a:pt x="768351" y="358776"/>
                  </a:lnTo>
                  <a:close/>
                  <a:moveTo>
                    <a:pt x="165100" y="352425"/>
                  </a:moveTo>
                  <a:lnTo>
                    <a:pt x="171450" y="358775"/>
                  </a:lnTo>
                  <a:lnTo>
                    <a:pt x="171450" y="361950"/>
                  </a:lnTo>
                  <a:lnTo>
                    <a:pt x="168275" y="361950"/>
                  </a:lnTo>
                  <a:lnTo>
                    <a:pt x="168275" y="358775"/>
                  </a:lnTo>
                  <a:lnTo>
                    <a:pt x="165100" y="355600"/>
                  </a:lnTo>
                  <a:close/>
                  <a:moveTo>
                    <a:pt x="327025" y="346075"/>
                  </a:moveTo>
                  <a:lnTo>
                    <a:pt x="339725" y="352425"/>
                  </a:lnTo>
                  <a:lnTo>
                    <a:pt x="336550" y="361950"/>
                  </a:lnTo>
                  <a:lnTo>
                    <a:pt x="327025" y="361950"/>
                  </a:lnTo>
                  <a:lnTo>
                    <a:pt x="323850" y="355600"/>
                  </a:lnTo>
                  <a:close/>
                  <a:moveTo>
                    <a:pt x="711201" y="330201"/>
                  </a:moveTo>
                  <a:lnTo>
                    <a:pt x="717551" y="330201"/>
                  </a:lnTo>
                  <a:lnTo>
                    <a:pt x="730251" y="330201"/>
                  </a:lnTo>
                  <a:lnTo>
                    <a:pt x="714376" y="333376"/>
                  </a:lnTo>
                  <a:lnTo>
                    <a:pt x="708026" y="333376"/>
                  </a:lnTo>
                  <a:close/>
                  <a:moveTo>
                    <a:pt x="927101" y="327026"/>
                  </a:moveTo>
                  <a:lnTo>
                    <a:pt x="942976" y="327026"/>
                  </a:lnTo>
                  <a:lnTo>
                    <a:pt x="955676" y="330201"/>
                  </a:lnTo>
                  <a:lnTo>
                    <a:pt x="949326" y="333376"/>
                  </a:lnTo>
                  <a:lnTo>
                    <a:pt x="939801" y="330201"/>
                  </a:lnTo>
                  <a:lnTo>
                    <a:pt x="930276" y="330201"/>
                  </a:lnTo>
                  <a:close/>
                  <a:moveTo>
                    <a:pt x="815976" y="327026"/>
                  </a:moveTo>
                  <a:lnTo>
                    <a:pt x="815976" y="336551"/>
                  </a:lnTo>
                  <a:lnTo>
                    <a:pt x="806451" y="333376"/>
                  </a:lnTo>
                  <a:lnTo>
                    <a:pt x="806451" y="330201"/>
                  </a:lnTo>
                  <a:close/>
                  <a:moveTo>
                    <a:pt x="688976" y="327026"/>
                  </a:moveTo>
                  <a:lnTo>
                    <a:pt x="701676" y="327026"/>
                  </a:lnTo>
                  <a:lnTo>
                    <a:pt x="708026" y="333376"/>
                  </a:lnTo>
                  <a:lnTo>
                    <a:pt x="695326" y="333376"/>
                  </a:lnTo>
                  <a:lnTo>
                    <a:pt x="688976" y="336551"/>
                  </a:lnTo>
                  <a:lnTo>
                    <a:pt x="685801" y="330201"/>
                  </a:lnTo>
                  <a:close/>
                  <a:moveTo>
                    <a:pt x="288925" y="323850"/>
                  </a:moveTo>
                  <a:lnTo>
                    <a:pt x="292100" y="330200"/>
                  </a:lnTo>
                  <a:lnTo>
                    <a:pt x="295275" y="342900"/>
                  </a:lnTo>
                  <a:lnTo>
                    <a:pt x="304800" y="346075"/>
                  </a:lnTo>
                  <a:lnTo>
                    <a:pt x="304800" y="352425"/>
                  </a:lnTo>
                  <a:lnTo>
                    <a:pt x="301625" y="355600"/>
                  </a:lnTo>
                  <a:lnTo>
                    <a:pt x="292100" y="352425"/>
                  </a:lnTo>
                  <a:lnTo>
                    <a:pt x="288925" y="349250"/>
                  </a:lnTo>
                  <a:lnTo>
                    <a:pt x="288925" y="342900"/>
                  </a:lnTo>
                  <a:lnTo>
                    <a:pt x="285750" y="339725"/>
                  </a:lnTo>
                  <a:lnTo>
                    <a:pt x="276225" y="336550"/>
                  </a:lnTo>
                  <a:lnTo>
                    <a:pt x="273050" y="336550"/>
                  </a:lnTo>
                  <a:lnTo>
                    <a:pt x="273050" y="330200"/>
                  </a:lnTo>
                  <a:lnTo>
                    <a:pt x="282575" y="327025"/>
                  </a:lnTo>
                  <a:close/>
                  <a:moveTo>
                    <a:pt x="758826" y="320676"/>
                  </a:moveTo>
                  <a:lnTo>
                    <a:pt x="765176" y="323851"/>
                  </a:lnTo>
                  <a:lnTo>
                    <a:pt x="768351" y="330201"/>
                  </a:lnTo>
                  <a:lnTo>
                    <a:pt x="762001" y="330201"/>
                  </a:lnTo>
                  <a:lnTo>
                    <a:pt x="755651" y="330201"/>
                  </a:lnTo>
                  <a:lnTo>
                    <a:pt x="752476" y="327026"/>
                  </a:lnTo>
                  <a:lnTo>
                    <a:pt x="752476" y="323851"/>
                  </a:lnTo>
                  <a:close/>
                  <a:moveTo>
                    <a:pt x="657226" y="317501"/>
                  </a:moveTo>
                  <a:lnTo>
                    <a:pt x="663576" y="317501"/>
                  </a:lnTo>
                  <a:lnTo>
                    <a:pt x="669926" y="320676"/>
                  </a:lnTo>
                  <a:lnTo>
                    <a:pt x="660401" y="323851"/>
                  </a:lnTo>
                  <a:lnTo>
                    <a:pt x="657226" y="327026"/>
                  </a:lnTo>
                  <a:lnTo>
                    <a:pt x="654051" y="323851"/>
                  </a:lnTo>
                  <a:close/>
                  <a:moveTo>
                    <a:pt x="365125" y="314325"/>
                  </a:moveTo>
                  <a:lnTo>
                    <a:pt x="371475" y="314325"/>
                  </a:lnTo>
                  <a:lnTo>
                    <a:pt x="368300" y="317500"/>
                  </a:lnTo>
                  <a:lnTo>
                    <a:pt x="361950" y="317500"/>
                  </a:lnTo>
                  <a:close/>
                  <a:moveTo>
                    <a:pt x="828676" y="311151"/>
                  </a:moveTo>
                  <a:lnTo>
                    <a:pt x="831851" y="317501"/>
                  </a:lnTo>
                  <a:lnTo>
                    <a:pt x="828676" y="320676"/>
                  </a:lnTo>
                  <a:lnTo>
                    <a:pt x="822326" y="314326"/>
                  </a:lnTo>
                  <a:close/>
                  <a:moveTo>
                    <a:pt x="133350" y="311150"/>
                  </a:moveTo>
                  <a:lnTo>
                    <a:pt x="142875" y="317500"/>
                  </a:lnTo>
                  <a:lnTo>
                    <a:pt x="146050" y="327025"/>
                  </a:lnTo>
                  <a:lnTo>
                    <a:pt x="142875" y="330200"/>
                  </a:lnTo>
                  <a:lnTo>
                    <a:pt x="133350" y="323850"/>
                  </a:lnTo>
                  <a:lnTo>
                    <a:pt x="130175" y="317500"/>
                  </a:lnTo>
                  <a:close/>
                  <a:moveTo>
                    <a:pt x="819151" y="307976"/>
                  </a:moveTo>
                  <a:lnTo>
                    <a:pt x="828676" y="307976"/>
                  </a:lnTo>
                  <a:lnTo>
                    <a:pt x="825501" y="311151"/>
                  </a:lnTo>
                  <a:lnTo>
                    <a:pt x="819151" y="311151"/>
                  </a:lnTo>
                  <a:close/>
                  <a:moveTo>
                    <a:pt x="927101" y="304801"/>
                  </a:moveTo>
                  <a:lnTo>
                    <a:pt x="933451" y="307976"/>
                  </a:lnTo>
                  <a:lnTo>
                    <a:pt x="939801" y="311151"/>
                  </a:lnTo>
                  <a:lnTo>
                    <a:pt x="946151" y="314326"/>
                  </a:lnTo>
                  <a:lnTo>
                    <a:pt x="942976" y="317501"/>
                  </a:lnTo>
                  <a:lnTo>
                    <a:pt x="930276" y="311151"/>
                  </a:lnTo>
                  <a:lnTo>
                    <a:pt x="927101" y="307976"/>
                  </a:lnTo>
                  <a:close/>
                  <a:moveTo>
                    <a:pt x="860426" y="298451"/>
                  </a:moveTo>
                  <a:lnTo>
                    <a:pt x="876301" y="301626"/>
                  </a:lnTo>
                  <a:lnTo>
                    <a:pt x="879476" y="304801"/>
                  </a:lnTo>
                  <a:lnTo>
                    <a:pt x="885826" y="307976"/>
                  </a:lnTo>
                  <a:lnTo>
                    <a:pt x="892176" y="307976"/>
                  </a:lnTo>
                  <a:lnTo>
                    <a:pt x="898526" y="307976"/>
                  </a:lnTo>
                  <a:lnTo>
                    <a:pt x="898526" y="314326"/>
                  </a:lnTo>
                  <a:lnTo>
                    <a:pt x="901701" y="323851"/>
                  </a:lnTo>
                  <a:lnTo>
                    <a:pt x="898526" y="323851"/>
                  </a:lnTo>
                  <a:lnTo>
                    <a:pt x="898526" y="327026"/>
                  </a:lnTo>
                  <a:lnTo>
                    <a:pt x="898526" y="333376"/>
                  </a:lnTo>
                  <a:lnTo>
                    <a:pt x="901701" y="346076"/>
                  </a:lnTo>
                  <a:lnTo>
                    <a:pt x="911226" y="355601"/>
                  </a:lnTo>
                  <a:lnTo>
                    <a:pt x="917576" y="365126"/>
                  </a:lnTo>
                  <a:lnTo>
                    <a:pt x="927101" y="361951"/>
                  </a:lnTo>
                  <a:lnTo>
                    <a:pt x="933451" y="358776"/>
                  </a:lnTo>
                  <a:lnTo>
                    <a:pt x="936626" y="355601"/>
                  </a:lnTo>
                  <a:lnTo>
                    <a:pt x="946151" y="342901"/>
                  </a:lnTo>
                  <a:lnTo>
                    <a:pt x="949326" y="339726"/>
                  </a:lnTo>
                  <a:lnTo>
                    <a:pt x="955676" y="339726"/>
                  </a:lnTo>
                  <a:lnTo>
                    <a:pt x="965201" y="333376"/>
                  </a:lnTo>
                  <a:lnTo>
                    <a:pt x="965201" y="330201"/>
                  </a:lnTo>
                  <a:lnTo>
                    <a:pt x="971551" y="327026"/>
                  </a:lnTo>
                  <a:lnTo>
                    <a:pt x="981076" y="323851"/>
                  </a:lnTo>
                  <a:lnTo>
                    <a:pt x="993776" y="330201"/>
                  </a:lnTo>
                  <a:lnTo>
                    <a:pt x="1019176" y="342901"/>
                  </a:lnTo>
                  <a:lnTo>
                    <a:pt x="1022351" y="342901"/>
                  </a:lnTo>
                  <a:lnTo>
                    <a:pt x="1028701" y="342901"/>
                  </a:lnTo>
                  <a:lnTo>
                    <a:pt x="1041401" y="346076"/>
                  </a:lnTo>
                  <a:lnTo>
                    <a:pt x="1047751" y="346076"/>
                  </a:lnTo>
                  <a:lnTo>
                    <a:pt x="1047751" y="428626"/>
                  </a:lnTo>
                  <a:lnTo>
                    <a:pt x="1044576" y="428626"/>
                  </a:lnTo>
                  <a:lnTo>
                    <a:pt x="1044576" y="434976"/>
                  </a:lnTo>
                  <a:lnTo>
                    <a:pt x="1047751" y="441326"/>
                  </a:lnTo>
                  <a:lnTo>
                    <a:pt x="1047751" y="488951"/>
                  </a:lnTo>
                  <a:lnTo>
                    <a:pt x="1038226" y="482601"/>
                  </a:lnTo>
                  <a:lnTo>
                    <a:pt x="1025526" y="469901"/>
                  </a:lnTo>
                  <a:lnTo>
                    <a:pt x="1025526" y="466726"/>
                  </a:lnTo>
                  <a:lnTo>
                    <a:pt x="1022351" y="466726"/>
                  </a:lnTo>
                  <a:lnTo>
                    <a:pt x="1019176" y="466726"/>
                  </a:lnTo>
                  <a:lnTo>
                    <a:pt x="1006476" y="469901"/>
                  </a:lnTo>
                  <a:lnTo>
                    <a:pt x="1000126" y="466726"/>
                  </a:lnTo>
                  <a:lnTo>
                    <a:pt x="1000126" y="463551"/>
                  </a:lnTo>
                  <a:lnTo>
                    <a:pt x="990601" y="473076"/>
                  </a:lnTo>
                  <a:lnTo>
                    <a:pt x="977901" y="473076"/>
                  </a:lnTo>
                  <a:lnTo>
                    <a:pt x="974726" y="469901"/>
                  </a:lnTo>
                  <a:lnTo>
                    <a:pt x="977901" y="460376"/>
                  </a:lnTo>
                  <a:lnTo>
                    <a:pt x="990601" y="450851"/>
                  </a:lnTo>
                  <a:lnTo>
                    <a:pt x="1000126" y="454026"/>
                  </a:lnTo>
                  <a:lnTo>
                    <a:pt x="1002508" y="456407"/>
                  </a:lnTo>
                  <a:lnTo>
                    <a:pt x="1003301" y="454026"/>
                  </a:lnTo>
                  <a:lnTo>
                    <a:pt x="1003301" y="450851"/>
                  </a:lnTo>
                  <a:lnTo>
                    <a:pt x="996951" y="444501"/>
                  </a:lnTo>
                  <a:lnTo>
                    <a:pt x="993776" y="438151"/>
                  </a:lnTo>
                  <a:lnTo>
                    <a:pt x="996951" y="434976"/>
                  </a:lnTo>
                  <a:lnTo>
                    <a:pt x="987426" y="419101"/>
                  </a:lnTo>
                  <a:lnTo>
                    <a:pt x="981076" y="409576"/>
                  </a:lnTo>
                  <a:lnTo>
                    <a:pt x="968376" y="400051"/>
                  </a:lnTo>
                  <a:lnTo>
                    <a:pt x="955676" y="396876"/>
                  </a:lnTo>
                  <a:lnTo>
                    <a:pt x="942976" y="393701"/>
                  </a:lnTo>
                  <a:lnTo>
                    <a:pt x="939801" y="390526"/>
                  </a:lnTo>
                  <a:lnTo>
                    <a:pt x="936626" y="387351"/>
                  </a:lnTo>
                  <a:lnTo>
                    <a:pt x="927101" y="387351"/>
                  </a:lnTo>
                  <a:lnTo>
                    <a:pt x="920751" y="387351"/>
                  </a:lnTo>
                  <a:lnTo>
                    <a:pt x="917576" y="387351"/>
                  </a:lnTo>
                  <a:lnTo>
                    <a:pt x="911226" y="384176"/>
                  </a:lnTo>
                  <a:lnTo>
                    <a:pt x="908051" y="381001"/>
                  </a:lnTo>
                  <a:lnTo>
                    <a:pt x="895351" y="371476"/>
                  </a:lnTo>
                  <a:lnTo>
                    <a:pt x="889001" y="371476"/>
                  </a:lnTo>
                  <a:lnTo>
                    <a:pt x="882651" y="374651"/>
                  </a:lnTo>
                  <a:lnTo>
                    <a:pt x="879476" y="377826"/>
                  </a:lnTo>
                  <a:lnTo>
                    <a:pt x="873126" y="381001"/>
                  </a:lnTo>
                  <a:lnTo>
                    <a:pt x="869951" y="371476"/>
                  </a:lnTo>
                  <a:lnTo>
                    <a:pt x="869951" y="368301"/>
                  </a:lnTo>
                  <a:lnTo>
                    <a:pt x="869951" y="365126"/>
                  </a:lnTo>
                  <a:lnTo>
                    <a:pt x="860426" y="355601"/>
                  </a:lnTo>
                  <a:lnTo>
                    <a:pt x="854076" y="355601"/>
                  </a:lnTo>
                  <a:lnTo>
                    <a:pt x="850901" y="352426"/>
                  </a:lnTo>
                  <a:lnTo>
                    <a:pt x="860426" y="349251"/>
                  </a:lnTo>
                  <a:lnTo>
                    <a:pt x="873126" y="346076"/>
                  </a:lnTo>
                  <a:lnTo>
                    <a:pt x="879476" y="342901"/>
                  </a:lnTo>
                  <a:lnTo>
                    <a:pt x="892176" y="349251"/>
                  </a:lnTo>
                  <a:lnTo>
                    <a:pt x="892176" y="336551"/>
                  </a:lnTo>
                  <a:lnTo>
                    <a:pt x="889001" y="339726"/>
                  </a:lnTo>
                  <a:lnTo>
                    <a:pt x="882651" y="339726"/>
                  </a:lnTo>
                  <a:lnTo>
                    <a:pt x="873126" y="339726"/>
                  </a:lnTo>
                  <a:lnTo>
                    <a:pt x="869951" y="339726"/>
                  </a:lnTo>
                  <a:lnTo>
                    <a:pt x="866776" y="339726"/>
                  </a:lnTo>
                  <a:lnTo>
                    <a:pt x="860426" y="339726"/>
                  </a:lnTo>
                  <a:lnTo>
                    <a:pt x="854076" y="336551"/>
                  </a:lnTo>
                  <a:lnTo>
                    <a:pt x="850901" y="330201"/>
                  </a:lnTo>
                  <a:lnTo>
                    <a:pt x="847726" y="327026"/>
                  </a:lnTo>
                  <a:lnTo>
                    <a:pt x="838201" y="323851"/>
                  </a:lnTo>
                  <a:lnTo>
                    <a:pt x="828676" y="320676"/>
                  </a:lnTo>
                  <a:lnTo>
                    <a:pt x="841376" y="311151"/>
                  </a:lnTo>
                  <a:lnTo>
                    <a:pt x="850901" y="301626"/>
                  </a:lnTo>
                  <a:close/>
                  <a:moveTo>
                    <a:pt x="755651" y="298451"/>
                  </a:moveTo>
                  <a:lnTo>
                    <a:pt x="762001" y="307976"/>
                  </a:lnTo>
                  <a:lnTo>
                    <a:pt x="758826" y="311151"/>
                  </a:lnTo>
                  <a:lnTo>
                    <a:pt x="752476" y="307976"/>
                  </a:lnTo>
                  <a:lnTo>
                    <a:pt x="749301" y="301626"/>
                  </a:lnTo>
                  <a:close/>
                  <a:moveTo>
                    <a:pt x="825501" y="292101"/>
                  </a:moveTo>
                  <a:lnTo>
                    <a:pt x="838201" y="295276"/>
                  </a:lnTo>
                  <a:lnTo>
                    <a:pt x="835026" y="301626"/>
                  </a:lnTo>
                  <a:lnTo>
                    <a:pt x="825501" y="295276"/>
                  </a:lnTo>
                  <a:lnTo>
                    <a:pt x="828676" y="298451"/>
                  </a:lnTo>
                  <a:lnTo>
                    <a:pt x="822326" y="301626"/>
                  </a:lnTo>
                  <a:lnTo>
                    <a:pt x="812801" y="295276"/>
                  </a:lnTo>
                  <a:lnTo>
                    <a:pt x="815976" y="295276"/>
                  </a:lnTo>
                  <a:lnTo>
                    <a:pt x="819151" y="295276"/>
                  </a:lnTo>
                  <a:close/>
                  <a:moveTo>
                    <a:pt x="260350" y="292100"/>
                  </a:moveTo>
                  <a:lnTo>
                    <a:pt x="269875" y="298450"/>
                  </a:lnTo>
                  <a:lnTo>
                    <a:pt x="260350" y="298450"/>
                  </a:lnTo>
                  <a:lnTo>
                    <a:pt x="257175" y="295275"/>
                  </a:lnTo>
                  <a:close/>
                  <a:moveTo>
                    <a:pt x="250825" y="269875"/>
                  </a:moveTo>
                  <a:lnTo>
                    <a:pt x="263525" y="269875"/>
                  </a:lnTo>
                  <a:lnTo>
                    <a:pt x="257175" y="273050"/>
                  </a:lnTo>
                  <a:close/>
                  <a:moveTo>
                    <a:pt x="212725" y="266700"/>
                  </a:moveTo>
                  <a:lnTo>
                    <a:pt x="225425" y="273050"/>
                  </a:lnTo>
                  <a:lnTo>
                    <a:pt x="215900" y="273050"/>
                  </a:lnTo>
                  <a:close/>
                  <a:moveTo>
                    <a:pt x="222250" y="263525"/>
                  </a:moveTo>
                  <a:lnTo>
                    <a:pt x="231775" y="269875"/>
                  </a:lnTo>
                  <a:lnTo>
                    <a:pt x="225425" y="269875"/>
                  </a:lnTo>
                  <a:close/>
                  <a:moveTo>
                    <a:pt x="101600" y="260350"/>
                  </a:moveTo>
                  <a:lnTo>
                    <a:pt x="107950" y="260350"/>
                  </a:lnTo>
                  <a:lnTo>
                    <a:pt x="117475" y="273050"/>
                  </a:lnTo>
                  <a:lnTo>
                    <a:pt x="111125" y="279400"/>
                  </a:lnTo>
                  <a:lnTo>
                    <a:pt x="107950" y="273050"/>
                  </a:lnTo>
                  <a:lnTo>
                    <a:pt x="101600" y="263525"/>
                  </a:lnTo>
                  <a:close/>
                  <a:moveTo>
                    <a:pt x="701676" y="254001"/>
                  </a:moveTo>
                  <a:lnTo>
                    <a:pt x="704851" y="260351"/>
                  </a:lnTo>
                  <a:lnTo>
                    <a:pt x="704851" y="263526"/>
                  </a:lnTo>
                  <a:lnTo>
                    <a:pt x="695326" y="273051"/>
                  </a:lnTo>
                  <a:lnTo>
                    <a:pt x="685801" y="282576"/>
                  </a:lnTo>
                  <a:lnTo>
                    <a:pt x="682626" y="282576"/>
                  </a:lnTo>
                  <a:lnTo>
                    <a:pt x="676276" y="285751"/>
                  </a:lnTo>
                  <a:lnTo>
                    <a:pt x="663576" y="285751"/>
                  </a:lnTo>
                  <a:lnTo>
                    <a:pt x="660401" y="282576"/>
                  </a:lnTo>
                  <a:lnTo>
                    <a:pt x="654051" y="282576"/>
                  </a:lnTo>
                  <a:lnTo>
                    <a:pt x="641351" y="282576"/>
                  </a:lnTo>
                  <a:lnTo>
                    <a:pt x="631826" y="282576"/>
                  </a:lnTo>
                  <a:lnTo>
                    <a:pt x="628651" y="279401"/>
                  </a:lnTo>
                  <a:lnTo>
                    <a:pt x="622301" y="282576"/>
                  </a:lnTo>
                  <a:lnTo>
                    <a:pt x="615951" y="282576"/>
                  </a:lnTo>
                  <a:lnTo>
                    <a:pt x="609601" y="279401"/>
                  </a:lnTo>
                  <a:lnTo>
                    <a:pt x="600076" y="282576"/>
                  </a:lnTo>
                  <a:lnTo>
                    <a:pt x="593726" y="292101"/>
                  </a:lnTo>
                  <a:lnTo>
                    <a:pt x="593726" y="304801"/>
                  </a:lnTo>
                  <a:lnTo>
                    <a:pt x="600076" y="311151"/>
                  </a:lnTo>
                  <a:lnTo>
                    <a:pt x="606426" y="317501"/>
                  </a:lnTo>
                  <a:lnTo>
                    <a:pt x="609601" y="320676"/>
                  </a:lnTo>
                  <a:lnTo>
                    <a:pt x="619126" y="317501"/>
                  </a:lnTo>
                  <a:lnTo>
                    <a:pt x="625476" y="311151"/>
                  </a:lnTo>
                  <a:lnTo>
                    <a:pt x="628651" y="307976"/>
                  </a:lnTo>
                  <a:lnTo>
                    <a:pt x="647701" y="307976"/>
                  </a:lnTo>
                  <a:lnTo>
                    <a:pt x="654051" y="304801"/>
                  </a:lnTo>
                  <a:lnTo>
                    <a:pt x="657226" y="304801"/>
                  </a:lnTo>
                  <a:lnTo>
                    <a:pt x="660401" y="304801"/>
                  </a:lnTo>
                  <a:lnTo>
                    <a:pt x="666751" y="311151"/>
                  </a:lnTo>
                  <a:lnTo>
                    <a:pt x="663576" y="314326"/>
                  </a:lnTo>
                  <a:lnTo>
                    <a:pt x="660401" y="311151"/>
                  </a:lnTo>
                  <a:lnTo>
                    <a:pt x="657226" y="311151"/>
                  </a:lnTo>
                  <a:lnTo>
                    <a:pt x="654051" y="311151"/>
                  </a:lnTo>
                  <a:lnTo>
                    <a:pt x="631826" y="327026"/>
                  </a:lnTo>
                  <a:lnTo>
                    <a:pt x="625476" y="333376"/>
                  </a:lnTo>
                  <a:lnTo>
                    <a:pt x="635001" y="346076"/>
                  </a:lnTo>
                  <a:lnTo>
                    <a:pt x="641351" y="352426"/>
                  </a:lnTo>
                  <a:lnTo>
                    <a:pt x="644526" y="361951"/>
                  </a:lnTo>
                  <a:lnTo>
                    <a:pt x="641351" y="365126"/>
                  </a:lnTo>
                  <a:lnTo>
                    <a:pt x="641351" y="368301"/>
                  </a:lnTo>
                  <a:lnTo>
                    <a:pt x="644526" y="371476"/>
                  </a:lnTo>
                  <a:lnTo>
                    <a:pt x="650876" y="381001"/>
                  </a:lnTo>
                  <a:lnTo>
                    <a:pt x="654051" y="377826"/>
                  </a:lnTo>
                  <a:lnTo>
                    <a:pt x="654051" y="387351"/>
                  </a:lnTo>
                  <a:lnTo>
                    <a:pt x="650876" y="387351"/>
                  </a:lnTo>
                  <a:lnTo>
                    <a:pt x="647701" y="387351"/>
                  </a:lnTo>
                  <a:lnTo>
                    <a:pt x="638176" y="390526"/>
                  </a:lnTo>
                  <a:lnTo>
                    <a:pt x="638176" y="393701"/>
                  </a:lnTo>
                  <a:lnTo>
                    <a:pt x="628651" y="393701"/>
                  </a:lnTo>
                  <a:lnTo>
                    <a:pt x="625476" y="387351"/>
                  </a:lnTo>
                  <a:lnTo>
                    <a:pt x="625476" y="384176"/>
                  </a:lnTo>
                  <a:lnTo>
                    <a:pt x="625476" y="377826"/>
                  </a:lnTo>
                  <a:lnTo>
                    <a:pt x="615951" y="371476"/>
                  </a:lnTo>
                  <a:lnTo>
                    <a:pt x="612776" y="365126"/>
                  </a:lnTo>
                  <a:lnTo>
                    <a:pt x="615951" y="361951"/>
                  </a:lnTo>
                  <a:lnTo>
                    <a:pt x="615951" y="355601"/>
                  </a:lnTo>
                  <a:lnTo>
                    <a:pt x="615951" y="349251"/>
                  </a:lnTo>
                  <a:lnTo>
                    <a:pt x="606426" y="349251"/>
                  </a:lnTo>
                  <a:lnTo>
                    <a:pt x="596901" y="355601"/>
                  </a:lnTo>
                  <a:lnTo>
                    <a:pt x="600076" y="361951"/>
                  </a:lnTo>
                  <a:lnTo>
                    <a:pt x="600076" y="368301"/>
                  </a:lnTo>
                  <a:lnTo>
                    <a:pt x="600076" y="381001"/>
                  </a:lnTo>
                  <a:lnTo>
                    <a:pt x="600076" y="409576"/>
                  </a:lnTo>
                  <a:lnTo>
                    <a:pt x="587376" y="412751"/>
                  </a:lnTo>
                  <a:lnTo>
                    <a:pt x="577851" y="409576"/>
                  </a:lnTo>
                  <a:lnTo>
                    <a:pt x="581026" y="400051"/>
                  </a:lnTo>
                  <a:lnTo>
                    <a:pt x="584201" y="387351"/>
                  </a:lnTo>
                  <a:lnTo>
                    <a:pt x="584201" y="381001"/>
                  </a:lnTo>
                  <a:lnTo>
                    <a:pt x="581026" y="368301"/>
                  </a:lnTo>
                  <a:lnTo>
                    <a:pt x="577851" y="365126"/>
                  </a:lnTo>
                  <a:lnTo>
                    <a:pt x="571501" y="368301"/>
                  </a:lnTo>
                  <a:lnTo>
                    <a:pt x="568326" y="365126"/>
                  </a:lnTo>
                  <a:lnTo>
                    <a:pt x="568326" y="358776"/>
                  </a:lnTo>
                  <a:lnTo>
                    <a:pt x="571501" y="346076"/>
                  </a:lnTo>
                  <a:lnTo>
                    <a:pt x="574676" y="342901"/>
                  </a:lnTo>
                  <a:lnTo>
                    <a:pt x="577851" y="336551"/>
                  </a:lnTo>
                  <a:lnTo>
                    <a:pt x="577851" y="330201"/>
                  </a:lnTo>
                  <a:lnTo>
                    <a:pt x="577851" y="320676"/>
                  </a:lnTo>
                  <a:lnTo>
                    <a:pt x="584201" y="311151"/>
                  </a:lnTo>
                  <a:lnTo>
                    <a:pt x="587376" y="304801"/>
                  </a:lnTo>
                  <a:lnTo>
                    <a:pt x="590551" y="285751"/>
                  </a:lnTo>
                  <a:lnTo>
                    <a:pt x="596901" y="273051"/>
                  </a:lnTo>
                  <a:lnTo>
                    <a:pt x="600076" y="273051"/>
                  </a:lnTo>
                  <a:lnTo>
                    <a:pt x="606426" y="276226"/>
                  </a:lnTo>
                  <a:lnTo>
                    <a:pt x="609601" y="269876"/>
                  </a:lnTo>
                  <a:lnTo>
                    <a:pt x="609601" y="266701"/>
                  </a:lnTo>
                  <a:lnTo>
                    <a:pt x="615951" y="263526"/>
                  </a:lnTo>
                  <a:lnTo>
                    <a:pt x="641351" y="269876"/>
                  </a:lnTo>
                  <a:lnTo>
                    <a:pt x="647701" y="269876"/>
                  </a:lnTo>
                  <a:lnTo>
                    <a:pt x="663576" y="273051"/>
                  </a:lnTo>
                  <a:lnTo>
                    <a:pt x="673101" y="273051"/>
                  </a:lnTo>
                  <a:lnTo>
                    <a:pt x="685801" y="269876"/>
                  </a:lnTo>
                  <a:lnTo>
                    <a:pt x="685801" y="266701"/>
                  </a:lnTo>
                  <a:lnTo>
                    <a:pt x="692151" y="263526"/>
                  </a:lnTo>
                  <a:lnTo>
                    <a:pt x="698501" y="257176"/>
                  </a:lnTo>
                  <a:close/>
                  <a:moveTo>
                    <a:pt x="203200" y="254000"/>
                  </a:moveTo>
                  <a:lnTo>
                    <a:pt x="209550" y="254000"/>
                  </a:lnTo>
                  <a:lnTo>
                    <a:pt x="215900" y="257175"/>
                  </a:lnTo>
                  <a:lnTo>
                    <a:pt x="215900" y="260350"/>
                  </a:lnTo>
                  <a:lnTo>
                    <a:pt x="209550" y="260350"/>
                  </a:lnTo>
                  <a:close/>
                  <a:moveTo>
                    <a:pt x="193675" y="247650"/>
                  </a:moveTo>
                  <a:lnTo>
                    <a:pt x="203200" y="247650"/>
                  </a:lnTo>
                  <a:lnTo>
                    <a:pt x="196850" y="250825"/>
                  </a:lnTo>
                  <a:close/>
                  <a:moveTo>
                    <a:pt x="765176" y="244476"/>
                  </a:moveTo>
                  <a:lnTo>
                    <a:pt x="765176" y="254001"/>
                  </a:lnTo>
                  <a:lnTo>
                    <a:pt x="765176" y="266701"/>
                  </a:lnTo>
                  <a:lnTo>
                    <a:pt x="758826" y="273051"/>
                  </a:lnTo>
                  <a:lnTo>
                    <a:pt x="765176" y="273051"/>
                  </a:lnTo>
                  <a:lnTo>
                    <a:pt x="768351" y="263526"/>
                  </a:lnTo>
                  <a:lnTo>
                    <a:pt x="774701" y="260351"/>
                  </a:lnTo>
                  <a:lnTo>
                    <a:pt x="781051" y="257176"/>
                  </a:lnTo>
                  <a:lnTo>
                    <a:pt x="781051" y="260351"/>
                  </a:lnTo>
                  <a:lnTo>
                    <a:pt x="781051" y="263526"/>
                  </a:lnTo>
                  <a:lnTo>
                    <a:pt x="781051" y="269876"/>
                  </a:lnTo>
                  <a:lnTo>
                    <a:pt x="774701" y="273051"/>
                  </a:lnTo>
                  <a:lnTo>
                    <a:pt x="771526" y="276226"/>
                  </a:lnTo>
                  <a:lnTo>
                    <a:pt x="774701" y="279401"/>
                  </a:lnTo>
                  <a:lnTo>
                    <a:pt x="784226" y="285751"/>
                  </a:lnTo>
                  <a:lnTo>
                    <a:pt x="777876" y="285751"/>
                  </a:lnTo>
                  <a:lnTo>
                    <a:pt x="774701" y="282576"/>
                  </a:lnTo>
                  <a:lnTo>
                    <a:pt x="765176" y="282576"/>
                  </a:lnTo>
                  <a:lnTo>
                    <a:pt x="771526" y="307976"/>
                  </a:lnTo>
                  <a:lnTo>
                    <a:pt x="758826" y="295276"/>
                  </a:lnTo>
                  <a:lnTo>
                    <a:pt x="758826" y="292101"/>
                  </a:lnTo>
                  <a:lnTo>
                    <a:pt x="755651" y="279401"/>
                  </a:lnTo>
                  <a:lnTo>
                    <a:pt x="755651" y="266701"/>
                  </a:lnTo>
                  <a:lnTo>
                    <a:pt x="758826" y="254001"/>
                  </a:lnTo>
                  <a:close/>
                  <a:moveTo>
                    <a:pt x="777876" y="234951"/>
                  </a:moveTo>
                  <a:lnTo>
                    <a:pt x="781051" y="238126"/>
                  </a:lnTo>
                  <a:lnTo>
                    <a:pt x="777876" y="244476"/>
                  </a:lnTo>
                  <a:lnTo>
                    <a:pt x="771526" y="247651"/>
                  </a:lnTo>
                  <a:lnTo>
                    <a:pt x="771526" y="238126"/>
                  </a:lnTo>
                  <a:close/>
                  <a:moveTo>
                    <a:pt x="69850" y="228600"/>
                  </a:moveTo>
                  <a:lnTo>
                    <a:pt x="73025" y="231775"/>
                  </a:lnTo>
                  <a:lnTo>
                    <a:pt x="76200" y="231775"/>
                  </a:lnTo>
                  <a:lnTo>
                    <a:pt x="82550" y="238125"/>
                  </a:lnTo>
                  <a:lnTo>
                    <a:pt x="85725" y="241300"/>
                  </a:lnTo>
                  <a:lnTo>
                    <a:pt x="79375" y="238125"/>
                  </a:lnTo>
                  <a:lnTo>
                    <a:pt x="69850" y="234950"/>
                  </a:lnTo>
                  <a:lnTo>
                    <a:pt x="69850" y="231775"/>
                  </a:lnTo>
                  <a:close/>
                  <a:moveTo>
                    <a:pt x="336551" y="203201"/>
                  </a:moveTo>
                  <a:lnTo>
                    <a:pt x="339726" y="203201"/>
                  </a:lnTo>
                  <a:lnTo>
                    <a:pt x="342901" y="206376"/>
                  </a:lnTo>
                  <a:lnTo>
                    <a:pt x="339726" y="212726"/>
                  </a:lnTo>
                  <a:lnTo>
                    <a:pt x="336551" y="209551"/>
                  </a:lnTo>
                  <a:close/>
                  <a:moveTo>
                    <a:pt x="504825" y="196850"/>
                  </a:moveTo>
                  <a:lnTo>
                    <a:pt x="523875" y="196850"/>
                  </a:lnTo>
                  <a:lnTo>
                    <a:pt x="533400" y="200025"/>
                  </a:lnTo>
                  <a:lnTo>
                    <a:pt x="539750" y="203200"/>
                  </a:lnTo>
                  <a:lnTo>
                    <a:pt x="542925" y="206375"/>
                  </a:lnTo>
                  <a:lnTo>
                    <a:pt x="546100" y="212725"/>
                  </a:lnTo>
                  <a:lnTo>
                    <a:pt x="536575" y="212725"/>
                  </a:lnTo>
                  <a:lnTo>
                    <a:pt x="530225" y="212725"/>
                  </a:lnTo>
                  <a:lnTo>
                    <a:pt x="530225" y="215900"/>
                  </a:lnTo>
                  <a:lnTo>
                    <a:pt x="542925" y="228600"/>
                  </a:lnTo>
                  <a:lnTo>
                    <a:pt x="549275" y="241300"/>
                  </a:lnTo>
                  <a:lnTo>
                    <a:pt x="549275" y="247650"/>
                  </a:lnTo>
                  <a:lnTo>
                    <a:pt x="549275" y="250825"/>
                  </a:lnTo>
                  <a:lnTo>
                    <a:pt x="558800" y="260350"/>
                  </a:lnTo>
                  <a:lnTo>
                    <a:pt x="571500" y="266700"/>
                  </a:lnTo>
                  <a:lnTo>
                    <a:pt x="571500" y="273050"/>
                  </a:lnTo>
                  <a:lnTo>
                    <a:pt x="561975" y="273050"/>
                  </a:lnTo>
                  <a:lnTo>
                    <a:pt x="555625" y="273050"/>
                  </a:lnTo>
                  <a:lnTo>
                    <a:pt x="546100" y="273050"/>
                  </a:lnTo>
                  <a:lnTo>
                    <a:pt x="542925" y="279400"/>
                  </a:lnTo>
                  <a:lnTo>
                    <a:pt x="539750" y="285750"/>
                  </a:lnTo>
                  <a:lnTo>
                    <a:pt x="536575" y="298450"/>
                  </a:lnTo>
                  <a:lnTo>
                    <a:pt x="536575" y="301625"/>
                  </a:lnTo>
                  <a:lnTo>
                    <a:pt x="542925" y="301625"/>
                  </a:lnTo>
                  <a:lnTo>
                    <a:pt x="542925" y="307975"/>
                  </a:lnTo>
                  <a:lnTo>
                    <a:pt x="533400" y="311150"/>
                  </a:lnTo>
                  <a:lnTo>
                    <a:pt x="520700" y="323850"/>
                  </a:lnTo>
                  <a:lnTo>
                    <a:pt x="514350" y="330200"/>
                  </a:lnTo>
                  <a:lnTo>
                    <a:pt x="517525" y="336550"/>
                  </a:lnTo>
                  <a:lnTo>
                    <a:pt x="520700" y="339725"/>
                  </a:lnTo>
                  <a:lnTo>
                    <a:pt x="517525" y="349250"/>
                  </a:lnTo>
                  <a:lnTo>
                    <a:pt x="511175" y="361950"/>
                  </a:lnTo>
                  <a:lnTo>
                    <a:pt x="508000" y="368300"/>
                  </a:lnTo>
                  <a:lnTo>
                    <a:pt x="501650" y="371475"/>
                  </a:lnTo>
                  <a:lnTo>
                    <a:pt x="488950" y="377825"/>
                  </a:lnTo>
                  <a:lnTo>
                    <a:pt x="479425" y="381000"/>
                  </a:lnTo>
                  <a:lnTo>
                    <a:pt x="476250" y="377825"/>
                  </a:lnTo>
                  <a:lnTo>
                    <a:pt x="473075" y="368300"/>
                  </a:lnTo>
                  <a:lnTo>
                    <a:pt x="466725" y="365125"/>
                  </a:lnTo>
                  <a:lnTo>
                    <a:pt x="454025" y="365125"/>
                  </a:lnTo>
                  <a:lnTo>
                    <a:pt x="447675" y="361950"/>
                  </a:lnTo>
                  <a:lnTo>
                    <a:pt x="444500" y="358775"/>
                  </a:lnTo>
                  <a:lnTo>
                    <a:pt x="431800" y="365125"/>
                  </a:lnTo>
                  <a:lnTo>
                    <a:pt x="415925" y="365125"/>
                  </a:lnTo>
                  <a:lnTo>
                    <a:pt x="415925" y="352425"/>
                  </a:lnTo>
                  <a:lnTo>
                    <a:pt x="412750" y="352425"/>
                  </a:lnTo>
                  <a:lnTo>
                    <a:pt x="406400" y="355600"/>
                  </a:lnTo>
                  <a:lnTo>
                    <a:pt x="393700" y="358775"/>
                  </a:lnTo>
                  <a:lnTo>
                    <a:pt x="381000" y="352425"/>
                  </a:lnTo>
                  <a:lnTo>
                    <a:pt x="381000" y="339725"/>
                  </a:lnTo>
                  <a:lnTo>
                    <a:pt x="377825" y="323850"/>
                  </a:lnTo>
                  <a:lnTo>
                    <a:pt x="374650" y="314325"/>
                  </a:lnTo>
                  <a:lnTo>
                    <a:pt x="365125" y="304800"/>
                  </a:lnTo>
                  <a:lnTo>
                    <a:pt x="361950" y="304800"/>
                  </a:lnTo>
                  <a:lnTo>
                    <a:pt x="358775" y="295275"/>
                  </a:lnTo>
                  <a:lnTo>
                    <a:pt x="355600" y="282575"/>
                  </a:lnTo>
                  <a:lnTo>
                    <a:pt x="355600" y="269875"/>
                  </a:lnTo>
                  <a:lnTo>
                    <a:pt x="358775" y="257175"/>
                  </a:lnTo>
                  <a:lnTo>
                    <a:pt x="368300" y="247650"/>
                  </a:lnTo>
                  <a:lnTo>
                    <a:pt x="368300" y="250825"/>
                  </a:lnTo>
                  <a:lnTo>
                    <a:pt x="371475" y="257175"/>
                  </a:lnTo>
                  <a:lnTo>
                    <a:pt x="381000" y="266700"/>
                  </a:lnTo>
                  <a:lnTo>
                    <a:pt x="390525" y="273050"/>
                  </a:lnTo>
                  <a:lnTo>
                    <a:pt x="393700" y="273050"/>
                  </a:lnTo>
                  <a:lnTo>
                    <a:pt x="396875" y="269875"/>
                  </a:lnTo>
                  <a:lnTo>
                    <a:pt x="403225" y="269875"/>
                  </a:lnTo>
                  <a:lnTo>
                    <a:pt x="409575" y="269875"/>
                  </a:lnTo>
                  <a:lnTo>
                    <a:pt x="415925" y="269875"/>
                  </a:lnTo>
                  <a:lnTo>
                    <a:pt x="422275" y="266700"/>
                  </a:lnTo>
                  <a:lnTo>
                    <a:pt x="425450" y="260350"/>
                  </a:lnTo>
                  <a:lnTo>
                    <a:pt x="438150" y="257175"/>
                  </a:lnTo>
                  <a:lnTo>
                    <a:pt x="444500" y="260350"/>
                  </a:lnTo>
                  <a:lnTo>
                    <a:pt x="454025" y="263525"/>
                  </a:lnTo>
                  <a:lnTo>
                    <a:pt x="460375" y="260350"/>
                  </a:lnTo>
                  <a:lnTo>
                    <a:pt x="466725" y="260350"/>
                  </a:lnTo>
                  <a:lnTo>
                    <a:pt x="476250" y="260350"/>
                  </a:lnTo>
                  <a:lnTo>
                    <a:pt x="479425" y="254000"/>
                  </a:lnTo>
                  <a:lnTo>
                    <a:pt x="482600" y="247650"/>
                  </a:lnTo>
                  <a:lnTo>
                    <a:pt x="479425" y="244475"/>
                  </a:lnTo>
                  <a:lnTo>
                    <a:pt x="488950" y="238125"/>
                  </a:lnTo>
                  <a:lnTo>
                    <a:pt x="488950" y="234950"/>
                  </a:lnTo>
                  <a:lnTo>
                    <a:pt x="488950" y="228600"/>
                  </a:lnTo>
                  <a:lnTo>
                    <a:pt x="495300" y="225425"/>
                  </a:lnTo>
                  <a:lnTo>
                    <a:pt x="498475" y="209550"/>
                  </a:lnTo>
                  <a:close/>
                  <a:moveTo>
                    <a:pt x="739776" y="193676"/>
                  </a:moveTo>
                  <a:lnTo>
                    <a:pt x="739776" y="196851"/>
                  </a:lnTo>
                  <a:lnTo>
                    <a:pt x="739776" y="203201"/>
                  </a:lnTo>
                  <a:lnTo>
                    <a:pt x="736601" y="206376"/>
                  </a:lnTo>
                  <a:close/>
                  <a:moveTo>
                    <a:pt x="60325" y="171450"/>
                  </a:moveTo>
                  <a:lnTo>
                    <a:pt x="69850" y="171450"/>
                  </a:lnTo>
                  <a:lnTo>
                    <a:pt x="73025" y="174625"/>
                  </a:lnTo>
                  <a:lnTo>
                    <a:pt x="76200" y="177800"/>
                  </a:lnTo>
                  <a:lnTo>
                    <a:pt x="88900" y="180975"/>
                  </a:lnTo>
                  <a:lnTo>
                    <a:pt x="92075" y="177800"/>
                  </a:lnTo>
                  <a:lnTo>
                    <a:pt x="98425" y="177800"/>
                  </a:lnTo>
                  <a:lnTo>
                    <a:pt x="107950" y="177800"/>
                  </a:lnTo>
                  <a:lnTo>
                    <a:pt x="111125" y="184150"/>
                  </a:lnTo>
                  <a:lnTo>
                    <a:pt x="120650" y="193675"/>
                  </a:lnTo>
                  <a:lnTo>
                    <a:pt x="127000" y="203200"/>
                  </a:lnTo>
                  <a:lnTo>
                    <a:pt x="139700" y="212725"/>
                  </a:lnTo>
                  <a:lnTo>
                    <a:pt x="149225" y="219075"/>
                  </a:lnTo>
                  <a:lnTo>
                    <a:pt x="158750" y="228600"/>
                  </a:lnTo>
                  <a:lnTo>
                    <a:pt x="168275" y="238125"/>
                  </a:lnTo>
                  <a:lnTo>
                    <a:pt x="177800" y="247650"/>
                  </a:lnTo>
                  <a:lnTo>
                    <a:pt x="180975" y="241300"/>
                  </a:lnTo>
                  <a:lnTo>
                    <a:pt x="184150" y="244475"/>
                  </a:lnTo>
                  <a:lnTo>
                    <a:pt x="203200" y="260350"/>
                  </a:lnTo>
                  <a:lnTo>
                    <a:pt x="209550" y="263525"/>
                  </a:lnTo>
                  <a:lnTo>
                    <a:pt x="209550" y="269875"/>
                  </a:lnTo>
                  <a:lnTo>
                    <a:pt x="219075" y="276225"/>
                  </a:lnTo>
                  <a:lnTo>
                    <a:pt x="238125" y="282575"/>
                  </a:lnTo>
                  <a:lnTo>
                    <a:pt x="244475" y="292100"/>
                  </a:lnTo>
                  <a:lnTo>
                    <a:pt x="241300" y="292100"/>
                  </a:lnTo>
                  <a:lnTo>
                    <a:pt x="238125" y="295275"/>
                  </a:lnTo>
                  <a:lnTo>
                    <a:pt x="234950" y="304800"/>
                  </a:lnTo>
                  <a:lnTo>
                    <a:pt x="241300" y="311150"/>
                  </a:lnTo>
                  <a:lnTo>
                    <a:pt x="250825" y="314325"/>
                  </a:lnTo>
                  <a:lnTo>
                    <a:pt x="257175" y="317500"/>
                  </a:lnTo>
                  <a:lnTo>
                    <a:pt x="257175" y="320675"/>
                  </a:lnTo>
                  <a:lnTo>
                    <a:pt x="260350" y="333375"/>
                  </a:lnTo>
                  <a:lnTo>
                    <a:pt x="266700" y="339725"/>
                  </a:lnTo>
                  <a:lnTo>
                    <a:pt x="276225" y="342900"/>
                  </a:lnTo>
                  <a:lnTo>
                    <a:pt x="282575" y="346075"/>
                  </a:lnTo>
                  <a:lnTo>
                    <a:pt x="285750" y="352425"/>
                  </a:lnTo>
                  <a:lnTo>
                    <a:pt x="285750" y="355600"/>
                  </a:lnTo>
                  <a:lnTo>
                    <a:pt x="288925" y="365125"/>
                  </a:lnTo>
                  <a:lnTo>
                    <a:pt x="285750" y="371475"/>
                  </a:lnTo>
                  <a:lnTo>
                    <a:pt x="285750" y="381000"/>
                  </a:lnTo>
                  <a:lnTo>
                    <a:pt x="288925" y="387350"/>
                  </a:lnTo>
                  <a:lnTo>
                    <a:pt x="288925" y="393700"/>
                  </a:lnTo>
                  <a:lnTo>
                    <a:pt x="285750" y="406400"/>
                  </a:lnTo>
                  <a:lnTo>
                    <a:pt x="285750" y="415925"/>
                  </a:lnTo>
                  <a:lnTo>
                    <a:pt x="279400" y="412750"/>
                  </a:lnTo>
                  <a:lnTo>
                    <a:pt x="276225" y="409575"/>
                  </a:lnTo>
                  <a:lnTo>
                    <a:pt x="269875" y="409575"/>
                  </a:lnTo>
                  <a:lnTo>
                    <a:pt x="263525" y="412750"/>
                  </a:lnTo>
                  <a:lnTo>
                    <a:pt x="260350" y="415925"/>
                  </a:lnTo>
                  <a:lnTo>
                    <a:pt x="238125" y="396875"/>
                  </a:lnTo>
                  <a:lnTo>
                    <a:pt x="212725" y="377825"/>
                  </a:lnTo>
                  <a:lnTo>
                    <a:pt x="209550" y="371475"/>
                  </a:lnTo>
                  <a:lnTo>
                    <a:pt x="203200" y="365125"/>
                  </a:lnTo>
                  <a:lnTo>
                    <a:pt x="187325" y="352425"/>
                  </a:lnTo>
                  <a:lnTo>
                    <a:pt x="180975" y="342900"/>
                  </a:lnTo>
                  <a:lnTo>
                    <a:pt x="177800" y="336550"/>
                  </a:lnTo>
                  <a:lnTo>
                    <a:pt x="180975" y="336550"/>
                  </a:lnTo>
                  <a:lnTo>
                    <a:pt x="177800" y="327025"/>
                  </a:lnTo>
                  <a:lnTo>
                    <a:pt x="168275" y="311150"/>
                  </a:lnTo>
                  <a:lnTo>
                    <a:pt x="165100" y="304800"/>
                  </a:lnTo>
                  <a:lnTo>
                    <a:pt x="155575" y="292100"/>
                  </a:lnTo>
                  <a:lnTo>
                    <a:pt x="146050" y="285750"/>
                  </a:lnTo>
                  <a:lnTo>
                    <a:pt x="139700" y="273050"/>
                  </a:lnTo>
                  <a:lnTo>
                    <a:pt x="133350" y="257175"/>
                  </a:lnTo>
                  <a:lnTo>
                    <a:pt x="133350" y="254000"/>
                  </a:lnTo>
                  <a:lnTo>
                    <a:pt x="127000" y="247650"/>
                  </a:lnTo>
                  <a:lnTo>
                    <a:pt x="120650" y="244475"/>
                  </a:lnTo>
                  <a:lnTo>
                    <a:pt x="117475" y="241300"/>
                  </a:lnTo>
                  <a:lnTo>
                    <a:pt x="107950" y="231775"/>
                  </a:lnTo>
                  <a:lnTo>
                    <a:pt x="98425" y="222250"/>
                  </a:lnTo>
                  <a:lnTo>
                    <a:pt x="92075" y="212725"/>
                  </a:lnTo>
                  <a:lnTo>
                    <a:pt x="82550" y="209550"/>
                  </a:lnTo>
                  <a:lnTo>
                    <a:pt x="73025" y="200025"/>
                  </a:lnTo>
                  <a:lnTo>
                    <a:pt x="63500" y="190500"/>
                  </a:lnTo>
                  <a:lnTo>
                    <a:pt x="57150" y="177800"/>
                  </a:lnTo>
                  <a:close/>
                  <a:moveTo>
                    <a:pt x="25400" y="136525"/>
                  </a:moveTo>
                  <a:lnTo>
                    <a:pt x="28575" y="136525"/>
                  </a:lnTo>
                  <a:lnTo>
                    <a:pt x="28575" y="146050"/>
                  </a:lnTo>
                  <a:lnTo>
                    <a:pt x="25400" y="142875"/>
                  </a:lnTo>
                  <a:close/>
                  <a:moveTo>
                    <a:pt x="6350" y="0"/>
                  </a:moveTo>
                  <a:lnTo>
                    <a:pt x="12700" y="0"/>
                  </a:lnTo>
                  <a:lnTo>
                    <a:pt x="9525" y="9525"/>
                  </a:lnTo>
                  <a:lnTo>
                    <a:pt x="6350" y="25400"/>
                  </a:lnTo>
                  <a:lnTo>
                    <a:pt x="6350" y="34925"/>
                  </a:lnTo>
                  <a:lnTo>
                    <a:pt x="3175" y="44450"/>
                  </a:lnTo>
                  <a:lnTo>
                    <a:pt x="0" y="38100"/>
                  </a:lnTo>
                  <a:lnTo>
                    <a:pt x="3175" y="28575"/>
                  </a:lnTo>
                  <a:lnTo>
                    <a:pt x="6350" y="952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4" name="Freeform 824">
              <a:extLst>
                <a:ext uri="{FF2B5EF4-FFF2-40B4-BE49-F238E27FC236}">
                  <a16:creationId xmlns:a16="http://schemas.microsoft.com/office/drawing/2014/main" id="{D36DD044-3ADE-457C-92F0-D3C0D7A84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2563" y="4573588"/>
              <a:ext cx="28575" cy="22225"/>
            </a:xfrm>
            <a:custGeom>
              <a:avLst/>
              <a:gdLst/>
              <a:ahLst/>
              <a:cxnLst/>
              <a:rect l="l" t="t" r="r" b="b"/>
              <a:pathLst>
                <a:path w="28575" h="22225">
                  <a:moveTo>
                    <a:pt x="25400" y="15875"/>
                  </a:moveTo>
                  <a:lnTo>
                    <a:pt x="28575" y="22225"/>
                  </a:lnTo>
                  <a:lnTo>
                    <a:pt x="22225" y="19050"/>
                  </a:lnTo>
                  <a:close/>
                  <a:moveTo>
                    <a:pt x="0" y="0"/>
                  </a:moveTo>
                  <a:lnTo>
                    <a:pt x="3175" y="3175"/>
                  </a:lnTo>
                  <a:lnTo>
                    <a:pt x="3175" y="9525"/>
                  </a:lnTo>
                  <a:lnTo>
                    <a:pt x="3175" y="12700"/>
                  </a:lnTo>
                  <a:lnTo>
                    <a:pt x="0" y="635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5" name="Freeform 826">
              <a:extLst>
                <a:ext uri="{FF2B5EF4-FFF2-40B4-BE49-F238E27FC236}">
                  <a16:creationId xmlns:a16="http://schemas.microsoft.com/office/drawing/2014/main" id="{9DE7579D-4AA2-4C9D-BA42-AEC840595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2913" y="4767262"/>
              <a:ext cx="53975" cy="31750"/>
            </a:xfrm>
            <a:custGeom>
              <a:avLst/>
              <a:gdLst/>
              <a:ahLst/>
              <a:cxnLst/>
              <a:rect l="l" t="t" r="r" b="b"/>
              <a:pathLst>
                <a:path w="53975" h="31750">
                  <a:moveTo>
                    <a:pt x="9525" y="22225"/>
                  </a:moveTo>
                  <a:lnTo>
                    <a:pt x="12700" y="28575"/>
                  </a:lnTo>
                  <a:lnTo>
                    <a:pt x="6350" y="31750"/>
                  </a:lnTo>
                  <a:lnTo>
                    <a:pt x="0" y="25400"/>
                  </a:lnTo>
                  <a:close/>
                  <a:moveTo>
                    <a:pt x="47625" y="0"/>
                  </a:moveTo>
                  <a:lnTo>
                    <a:pt x="53975" y="3175"/>
                  </a:lnTo>
                  <a:lnTo>
                    <a:pt x="50800" y="9525"/>
                  </a:lnTo>
                  <a:lnTo>
                    <a:pt x="41275" y="952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6" name="Freeform 834">
              <a:extLst>
                <a:ext uri="{FF2B5EF4-FFF2-40B4-BE49-F238E27FC236}">
                  <a16:creationId xmlns:a16="http://schemas.microsoft.com/office/drawing/2014/main" id="{DA620ACA-3CB6-46E6-BC15-431943B549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2563" y="4586288"/>
              <a:ext cx="155575" cy="311150"/>
            </a:xfrm>
            <a:custGeom>
              <a:avLst/>
              <a:gdLst/>
              <a:ahLst/>
              <a:cxnLst>
                <a:cxn ang="0">
                  <a:pos x="90" y="12"/>
                </a:cxn>
                <a:cxn ang="0">
                  <a:pos x="78" y="6"/>
                </a:cxn>
                <a:cxn ang="0">
                  <a:pos x="78" y="12"/>
                </a:cxn>
                <a:cxn ang="0">
                  <a:pos x="74" y="20"/>
                </a:cxn>
                <a:cxn ang="0">
                  <a:pos x="66" y="24"/>
                </a:cxn>
                <a:cxn ang="0">
                  <a:pos x="60" y="34"/>
                </a:cxn>
                <a:cxn ang="0">
                  <a:pos x="58" y="44"/>
                </a:cxn>
                <a:cxn ang="0">
                  <a:pos x="58" y="40"/>
                </a:cxn>
                <a:cxn ang="0">
                  <a:pos x="50" y="46"/>
                </a:cxn>
                <a:cxn ang="0">
                  <a:pos x="38" y="54"/>
                </a:cxn>
                <a:cxn ang="0">
                  <a:pos x="32" y="56"/>
                </a:cxn>
                <a:cxn ang="0">
                  <a:pos x="18" y="60"/>
                </a:cxn>
                <a:cxn ang="0">
                  <a:pos x="16" y="64"/>
                </a:cxn>
                <a:cxn ang="0">
                  <a:pos x="10" y="76"/>
                </a:cxn>
                <a:cxn ang="0">
                  <a:pos x="10" y="90"/>
                </a:cxn>
                <a:cxn ang="0">
                  <a:pos x="16" y="106"/>
                </a:cxn>
                <a:cxn ang="0">
                  <a:pos x="10" y="124"/>
                </a:cxn>
                <a:cxn ang="0">
                  <a:pos x="4" y="132"/>
                </a:cxn>
                <a:cxn ang="0">
                  <a:pos x="0" y="140"/>
                </a:cxn>
                <a:cxn ang="0">
                  <a:pos x="6" y="166"/>
                </a:cxn>
                <a:cxn ang="0">
                  <a:pos x="8" y="180"/>
                </a:cxn>
                <a:cxn ang="0">
                  <a:pos x="20" y="192"/>
                </a:cxn>
                <a:cxn ang="0">
                  <a:pos x="34" y="192"/>
                </a:cxn>
                <a:cxn ang="0">
                  <a:pos x="48" y="190"/>
                </a:cxn>
                <a:cxn ang="0">
                  <a:pos x="60" y="166"/>
                </a:cxn>
                <a:cxn ang="0">
                  <a:pos x="78" y="104"/>
                </a:cxn>
                <a:cxn ang="0">
                  <a:pos x="84" y="84"/>
                </a:cxn>
                <a:cxn ang="0">
                  <a:pos x="84" y="78"/>
                </a:cxn>
                <a:cxn ang="0">
                  <a:pos x="86" y="70"/>
                </a:cxn>
                <a:cxn ang="0">
                  <a:pos x="90" y="64"/>
                </a:cxn>
                <a:cxn ang="0">
                  <a:pos x="88" y="58"/>
                </a:cxn>
                <a:cxn ang="0">
                  <a:pos x="88" y="48"/>
                </a:cxn>
                <a:cxn ang="0">
                  <a:pos x="90" y="50"/>
                </a:cxn>
                <a:cxn ang="0">
                  <a:pos x="96" y="52"/>
                </a:cxn>
                <a:cxn ang="0">
                  <a:pos x="94" y="36"/>
                </a:cxn>
              </a:cxnLst>
              <a:rect l="0" t="0" r="r" b="b"/>
              <a:pathLst>
                <a:path w="98" h="196">
                  <a:moveTo>
                    <a:pt x="94" y="24"/>
                  </a:moveTo>
                  <a:lnTo>
                    <a:pt x="90" y="12"/>
                  </a:lnTo>
                  <a:lnTo>
                    <a:pt x="82" y="0"/>
                  </a:lnTo>
                  <a:lnTo>
                    <a:pt x="78" y="6"/>
                  </a:lnTo>
                  <a:lnTo>
                    <a:pt x="76" y="8"/>
                  </a:lnTo>
                  <a:lnTo>
                    <a:pt x="78" y="12"/>
                  </a:lnTo>
                  <a:lnTo>
                    <a:pt x="76" y="18"/>
                  </a:lnTo>
                  <a:lnTo>
                    <a:pt x="74" y="20"/>
                  </a:lnTo>
                  <a:lnTo>
                    <a:pt x="70" y="22"/>
                  </a:lnTo>
                  <a:lnTo>
                    <a:pt x="66" y="24"/>
                  </a:lnTo>
                  <a:lnTo>
                    <a:pt x="64" y="24"/>
                  </a:lnTo>
                  <a:lnTo>
                    <a:pt x="60" y="34"/>
                  </a:lnTo>
                  <a:lnTo>
                    <a:pt x="62" y="38"/>
                  </a:lnTo>
                  <a:lnTo>
                    <a:pt x="58" y="44"/>
                  </a:lnTo>
                  <a:lnTo>
                    <a:pt x="56" y="44"/>
                  </a:lnTo>
                  <a:lnTo>
                    <a:pt x="58" y="40"/>
                  </a:lnTo>
                  <a:lnTo>
                    <a:pt x="56" y="40"/>
                  </a:lnTo>
                  <a:lnTo>
                    <a:pt x="50" y="46"/>
                  </a:lnTo>
                  <a:lnTo>
                    <a:pt x="42" y="54"/>
                  </a:lnTo>
                  <a:lnTo>
                    <a:pt x="38" y="54"/>
                  </a:lnTo>
                  <a:lnTo>
                    <a:pt x="32" y="54"/>
                  </a:lnTo>
                  <a:lnTo>
                    <a:pt x="32" y="56"/>
                  </a:lnTo>
                  <a:lnTo>
                    <a:pt x="28" y="56"/>
                  </a:lnTo>
                  <a:lnTo>
                    <a:pt x="18" y="60"/>
                  </a:lnTo>
                  <a:lnTo>
                    <a:pt x="16" y="62"/>
                  </a:lnTo>
                  <a:lnTo>
                    <a:pt x="16" y="64"/>
                  </a:lnTo>
                  <a:lnTo>
                    <a:pt x="16" y="66"/>
                  </a:lnTo>
                  <a:lnTo>
                    <a:pt x="10" y="76"/>
                  </a:lnTo>
                  <a:lnTo>
                    <a:pt x="10" y="82"/>
                  </a:lnTo>
                  <a:lnTo>
                    <a:pt x="10" y="90"/>
                  </a:lnTo>
                  <a:lnTo>
                    <a:pt x="14" y="98"/>
                  </a:lnTo>
                  <a:lnTo>
                    <a:pt x="16" y="106"/>
                  </a:lnTo>
                  <a:lnTo>
                    <a:pt x="16" y="114"/>
                  </a:lnTo>
                  <a:lnTo>
                    <a:pt x="10" y="124"/>
                  </a:lnTo>
                  <a:lnTo>
                    <a:pt x="8" y="130"/>
                  </a:lnTo>
                  <a:lnTo>
                    <a:pt x="4" y="132"/>
                  </a:lnTo>
                  <a:lnTo>
                    <a:pt x="2" y="136"/>
                  </a:lnTo>
                  <a:lnTo>
                    <a:pt x="0" y="140"/>
                  </a:lnTo>
                  <a:lnTo>
                    <a:pt x="2" y="156"/>
                  </a:lnTo>
                  <a:lnTo>
                    <a:pt x="6" y="166"/>
                  </a:lnTo>
                  <a:lnTo>
                    <a:pt x="6" y="174"/>
                  </a:lnTo>
                  <a:lnTo>
                    <a:pt x="8" y="180"/>
                  </a:lnTo>
                  <a:lnTo>
                    <a:pt x="12" y="188"/>
                  </a:lnTo>
                  <a:lnTo>
                    <a:pt x="20" y="192"/>
                  </a:lnTo>
                  <a:lnTo>
                    <a:pt x="26" y="196"/>
                  </a:lnTo>
                  <a:lnTo>
                    <a:pt x="34" y="192"/>
                  </a:lnTo>
                  <a:lnTo>
                    <a:pt x="42" y="190"/>
                  </a:lnTo>
                  <a:lnTo>
                    <a:pt x="48" y="190"/>
                  </a:lnTo>
                  <a:lnTo>
                    <a:pt x="54" y="184"/>
                  </a:lnTo>
                  <a:lnTo>
                    <a:pt x="60" y="166"/>
                  </a:lnTo>
                  <a:lnTo>
                    <a:pt x="64" y="148"/>
                  </a:lnTo>
                  <a:lnTo>
                    <a:pt x="78" y="104"/>
                  </a:lnTo>
                  <a:lnTo>
                    <a:pt x="84" y="90"/>
                  </a:lnTo>
                  <a:lnTo>
                    <a:pt x="84" y="84"/>
                  </a:lnTo>
                  <a:lnTo>
                    <a:pt x="86" y="80"/>
                  </a:lnTo>
                  <a:lnTo>
                    <a:pt x="84" y="78"/>
                  </a:lnTo>
                  <a:lnTo>
                    <a:pt x="84" y="74"/>
                  </a:lnTo>
                  <a:lnTo>
                    <a:pt x="86" y="70"/>
                  </a:lnTo>
                  <a:lnTo>
                    <a:pt x="88" y="68"/>
                  </a:lnTo>
                  <a:lnTo>
                    <a:pt x="90" y="64"/>
                  </a:lnTo>
                  <a:lnTo>
                    <a:pt x="90" y="60"/>
                  </a:lnTo>
                  <a:lnTo>
                    <a:pt x="88" y="58"/>
                  </a:lnTo>
                  <a:lnTo>
                    <a:pt x="88" y="56"/>
                  </a:lnTo>
                  <a:lnTo>
                    <a:pt x="88" y="48"/>
                  </a:lnTo>
                  <a:lnTo>
                    <a:pt x="90" y="48"/>
                  </a:lnTo>
                  <a:lnTo>
                    <a:pt x="90" y="50"/>
                  </a:lnTo>
                  <a:lnTo>
                    <a:pt x="94" y="56"/>
                  </a:lnTo>
                  <a:lnTo>
                    <a:pt x="96" y="52"/>
                  </a:lnTo>
                  <a:lnTo>
                    <a:pt x="98" y="46"/>
                  </a:lnTo>
                  <a:lnTo>
                    <a:pt x="94" y="36"/>
                  </a:lnTo>
                  <a:lnTo>
                    <a:pt x="94" y="24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7" name="Freeform 855">
              <a:extLst>
                <a:ext uri="{FF2B5EF4-FFF2-40B4-BE49-F238E27FC236}">
                  <a16:creationId xmlns:a16="http://schemas.microsoft.com/office/drawing/2014/main" id="{816597AE-2FF4-4B59-81F9-E19AFEA3E7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9988" y="4554538"/>
              <a:ext cx="231775" cy="371475"/>
            </a:xfrm>
            <a:custGeom>
              <a:avLst/>
              <a:gdLst/>
              <a:ahLst/>
              <a:cxnLst>
                <a:cxn ang="0">
                  <a:pos x="114" y="14"/>
                </a:cxn>
                <a:cxn ang="0">
                  <a:pos x="100" y="18"/>
                </a:cxn>
                <a:cxn ang="0">
                  <a:pos x="94" y="16"/>
                </a:cxn>
                <a:cxn ang="0">
                  <a:pos x="88" y="18"/>
                </a:cxn>
                <a:cxn ang="0">
                  <a:pos x="80" y="14"/>
                </a:cxn>
                <a:cxn ang="0">
                  <a:pos x="72" y="16"/>
                </a:cxn>
                <a:cxn ang="0">
                  <a:pos x="58" y="22"/>
                </a:cxn>
                <a:cxn ang="0">
                  <a:pos x="64" y="42"/>
                </a:cxn>
                <a:cxn ang="0">
                  <a:pos x="78" y="68"/>
                </a:cxn>
                <a:cxn ang="0">
                  <a:pos x="68" y="84"/>
                </a:cxn>
                <a:cxn ang="0">
                  <a:pos x="66" y="88"/>
                </a:cxn>
                <a:cxn ang="0">
                  <a:pos x="56" y="74"/>
                </a:cxn>
                <a:cxn ang="0">
                  <a:pos x="58" y="54"/>
                </a:cxn>
                <a:cxn ang="0">
                  <a:pos x="46" y="54"/>
                </a:cxn>
                <a:cxn ang="0">
                  <a:pos x="2" y="66"/>
                </a:cxn>
                <a:cxn ang="0">
                  <a:pos x="4" y="76"/>
                </a:cxn>
                <a:cxn ang="0">
                  <a:pos x="28" y="82"/>
                </a:cxn>
                <a:cxn ang="0">
                  <a:pos x="40" y="96"/>
                </a:cxn>
                <a:cxn ang="0">
                  <a:pos x="38" y="110"/>
                </a:cxn>
                <a:cxn ang="0">
                  <a:pos x="36" y="118"/>
                </a:cxn>
                <a:cxn ang="0">
                  <a:pos x="38" y="130"/>
                </a:cxn>
                <a:cxn ang="0">
                  <a:pos x="34" y="142"/>
                </a:cxn>
                <a:cxn ang="0">
                  <a:pos x="32" y="154"/>
                </a:cxn>
                <a:cxn ang="0">
                  <a:pos x="16" y="168"/>
                </a:cxn>
                <a:cxn ang="0">
                  <a:pos x="20" y="188"/>
                </a:cxn>
                <a:cxn ang="0">
                  <a:pos x="26" y="228"/>
                </a:cxn>
                <a:cxn ang="0">
                  <a:pos x="38" y="234"/>
                </a:cxn>
                <a:cxn ang="0">
                  <a:pos x="34" y="220"/>
                </a:cxn>
                <a:cxn ang="0">
                  <a:pos x="68" y="200"/>
                </a:cxn>
                <a:cxn ang="0">
                  <a:pos x="72" y="182"/>
                </a:cxn>
                <a:cxn ang="0">
                  <a:pos x="72" y="166"/>
                </a:cxn>
                <a:cxn ang="0">
                  <a:pos x="66" y="152"/>
                </a:cxn>
                <a:cxn ang="0">
                  <a:pos x="64" y="144"/>
                </a:cxn>
                <a:cxn ang="0">
                  <a:pos x="64" y="132"/>
                </a:cxn>
                <a:cxn ang="0">
                  <a:pos x="76" y="120"/>
                </a:cxn>
                <a:cxn ang="0">
                  <a:pos x="86" y="112"/>
                </a:cxn>
                <a:cxn ang="0">
                  <a:pos x="96" y="102"/>
                </a:cxn>
                <a:cxn ang="0">
                  <a:pos x="122" y="90"/>
                </a:cxn>
                <a:cxn ang="0">
                  <a:pos x="142" y="68"/>
                </a:cxn>
                <a:cxn ang="0">
                  <a:pos x="146" y="58"/>
                </a:cxn>
                <a:cxn ang="0">
                  <a:pos x="142" y="44"/>
                </a:cxn>
                <a:cxn ang="0">
                  <a:pos x="142" y="32"/>
                </a:cxn>
                <a:cxn ang="0">
                  <a:pos x="142" y="30"/>
                </a:cxn>
                <a:cxn ang="0">
                  <a:pos x="140" y="26"/>
                </a:cxn>
                <a:cxn ang="0">
                  <a:pos x="140" y="16"/>
                </a:cxn>
                <a:cxn ang="0">
                  <a:pos x="140" y="0"/>
                </a:cxn>
              </a:cxnLst>
              <a:rect l="0" t="0" r="r" b="b"/>
              <a:pathLst>
                <a:path w="146" h="234">
                  <a:moveTo>
                    <a:pt x="126" y="8"/>
                  </a:moveTo>
                  <a:lnTo>
                    <a:pt x="118" y="10"/>
                  </a:lnTo>
                  <a:lnTo>
                    <a:pt x="114" y="14"/>
                  </a:lnTo>
                  <a:lnTo>
                    <a:pt x="106" y="12"/>
                  </a:lnTo>
                  <a:lnTo>
                    <a:pt x="104" y="14"/>
                  </a:lnTo>
                  <a:lnTo>
                    <a:pt x="100" y="18"/>
                  </a:lnTo>
                  <a:lnTo>
                    <a:pt x="96" y="18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2" y="16"/>
                  </a:lnTo>
                  <a:lnTo>
                    <a:pt x="90" y="16"/>
                  </a:lnTo>
                  <a:lnTo>
                    <a:pt x="88" y="18"/>
                  </a:lnTo>
                  <a:lnTo>
                    <a:pt x="82" y="16"/>
                  </a:lnTo>
                  <a:lnTo>
                    <a:pt x="82" y="16"/>
                  </a:lnTo>
                  <a:lnTo>
                    <a:pt x="80" y="14"/>
                  </a:lnTo>
                  <a:lnTo>
                    <a:pt x="76" y="14"/>
                  </a:lnTo>
                  <a:lnTo>
                    <a:pt x="74" y="16"/>
                  </a:lnTo>
                  <a:lnTo>
                    <a:pt x="72" y="16"/>
                  </a:lnTo>
                  <a:lnTo>
                    <a:pt x="66" y="16"/>
                  </a:lnTo>
                  <a:lnTo>
                    <a:pt x="60" y="16"/>
                  </a:lnTo>
                  <a:lnTo>
                    <a:pt x="58" y="22"/>
                  </a:lnTo>
                  <a:lnTo>
                    <a:pt x="58" y="26"/>
                  </a:lnTo>
                  <a:lnTo>
                    <a:pt x="62" y="42"/>
                  </a:lnTo>
                  <a:lnTo>
                    <a:pt x="64" y="42"/>
                  </a:lnTo>
                  <a:lnTo>
                    <a:pt x="70" y="50"/>
                  </a:lnTo>
                  <a:lnTo>
                    <a:pt x="78" y="58"/>
                  </a:lnTo>
                  <a:lnTo>
                    <a:pt x="78" y="68"/>
                  </a:lnTo>
                  <a:lnTo>
                    <a:pt x="78" y="74"/>
                  </a:lnTo>
                  <a:lnTo>
                    <a:pt x="76" y="78"/>
                  </a:lnTo>
                  <a:lnTo>
                    <a:pt x="68" y="84"/>
                  </a:lnTo>
                  <a:lnTo>
                    <a:pt x="70" y="92"/>
                  </a:lnTo>
                  <a:lnTo>
                    <a:pt x="66" y="92"/>
                  </a:lnTo>
                  <a:lnTo>
                    <a:pt x="66" y="88"/>
                  </a:lnTo>
                  <a:lnTo>
                    <a:pt x="64" y="86"/>
                  </a:lnTo>
                  <a:lnTo>
                    <a:pt x="60" y="82"/>
                  </a:lnTo>
                  <a:lnTo>
                    <a:pt x="56" y="74"/>
                  </a:lnTo>
                  <a:lnTo>
                    <a:pt x="60" y="68"/>
                  </a:lnTo>
                  <a:lnTo>
                    <a:pt x="60" y="62"/>
                  </a:lnTo>
                  <a:lnTo>
                    <a:pt x="58" y="54"/>
                  </a:lnTo>
                  <a:lnTo>
                    <a:pt x="56" y="54"/>
                  </a:lnTo>
                  <a:lnTo>
                    <a:pt x="50" y="56"/>
                  </a:lnTo>
                  <a:lnTo>
                    <a:pt x="46" y="54"/>
                  </a:lnTo>
                  <a:lnTo>
                    <a:pt x="42" y="48"/>
                  </a:lnTo>
                  <a:lnTo>
                    <a:pt x="0" y="62"/>
                  </a:lnTo>
                  <a:lnTo>
                    <a:pt x="2" y="66"/>
                  </a:lnTo>
                  <a:lnTo>
                    <a:pt x="2" y="68"/>
                  </a:lnTo>
                  <a:lnTo>
                    <a:pt x="4" y="72"/>
                  </a:lnTo>
                  <a:lnTo>
                    <a:pt x="4" y="76"/>
                  </a:lnTo>
                  <a:lnTo>
                    <a:pt x="8" y="76"/>
                  </a:lnTo>
                  <a:lnTo>
                    <a:pt x="16" y="78"/>
                  </a:lnTo>
                  <a:lnTo>
                    <a:pt x="28" y="82"/>
                  </a:lnTo>
                  <a:lnTo>
                    <a:pt x="36" y="88"/>
                  </a:lnTo>
                  <a:lnTo>
                    <a:pt x="38" y="86"/>
                  </a:lnTo>
                  <a:lnTo>
                    <a:pt x="40" y="96"/>
                  </a:lnTo>
                  <a:lnTo>
                    <a:pt x="38" y="106"/>
                  </a:lnTo>
                  <a:lnTo>
                    <a:pt x="40" y="110"/>
                  </a:lnTo>
                  <a:lnTo>
                    <a:pt x="38" y="110"/>
                  </a:lnTo>
                  <a:lnTo>
                    <a:pt x="38" y="116"/>
                  </a:lnTo>
                  <a:lnTo>
                    <a:pt x="36" y="116"/>
                  </a:lnTo>
                  <a:lnTo>
                    <a:pt x="36" y="118"/>
                  </a:lnTo>
                  <a:lnTo>
                    <a:pt x="36" y="120"/>
                  </a:lnTo>
                  <a:lnTo>
                    <a:pt x="36" y="128"/>
                  </a:lnTo>
                  <a:lnTo>
                    <a:pt x="38" y="130"/>
                  </a:lnTo>
                  <a:lnTo>
                    <a:pt x="38" y="132"/>
                  </a:lnTo>
                  <a:lnTo>
                    <a:pt x="36" y="138"/>
                  </a:lnTo>
                  <a:lnTo>
                    <a:pt x="34" y="142"/>
                  </a:lnTo>
                  <a:lnTo>
                    <a:pt x="32" y="142"/>
                  </a:lnTo>
                  <a:lnTo>
                    <a:pt x="30" y="148"/>
                  </a:lnTo>
                  <a:lnTo>
                    <a:pt x="32" y="154"/>
                  </a:lnTo>
                  <a:lnTo>
                    <a:pt x="30" y="152"/>
                  </a:lnTo>
                  <a:lnTo>
                    <a:pt x="24" y="160"/>
                  </a:lnTo>
                  <a:lnTo>
                    <a:pt x="16" y="168"/>
                  </a:lnTo>
                  <a:lnTo>
                    <a:pt x="18" y="176"/>
                  </a:lnTo>
                  <a:lnTo>
                    <a:pt x="18" y="182"/>
                  </a:lnTo>
                  <a:lnTo>
                    <a:pt x="20" y="188"/>
                  </a:lnTo>
                  <a:lnTo>
                    <a:pt x="24" y="192"/>
                  </a:lnTo>
                  <a:lnTo>
                    <a:pt x="24" y="222"/>
                  </a:lnTo>
                  <a:lnTo>
                    <a:pt x="26" y="228"/>
                  </a:lnTo>
                  <a:lnTo>
                    <a:pt x="26" y="234"/>
                  </a:lnTo>
                  <a:lnTo>
                    <a:pt x="30" y="234"/>
                  </a:lnTo>
                  <a:lnTo>
                    <a:pt x="38" y="234"/>
                  </a:lnTo>
                  <a:lnTo>
                    <a:pt x="36" y="226"/>
                  </a:lnTo>
                  <a:lnTo>
                    <a:pt x="34" y="222"/>
                  </a:lnTo>
                  <a:lnTo>
                    <a:pt x="34" y="220"/>
                  </a:lnTo>
                  <a:lnTo>
                    <a:pt x="46" y="210"/>
                  </a:lnTo>
                  <a:lnTo>
                    <a:pt x="58" y="204"/>
                  </a:lnTo>
                  <a:lnTo>
                    <a:pt x="68" y="200"/>
                  </a:lnTo>
                  <a:lnTo>
                    <a:pt x="72" y="194"/>
                  </a:lnTo>
                  <a:lnTo>
                    <a:pt x="72" y="188"/>
                  </a:lnTo>
                  <a:lnTo>
                    <a:pt x="72" y="182"/>
                  </a:lnTo>
                  <a:lnTo>
                    <a:pt x="72" y="174"/>
                  </a:lnTo>
                  <a:lnTo>
                    <a:pt x="74" y="166"/>
                  </a:lnTo>
                  <a:lnTo>
                    <a:pt x="72" y="166"/>
                  </a:lnTo>
                  <a:lnTo>
                    <a:pt x="72" y="164"/>
                  </a:lnTo>
                  <a:lnTo>
                    <a:pt x="68" y="156"/>
                  </a:lnTo>
                  <a:lnTo>
                    <a:pt x="66" y="152"/>
                  </a:lnTo>
                  <a:lnTo>
                    <a:pt x="68" y="148"/>
                  </a:lnTo>
                  <a:lnTo>
                    <a:pt x="66" y="148"/>
                  </a:lnTo>
                  <a:lnTo>
                    <a:pt x="64" y="144"/>
                  </a:lnTo>
                  <a:lnTo>
                    <a:pt x="62" y="140"/>
                  </a:lnTo>
                  <a:lnTo>
                    <a:pt x="62" y="136"/>
                  </a:lnTo>
                  <a:lnTo>
                    <a:pt x="64" y="132"/>
                  </a:lnTo>
                  <a:lnTo>
                    <a:pt x="64" y="132"/>
                  </a:lnTo>
                  <a:lnTo>
                    <a:pt x="74" y="124"/>
                  </a:lnTo>
                  <a:lnTo>
                    <a:pt x="76" y="120"/>
                  </a:lnTo>
                  <a:lnTo>
                    <a:pt x="82" y="116"/>
                  </a:lnTo>
                  <a:lnTo>
                    <a:pt x="82" y="118"/>
                  </a:lnTo>
                  <a:lnTo>
                    <a:pt x="86" y="112"/>
                  </a:lnTo>
                  <a:lnTo>
                    <a:pt x="88" y="112"/>
                  </a:lnTo>
                  <a:lnTo>
                    <a:pt x="92" y="108"/>
                  </a:lnTo>
                  <a:lnTo>
                    <a:pt x="96" y="102"/>
                  </a:lnTo>
                  <a:lnTo>
                    <a:pt x="110" y="94"/>
                  </a:lnTo>
                  <a:lnTo>
                    <a:pt x="118" y="92"/>
                  </a:lnTo>
                  <a:lnTo>
                    <a:pt x="122" y="90"/>
                  </a:lnTo>
                  <a:lnTo>
                    <a:pt x="126" y="86"/>
                  </a:lnTo>
                  <a:lnTo>
                    <a:pt x="138" y="74"/>
                  </a:lnTo>
                  <a:lnTo>
                    <a:pt x="142" y="68"/>
                  </a:lnTo>
                  <a:lnTo>
                    <a:pt x="142" y="66"/>
                  </a:lnTo>
                  <a:lnTo>
                    <a:pt x="144" y="62"/>
                  </a:lnTo>
                  <a:lnTo>
                    <a:pt x="146" y="58"/>
                  </a:lnTo>
                  <a:lnTo>
                    <a:pt x="144" y="54"/>
                  </a:lnTo>
                  <a:lnTo>
                    <a:pt x="144" y="54"/>
                  </a:lnTo>
                  <a:lnTo>
                    <a:pt x="142" y="44"/>
                  </a:lnTo>
                  <a:lnTo>
                    <a:pt x="142" y="40"/>
                  </a:lnTo>
                  <a:lnTo>
                    <a:pt x="140" y="34"/>
                  </a:lnTo>
                  <a:lnTo>
                    <a:pt x="142" y="32"/>
                  </a:lnTo>
                  <a:lnTo>
                    <a:pt x="142" y="30"/>
                  </a:lnTo>
                  <a:lnTo>
                    <a:pt x="142" y="30"/>
                  </a:lnTo>
                  <a:lnTo>
                    <a:pt x="142" y="30"/>
                  </a:lnTo>
                  <a:lnTo>
                    <a:pt x="142" y="28"/>
                  </a:lnTo>
                  <a:lnTo>
                    <a:pt x="140" y="28"/>
                  </a:lnTo>
                  <a:lnTo>
                    <a:pt x="140" y="26"/>
                  </a:lnTo>
                  <a:lnTo>
                    <a:pt x="140" y="22"/>
                  </a:lnTo>
                  <a:lnTo>
                    <a:pt x="140" y="20"/>
                  </a:lnTo>
                  <a:lnTo>
                    <a:pt x="140" y="16"/>
                  </a:lnTo>
                  <a:lnTo>
                    <a:pt x="140" y="10"/>
                  </a:lnTo>
                  <a:lnTo>
                    <a:pt x="142" y="2"/>
                  </a:lnTo>
                  <a:lnTo>
                    <a:pt x="140" y="0"/>
                  </a:lnTo>
                  <a:lnTo>
                    <a:pt x="134" y="4"/>
                  </a:lnTo>
                  <a:lnTo>
                    <a:pt x="126" y="8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8" name="Freeform 853">
              <a:extLst>
                <a:ext uri="{FF2B5EF4-FFF2-40B4-BE49-F238E27FC236}">
                  <a16:creationId xmlns:a16="http://schemas.microsoft.com/office/drawing/2014/main" id="{6FB1FCD6-C530-43AF-8FC2-3C9DAEDF33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0138" y="4970463"/>
              <a:ext cx="53975" cy="47625"/>
            </a:xfrm>
            <a:custGeom>
              <a:avLst/>
              <a:gdLst/>
              <a:ahLst/>
              <a:cxnLst>
                <a:cxn ang="0">
                  <a:pos x="28" y="4"/>
                </a:cxn>
                <a:cxn ang="0">
                  <a:pos x="24" y="0"/>
                </a:cxn>
                <a:cxn ang="0">
                  <a:pos x="18" y="0"/>
                </a:cxn>
                <a:cxn ang="0">
                  <a:pos x="12" y="4"/>
                </a:cxn>
                <a:cxn ang="0">
                  <a:pos x="8" y="10"/>
                </a:cxn>
                <a:cxn ang="0">
                  <a:pos x="0" y="16"/>
                </a:cxn>
                <a:cxn ang="0">
                  <a:pos x="6" y="26"/>
                </a:cxn>
                <a:cxn ang="0">
                  <a:pos x="8" y="28"/>
                </a:cxn>
                <a:cxn ang="0">
                  <a:pos x="12" y="30"/>
                </a:cxn>
                <a:cxn ang="0">
                  <a:pos x="16" y="30"/>
                </a:cxn>
                <a:cxn ang="0">
                  <a:pos x="18" y="26"/>
                </a:cxn>
                <a:cxn ang="0">
                  <a:pos x="22" y="24"/>
                </a:cxn>
                <a:cxn ang="0">
                  <a:pos x="28" y="22"/>
                </a:cxn>
                <a:cxn ang="0">
                  <a:pos x="30" y="20"/>
                </a:cxn>
                <a:cxn ang="0">
                  <a:pos x="32" y="16"/>
                </a:cxn>
                <a:cxn ang="0">
                  <a:pos x="34" y="8"/>
                </a:cxn>
                <a:cxn ang="0">
                  <a:pos x="32" y="6"/>
                </a:cxn>
                <a:cxn ang="0">
                  <a:pos x="28" y="4"/>
                </a:cxn>
              </a:cxnLst>
              <a:rect l="0" t="0" r="r" b="b"/>
              <a:pathLst>
                <a:path w="34" h="30">
                  <a:moveTo>
                    <a:pt x="28" y="4"/>
                  </a:moveTo>
                  <a:lnTo>
                    <a:pt x="24" y="0"/>
                  </a:lnTo>
                  <a:lnTo>
                    <a:pt x="18" y="0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0" y="16"/>
                  </a:lnTo>
                  <a:lnTo>
                    <a:pt x="6" y="26"/>
                  </a:lnTo>
                  <a:lnTo>
                    <a:pt x="8" y="28"/>
                  </a:lnTo>
                  <a:lnTo>
                    <a:pt x="12" y="30"/>
                  </a:lnTo>
                  <a:lnTo>
                    <a:pt x="16" y="30"/>
                  </a:lnTo>
                  <a:lnTo>
                    <a:pt x="18" y="26"/>
                  </a:lnTo>
                  <a:lnTo>
                    <a:pt x="22" y="24"/>
                  </a:lnTo>
                  <a:lnTo>
                    <a:pt x="28" y="22"/>
                  </a:lnTo>
                  <a:lnTo>
                    <a:pt x="30" y="20"/>
                  </a:lnTo>
                  <a:lnTo>
                    <a:pt x="32" y="16"/>
                  </a:lnTo>
                  <a:lnTo>
                    <a:pt x="34" y="8"/>
                  </a:lnTo>
                  <a:lnTo>
                    <a:pt x="32" y="6"/>
                  </a:lnTo>
                  <a:lnTo>
                    <a:pt x="28" y="4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9" name="Freeform 860">
              <a:extLst>
                <a:ext uri="{FF2B5EF4-FFF2-40B4-BE49-F238E27FC236}">
                  <a16:creationId xmlns:a16="http://schemas.microsoft.com/office/drawing/2014/main" id="{61CD4294-B2D6-4431-8F3C-FFEF64F897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2688" y="4900613"/>
              <a:ext cx="28575" cy="3810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4" y="4"/>
                </a:cxn>
                <a:cxn ang="0">
                  <a:pos x="0" y="12"/>
                </a:cxn>
                <a:cxn ang="0">
                  <a:pos x="0" y="16"/>
                </a:cxn>
                <a:cxn ang="0">
                  <a:pos x="6" y="22"/>
                </a:cxn>
                <a:cxn ang="0">
                  <a:pos x="16" y="24"/>
                </a:cxn>
                <a:cxn ang="0">
                  <a:pos x="18" y="16"/>
                </a:cxn>
                <a:cxn ang="0">
                  <a:pos x="18" y="10"/>
                </a:cxn>
                <a:cxn ang="0">
                  <a:pos x="16" y="4"/>
                </a:cxn>
                <a:cxn ang="0">
                  <a:pos x="12" y="2"/>
                </a:cxn>
                <a:cxn ang="0">
                  <a:pos x="8" y="0"/>
                </a:cxn>
              </a:cxnLst>
              <a:rect l="0" t="0" r="r" b="b"/>
              <a:pathLst>
                <a:path w="18" h="24">
                  <a:moveTo>
                    <a:pt x="8" y="0"/>
                  </a:moveTo>
                  <a:lnTo>
                    <a:pt x="4" y="4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6" y="22"/>
                  </a:lnTo>
                  <a:lnTo>
                    <a:pt x="16" y="24"/>
                  </a:lnTo>
                  <a:lnTo>
                    <a:pt x="18" y="16"/>
                  </a:lnTo>
                  <a:lnTo>
                    <a:pt x="18" y="10"/>
                  </a:lnTo>
                  <a:lnTo>
                    <a:pt x="16" y="4"/>
                  </a:lnTo>
                  <a:lnTo>
                    <a:pt x="12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0" name="Freeform 798">
              <a:extLst>
                <a:ext uri="{FF2B5EF4-FFF2-40B4-BE49-F238E27FC236}">
                  <a16:creationId xmlns:a16="http://schemas.microsoft.com/office/drawing/2014/main" id="{56A47D63-1A09-4A08-9389-941707324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2188" y="4503738"/>
              <a:ext cx="250825" cy="219075"/>
            </a:xfrm>
            <a:custGeom>
              <a:avLst/>
              <a:gdLst/>
              <a:ahLst/>
              <a:cxnLst>
                <a:cxn ang="0">
                  <a:pos x="92" y="12"/>
                </a:cxn>
                <a:cxn ang="0">
                  <a:pos x="90" y="20"/>
                </a:cxn>
                <a:cxn ang="0">
                  <a:pos x="90" y="28"/>
                </a:cxn>
                <a:cxn ang="0">
                  <a:pos x="90" y="32"/>
                </a:cxn>
                <a:cxn ang="0">
                  <a:pos x="90" y="36"/>
                </a:cxn>
                <a:cxn ang="0">
                  <a:pos x="88" y="44"/>
                </a:cxn>
                <a:cxn ang="0">
                  <a:pos x="88" y="50"/>
                </a:cxn>
                <a:cxn ang="0">
                  <a:pos x="102" y="58"/>
                </a:cxn>
                <a:cxn ang="0">
                  <a:pos x="108" y="74"/>
                </a:cxn>
                <a:cxn ang="0">
                  <a:pos x="106" y="70"/>
                </a:cxn>
                <a:cxn ang="0">
                  <a:pos x="96" y="72"/>
                </a:cxn>
                <a:cxn ang="0">
                  <a:pos x="94" y="66"/>
                </a:cxn>
                <a:cxn ang="0">
                  <a:pos x="84" y="58"/>
                </a:cxn>
                <a:cxn ang="0">
                  <a:pos x="76" y="54"/>
                </a:cxn>
                <a:cxn ang="0">
                  <a:pos x="70" y="48"/>
                </a:cxn>
                <a:cxn ang="0">
                  <a:pos x="62" y="52"/>
                </a:cxn>
                <a:cxn ang="0">
                  <a:pos x="46" y="44"/>
                </a:cxn>
                <a:cxn ang="0">
                  <a:pos x="38" y="44"/>
                </a:cxn>
                <a:cxn ang="0">
                  <a:pos x="34" y="40"/>
                </a:cxn>
                <a:cxn ang="0">
                  <a:pos x="28" y="50"/>
                </a:cxn>
                <a:cxn ang="0">
                  <a:pos x="28" y="66"/>
                </a:cxn>
                <a:cxn ang="0">
                  <a:pos x="14" y="68"/>
                </a:cxn>
                <a:cxn ang="0">
                  <a:pos x="0" y="68"/>
                </a:cxn>
                <a:cxn ang="0">
                  <a:pos x="0" y="112"/>
                </a:cxn>
                <a:cxn ang="0">
                  <a:pos x="10" y="124"/>
                </a:cxn>
                <a:cxn ang="0">
                  <a:pos x="32" y="130"/>
                </a:cxn>
                <a:cxn ang="0">
                  <a:pos x="50" y="136"/>
                </a:cxn>
                <a:cxn ang="0">
                  <a:pos x="68" y="138"/>
                </a:cxn>
                <a:cxn ang="0">
                  <a:pos x="70" y="136"/>
                </a:cxn>
                <a:cxn ang="0">
                  <a:pos x="86" y="120"/>
                </a:cxn>
                <a:cxn ang="0">
                  <a:pos x="96" y="108"/>
                </a:cxn>
                <a:cxn ang="0">
                  <a:pos x="116" y="104"/>
                </a:cxn>
                <a:cxn ang="0">
                  <a:pos x="114" y="98"/>
                </a:cxn>
                <a:cxn ang="0">
                  <a:pos x="154" y="80"/>
                </a:cxn>
                <a:cxn ang="0">
                  <a:pos x="148" y="76"/>
                </a:cxn>
                <a:cxn ang="0">
                  <a:pos x="150" y="70"/>
                </a:cxn>
                <a:cxn ang="0">
                  <a:pos x="154" y="60"/>
                </a:cxn>
                <a:cxn ang="0">
                  <a:pos x="156" y="38"/>
                </a:cxn>
                <a:cxn ang="0">
                  <a:pos x="158" y="32"/>
                </a:cxn>
                <a:cxn ang="0">
                  <a:pos x="154" y="20"/>
                </a:cxn>
                <a:cxn ang="0">
                  <a:pos x="150" y="20"/>
                </a:cxn>
                <a:cxn ang="0">
                  <a:pos x="150" y="18"/>
                </a:cxn>
                <a:cxn ang="0">
                  <a:pos x="142" y="14"/>
                </a:cxn>
                <a:cxn ang="0">
                  <a:pos x="134" y="10"/>
                </a:cxn>
                <a:cxn ang="0">
                  <a:pos x="126" y="6"/>
                </a:cxn>
                <a:cxn ang="0">
                  <a:pos x="94" y="4"/>
                </a:cxn>
              </a:cxnLst>
              <a:rect l="0" t="0" r="r" b="b"/>
              <a:pathLst>
                <a:path w="158" h="138">
                  <a:moveTo>
                    <a:pt x="94" y="10"/>
                  </a:moveTo>
                  <a:lnTo>
                    <a:pt x="92" y="12"/>
                  </a:lnTo>
                  <a:lnTo>
                    <a:pt x="90" y="16"/>
                  </a:lnTo>
                  <a:lnTo>
                    <a:pt x="90" y="20"/>
                  </a:lnTo>
                  <a:lnTo>
                    <a:pt x="90" y="24"/>
                  </a:lnTo>
                  <a:lnTo>
                    <a:pt x="90" y="28"/>
                  </a:lnTo>
                  <a:lnTo>
                    <a:pt x="90" y="30"/>
                  </a:lnTo>
                  <a:lnTo>
                    <a:pt x="90" y="32"/>
                  </a:lnTo>
                  <a:lnTo>
                    <a:pt x="92" y="34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88" y="44"/>
                  </a:lnTo>
                  <a:lnTo>
                    <a:pt x="88" y="46"/>
                  </a:lnTo>
                  <a:lnTo>
                    <a:pt x="88" y="50"/>
                  </a:lnTo>
                  <a:lnTo>
                    <a:pt x="96" y="56"/>
                  </a:lnTo>
                  <a:lnTo>
                    <a:pt x="102" y="58"/>
                  </a:lnTo>
                  <a:lnTo>
                    <a:pt x="108" y="56"/>
                  </a:lnTo>
                  <a:lnTo>
                    <a:pt x="108" y="74"/>
                  </a:lnTo>
                  <a:lnTo>
                    <a:pt x="104" y="72"/>
                  </a:lnTo>
                  <a:lnTo>
                    <a:pt x="106" y="70"/>
                  </a:lnTo>
                  <a:lnTo>
                    <a:pt x="102" y="72"/>
                  </a:lnTo>
                  <a:lnTo>
                    <a:pt x="96" y="72"/>
                  </a:lnTo>
                  <a:lnTo>
                    <a:pt x="96" y="70"/>
                  </a:lnTo>
                  <a:lnTo>
                    <a:pt x="94" y="66"/>
                  </a:lnTo>
                  <a:lnTo>
                    <a:pt x="88" y="60"/>
                  </a:lnTo>
                  <a:lnTo>
                    <a:pt x="84" y="58"/>
                  </a:lnTo>
                  <a:lnTo>
                    <a:pt x="80" y="58"/>
                  </a:lnTo>
                  <a:lnTo>
                    <a:pt x="76" y="54"/>
                  </a:lnTo>
                  <a:lnTo>
                    <a:pt x="72" y="50"/>
                  </a:lnTo>
                  <a:lnTo>
                    <a:pt x="70" y="48"/>
                  </a:lnTo>
                  <a:lnTo>
                    <a:pt x="68" y="52"/>
                  </a:lnTo>
                  <a:lnTo>
                    <a:pt x="62" y="52"/>
                  </a:lnTo>
                  <a:lnTo>
                    <a:pt x="48" y="50"/>
                  </a:lnTo>
                  <a:lnTo>
                    <a:pt x="46" y="44"/>
                  </a:lnTo>
                  <a:lnTo>
                    <a:pt x="44" y="42"/>
                  </a:lnTo>
                  <a:lnTo>
                    <a:pt x="38" y="44"/>
                  </a:lnTo>
                  <a:lnTo>
                    <a:pt x="34" y="46"/>
                  </a:lnTo>
                  <a:lnTo>
                    <a:pt x="34" y="40"/>
                  </a:lnTo>
                  <a:lnTo>
                    <a:pt x="28" y="38"/>
                  </a:lnTo>
                  <a:lnTo>
                    <a:pt x="28" y="50"/>
                  </a:lnTo>
                  <a:lnTo>
                    <a:pt x="28" y="62"/>
                  </a:lnTo>
                  <a:lnTo>
                    <a:pt x="28" y="66"/>
                  </a:lnTo>
                  <a:lnTo>
                    <a:pt x="28" y="68"/>
                  </a:lnTo>
                  <a:lnTo>
                    <a:pt x="14" y="68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70"/>
                  </a:lnTo>
                  <a:lnTo>
                    <a:pt x="0" y="112"/>
                  </a:lnTo>
                  <a:lnTo>
                    <a:pt x="4" y="118"/>
                  </a:lnTo>
                  <a:lnTo>
                    <a:pt x="10" y="124"/>
                  </a:lnTo>
                  <a:lnTo>
                    <a:pt x="20" y="132"/>
                  </a:lnTo>
                  <a:lnTo>
                    <a:pt x="32" y="130"/>
                  </a:lnTo>
                  <a:lnTo>
                    <a:pt x="46" y="134"/>
                  </a:lnTo>
                  <a:lnTo>
                    <a:pt x="50" y="136"/>
                  </a:lnTo>
                  <a:lnTo>
                    <a:pt x="54" y="136"/>
                  </a:lnTo>
                  <a:lnTo>
                    <a:pt x="68" y="138"/>
                  </a:lnTo>
                  <a:lnTo>
                    <a:pt x="70" y="136"/>
                  </a:lnTo>
                  <a:lnTo>
                    <a:pt x="70" y="136"/>
                  </a:lnTo>
                  <a:lnTo>
                    <a:pt x="80" y="122"/>
                  </a:lnTo>
                  <a:lnTo>
                    <a:pt x="86" y="120"/>
                  </a:lnTo>
                  <a:lnTo>
                    <a:pt x="92" y="116"/>
                  </a:lnTo>
                  <a:lnTo>
                    <a:pt x="96" y="108"/>
                  </a:lnTo>
                  <a:lnTo>
                    <a:pt x="104" y="104"/>
                  </a:lnTo>
                  <a:lnTo>
                    <a:pt x="116" y="104"/>
                  </a:lnTo>
                  <a:lnTo>
                    <a:pt x="114" y="100"/>
                  </a:lnTo>
                  <a:lnTo>
                    <a:pt x="114" y="98"/>
                  </a:lnTo>
                  <a:lnTo>
                    <a:pt x="112" y="94"/>
                  </a:lnTo>
                  <a:lnTo>
                    <a:pt x="154" y="80"/>
                  </a:lnTo>
                  <a:lnTo>
                    <a:pt x="150" y="80"/>
                  </a:lnTo>
                  <a:lnTo>
                    <a:pt x="148" y="76"/>
                  </a:lnTo>
                  <a:lnTo>
                    <a:pt x="148" y="74"/>
                  </a:lnTo>
                  <a:lnTo>
                    <a:pt x="150" y="70"/>
                  </a:lnTo>
                  <a:lnTo>
                    <a:pt x="152" y="62"/>
                  </a:lnTo>
                  <a:lnTo>
                    <a:pt x="154" y="60"/>
                  </a:lnTo>
                  <a:lnTo>
                    <a:pt x="156" y="56"/>
                  </a:lnTo>
                  <a:lnTo>
                    <a:pt x="156" y="38"/>
                  </a:lnTo>
                  <a:lnTo>
                    <a:pt x="156" y="34"/>
                  </a:lnTo>
                  <a:lnTo>
                    <a:pt x="158" y="32"/>
                  </a:lnTo>
                  <a:lnTo>
                    <a:pt x="154" y="22"/>
                  </a:lnTo>
                  <a:lnTo>
                    <a:pt x="154" y="20"/>
                  </a:lnTo>
                  <a:lnTo>
                    <a:pt x="152" y="20"/>
                  </a:lnTo>
                  <a:lnTo>
                    <a:pt x="150" y="20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42" y="14"/>
                  </a:lnTo>
                  <a:lnTo>
                    <a:pt x="134" y="10"/>
                  </a:lnTo>
                  <a:lnTo>
                    <a:pt x="134" y="10"/>
                  </a:lnTo>
                  <a:lnTo>
                    <a:pt x="126" y="6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4" y="4"/>
                  </a:lnTo>
                  <a:lnTo>
                    <a:pt x="94" y="1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1" name="Freeform 806">
              <a:extLst>
                <a:ext uri="{FF2B5EF4-FFF2-40B4-BE49-F238E27FC236}">
                  <a16:creationId xmlns:a16="http://schemas.microsoft.com/office/drawing/2014/main" id="{6797AECB-21A9-4461-8C7C-864FC87BD3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5213" y="4668838"/>
              <a:ext cx="168275" cy="152400"/>
            </a:xfrm>
            <a:custGeom>
              <a:avLst/>
              <a:gdLst/>
              <a:ahLst/>
              <a:cxnLst>
                <a:cxn ang="0">
                  <a:pos x="50" y="4"/>
                </a:cxn>
                <a:cxn ang="0">
                  <a:pos x="46" y="12"/>
                </a:cxn>
                <a:cxn ang="0">
                  <a:pos x="40" y="16"/>
                </a:cxn>
                <a:cxn ang="0">
                  <a:pos x="34" y="18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2" y="34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0" y="30"/>
                </a:cxn>
                <a:cxn ang="0">
                  <a:pos x="4" y="40"/>
                </a:cxn>
                <a:cxn ang="0">
                  <a:pos x="12" y="54"/>
                </a:cxn>
                <a:cxn ang="0">
                  <a:pos x="16" y="58"/>
                </a:cxn>
                <a:cxn ang="0">
                  <a:pos x="20" y="62"/>
                </a:cxn>
                <a:cxn ang="0">
                  <a:pos x="26" y="62"/>
                </a:cxn>
                <a:cxn ang="0">
                  <a:pos x="26" y="68"/>
                </a:cxn>
                <a:cxn ang="0">
                  <a:pos x="32" y="70"/>
                </a:cxn>
                <a:cxn ang="0">
                  <a:pos x="32" y="78"/>
                </a:cxn>
                <a:cxn ang="0">
                  <a:pos x="34" y="82"/>
                </a:cxn>
                <a:cxn ang="0">
                  <a:pos x="38" y="84"/>
                </a:cxn>
                <a:cxn ang="0">
                  <a:pos x="44" y="86"/>
                </a:cxn>
                <a:cxn ang="0">
                  <a:pos x="52" y="88"/>
                </a:cxn>
                <a:cxn ang="0">
                  <a:pos x="52" y="88"/>
                </a:cxn>
                <a:cxn ang="0">
                  <a:pos x="54" y="92"/>
                </a:cxn>
                <a:cxn ang="0">
                  <a:pos x="56" y="94"/>
                </a:cxn>
                <a:cxn ang="0">
                  <a:pos x="62" y="94"/>
                </a:cxn>
                <a:cxn ang="0">
                  <a:pos x="72" y="96"/>
                </a:cxn>
                <a:cxn ang="0">
                  <a:pos x="82" y="96"/>
                </a:cxn>
                <a:cxn ang="0">
                  <a:pos x="90" y="88"/>
                </a:cxn>
                <a:cxn ang="0">
                  <a:pos x="96" y="80"/>
                </a:cxn>
                <a:cxn ang="0">
                  <a:pos x="98" y="82"/>
                </a:cxn>
                <a:cxn ang="0">
                  <a:pos x="96" y="76"/>
                </a:cxn>
                <a:cxn ang="0">
                  <a:pos x="98" y="70"/>
                </a:cxn>
                <a:cxn ang="0">
                  <a:pos x="100" y="70"/>
                </a:cxn>
                <a:cxn ang="0">
                  <a:pos x="102" y="66"/>
                </a:cxn>
                <a:cxn ang="0">
                  <a:pos x="104" y="60"/>
                </a:cxn>
                <a:cxn ang="0">
                  <a:pos x="104" y="58"/>
                </a:cxn>
                <a:cxn ang="0">
                  <a:pos x="102" y="56"/>
                </a:cxn>
                <a:cxn ang="0">
                  <a:pos x="102" y="48"/>
                </a:cxn>
                <a:cxn ang="0">
                  <a:pos x="102" y="46"/>
                </a:cxn>
                <a:cxn ang="0">
                  <a:pos x="102" y="44"/>
                </a:cxn>
                <a:cxn ang="0">
                  <a:pos x="104" y="44"/>
                </a:cxn>
                <a:cxn ang="0">
                  <a:pos x="104" y="38"/>
                </a:cxn>
                <a:cxn ang="0">
                  <a:pos x="106" y="38"/>
                </a:cxn>
                <a:cxn ang="0">
                  <a:pos x="104" y="34"/>
                </a:cxn>
                <a:cxn ang="0">
                  <a:pos x="106" y="24"/>
                </a:cxn>
                <a:cxn ang="0">
                  <a:pos x="104" y="14"/>
                </a:cxn>
                <a:cxn ang="0">
                  <a:pos x="102" y="16"/>
                </a:cxn>
                <a:cxn ang="0">
                  <a:pos x="94" y="10"/>
                </a:cxn>
                <a:cxn ang="0">
                  <a:pos x="82" y="6"/>
                </a:cxn>
                <a:cxn ang="0">
                  <a:pos x="74" y="4"/>
                </a:cxn>
                <a:cxn ang="0">
                  <a:pos x="70" y="4"/>
                </a:cxn>
                <a:cxn ang="0">
                  <a:pos x="70" y="0"/>
                </a:cxn>
                <a:cxn ang="0">
                  <a:pos x="58" y="0"/>
                </a:cxn>
                <a:cxn ang="0">
                  <a:pos x="50" y="4"/>
                </a:cxn>
              </a:cxnLst>
              <a:rect l="0" t="0" r="r" b="b"/>
              <a:pathLst>
                <a:path w="106" h="96">
                  <a:moveTo>
                    <a:pt x="50" y="4"/>
                  </a:moveTo>
                  <a:lnTo>
                    <a:pt x="46" y="12"/>
                  </a:lnTo>
                  <a:lnTo>
                    <a:pt x="40" y="16"/>
                  </a:lnTo>
                  <a:lnTo>
                    <a:pt x="34" y="1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2" y="34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0" y="30"/>
                  </a:lnTo>
                  <a:lnTo>
                    <a:pt x="4" y="40"/>
                  </a:lnTo>
                  <a:lnTo>
                    <a:pt x="12" y="54"/>
                  </a:lnTo>
                  <a:lnTo>
                    <a:pt x="16" y="58"/>
                  </a:lnTo>
                  <a:lnTo>
                    <a:pt x="20" y="62"/>
                  </a:lnTo>
                  <a:lnTo>
                    <a:pt x="26" y="62"/>
                  </a:lnTo>
                  <a:lnTo>
                    <a:pt x="26" y="68"/>
                  </a:lnTo>
                  <a:lnTo>
                    <a:pt x="32" y="70"/>
                  </a:lnTo>
                  <a:lnTo>
                    <a:pt x="32" y="78"/>
                  </a:lnTo>
                  <a:lnTo>
                    <a:pt x="34" y="82"/>
                  </a:lnTo>
                  <a:lnTo>
                    <a:pt x="38" y="84"/>
                  </a:lnTo>
                  <a:lnTo>
                    <a:pt x="44" y="86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4" y="92"/>
                  </a:lnTo>
                  <a:lnTo>
                    <a:pt x="56" y="94"/>
                  </a:lnTo>
                  <a:lnTo>
                    <a:pt x="62" y="94"/>
                  </a:lnTo>
                  <a:lnTo>
                    <a:pt x="72" y="96"/>
                  </a:lnTo>
                  <a:lnTo>
                    <a:pt x="82" y="96"/>
                  </a:lnTo>
                  <a:lnTo>
                    <a:pt x="90" y="88"/>
                  </a:lnTo>
                  <a:lnTo>
                    <a:pt x="96" y="80"/>
                  </a:lnTo>
                  <a:lnTo>
                    <a:pt x="98" y="82"/>
                  </a:lnTo>
                  <a:lnTo>
                    <a:pt x="96" y="76"/>
                  </a:lnTo>
                  <a:lnTo>
                    <a:pt x="98" y="70"/>
                  </a:lnTo>
                  <a:lnTo>
                    <a:pt x="100" y="70"/>
                  </a:lnTo>
                  <a:lnTo>
                    <a:pt x="102" y="66"/>
                  </a:lnTo>
                  <a:lnTo>
                    <a:pt x="104" y="60"/>
                  </a:lnTo>
                  <a:lnTo>
                    <a:pt x="104" y="58"/>
                  </a:lnTo>
                  <a:lnTo>
                    <a:pt x="102" y="56"/>
                  </a:lnTo>
                  <a:lnTo>
                    <a:pt x="102" y="48"/>
                  </a:lnTo>
                  <a:lnTo>
                    <a:pt x="102" y="46"/>
                  </a:lnTo>
                  <a:lnTo>
                    <a:pt x="102" y="44"/>
                  </a:lnTo>
                  <a:lnTo>
                    <a:pt x="104" y="44"/>
                  </a:lnTo>
                  <a:lnTo>
                    <a:pt x="104" y="38"/>
                  </a:lnTo>
                  <a:lnTo>
                    <a:pt x="106" y="38"/>
                  </a:lnTo>
                  <a:lnTo>
                    <a:pt x="104" y="34"/>
                  </a:lnTo>
                  <a:lnTo>
                    <a:pt x="106" y="24"/>
                  </a:lnTo>
                  <a:lnTo>
                    <a:pt x="104" y="14"/>
                  </a:lnTo>
                  <a:lnTo>
                    <a:pt x="102" y="16"/>
                  </a:lnTo>
                  <a:lnTo>
                    <a:pt x="94" y="10"/>
                  </a:lnTo>
                  <a:lnTo>
                    <a:pt x="82" y="6"/>
                  </a:lnTo>
                  <a:lnTo>
                    <a:pt x="74" y="4"/>
                  </a:lnTo>
                  <a:lnTo>
                    <a:pt x="70" y="4"/>
                  </a:lnTo>
                  <a:lnTo>
                    <a:pt x="70" y="0"/>
                  </a:lnTo>
                  <a:lnTo>
                    <a:pt x="58" y="0"/>
                  </a:lnTo>
                  <a:lnTo>
                    <a:pt x="50" y="4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2" name="Freeform 854">
              <a:extLst>
                <a:ext uri="{FF2B5EF4-FFF2-40B4-BE49-F238E27FC236}">
                  <a16:creationId xmlns:a16="http://schemas.microsoft.com/office/drawing/2014/main" id="{EAFD5574-9DE9-464E-B6B2-C228FA2DFB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3113" y="4697413"/>
              <a:ext cx="292100" cy="279400"/>
            </a:xfrm>
            <a:custGeom>
              <a:avLst/>
              <a:gdLst/>
              <a:ahLst/>
              <a:cxnLst>
                <a:cxn ang="0">
                  <a:pos x="74" y="164"/>
                </a:cxn>
                <a:cxn ang="0">
                  <a:pos x="76" y="170"/>
                </a:cxn>
                <a:cxn ang="0">
                  <a:pos x="82" y="174"/>
                </a:cxn>
                <a:cxn ang="0">
                  <a:pos x="96" y="176"/>
                </a:cxn>
                <a:cxn ang="0">
                  <a:pos x="102" y="174"/>
                </a:cxn>
                <a:cxn ang="0">
                  <a:pos x="112" y="168"/>
                </a:cxn>
                <a:cxn ang="0">
                  <a:pos x="112" y="76"/>
                </a:cxn>
                <a:cxn ang="0">
                  <a:pos x="114" y="72"/>
                </a:cxn>
                <a:cxn ang="0">
                  <a:pos x="126" y="72"/>
                </a:cxn>
                <a:cxn ang="0">
                  <a:pos x="126" y="64"/>
                </a:cxn>
                <a:cxn ang="0">
                  <a:pos x="126" y="20"/>
                </a:cxn>
                <a:cxn ang="0">
                  <a:pos x="126" y="20"/>
                </a:cxn>
                <a:cxn ang="0">
                  <a:pos x="156" y="16"/>
                </a:cxn>
                <a:cxn ang="0">
                  <a:pos x="162" y="22"/>
                </a:cxn>
                <a:cxn ang="0">
                  <a:pos x="170" y="16"/>
                </a:cxn>
                <a:cxn ang="0">
                  <a:pos x="174" y="16"/>
                </a:cxn>
                <a:cxn ang="0">
                  <a:pos x="170" y="8"/>
                </a:cxn>
                <a:cxn ang="0">
                  <a:pos x="130" y="16"/>
                </a:cxn>
                <a:cxn ang="0">
                  <a:pos x="118" y="14"/>
                </a:cxn>
                <a:cxn ang="0">
                  <a:pos x="94" y="12"/>
                </a:cxn>
                <a:cxn ang="0">
                  <a:pos x="84" y="6"/>
                </a:cxn>
                <a:cxn ang="0">
                  <a:pos x="62" y="6"/>
                </a:cxn>
                <a:cxn ang="0">
                  <a:pos x="30" y="8"/>
                </a:cxn>
                <a:cxn ang="0">
                  <a:pos x="18" y="0"/>
                </a:cxn>
                <a:cxn ang="0">
                  <a:pos x="6" y="4"/>
                </a:cxn>
                <a:cxn ang="0">
                  <a:pos x="0" y="4"/>
                </a:cxn>
                <a:cxn ang="0">
                  <a:pos x="2" y="18"/>
                </a:cxn>
                <a:cxn ang="0">
                  <a:pos x="10" y="30"/>
                </a:cxn>
                <a:cxn ang="0">
                  <a:pos x="22" y="56"/>
                </a:cxn>
                <a:cxn ang="0">
                  <a:pos x="34" y="72"/>
                </a:cxn>
                <a:cxn ang="0">
                  <a:pos x="36" y="90"/>
                </a:cxn>
                <a:cxn ang="0">
                  <a:pos x="38" y="98"/>
                </a:cxn>
                <a:cxn ang="0">
                  <a:pos x="40" y="114"/>
                </a:cxn>
                <a:cxn ang="0">
                  <a:pos x="42" y="120"/>
                </a:cxn>
                <a:cxn ang="0">
                  <a:pos x="42" y="132"/>
                </a:cxn>
                <a:cxn ang="0">
                  <a:pos x="44" y="136"/>
                </a:cxn>
                <a:cxn ang="0">
                  <a:pos x="46" y="142"/>
                </a:cxn>
                <a:cxn ang="0">
                  <a:pos x="46" y="148"/>
                </a:cxn>
                <a:cxn ang="0">
                  <a:pos x="58" y="166"/>
                </a:cxn>
                <a:cxn ang="0">
                  <a:pos x="66" y="168"/>
                </a:cxn>
              </a:cxnLst>
              <a:rect l="0" t="0" r="r" b="b"/>
              <a:pathLst>
                <a:path w="184" h="176">
                  <a:moveTo>
                    <a:pt x="70" y="164"/>
                  </a:moveTo>
                  <a:lnTo>
                    <a:pt x="74" y="164"/>
                  </a:lnTo>
                  <a:lnTo>
                    <a:pt x="76" y="168"/>
                  </a:lnTo>
                  <a:lnTo>
                    <a:pt x="76" y="170"/>
                  </a:lnTo>
                  <a:lnTo>
                    <a:pt x="78" y="174"/>
                  </a:lnTo>
                  <a:lnTo>
                    <a:pt x="82" y="174"/>
                  </a:lnTo>
                  <a:lnTo>
                    <a:pt x="90" y="176"/>
                  </a:lnTo>
                  <a:lnTo>
                    <a:pt x="96" y="176"/>
                  </a:lnTo>
                  <a:lnTo>
                    <a:pt x="98" y="176"/>
                  </a:lnTo>
                  <a:lnTo>
                    <a:pt x="102" y="174"/>
                  </a:lnTo>
                  <a:lnTo>
                    <a:pt x="106" y="170"/>
                  </a:lnTo>
                  <a:lnTo>
                    <a:pt x="112" y="168"/>
                  </a:lnTo>
                  <a:lnTo>
                    <a:pt x="112" y="114"/>
                  </a:lnTo>
                  <a:lnTo>
                    <a:pt x="112" y="76"/>
                  </a:lnTo>
                  <a:lnTo>
                    <a:pt x="112" y="72"/>
                  </a:lnTo>
                  <a:lnTo>
                    <a:pt x="114" y="72"/>
                  </a:lnTo>
                  <a:lnTo>
                    <a:pt x="118" y="72"/>
                  </a:lnTo>
                  <a:lnTo>
                    <a:pt x="126" y="72"/>
                  </a:lnTo>
                  <a:lnTo>
                    <a:pt x="126" y="70"/>
                  </a:lnTo>
                  <a:lnTo>
                    <a:pt x="126" y="64"/>
                  </a:lnTo>
                  <a:lnTo>
                    <a:pt x="126" y="52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42" y="18"/>
                  </a:lnTo>
                  <a:lnTo>
                    <a:pt x="156" y="16"/>
                  </a:lnTo>
                  <a:lnTo>
                    <a:pt x="160" y="20"/>
                  </a:lnTo>
                  <a:lnTo>
                    <a:pt x="162" y="22"/>
                  </a:lnTo>
                  <a:lnTo>
                    <a:pt x="164" y="18"/>
                  </a:lnTo>
                  <a:lnTo>
                    <a:pt x="170" y="16"/>
                  </a:lnTo>
                  <a:lnTo>
                    <a:pt x="172" y="16"/>
                  </a:lnTo>
                  <a:lnTo>
                    <a:pt x="174" y="16"/>
                  </a:lnTo>
                  <a:lnTo>
                    <a:pt x="184" y="12"/>
                  </a:lnTo>
                  <a:lnTo>
                    <a:pt x="170" y="8"/>
                  </a:lnTo>
                  <a:lnTo>
                    <a:pt x="158" y="10"/>
                  </a:lnTo>
                  <a:lnTo>
                    <a:pt x="130" y="16"/>
                  </a:lnTo>
                  <a:lnTo>
                    <a:pt x="122" y="16"/>
                  </a:lnTo>
                  <a:lnTo>
                    <a:pt x="118" y="14"/>
                  </a:lnTo>
                  <a:lnTo>
                    <a:pt x="102" y="12"/>
                  </a:lnTo>
                  <a:lnTo>
                    <a:pt x="94" y="12"/>
                  </a:lnTo>
                  <a:lnTo>
                    <a:pt x="90" y="6"/>
                  </a:lnTo>
                  <a:lnTo>
                    <a:pt x="84" y="6"/>
                  </a:lnTo>
                  <a:lnTo>
                    <a:pt x="76" y="6"/>
                  </a:lnTo>
                  <a:lnTo>
                    <a:pt x="62" y="6"/>
                  </a:lnTo>
                  <a:lnTo>
                    <a:pt x="34" y="6"/>
                  </a:lnTo>
                  <a:lnTo>
                    <a:pt x="30" y="8"/>
                  </a:lnTo>
                  <a:lnTo>
                    <a:pt x="26" y="4"/>
                  </a:lnTo>
                  <a:lnTo>
                    <a:pt x="18" y="0"/>
                  </a:lnTo>
                  <a:lnTo>
                    <a:pt x="8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12"/>
                  </a:lnTo>
                  <a:lnTo>
                    <a:pt x="2" y="18"/>
                  </a:lnTo>
                  <a:lnTo>
                    <a:pt x="8" y="26"/>
                  </a:lnTo>
                  <a:lnTo>
                    <a:pt x="10" y="30"/>
                  </a:lnTo>
                  <a:lnTo>
                    <a:pt x="18" y="44"/>
                  </a:lnTo>
                  <a:lnTo>
                    <a:pt x="22" y="56"/>
                  </a:lnTo>
                  <a:lnTo>
                    <a:pt x="26" y="62"/>
                  </a:lnTo>
                  <a:lnTo>
                    <a:pt x="34" y="72"/>
                  </a:lnTo>
                  <a:lnTo>
                    <a:pt x="38" y="82"/>
                  </a:lnTo>
                  <a:lnTo>
                    <a:pt x="36" y="90"/>
                  </a:lnTo>
                  <a:lnTo>
                    <a:pt x="38" y="94"/>
                  </a:lnTo>
                  <a:lnTo>
                    <a:pt x="38" y="98"/>
                  </a:lnTo>
                  <a:lnTo>
                    <a:pt x="36" y="102"/>
                  </a:lnTo>
                  <a:lnTo>
                    <a:pt x="40" y="114"/>
                  </a:lnTo>
                  <a:lnTo>
                    <a:pt x="42" y="118"/>
                  </a:lnTo>
                  <a:lnTo>
                    <a:pt x="42" y="120"/>
                  </a:lnTo>
                  <a:lnTo>
                    <a:pt x="42" y="124"/>
                  </a:lnTo>
                  <a:lnTo>
                    <a:pt x="42" y="132"/>
                  </a:lnTo>
                  <a:lnTo>
                    <a:pt x="42" y="134"/>
                  </a:lnTo>
                  <a:lnTo>
                    <a:pt x="44" y="136"/>
                  </a:lnTo>
                  <a:lnTo>
                    <a:pt x="44" y="138"/>
                  </a:lnTo>
                  <a:lnTo>
                    <a:pt x="46" y="142"/>
                  </a:lnTo>
                  <a:lnTo>
                    <a:pt x="46" y="142"/>
                  </a:lnTo>
                  <a:lnTo>
                    <a:pt x="46" y="148"/>
                  </a:lnTo>
                  <a:lnTo>
                    <a:pt x="52" y="158"/>
                  </a:lnTo>
                  <a:lnTo>
                    <a:pt x="58" y="166"/>
                  </a:lnTo>
                  <a:lnTo>
                    <a:pt x="64" y="170"/>
                  </a:lnTo>
                  <a:lnTo>
                    <a:pt x="66" y="168"/>
                  </a:lnTo>
                  <a:lnTo>
                    <a:pt x="70" y="164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3" name="Freeform 858">
              <a:extLst>
                <a:ext uri="{FF2B5EF4-FFF2-40B4-BE49-F238E27FC236}">
                  <a16:creationId xmlns:a16="http://schemas.microsoft.com/office/drawing/2014/main" id="{8511F120-957B-45C8-8566-FEC9A7562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3113" y="4452938"/>
              <a:ext cx="263525" cy="269875"/>
            </a:xfrm>
            <a:custGeom>
              <a:avLst/>
              <a:gdLst/>
              <a:ahLst/>
              <a:cxnLst>
                <a:cxn ang="0">
                  <a:pos x="8" y="158"/>
                </a:cxn>
                <a:cxn ang="0">
                  <a:pos x="26" y="158"/>
                </a:cxn>
                <a:cxn ang="0">
                  <a:pos x="34" y="160"/>
                </a:cxn>
                <a:cxn ang="0">
                  <a:pos x="76" y="160"/>
                </a:cxn>
                <a:cxn ang="0">
                  <a:pos x="90" y="160"/>
                </a:cxn>
                <a:cxn ang="0">
                  <a:pos x="102" y="166"/>
                </a:cxn>
                <a:cxn ang="0">
                  <a:pos x="122" y="170"/>
                </a:cxn>
                <a:cxn ang="0">
                  <a:pos x="158" y="164"/>
                </a:cxn>
                <a:cxn ang="0">
                  <a:pos x="142" y="150"/>
                </a:cxn>
                <a:cxn ang="0">
                  <a:pos x="138" y="102"/>
                </a:cxn>
                <a:cxn ang="0">
                  <a:pos x="142" y="100"/>
                </a:cxn>
                <a:cxn ang="0">
                  <a:pos x="166" y="100"/>
                </a:cxn>
                <a:cxn ang="0">
                  <a:pos x="166" y="94"/>
                </a:cxn>
                <a:cxn ang="0">
                  <a:pos x="166" y="70"/>
                </a:cxn>
                <a:cxn ang="0">
                  <a:pos x="154" y="72"/>
                </a:cxn>
                <a:cxn ang="0">
                  <a:pos x="142" y="74"/>
                </a:cxn>
                <a:cxn ang="0">
                  <a:pos x="142" y="58"/>
                </a:cxn>
                <a:cxn ang="0">
                  <a:pos x="138" y="40"/>
                </a:cxn>
                <a:cxn ang="0">
                  <a:pos x="136" y="30"/>
                </a:cxn>
                <a:cxn ang="0">
                  <a:pos x="136" y="26"/>
                </a:cxn>
                <a:cxn ang="0">
                  <a:pos x="118" y="20"/>
                </a:cxn>
                <a:cxn ang="0">
                  <a:pos x="114" y="16"/>
                </a:cxn>
                <a:cxn ang="0">
                  <a:pos x="106" y="18"/>
                </a:cxn>
                <a:cxn ang="0">
                  <a:pos x="104" y="24"/>
                </a:cxn>
                <a:cxn ang="0">
                  <a:pos x="102" y="30"/>
                </a:cxn>
                <a:cxn ang="0">
                  <a:pos x="86" y="32"/>
                </a:cxn>
                <a:cxn ang="0">
                  <a:pos x="74" y="24"/>
                </a:cxn>
                <a:cxn ang="0">
                  <a:pos x="70" y="18"/>
                </a:cxn>
                <a:cxn ang="0">
                  <a:pos x="54" y="0"/>
                </a:cxn>
                <a:cxn ang="0">
                  <a:pos x="22" y="0"/>
                </a:cxn>
                <a:cxn ang="0">
                  <a:pos x="12" y="2"/>
                </a:cxn>
                <a:cxn ang="0">
                  <a:pos x="8" y="4"/>
                </a:cxn>
                <a:cxn ang="0">
                  <a:pos x="14" y="20"/>
                </a:cxn>
                <a:cxn ang="0">
                  <a:pos x="22" y="36"/>
                </a:cxn>
                <a:cxn ang="0">
                  <a:pos x="24" y="60"/>
                </a:cxn>
                <a:cxn ang="0">
                  <a:pos x="28" y="70"/>
                </a:cxn>
                <a:cxn ang="0">
                  <a:pos x="26" y="84"/>
                </a:cxn>
                <a:cxn ang="0">
                  <a:pos x="20" y="94"/>
                </a:cxn>
                <a:cxn ang="0">
                  <a:pos x="16" y="98"/>
                </a:cxn>
                <a:cxn ang="0">
                  <a:pos x="10" y="104"/>
                </a:cxn>
                <a:cxn ang="0">
                  <a:pos x="6" y="126"/>
                </a:cxn>
                <a:cxn ang="0">
                  <a:pos x="0" y="140"/>
                </a:cxn>
                <a:cxn ang="0">
                  <a:pos x="0" y="158"/>
                </a:cxn>
                <a:cxn ang="0">
                  <a:pos x="6" y="158"/>
                </a:cxn>
              </a:cxnLst>
              <a:rect l="0" t="0" r="r" b="b"/>
              <a:pathLst>
                <a:path w="166" h="170">
                  <a:moveTo>
                    <a:pt x="6" y="158"/>
                  </a:moveTo>
                  <a:lnTo>
                    <a:pt x="8" y="158"/>
                  </a:lnTo>
                  <a:lnTo>
                    <a:pt x="18" y="154"/>
                  </a:lnTo>
                  <a:lnTo>
                    <a:pt x="26" y="158"/>
                  </a:lnTo>
                  <a:lnTo>
                    <a:pt x="30" y="162"/>
                  </a:lnTo>
                  <a:lnTo>
                    <a:pt x="34" y="160"/>
                  </a:lnTo>
                  <a:lnTo>
                    <a:pt x="62" y="160"/>
                  </a:lnTo>
                  <a:lnTo>
                    <a:pt x="76" y="160"/>
                  </a:lnTo>
                  <a:lnTo>
                    <a:pt x="84" y="160"/>
                  </a:lnTo>
                  <a:lnTo>
                    <a:pt x="90" y="160"/>
                  </a:lnTo>
                  <a:lnTo>
                    <a:pt x="94" y="166"/>
                  </a:lnTo>
                  <a:lnTo>
                    <a:pt x="102" y="166"/>
                  </a:lnTo>
                  <a:lnTo>
                    <a:pt x="118" y="168"/>
                  </a:lnTo>
                  <a:lnTo>
                    <a:pt x="122" y="170"/>
                  </a:lnTo>
                  <a:lnTo>
                    <a:pt x="130" y="170"/>
                  </a:lnTo>
                  <a:lnTo>
                    <a:pt x="158" y="164"/>
                  </a:lnTo>
                  <a:lnTo>
                    <a:pt x="148" y="156"/>
                  </a:lnTo>
                  <a:lnTo>
                    <a:pt x="142" y="150"/>
                  </a:lnTo>
                  <a:lnTo>
                    <a:pt x="138" y="144"/>
                  </a:lnTo>
                  <a:lnTo>
                    <a:pt x="138" y="102"/>
                  </a:lnTo>
                  <a:lnTo>
                    <a:pt x="138" y="100"/>
                  </a:lnTo>
                  <a:lnTo>
                    <a:pt x="142" y="100"/>
                  </a:lnTo>
                  <a:lnTo>
                    <a:pt x="152" y="100"/>
                  </a:lnTo>
                  <a:lnTo>
                    <a:pt x="166" y="100"/>
                  </a:lnTo>
                  <a:lnTo>
                    <a:pt x="166" y="98"/>
                  </a:lnTo>
                  <a:lnTo>
                    <a:pt x="166" y="94"/>
                  </a:lnTo>
                  <a:lnTo>
                    <a:pt x="166" y="82"/>
                  </a:lnTo>
                  <a:lnTo>
                    <a:pt x="166" y="70"/>
                  </a:lnTo>
                  <a:lnTo>
                    <a:pt x="164" y="72"/>
                  </a:lnTo>
                  <a:lnTo>
                    <a:pt x="154" y="72"/>
                  </a:lnTo>
                  <a:lnTo>
                    <a:pt x="148" y="72"/>
                  </a:lnTo>
                  <a:lnTo>
                    <a:pt x="142" y="74"/>
                  </a:lnTo>
                  <a:lnTo>
                    <a:pt x="144" y="66"/>
                  </a:lnTo>
                  <a:lnTo>
                    <a:pt x="142" y="58"/>
                  </a:lnTo>
                  <a:lnTo>
                    <a:pt x="138" y="54"/>
                  </a:lnTo>
                  <a:lnTo>
                    <a:pt x="138" y="40"/>
                  </a:lnTo>
                  <a:lnTo>
                    <a:pt x="138" y="36"/>
                  </a:lnTo>
                  <a:lnTo>
                    <a:pt x="136" y="30"/>
                  </a:lnTo>
                  <a:lnTo>
                    <a:pt x="136" y="30"/>
                  </a:lnTo>
                  <a:lnTo>
                    <a:pt x="136" y="26"/>
                  </a:lnTo>
                  <a:lnTo>
                    <a:pt x="136" y="20"/>
                  </a:lnTo>
                  <a:lnTo>
                    <a:pt x="118" y="20"/>
                  </a:lnTo>
                  <a:lnTo>
                    <a:pt x="120" y="16"/>
                  </a:lnTo>
                  <a:lnTo>
                    <a:pt x="114" y="16"/>
                  </a:lnTo>
                  <a:lnTo>
                    <a:pt x="106" y="16"/>
                  </a:lnTo>
                  <a:lnTo>
                    <a:pt x="106" y="18"/>
                  </a:lnTo>
                  <a:lnTo>
                    <a:pt x="104" y="22"/>
                  </a:lnTo>
                  <a:lnTo>
                    <a:pt x="104" y="24"/>
                  </a:lnTo>
                  <a:lnTo>
                    <a:pt x="104" y="26"/>
                  </a:lnTo>
                  <a:lnTo>
                    <a:pt x="102" y="30"/>
                  </a:lnTo>
                  <a:lnTo>
                    <a:pt x="96" y="30"/>
                  </a:lnTo>
                  <a:lnTo>
                    <a:pt x="86" y="32"/>
                  </a:lnTo>
                  <a:lnTo>
                    <a:pt x="78" y="32"/>
                  </a:lnTo>
                  <a:lnTo>
                    <a:pt x="74" y="24"/>
                  </a:lnTo>
                  <a:lnTo>
                    <a:pt x="72" y="22"/>
                  </a:lnTo>
                  <a:lnTo>
                    <a:pt x="70" y="18"/>
                  </a:lnTo>
                  <a:lnTo>
                    <a:pt x="66" y="2"/>
                  </a:lnTo>
                  <a:lnTo>
                    <a:pt x="54" y="0"/>
                  </a:lnTo>
                  <a:lnTo>
                    <a:pt x="44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12" y="2"/>
                  </a:lnTo>
                  <a:lnTo>
                    <a:pt x="8" y="2"/>
                  </a:lnTo>
                  <a:lnTo>
                    <a:pt x="8" y="4"/>
                  </a:lnTo>
                  <a:lnTo>
                    <a:pt x="10" y="12"/>
                  </a:lnTo>
                  <a:lnTo>
                    <a:pt x="14" y="20"/>
                  </a:lnTo>
                  <a:lnTo>
                    <a:pt x="18" y="28"/>
                  </a:lnTo>
                  <a:lnTo>
                    <a:pt x="22" y="36"/>
                  </a:lnTo>
                  <a:lnTo>
                    <a:pt x="18" y="48"/>
                  </a:lnTo>
                  <a:lnTo>
                    <a:pt x="24" y="60"/>
                  </a:lnTo>
                  <a:lnTo>
                    <a:pt x="26" y="64"/>
                  </a:lnTo>
                  <a:lnTo>
                    <a:pt x="28" y="70"/>
                  </a:lnTo>
                  <a:lnTo>
                    <a:pt x="28" y="76"/>
                  </a:lnTo>
                  <a:lnTo>
                    <a:pt x="26" y="84"/>
                  </a:lnTo>
                  <a:lnTo>
                    <a:pt x="24" y="92"/>
                  </a:lnTo>
                  <a:lnTo>
                    <a:pt x="20" y="94"/>
                  </a:lnTo>
                  <a:lnTo>
                    <a:pt x="16" y="96"/>
                  </a:lnTo>
                  <a:lnTo>
                    <a:pt x="16" y="98"/>
                  </a:lnTo>
                  <a:lnTo>
                    <a:pt x="12" y="102"/>
                  </a:lnTo>
                  <a:lnTo>
                    <a:pt x="10" y="104"/>
                  </a:lnTo>
                  <a:lnTo>
                    <a:pt x="8" y="116"/>
                  </a:lnTo>
                  <a:lnTo>
                    <a:pt x="6" y="126"/>
                  </a:lnTo>
                  <a:lnTo>
                    <a:pt x="2" y="136"/>
                  </a:lnTo>
                  <a:lnTo>
                    <a:pt x="0" y="140"/>
                  </a:lnTo>
                  <a:lnTo>
                    <a:pt x="0" y="146"/>
                  </a:lnTo>
                  <a:lnTo>
                    <a:pt x="0" y="158"/>
                  </a:lnTo>
                  <a:lnTo>
                    <a:pt x="4" y="158"/>
                  </a:lnTo>
                  <a:lnTo>
                    <a:pt x="6" y="158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4" name="Freeform 859">
              <a:extLst>
                <a:ext uri="{FF2B5EF4-FFF2-40B4-BE49-F238E27FC236}">
                  <a16:creationId xmlns:a16="http://schemas.microsoft.com/office/drawing/2014/main" id="{B6865528-5B3F-47ED-8BE2-8FCD726BB3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0913" y="4716463"/>
              <a:ext cx="203200" cy="212725"/>
            </a:xfrm>
            <a:custGeom>
              <a:avLst/>
              <a:gdLst/>
              <a:ahLst/>
              <a:cxnLst>
                <a:cxn ang="0">
                  <a:pos x="124" y="58"/>
                </a:cxn>
                <a:cxn ang="0">
                  <a:pos x="124" y="58"/>
                </a:cxn>
                <a:cxn ang="0">
                  <a:pos x="116" y="56"/>
                </a:cxn>
                <a:cxn ang="0">
                  <a:pos x="110" y="54"/>
                </a:cxn>
                <a:cxn ang="0">
                  <a:pos x="106" y="52"/>
                </a:cxn>
                <a:cxn ang="0">
                  <a:pos x="104" y="48"/>
                </a:cxn>
                <a:cxn ang="0">
                  <a:pos x="104" y="40"/>
                </a:cxn>
                <a:cxn ang="0">
                  <a:pos x="98" y="38"/>
                </a:cxn>
                <a:cxn ang="0">
                  <a:pos x="98" y="32"/>
                </a:cxn>
                <a:cxn ang="0">
                  <a:pos x="92" y="32"/>
                </a:cxn>
                <a:cxn ang="0">
                  <a:pos x="88" y="28"/>
                </a:cxn>
                <a:cxn ang="0">
                  <a:pos x="84" y="24"/>
                </a:cxn>
                <a:cxn ang="0">
                  <a:pos x="76" y="10"/>
                </a:cxn>
                <a:cxn ang="0">
                  <a:pos x="72" y="0"/>
                </a:cxn>
                <a:cxn ang="0">
                  <a:pos x="62" y="4"/>
                </a:cxn>
                <a:cxn ang="0">
                  <a:pos x="60" y="4"/>
                </a:cxn>
                <a:cxn ang="0">
                  <a:pos x="58" y="4"/>
                </a:cxn>
                <a:cxn ang="0">
                  <a:pos x="52" y="6"/>
                </a:cxn>
                <a:cxn ang="0">
                  <a:pos x="50" y="10"/>
                </a:cxn>
                <a:cxn ang="0">
                  <a:pos x="48" y="8"/>
                </a:cxn>
                <a:cxn ang="0">
                  <a:pos x="44" y="4"/>
                </a:cxn>
                <a:cxn ang="0">
                  <a:pos x="30" y="6"/>
                </a:cxn>
                <a:cxn ang="0">
                  <a:pos x="14" y="8"/>
                </a:cxn>
                <a:cxn ang="0">
                  <a:pos x="14" y="40"/>
                </a:cxn>
                <a:cxn ang="0">
                  <a:pos x="14" y="52"/>
                </a:cxn>
                <a:cxn ang="0">
                  <a:pos x="14" y="58"/>
                </a:cxn>
                <a:cxn ang="0">
                  <a:pos x="14" y="60"/>
                </a:cxn>
                <a:cxn ang="0">
                  <a:pos x="6" y="60"/>
                </a:cxn>
                <a:cxn ang="0">
                  <a:pos x="2" y="60"/>
                </a:cxn>
                <a:cxn ang="0">
                  <a:pos x="0" y="60"/>
                </a:cxn>
                <a:cxn ang="0">
                  <a:pos x="0" y="64"/>
                </a:cxn>
                <a:cxn ang="0">
                  <a:pos x="0" y="102"/>
                </a:cxn>
                <a:cxn ang="0">
                  <a:pos x="6" y="108"/>
                </a:cxn>
                <a:cxn ang="0">
                  <a:pos x="10" y="118"/>
                </a:cxn>
                <a:cxn ang="0">
                  <a:pos x="10" y="122"/>
                </a:cxn>
                <a:cxn ang="0">
                  <a:pos x="8" y="126"/>
                </a:cxn>
                <a:cxn ang="0">
                  <a:pos x="10" y="134"/>
                </a:cxn>
                <a:cxn ang="0">
                  <a:pos x="16" y="132"/>
                </a:cxn>
                <a:cxn ang="0">
                  <a:pos x="24" y="132"/>
                </a:cxn>
                <a:cxn ang="0">
                  <a:pos x="34" y="122"/>
                </a:cxn>
                <a:cxn ang="0">
                  <a:pos x="38" y="116"/>
                </a:cxn>
                <a:cxn ang="0">
                  <a:pos x="40" y="110"/>
                </a:cxn>
                <a:cxn ang="0">
                  <a:pos x="46" y="110"/>
                </a:cxn>
                <a:cxn ang="0">
                  <a:pos x="52" y="114"/>
                </a:cxn>
                <a:cxn ang="0">
                  <a:pos x="58" y="116"/>
                </a:cxn>
                <a:cxn ang="0">
                  <a:pos x="66" y="118"/>
                </a:cxn>
                <a:cxn ang="0">
                  <a:pos x="76" y="114"/>
                </a:cxn>
                <a:cxn ang="0">
                  <a:pos x="80" y="106"/>
                </a:cxn>
                <a:cxn ang="0">
                  <a:pos x="80" y="100"/>
                </a:cxn>
                <a:cxn ang="0">
                  <a:pos x="86" y="100"/>
                </a:cxn>
                <a:cxn ang="0">
                  <a:pos x="94" y="92"/>
                </a:cxn>
                <a:cxn ang="0">
                  <a:pos x="94" y="86"/>
                </a:cxn>
                <a:cxn ang="0">
                  <a:pos x="100" y="80"/>
                </a:cxn>
                <a:cxn ang="0">
                  <a:pos x="108" y="74"/>
                </a:cxn>
                <a:cxn ang="0">
                  <a:pos x="114" y="70"/>
                </a:cxn>
                <a:cxn ang="0">
                  <a:pos x="118" y="68"/>
                </a:cxn>
                <a:cxn ang="0">
                  <a:pos x="120" y="68"/>
                </a:cxn>
                <a:cxn ang="0">
                  <a:pos x="128" y="64"/>
                </a:cxn>
                <a:cxn ang="0">
                  <a:pos x="126" y="62"/>
                </a:cxn>
                <a:cxn ang="0">
                  <a:pos x="124" y="58"/>
                </a:cxn>
              </a:cxnLst>
              <a:rect l="0" t="0" r="r" b="b"/>
              <a:pathLst>
                <a:path w="128" h="134">
                  <a:moveTo>
                    <a:pt x="124" y="58"/>
                  </a:moveTo>
                  <a:lnTo>
                    <a:pt x="124" y="58"/>
                  </a:lnTo>
                  <a:lnTo>
                    <a:pt x="116" y="56"/>
                  </a:lnTo>
                  <a:lnTo>
                    <a:pt x="110" y="54"/>
                  </a:lnTo>
                  <a:lnTo>
                    <a:pt x="106" y="52"/>
                  </a:lnTo>
                  <a:lnTo>
                    <a:pt x="104" y="48"/>
                  </a:lnTo>
                  <a:lnTo>
                    <a:pt x="104" y="40"/>
                  </a:lnTo>
                  <a:lnTo>
                    <a:pt x="98" y="38"/>
                  </a:lnTo>
                  <a:lnTo>
                    <a:pt x="98" y="32"/>
                  </a:lnTo>
                  <a:lnTo>
                    <a:pt x="92" y="32"/>
                  </a:lnTo>
                  <a:lnTo>
                    <a:pt x="88" y="28"/>
                  </a:lnTo>
                  <a:lnTo>
                    <a:pt x="84" y="24"/>
                  </a:lnTo>
                  <a:lnTo>
                    <a:pt x="76" y="10"/>
                  </a:lnTo>
                  <a:lnTo>
                    <a:pt x="72" y="0"/>
                  </a:lnTo>
                  <a:lnTo>
                    <a:pt x="62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2" y="6"/>
                  </a:lnTo>
                  <a:lnTo>
                    <a:pt x="50" y="10"/>
                  </a:lnTo>
                  <a:lnTo>
                    <a:pt x="48" y="8"/>
                  </a:lnTo>
                  <a:lnTo>
                    <a:pt x="44" y="4"/>
                  </a:lnTo>
                  <a:lnTo>
                    <a:pt x="30" y="6"/>
                  </a:lnTo>
                  <a:lnTo>
                    <a:pt x="14" y="8"/>
                  </a:lnTo>
                  <a:lnTo>
                    <a:pt x="14" y="40"/>
                  </a:lnTo>
                  <a:lnTo>
                    <a:pt x="14" y="52"/>
                  </a:lnTo>
                  <a:lnTo>
                    <a:pt x="14" y="58"/>
                  </a:lnTo>
                  <a:lnTo>
                    <a:pt x="14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0" y="118"/>
                  </a:lnTo>
                  <a:lnTo>
                    <a:pt x="10" y="122"/>
                  </a:lnTo>
                  <a:lnTo>
                    <a:pt x="8" y="126"/>
                  </a:lnTo>
                  <a:lnTo>
                    <a:pt x="10" y="134"/>
                  </a:lnTo>
                  <a:lnTo>
                    <a:pt x="16" y="132"/>
                  </a:lnTo>
                  <a:lnTo>
                    <a:pt x="24" y="132"/>
                  </a:lnTo>
                  <a:lnTo>
                    <a:pt x="34" y="122"/>
                  </a:lnTo>
                  <a:lnTo>
                    <a:pt x="38" y="116"/>
                  </a:lnTo>
                  <a:lnTo>
                    <a:pt x="40" y="110"/>
                  </a:lnTo>
                  <a:lnTo>
                    <a:pt x="46" y="110"/>
                  </a:lnTo>
                  <a:lnTo>
                    <a:pt x="52" y="114"/>
                  </a:lnTo>
                  <a:lnTo>
                    <a:pt x="58" y="116"/>
                  </a:lnTo>
                  <a:lnTo>
                    <a:pt x="66" y="118"/>
                  </a:lnTo>
                  <a:lnTo>
                    <a:pt x="76" y="114"/>
                  </a:lnTo>
                  <a:lnTo>
                    <a:pt x="80" y="106"/>
                  </a:lnTo>
                  <a:lnTo>
                    <a:pt x="80" y="100"/>
                  </a:lnTo>
                  <a:lnTo>
                    <a:pt x="86" y="100"/>
                  </a:lnTo>
                  <a:lnTo>
                    <a:pt x="94" y="92"/>
                  </a:lnTo>
                  <a:lnTo>
                    <a:pt x="94" y="86"/>
                  </a:lnTo>
                  <a:lnTo>
                    <a:pt x="100" y="80"/>
                  </a:lnTo>
                  <a:lnTo>
                    <a:pt x="108" y="74"/>
                  </a:lnTo>
                  <a:lnTo>
                    <a:pt x="114" y="70"/>
                  </a:lnTo>
                  <a:lnTo>
                    <a:pt x="118" y="68"/>
                  </a:lnTo>
                  <a:lnTo>
                    <a:pt x="120" y="68"/>
                  </a:lnTo>
                  <a:lnTo>
                    <a:pt x="128" y="64"/>
                  </a:lnTo>
                  <a:lnTo>
                    <a:pt x="126" y="62"/>
                  </a:lnTo>
                  <a:lnTo>
                    <a:pt x="124" y="58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5" name="Freeform 861">
              <a:extLst>
                <a:ext uri="{FF2B5EF4-FFF2-40B4-BE49-F238E27FC236}">
                  <a16:creationId xmlns:a16="http://schemas.microsoft.com/office/drawing/2014/main" id="{22E512B6-6036-49C0-A7C8-DBF21FE109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7138" y="4532313"/>
              <a:ext cx="66675" cy="16827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6" y="2"/>
                </a:cxn>
                <a:cxn ang="0">
                  <a:pos x="6" y="4"/>
                </a:cxn>
                <a:cxn ang="0">
                  <a:pos x="10" y="14"/>
                </a:cxn>
                <a:cxn ang="0">
                  <a:pos x="8" y="16"/>
                </a:cxn>
                <a:cxn ang="0">
                  <a:pos x="8" y="20"/>
                </a:cxn>
                <a:cxn ang="0">
                  <a:pos x="8" y="38"/>
                </a:cxn>
                <a:cxn ang="0">
                  <a:pos x="6" y="42"/>
                </a:cxn>
                <a:cxn ang="0">
                  <a:pos x="4" y="44"/>
                </a:cxn>
                <a:cxn ang="0">
                  <a:pos x="2" y="52"/>
                </a:cxn>
                <a:cxn ang="0">
                  <a:pos x="0" y="56"/>
                </a:cxn>
                <a:cxn ang="0">
                  <a:pos x="0" y="58"/>
                </a:cxn>
                <a:cxn ang="0">
                  <a:pos x="2" y="62"/>
                </a:cxn>
                <a:cxn ang="0">
                  <a:pos x="6" y="62"/>
                </a:cxn>
                <a:cxn ang="0">
                  <a:pos x="10" y="68"/>
                </a:cxn>
                <a:cxn ang="0">
                  <a:pos x="14" y="70"/>
                </a:cxn>
                <a:cxn ang="0">
                  <a:pos x="20" y="68"/>
                </a:cxn>
                <a:cxn ang="0">
                  <a:pos x="22" y="68"/>
                </a:cxn>
                <a:cxn ang="0">
                  <a:pos x="24" y="76"/>
                </a:cxn>
                <a:cxn ang="0">
                  <a:pos x="24" y="82"/>
                </a:cxn>
                <a:cxn ang="0">
                  <a:pos x="20" y="88"/>
                </a:cxn>
                <a:cxn ang="0">
                  <a:pos x="24" y="96"/>
                </a:cxn>
                <a:cxn ang="0">
                  <a:pos x="28" y="100"/>
                </a:cxn>
                <a:cxn ang="0">
                  <a:pos x="30" y="102"/>
                </a:cxn>
                <a:cxn ang="0">
                  <a:pos x="30" y="106"/>
                </a:cxn>
                <a:cxn ang="0">
                  <a:pos x="34" y="106"/>
                </a:cxn>
                <a:cxn ang="0">
                  <a:pos x="32" y="98"/>
                </a:cxn>
                <a:cxn ang="0">
                  <a:pos x="40" y="92"/>
                </a:cxn>
                <a:cxn ang="0">
                  <a:pos x="42" y="88"/>
                </a:cxn>
                <a:cxn ang="0">
                  <a:pos x="42" y="82"/>
                </a:cxn>
                <a:cxn ang="0">
                  <a:pos x="42" y="72"/>
                </a:cxn>
                <a:cxn ang="0">
                  <a:pos x="34" y="64"/>
                </a:cxn>
                <a:cxn ang="0">
                  <a:pos x="28" y="56"/>
                </a:cxn>
                <a:cxn ang="0">
                  <a:pos x="26" y="56"/>
                </a:cxn>
                <a:cxn ang="0">
                  <a:pos x="22" y="40"/>
                </a:cxn>
                <a:cxn ang="0">
                  <a:pos x="22" y="36"/>
                </a:cxn>
                <a:cxn ang="0">
                  <a:pos x="24" y="30"/>
                </a:cxn>
                <a:cxn ang="0">
                  <a:pos x="30" y="30"/>
                </a:cxn>
                <a:cxn ang="0">
                  <a:pos x="28" y="26"/>
                </a:cxn>
                <a:cxn ang="0">
                  <a:pos x="26" y="20"/>
                </a:cxn>
                <a:cxn ang="0">
                  <a:pos x="24" y="12"/>
                </a:cxn>
                <a:cxn ang="0">
                  <a:pos x="20" y="4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12" y="2"/>
                </a:cxn>
                <a:cxn ang="0">
                  <a:pos x="8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42" h="106">
                  <a:moveTo>
                    <a:pt x="2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6" y="2"/>
                  </a:lnTo>
                  <a:lnTo>
                    <a:pt x="6" y="4"/>
                  </a:lnTo>
                  <a:lnTo>
                    <a:pt x="10" y="14"/>
                  </a:lnTo>
                  <a:lnTo>
                    <a:pt x="8" y="16"/>
                  </a:lnTo>
                  <a:lnTo>
                    <a:pt x="8" y="20"/>
                  </a:lnTo>
                  <a:lnTo>
                    <a:pt x="8" y="38"/>
                  </a:lnTo>
                  <a:lnTo>
                    <a:pt x="6" y="42"/>
                  </a:lnTo>
                  <a:lnTo>
                    <a:pt x="4" y="44"/>
                  </a:lnTo>
                  <a:lnTo>
                    <a:pt x="2" y="52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2"/>
                  </a:lnTo>
                  <a:lnTo>
                    <a:pt x="10" y="68"/>
                  </a:lnTo>
                  <a:lnTo>
                    <a:pt x="14" y="70"/>
                  </a:lnTo>
                  <a:lnTo>
                    <a:pt x="20" y="68"/>
                  </a:lnTo>
                  <a:lnTo>
                    <a:pt x="22" y="68"/>
                  </a:lnTo>
                  <a:lnTo>
                    <a:pt x="24" y="76"/>
                  </a:lnTo>
                  <a:lnTo>
                    <a:pt x="24" y="82"/>
                  </a:lnTo>
                  <a:lnTo>
                    <a:pt x="20" y="88"/>
                  </a:lnTo>
                  <a:lnTo>
                    <a:pt x="24" y="96"/>
                  </a:lnTo>
                  <a:lnTo>
                    <a:pt x="28" y="100"/>
                  </a:lnTo>
                  <a:lnTo>
                    <a:pt x="30" y="102"/>
                  </a:lnTo>
                  <a:lnTo>
                    <a:pt x="30" y="106"/>
                  </a:lnTo>
                  <a:lnTo>
                    <a:pt x="34" y="106"/>
                  </a:lnTo>
                  <a:lnTo>
                    <a:pt x="32" y="98"/>
                  </a:lnTo>
                  <a:lnTo>
                    <a:pt x="40" y="92"/>
                  </a:lnTo>
                  <a:lnTo>
                    <a:pt x="42" y="88"/>
                  </a:lnTo>
                  <a:lnTo>
                    <a:pt x="42" y="82"/>
                  </a:lnTo>
                  <a:lnTo>
                    <a:pt x="42" y="72"/>
                  </a:lnTo>
                  <a:lnTo>
                    <a:pt x="34" y="64"/>
                  </a:lnTo>
                  <a:lnTo>
                    <a:pt x="28" y="56"/>
                  </a:lnTo>
                  <a:lnTo>
                    <a:pt x="26" y="56"/>
                  </a:lnTo>
                  <a:lnTo>
                    <a:pt x="22" y="40"/>
                  </a:lnTo>
                  <a:lnTo>
                    <a:pt x="22" y="36"/>
                  </a:lnTo>
                  <a:lnTo>
                    <a:pt x="24" y="30"/>
                  </a:lnTo>
                  <a:lnTo>
                    <a:pt x="30" y="30"/>
                  </a:lnTo>
                  <a:lnTo>
                    <a:pt x="28" y="26"/>
                  </a:lnTo>
                  <a:lnTo>
                    <a:pt x="26" y="20"/>
                  </a:lnTo>
                  <a:lnTo>
                    <a:pt x="24" y="12"/>
                  </a:lnTo>
                  <a:lnTo>
                    <a:pt x="20" y="4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2" y="2"/>
                  </a:lnTo>
                  <a:lnTo>
                    <a:pt x="8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6" name="Freeform 822">
              <a:extLst>
                <a:ext uri="{FF2B5EF4-FFF2-40B4-BE49-F238E27FC236}">
                  <a16:creationId xmlns:a16="http://schemas.microsoft.com/office/drawing/2014/main" id="{B89B8D6C-A960-4ECD-8EE6-7E413D4DF7F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4113" y="4351338"/>
              <a:ext cx="238125" cy="231775"/>
            </a:xfrm>
            <a:custGeom>
              <a:avLst/>
              <a:gdLst/>
              <a:ahLst/>
              <a:cxnLst/>
              <a:rect l="l" t="t" r="r" b="b"/>
              <a:pathLst>
                <a:path w="238125" h="231775">
                  <a:moveTo>
                    <a:pt x="212725" y="101600"/>
                  </a:moveTo>
                  <a:lnTo>
                    <a:pt x="215900" y="104775"/>
                  </a:lnTo>
                  <a:lnTo>
                    <a:pt x="219075" y="114300"/>
                  </a:lnTo>
                  <a:lnTo>
                    <a:pt x="212725" y="114300"/>
                  </a:lnTo>
                  <a:lnTo>
                    <a:pt x="209550" y="104775"/>
                  </a:lnTo>
                  <a:close/>
                  <a:moveTo>
                    <a:pt x="222250" y="82550"/>
                  </a:moveTo>
                  <a:lnTo>
                    <a:pt x="225425" y="82550"/>
                  </a:lnTo>
                  <a:lnTo>
                    <a:pt x="225425" y="92075"/>
                  </a:lnTo>
                  <a:lnTo>
                    <a:pt x="222250" y="95250"/>
                  </a:lnTo>
                  <a:lnTo>
                    <a:pt x="222250" y="85725"/>
                  </a:lnTo>
                  <a:close/>
                  <a:moveTo>
                    <a:pt x="22225" y="0"/>
                  </a:moveTo>
                  <a:lnTo>
                    <a:pt x="28575" y="0"/>
                  </a:lnTo>
                  <a:lnTo>
                    <a:pt x="98425" y="0"/>
                  </a:lnTo>
                  <a:lnTo>
                    <a:pt x="120650" y="12700"/>
                  </a:lnTo>
                  <a:lnTo>
                    <a:pt x="149225" y="25400"/>
                  </a:lnTo>
                  <a:lnTo>
                    <a:pt x="177800" y="44450"/>
                  </a:lnTo>
                  <a:lnTo>
                    <a:pt x="180975" y="57150"/>
                  </a:lnTo>
                  <a:lnTo>
                    <a:pt x="209550" y="79375"/>
                  </a:lnTo>
                  <a:lnTo>
                    <a:pt x="209550" y="85725"/>
                  </a:lnTo>
                  <a:lnTo>
                    <a:pt x="206375" y="98425"/>
                  </a:lnTo>
                  <a:lnTo>
                    <a:pt x="203200" y="107950"/>
                  </a:lnTo>
                  <a:lnTo>
                    <a:pt x="203200" y="114300"/>
                  </a:lnTo>
                  <a:lnTo>
                    <a:pt x="206375" y="117475"/>
                  </a:lnTo>
                  <a:lnTo>
                    <a:pt x="212725" y="120650"/>
                  </a:lnTo>
                  <a:lnTo>
                    <a:pt x="212725" y="123825"/>
                  </a:lnTo>
                  <a:lnTo>
                    <a:pt x="215900" y="133350"/>
                  </a:lnTo>
                  <a:lnTo>
                    <a:pt x="212725" y="136525"/>
                  </a:lnTo>
                  <a:lnTo>
                    <a:pt x="215900" y="149225"/>
                  </a:lnTo>
                  <a:lnTo>
                    <a:pt x="212725" y="155575"/>
                  </a:lnTo>
                  <a:lnTo>
                    <a:pt x="212725" y="161925"/>
                  </a:lnTo>
                  <a:lnTo>
                    <a:pt x="219075" y="174625"/>
                  </a:lnTo>
                  <a:lnTo>
                    <a:pt x="225425" y="193675"/>
                  </a:lnTo>
                  <a:lnTo>
                    <a:pt x="231775" y="196850"/>
                  </a:lnTo>
                  <a:lnTo>
                    <a:pt x="238125" y="203200"/>
                  </a:lnTo>
                  <a:lnTo>
                    <a:pt x="228600" y="209550"/>
                  </a:lnTo>
                  <a:lnTo>
                    <a:pt x="215900" y="215900"/>
                  </a:lnTo>
                  <a:lnTo>
                    <a:pt x="203200" y="219075"/>
                  </a:lnTo>
                  <a:lnTo>
                    <a:pt x="196850" y="225425"/>
                  </a:lnTo>
                  <a:lnTo>
                    <a:pt x="184150" y="222250"/>
                  </a:lnTo>
                  <a:lnTo>
                    <a:pt x="180975" y="225425"/>
                  </a:lnTo>
                  <a:lnTo>
                    <a:pt x="174625" y="231775"/>
                  </a:lnTo>
                  <a:lnTo>
                    <a:pt x="168275" y="231775"/>
                  </a:lnTo>
                  <a:lnTo>
                    <a:pt x="165100" y="228600"/>
                  </a:lnTo>
                  <a:lnTo>
                    <a:pt x="161925" y="228600"/>
                  </a:lnTo>
                  <a:lnTo>
                    <a:pt x="158750" y="228600"/>
                  </a:lnTo>
                  <a:lnTo>
                    <a:pt x="155575" y="231775"/>
                  </a:lnTo>
                  <a:lnTo>
                    <a:pt x="146050" y="228600"/>
                  </a:lnTo>
                  <a:lnTo>
                    <a:pt x="142875" y="225425"/>
                  </a:lnTo>
                  <a:lnTo>
                    <a:pt x="136525" y="225425"/>
                  </a:lnTo>
                  <a:lnTo>
                    <a:pt x="133350" y="228600"/>
                  </a:lnTo>
                  <a:lnTo>
                    <a:pt x="130175" y="228600"/>
                  </a:lnTo>
                  <a:lnTo>
                    <a:pt x="120650" y="228600"/>
                  </a:lnTo>
                  <a:lnTo>
                    <a:pt x="117475" y="222250"/>
                  </a:lnTo>
                  <a:lnTo>
                    <a:pt x="114300" y="212725"/>
                  </a:lnTo>
                  <a:lnTo>
                    <a:pt x="111125" y="200025"/>
                  </a:lnTo>
                  <a:lnTo>
                    <a:pt x="104775" y="187325"/>
                  </a:lnTo>
                  <a:lnTo>
                    <a:pt x="98425" y="180975"/>
                  </a:lnTo>
                  <a:lnTo>
                    <a:pt x="98425" y="187325"/>
                  </a:lnTo>
                  <a:lnTo>
                    <a:pt x="92075" y="184150"/>
                  </a:lnTo>
                  <a:lnTo>
                    <a:pt x="85725" y="184150"/>
                  </a:lnTo>
                  <a:lnTo>
                    <a:pt x="76200" y="180975"/>
                  </a:lnTo>
                  <a:lnTo>
                    <a:pt x="63500" y="174625"/>
                  </a:lnTo>
                  <a:lnTo>
                    <a:pt x="50800" y="168275"/>
                  </a:lnTo>
                  <a:lnTo>
                    <a:pt x="38100" y="161925"/>
                  </a:lnTo>
                  <a:lnTo>
                    <a:pt x="28575" y="152400"/>
                  </a:lnTo>
                  <a:lnTo>
                    <a:pt x="22225" y="136525"/>
                  </a:lnTo>
                  <a:lnTo>
                    <a:pt x="15875" y="127000"/>
                  </a:lnTo>
                  <a:lnTo>
                    <a:pt x="6350" y="120650"/>
                  </a:lnTo>
                  <a:lnTo>
                    <a:pt x="3175" y="104775"/>
                  </a:lnTo>
                  <a:lnTo>
                    <a:pt x="3175" y="98425"/>
                  </a:lnTo>
                  <a:lnTo>
                    <a:pt x="0" y="92075"/>
                  </a:lnTo>
                  <a:lnTo>
                    <a:pt x="0" y="73025"/>
                  </a:lnTo>
                  <a:lnTo>
                    <a:pt x="6350" y="73025"/>
                  </a:lnTo>
                  <a:lnTo>
                    <a:pt x="22225" y="57150"/>
                  </a:lnTo>
                  <a:lnTo>
                    <a:pt x="22225" y="53975"/>
                  </a:lnTo>
                  <a:lnTo>
                    <a:pt x="25400" y="50800"/>
                  </a:lnTo>
                  <a:lnTo>
                    <a:pt x="28575" y="47625"/>
                  </a:lnTo>
                  <a:lnTo>
                    <a:pt x="28575" y="41275"/>
                  </a:lnTo>
                  <a:lnTo>
                    <a:pt x="22225" y="41275"/>
                  </a:lnTo>
                  <a:lnTo>
                    <a:pt x="22225" y="34925"/>
                  </a:lnTo>
                  <a:lnTo>
                    <a:pt x="25400" y="28575"/>
                  </a:lnTo>
                  <a:lnTo>
                    <a:pt x="28575" y="28575"/>
                  </a:lnTo>
                  <a:lnTo>
                    <a:pt x="31750" y="22225"/>
                  </a:lnTo>
                  <a:lnTo>
                    <a:pt x="25400" y="635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7" name="Freeform 843">
              <a:extLst>
                <a:ext uri="{FF2B5EF4-FFF2-40B4-BE49-F238E27FC236}">
                  <a16:creationId xmlns:a16="http://schemas.microsoft.com/office/drawing/2014/main" id="{97C4240A-F080-408C-B13E-D189B77688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2538" y="4230688"/>
              <a:ext cx="171450" cy="200025"/>
            </a:xfrm>
            <a:custGeom>
              <a:avLst/>
              <a:gdLst/>
              <a:ahLst/>
              <a:cxnLst>
                <a:cxn ang="0">
                  <a:pos x="96" y="72"/>
                </a:cxn>
                <a:cxn ang="0">
                  <a:pos x="96" y="60"/>
                </a:cxn>
                <a:cxn ang="0">
                  <a:pos x="96" y="24"/>
                </a:cxn>
                <a:cxn ang="0">
                  <a:pos x="108" y="8"/>
                </a:cxn>
                <a:cxn ang="0">
                  <a:pos x="106" y="8"/>
                </a:cxn>
                <a:cxn ang="0">
                  <a:pos x="100" y="8"/>
                </a:cxn>
                <a:cxn ang="0">
                  <a:pos x="96" y="8"/>
                </a:cxn>
                <a:cxn ang="0">
                  <a:pos x="92" y="4"/>
                </a:cxn>
                <a:cxn ang="0">
                  <a:pos x="80" y="10"/>
                </a:cxn>
                <a:cxn ang="0">
                  <a:pos x="74" y="14"/>
                </a:cxn>
                <a:cxn ang="0">
                  <a:pos x="66" y="14"/>
                </a:cxn>
                <a:cxn ang="0">
                  <a:pos x="58" y="12"/>
                </a:cxn>
                <a:cxn ang="0">
                  <a:pos x="56" y="12"/>
                </a:cxn>
                <a:cxn ang="0">
                  <a:pos x="52" y="10"/>
                </a:cxn>
                <a:cxn ang="0">
                  <a:pos x="38" y="2"/>
                </a:cxn>
                <a:cxn ang="0">
                  <a:pos x="32" y="2"/>
                </a:cxn>
                <a:cxn ang="0">
                  <a:pos x="26" y="0"/>
                </a:cxn>
                <a:cxn ang="0">
                  <a:pos x="24" y="0"/>
                </a:cxn>
                <a:cxn ang="0">
                  <a:pos x="22" y="0"/>
                </a:cxn>
                <a:cxn ang="0">
                  <a:pos x="20" y="0"/>
                </a:cxn>
                <a:cxn ang="0">
                  <a:pos x="6" y="0"/>
                </a:cxn>
                <a:cxn ang="0">
                  <a:pos x="0" y="4"/>
                </a:cxn>
                <a:cxn ang="0">
                  <a:pos x="12" y="28"/>
                </a:cxn>
                <a:cxn ang="0">
                  <a:pos x="14" y="38"/>
                </a:cxn>
                <a:cxn ang="0">
                  <a:pos x="8" y="46"/>
                </a:cxn>
                <a:cxn ang="0">
                  <a:pos x="2" y="54"/>
                </a:cxn>
                <a:cxn ang="0">
                  <a:pos x="0" y="58"/>
                </a:cxn>
                <a:cxn ang="0">
                  <a:pos x="0" y="62"/>
                </a:cxn>
                <a:cxn ang="0">
                  <a:pos x="0" y="66"/>
                </a:cxn>
                <a:cxn ang="0">
                  <a:pos x="0" y="76"/>
                </a:cxn>
                <a:cxn ang="0">
                  <a:pos x="14" y="84"/>
                </a:cxn>
                <a:cxn ang="0">
                  <a:pos x="32" y="92"/>
                </a:cxn>
                <a:cxn ang="0">
                  <a:pos x="50" y="104"/>
                </a:cxn>
                <a:cxn ang="0">
                  <a:pos x="52" y="112"/>
                </a:cxn>
                <a:cxn ang="0">
                  <a:pos x="70" y="126"/>
                </a:cxn>
                <a:cxn ang="0">
                  <a:pos x="74" y="124"/>
                </a:cxn>
                <a:cxn ang="0">
                  <a:pos x="76" y="120"/>
                </a:cxn>
                <a:cxn ang="0">
                  <a:pos x="78" y="116"/>
                </a:cxn>
                <a:cxn ang="0">
                  <a:pos x="84" y="102"/>
                </a:cxn>
                <a:cxn ang="0">
                  <a:pos x="84" y="98"/>
                </a:cxn>
                <a:cxn ang="0">
                  <a:pos x="88" y="96"/>
                </a:cxn>
                <a:cxn ang="0">
                  <a:pos x="96" y="90"/>
                </a:cxn>
                <a:cxn ang="0">
                  <a:pos x="100" y="88"/>
                </a:cxn>
                <a:cxn ang="0">
                  <a:pos x="102" y="84"/>
                </a:cxn>
                <a:cxn ang="0">
                  <a:pos x="100" y="78"/>
                </a:cxn>
                <a:cxn ang="0">
                  <a:pos x="96" y="72"/>
                </a:cxn>
              </a:cxnLst>
              <a:rect l="0" t="0" r="r" b="b"/>
              <a:pathLst>
                <a:path w="108" h="126">
                  <a:moveTo>
                    <a:pt x="96" y="72"/>
                  </a:moveTo>
                  <a:lnTo>
                    <a:pt x="96" y="60"/>
                  </a:lnTo>
                  <a:lnTo>
                    <a:pt x="96" y="24"/>
                  </a:lnTo>
                  <a:lnTo>
                    <a:pt x="108" y="8"/>
                  </a:lnTo>
                  <a:lnTo>
                    <a:pt x="106" y="8"/>
                  </a:lnTo>
                  <a:lnTo>
                    <a:pt x="100" y="8"/>
                  </a:lnTo>
                  <a:lnTo>
                    <a:pt x="96" y="8"/>
                  </a:lnTo>
                  <a:lnTo>
                    <a:pt x="92" y="4"/>
                  </a:lnTo>
                  <a:lnTo>
                    <a:pt x="80" y="10"/>
                  </a:lnTo>
                  <a:lnTo>
                    <a:pt x="74" y="14"/>
                  </a:lnTo>
                  <a:lnTo>
                    <a:pt x="66" y="14"/>
                  </a:lnTo>
                  <a:lnTo>
                    <a:pt x="58" y="12"/>
                  </a:lnTo>
                  <a:lnTo>
                    <a:pt x="56" y="12"/>
                  </a:lnTo>
                  <a:lnTo>
                    <a:pt x="52" y="10"/>
                  </a:lnTo>
                  <a:lnTo>
                    <a:pt x="38" y="2"/>
                  </a:lnTo>
                  <a:lnTo>
                    <a:pt x="32" y="2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6" y="0"/>
                  </a:lnTo>
                  <a:lnTo>
                    <a:pt x="0" y="4"/>
                  </a:lnTo>
                  <a:lnTo>
                    <a:pt x="12" y="28"/>
                  </a:lnTo>
                  <a:lnTo>
                    <a:pt x="14" y="38"/>
                  </a:lnTo>
                  <a:lnTo>
                    <a:pt x="8" y="46"/>
                  </a:lnTo>
                  <a:lnTo>
                    <a:pt x="2" y="54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0" y="66"/>
                  </a:lnTo>
                  <a:lnTo>
                    <a:pt x="0" y="76"/>
                  </a:lnTo>
                  <a:lnTo>
                    <a:pt x="14" y="84"/>
                  </a:lnTo>
                  <a:lnTo>
                    <a:pt x="32" y="92"/>
                  </a:lnTo>
                  <a:lnTo>
                    <a:pt x="50" y="104"/>
                  </a:lnTo>
                  <a:lnTo>
                    <a:pt x="52" y="112"/>
                  </a:lnTo>
                  <a:lnTo>
                    <a:pt x="70" y="126"/>
                  </a:lnTo>
                  <a:lnTo>
                    <a:pt x="74" y="124"/>
                  </a:lnTo>
                  <a:lnTo>
                    <a:pt x="76" y="120"/>
                  </a:lnTo>
                  <a:lnTo>
                    <a:pt x="78" y="116"/>
                  </a:lnTo>
                  <a:lnTo>
                    <a:pt x="84" y="102"/>
                  </a:lnTo>
                  <a:lnTo>
                    <a:pt x="84" y="98"/>
                  </a:lnTo>
                  <a:lnTo>
                    <a:pt x="88" y="96"/>
                  </a:lnTo>
                  <a:lnTo>
                    <a:pt x="96" y="90"/>
                  </a:lnTo>
                  <a:lnTo>
                    <a:pt x="100" y="88"/>
                  </a:lnTo>
                  <a:lnTo>
                    <a:pt x="102" y="84"/>
                  </a:lnTo>
                  <a:lnTo>
                    <a:pt x="100" y="78"/>
                  </a:lnTo>
                  <a:lnTo>
                    <a:pt x="96" y="72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8" name="Freeform 800">
              <a:extLst>
                <a:ext uri="{FF2B5EF4-FFF2-40B4-BE49-F238E27FC236}">
                  <a16:creationId xmlns:a16="http://schemas.microsoft.com/office/drawing/2014/main" id="{96CB894E-2FDE-4320-B838-AAB4BC5A8D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2638" y="4214813"/>
              <a:ext cx="412750" cy="406400"/>
            </a:xfrm>
            <a:custGeom>
              <a:avLst/>
              <a:gdLst/>
              <a:ahLst/>
              <a:cxnLst>
                <a:cxn ang="0">
                  <a:pos x="38" y="150"/>
                </a:cxn>
                <a:cxn ang="0">
                  <a:pos x="64" y="168"/>
                </a:cxn>
                <a:cxn ang="0">
                  <a:pos x="72" y="182"/>
                </a:cxn>
                <a:cxn ang="0">
                  <a:pos x="96" y="180"/>
                </a:cxn>
                <a:cxn ang="0">
                  <a:pos x="98" y="172"/>
                </a:cxn>
                <a:cxn ang="0">
                  <a:pos x="108" y="166"/>
                </a:cxn>
                <a:cxn ang="0">
                  <a:pos x="130" y="170"/>
                </a:cxn>
                <a:cxn ang="0">
                  <a:pos x="130" y="180"/>
                </a:cxn>
                <a:cxn ang="0">
                  <a:pos x="132" y="204"/>
                </a:cxn>
                <a:cxn ang="0">
                  <a:pos x="136" y="224"/>
                </a:cxn>
                <a:cxn ang="0">
                  <a:pos x="158" y="222"/>
                </a:cxn>
                <a:cxn ang="0">
                  <a:pos x="166" y="228"/>
                </a:cxn>
                <a:cxn ang="0">
                  <a:pos x="178" y="226"/>
                </a:cxn>
                <a:cxn ang="0">
                  <a:pos x="200" y="234"/>
                </a:cxn>
                <a:cxn ang="0">
                  <a:pos x="208" y="236"/>
                </a:cxn>
                <a:cxn ang="0">
                  <a:pos x="220" y="242"/>
                </a:cxn>
                <a:cxn ang="0">
                  <a:pos x="228" y="254"/>
                </a:cxn>
                <a:cxn ang="0">
                  <a:pos x="236" y="254"/>
                </a:cxn>
                <a:cxn ang="0">
                  <a:pos x="234" y="240"/>
                </a:cxn>
                <a:cxn ang="0">
                  <a:pos x="220" y="228"/>
                </a:cxn>
                <a:cxn ang="0">
                  <a:pos x="222" y="218"/>
                </a:cxn>
                <a:cxn ang="0">
                  <a:pos x="222" y="212"/>
                </a:cxn>
                <a:cxn ang="0">
                  <a:pos x="222" y="202"/>
                </a:cxn>
                <a:cxn ang="0">
                  <a:pos x="226" y="192"/>
                </a:cxn>
                <a:cxn ang="0">
                  <a:pos x="248" y="172"/>
                </a:cxn>
                <a:cxn ang="0">
                  <a:pos x="236" y="152"/>
                </a:cxn>
                <a:cxn ang="0">
                  <a:pos x="234" y="132"/>
                </a:cxn>
                <a:cxn ang="0">
                  <a:pos x="226" y="106"/>
                </a:cxn>
                <a:cxn ang="0">
                  <a:pos x="230" y="102"/>
                </a:cxn>
                <a:cxn ang="0">
                  <a:pos x="236" y="90"/>
                </a:cxn>
                <a:cxn ang="0">
                  <a:pos x="240" y="66"/>
                </a:cxn>
                <a:cxn ang="0">
                  <a:pos x="248" y="56"/>
                </a:cxn>
                <a:cxn ang="0">
                  <a:pos x="260" y="42"/>
                </a:cxn>
                <a:cxn ang="0">
                  <a:pos x="252" y="34"/>
                </a:cxn>
                <a:cxn ang="0">
                  <a:pos x="252" y="22"/>
                </a:cxn>
                <a:cxn ang="0">
                  <a:pos x="240" y="10"/>
                </a:cxn>
                <a:cxn ang="0">
                  <a:pos x="218" y="14"/>
                </a:cxn>
                <a:cxn ang="0">
                  <a:pos x="212" y="10"/>
                </a:cxn>
                <a:cxn ang="0">
                  <a:pos x="208" y="4"/>
                </a:cxn>
                <a:cxn ang="0">
                  <a:pos x="184" y="0"/>
                </a:cxn>
                <a:cxn ang="0">
                  <a:pos x="172" y="6"/>
                </a:cxn>
                <a:cxn ang="0">
                  <a:pos x="158" y="6"/>
                </a:cxn>
                <a:cxn ang="0">
                  <a:pos x="146" y="6"/>
                </a:cxn>
                <a:cxn ang="0">
                  <a:pos x="138" y="16"/>
                </a:cxn>
                <a:cxn ang="0">
                  <a:pos x="116" y="12"/>
                </a:cxn>
                <a:cxn ang="0">
                  <a:pos x="106" y="4"/>
                </a:cxn>
                <a:cxn ang="0">
                  <a:pos x="88" y="12"/>
                </a:cxn>
                <a:cxn ang="0">
                  <a:pos x="86" y="24"/>
                </a:cxn>
                <a:cxn ang="0">
                  <a:pos x="84" y="36"/>
                </a:cxn>
                <a:cxn ang="0">
                  <a:pos x="80" y="52"/>
                </a:cxn>
                <a:cxn ang="0">
                  <a:pos x="76" y="76"/>
                </a:cxn>
                <a:cxn ang="0">
                  <a:pos x="68" y="86"/>
                </a:cxn>
                <a:cxn ang="0">
                  <a:pos x="60" y="94"/>
                </a:cxn>
                <a:cxn ang="0">
                  <a:pos x="54" y="104"/>
                </a:cxn>
                <a:cxn ang="0">
                  <a:pos x="54" y="114"/>
                </a:cxn>
                <a:cxn ang="0">
                  <a:pos x="42" y="130"/>
                </a:cxn>
                <a:cxn ang="0">
                  <a:pos x="30" y="136"/>
                </a:cxn>
                <a:cxn ang="0">
                  <a:pos x="30" y="130"/>
                </a:cxn>
                <a:cxn ang="0">
                  <a:pos x="16" y="138"/>
                </a:cxn>
                <a:cxn ang="0">
                  <a:pos x="4" y="140"/>
                </a:cxn>
                <a:cxn ang="0">
                  <a:pos x="0" y="150"/>
                </a:cxn>
                <a:cxn ang="0">
                  <a:pos x="14" y="150"/>
                </a:cxn>
              </a:cxnLst>
              <a:rect l="0" t="0" r="r" b="b"/>
              <a:pathLst>
                <a:path w="260" h="256">
                  <a:moveTo>
                    <a:pt x="14" y="150"/>
                  </a:moveTo>
                  <a:lnTo>
                    <a:pt x="16" y="150"/>
                  </a:lnTo>
                  <a:lnTo>
                    <a:pt x="38" y="150"/>
                  </a:lnTo>
                  <a:lnTo>
                    <a:pt x="48" y="150"/>
                  </a:lnTo>
                  <a:lnTo>
                    <a:pt x="60" y="152"/>
                  </a:lnTo>
                  <a:lnTo>
                    <a:pt x="64" y="168"/>
                  </a:lnTo>
                  <a:lnTo>
                    <a:pt x="66" y="172"/>
                  </a:lnTo>
                  <a:lnTo>
                    <a:pt x="68" y="174"/>
                  </a:lnTo>
                  <a:lnTo>
                    <a:pt x="72" y="182"/>
                  </a:lnTo>
                  <a:lnTo>
                    <a:pt x="80" y="182"/>
                  </a:lnTo>
                  <a:lnTo>
                    <a:pt x="90" y="180"/>
                  </a:lnTo>
                  <a:lnTo>
                    <a:pt x="96" y="180"/>
                  </a:lnTo>
                  <a:lnTo>
                    <a:pt x="98" y="176"/>
                  </a:lnTo>
                  <a:lnTo>
                    <a:pt x="98" y="174"/>
                  </a:lnTo>
                  <a:lnTo>
                    <a:pt x="98" y="172"/>
                  </a:lnTo>
                  <a:lnTo>
                    <a:pt x="100" y="168"/>
                  </a:lnTo>
                  <a:lnTo>
                    <a:pt x="100" y="166"/>
                  </a:lnTo>
                  <a:lnTo>
                    <a:pt x="108" y="166"/>
                  </a:lnTo>
                  <a:lnTo>
                    <a:pt x="114" y="166"/>
                  </a:lnTo>
                  <a:lnTo>
                    <a:pt x="112" y="170"/>
                  </a:lnTo>
                  <a:lnTo>
                    <a:pt x="130" y="170"/>
                  </a:lnTo>
                  <a:lnTo>
                    <a:pt x="130" y="176"/>
                  </a:lnTo>
                  <a:lnTo>
                    <a:pt x="130" y="180"/>
                  </a:lnTo>
                  <a:lnTo>
                    <a:pt x="130" y="180"/>
                  </a:lnTo>
                  <a:lnTo>
                    <a:pt x="132" y="186"/>
                  </a:lnTo>
                  <a:lnTo>
                    <a:pt x="132" y="190"/>
                  </a:lnTo>
                  <a:lnTo>
                    <a:pt x="132" y="204"/>
                  </a:lnTo>
                  <a:lnTo>
                    <a:pt x="136" y="208"/>
                  </a:lnTo>
                  <a:lnTo>
                    <a:pt x="138" y="216"/>
                  </a:lnTo>
                  <a:lnTo>
                    <a:pt x="136" y="224"/>
                  </a:lnTo>
                  <a:lnTo>
                    <a:pt x="142" y="222"/>
                  </a:lnTo>
                  <a:lnTo>
                    <a:pt x="148" y="222"/>
                  </a:lnTo>
                  <a:lnTo>
                    <a:pt x="158" y="222"/>
                  </a:lnTo>
                  <a:lnTo>
                    <a:pt x="160" y="220"/>
                  </a:lnTo>
                  <a:lnTo>
                    <a:pt x="166" y="222"/>
                  </a:lnTo>
                  <a:lnTo>
                    <a:pt x="166" y="228"/>
                  </a:lnTo>
                  <a:lnTo>
                    <a:pt x="170" y="226"/>
                  </a:lnTo>
                  <a:lnTo>
                    <a:pt x="176" y="224"/>
                  </a:lnTo>
                  <a:lnTo>
                    <a:pt x="178" y="226"/>
                  </a:lnTo>
                  <a:lnTo>
                    <a:pt x="180" y="232"/>
                  </a:lnTo>
                  <a:lnTo>
                    <a:pt x="194" y="234"/>
                  </a:lnTo>
                  <a:lnTo>
                    <a:pt x="200" y="234"/>
                  </a:lnTo>
                  <a:lnTo>
                    <a:pt x="202" y="230"/>
                  </a:lnTo>
                  <a:lnTo>
                    <a:pt x="204" y="232"/>
                  </a:lnTo>
                  <a:lnTo>
                    <a:pt x="208" y="236"/>
                  </a:lnTo>
                  <a:lnTo>
                    <a:pt x="212" y="240"/>
                  </a:lnTo>
                  <a:lnTo>
                    <a:pt x="216" y="240"/>
                  </a:lnTo>
                  <a:lnTo>
                    <a:pt x="220" y="242"/>
                  </a:lnTo>
                  <a:lnTo>
                    <a:pt x="226" y="248"/>
                  </a:lnTo>
                  <a:lnTo>
                    <a:pt x="228" y="252"/>
                  </a:lnTo>
                  <a:lnTo>
                    <a:pt x="228" y="254"/>
                  </a:lnTo>
                  <a:lnTo>
                    <a:pt x="234" y="254"/>
                  </a:lnTo>
                  <a:lnTo>
                    <a:pt x="238" y="252"/>
                  </a:lnTo>
                  <a:lnTo>
                    <a:pt x="236" y="254"/>
                  </a:lnTo>
                  <a:lnTo>
                    <a:pt x="240" y="256"/>
                  </a:lnTo>
                  <a:lnTo>
                    <a:pt x="240" y="238"/>
                  </a:lnTo>
                  <a:lnTo>
                    <a:pt x="234" y="240"/>
                  </a:lnTo>
                  <a:lnTo>
                    <a:pt x="228" y="238"/>
                  </a:lnTo>
                  <a:lnTo>
                    <a:pt x="220" y="232"/>
                  </a:lnTo>
                  <a:lnTo>
                    <a:pt x="220" y="228"/>
                  </a:lnTo>
                  <a:lnTo>
                    <a:pt x="220" y="226"/>
                  </a:lnTo>
                  <a:lnTo>
                    <a:pt x="222" y="218"/>
                  </a:lnTo>
                  <a:lnTo>
                    <a:pt x="222" y="218"/>
                  </a:lnTo>
                  <a:lnTo>
                    <a:pt x="224" y="216"/>
                  </a:lnTo>
                  <a:lnTo>
                    <a:pt x="222" y="214"/>
                  </a:lnTo>
                  <a:lnTo>
                    <a:pt x="222" y="212"/>
                  </a:lnTo>
                  <a:lnTo>
                    <a:pt x="222" y="210"/>
                  </a:lnTo>
                  <a:lnTo>
                    <a:pt x="222" y="206"/>
                  </a:lnTo>
                  <a:lnTo>
                    <a:pt x="222" y="202"/>
                  </a:lnTo>
                  <a:lnTo>
                    <a:pt x="222" y="198"/>
                  </a:lnTo>
                  <a:lnTo>
                    <a:pt x="224" y="194"/>
                  </a:lnTo>
                  <a:lnTo>
                    <a:pt x="226" y="192"/>
                  </a:lnTo>
                  <a:lnTo>
                    <a:pt x="226" y="186"/>
                  </a:lnTo>
                  <a:lnTo>
                    <a:pt x="252" y="182"/>
                  </a:lnTo>
                  <a:lnTo>
                    <a:pt x="248" y="172"/>
                  </a:lnTo>
                  <a:lnTo>
                    <a:pt x="244" y="166"/>
                  </a:lnTo>
                  <a:lnTo>
                    <a:pt x="238" y="162"/>
                  </a:lnTo>
                  <a:lnTo>
                    <a:pt x="236" y="152"/>
                  </a:lnTo>
                  <a:lnTo>
                    <a:pt x="236" y="148"/>
                  </a:lnTo>
                  <a:lnTo>
                    <a:pt x="234" y="144"/>
                  </a:lnTo>
                  <a:lnTo>
                    <a:pt x="234" y="132"/>
                  </a:lnTo>
                  <a:lnTo>
                    <a:pt x="230" y="116"/>
                  </a:lnTo>
                  <a:lnTo>
                    <a:pt x="228" y="108"/>
                  </a:lnTo>
                  <a:lnTo>
                    <a:pt x="226" y="106"/>
                  </a:lnTo>
                  <a:lnTo>
                    <a:pt x="228" y="104"/>
                  </a:lnTo>
                  <a:lnTo>
                    <a:pt x="228" y="102"/>
                  </a:lnTo>
                  <a:lnTo>
                    <a:pt x="230" y="102"/>
                  </a:lnTo>
                  <a:lnTo>
                    <a:pt x="230" y="98"/>
                  </a:lnTo>
                  <a:lnTo>
                    <a:pt x="232" y="94"/>
                  </a:lnTo>
                  <a:lnTo>
                    <a:pt x="236" y="90"/>
                  </a:lnTo>
                  <a:lnTo>
                    <a:pt x="238" y="78"/>
                  </a:lnTo>
                  <a:lnTo>
                    <a:pt x="238" y="72"/>
                  </a:lnTo>
                  <a:lnTo>
                    <a:pt x="240" y="66"/>
                  </a:lnTo>
                  <a:lnTo>
                    <a:pt x="242" y="60"/>
                  </a:lnTo>
                  <a:lnTo>
                    <a:pt x="244" y="58"/>
                  </a:lnTo>
                  <a:lnTo>
                    <a:pt x="248" y="56"/>
                  </a:lnTo>
                  <a:lnTo>
                    <a:pt x="252" y="52"/>
                  </a:lnTo>
                  <a:lnTo>
                    <a:pt x="260" y="44"/>
                  </a:lnTo>
                  <a:lnTo>
                    <a:pt x="260" y="42"/>
                  </a:lnTo>
                  <a:lnTo>
                    <a:pt x="252" y="40"/>
                  </a:lnTo>
                  <a:lnTo>
                    <a:pt x="252" y="38"/>
                  </a:lnTo>
                  <a:lnTo>
                    <a:pt x="252" y="34"/>
                  </a:lnTo>
                  <a:lnTo>
                    <a:pt x="254" y="26"/>
                  </a:lnTo>
                  <a:lnTo>
                    <a:pt x="254" y="24"/>
                  </a:lnTo>
                  <a:lnTo>
                    <a:pt x="252" y="22"/>
                  </a:lnTo>
                  <a:lnTo>
                    <a:pt x="248" y="18"/>
                  </a:lnTo>
                  <a:lnTo>
                    <a:pt x="244" y="16"/>
                  </a:lnTo>
                  <a:lnTo>
                    <a:pt x="240" y="10"/>
                  </a:lnTo>
                  <a:lnTo>
                    <a:pt x="234" y="8"/>
                  </a:lnTo>
                  <a:lnTo>
                    <a:pt x="226" y="12"/>
                  </a:lnTo>
                  <a:lnTo>
                    <a:pt x="218" y="14"/>
                  </a:lnTo>
                  <a:lnTo>
                    <a:pt x="216" y="12"/>
                  </a:lnTo>
                  <a:lnTo>
                    <a:pt x="214" y="10"/>
                  </a:lnTo>
                  <a:lnTo>
                    <a:pt x="212" y="10"/>
                  </a:lnTo>
                  <a:lnTo>
                    <a:pt x="212" y="8"/>
                  </a:lnTo>
                  <a:lnTo>
                    <a:pt x="210" y="6"/>
                  </a:lnTo>
                  <a:lnTo>
                    <a:pt x="208" y="4"/>
                  </a:lnTo>
                  <a:lnTo>
                    <a:pt x="202" y="2"/>
                  </a:lnTo>
                  <a:lnTo>
                    <a:pt x="198" y="4"/>
                  </a:lnTo>
                  <a:lnTo>
                    <a:pt x="184" y="0"/>
                  </a:lnTo>
                  <a:lnTo>
                    <a:pt x="178" y="0"/>
                  </a:lnTo>
                  <a:lnTo>
                    <a:pt x="178" y="4"/>
                  </a:lnTo>
                  <a:lnTo>
                    <a:pt x="172" y="6"/>
                  </a:lnTo>
                  <a:lnTo>
                    <a:pt x="170" y="6"/>
                  </a:lnTo>
                  <a:lnTo>
                    <a:pt x="166" y="2"/>
                  </a:lnTo>
                  <a:lnTo>
                    <a:pt x="158" y="6"/>
                  </a:lnTo>
                  <a:lnTo>
                    <a:pt x="154" y="8"/>
                  </a:lnTo>
                  <a:lnTo>
                    <a:pt x="150" y="8"/>
                  </a:lnTo>
                  <a:lnTo>
                    <a:pt x="146" y="6"/>
                  </a:lnTo>
                  <a:lnTo>
                    <a:pt x="142" y="10"/>
                  </a:lnTo>
                  <a:lnTo>
                    <a:pt x="140" y="16"/>
                  </a:lnTo>
                  <a:lnTo>
                    <a:pt x="138" y="16"/>
                  </a:lnTo>
                  <a:lnTo>
                    <a:pt x="136" y="16"/>
                  </a:lnTo>
                  <a:lnTo>
                    <a:pt x="134" y="14"/>
                  </a:lnTo>
                  <a:lnTo>
                    <a:pt x="116" y="12"/>
                  </a:lnTo>
                  <a:lnTo>
                    <a:pt x="112" y="10"/>
                  </a:lnTo>
                  <a:lnTo>
                    <a:pt x="112" y="8"/>
                  </a:lnTo>
                  <a:lnTo>
                    <a:pt x="106" y="4"/>
                  </a:lnTo>
                  <a:lnTo>
                    <a:pt x="102" y="2"/>
                  </a:lnTo>
                  <a:lnTo>
                    <a:pt x="96" y="4"/>
                  </a:lnTo>
                  <a:lnTo>
                    <a:pt x="88" y="12"/>
                  </a:lnTo>
                  <a:lnTo>
                    <a:pt x="86" y="16"/>
                  </a:lnTo>
                  <a:lnTo>
                    <a:pt x="86" y="22"/>
                  </a:lnTo>
                  <a:lnTo>
                    <a:pt x="86" y="24"/>
                  </a:lnTo>
                  <a:lnTo>
                    <a:pt x="86" y="30"/>
                  </a:lnTo>
                  <a:lnTo>
                    <a:pt x="84" y="34"/>
                  </a:lnTo>
                  <a:lnTo>
                    <a:pt x="84" y="36"/>
                  </a:lnTo>
                  <a:lnTo>
                    <a:pt x="82" y="40"/>
                  </a:lnTo>
                  <a:lnTo>
                    <a:pt x="80" y="44"/>
                  </a:lnTo>
                  <a:lnTo>
                    <a:pt x="80" y="52"/>
                  </a:lnTo>
                  <a:lnTo>
                    <a:pt x="78" y="66"/>
                  </a:lnTo>
                  <a:lnTo>
                    <a:pt x="78" y="66"/>
                  </a:lnTo>
                  <a:lnTo>
                    <a:pt x="76" y="76"/>
                  </a:lnTo>
                  <a:lnTo>
                    <a:pt x="74" y="80"/>
                  </a:lnTo>
                  <a:lnTo>
                    <a:pt x="74" y="80"/>
                  </a:lnTo>
                  <a:lnTo>
                    <a:pt x="68" y="86"/>
                  </a:lnTo>
                  <a:lnTo>
                    <a:pt x="66" y="86"/>
                  </a:lnTo>
                  <a:lnTo>
                    <a:pt x="62" y="88"/>
                  </a:lnTo>
                  <a:lnTo>
                    <a:pt x="60" y="94"/>
                  </a:lnTo>
                  <a:lnTo>
                    <a:pt x="58" y="98"/>
                  </a:lnTo>
                  <a:lnTo>
                    <a:pt x="54" y="102"/>
                  </a:lnTo>
                  <a:lnTo>
                    <a:pt x="54" y="104"/>
                  </a:lnTo>
                  <a:lnTo>
                    <a:pt x="54" y="112"/>
                  </a:lnTo>
                  <a:lnTo>
                    <a:pt x="54" y="114"/>
                  </a:lnTo>
                  <a:lnTo>
                    <a:pt x="54" y="114"/>
                  </a:lnTo>
                  <a:lnTo>
                    <a:pt x="50" y="124"/>
                  </a:lnTo>
                  <a:lnTo>
                    <a:pt x="44" y="128"/>
                  </a:lnTo>
                  <a:lnTo>
                    <a:pt x="42" y="130"/>
                  </a:lnTo>
                  <a:lnTo>
                    <a:pt x="36" y="136"/>
                  </a:lnTo>
                  <a:lnTo>
                    <a:pt x="30" y="138"/>
                  </a:lnTo>
                  <a:lnTo>
                    <a:pt x="30" y="136"/>
                  </a:lnTo>
                  <a:lnTo>
                    <a:pt x="30" y="132"/>
                  </a:lnTo>
                  <a:lnTo>
                    <a:pt x="30" y="132"/>
                  </a:lnTo>
                  <a:lnTo>
                    <a:pt x="30" y="130"/>
                  </a:lnTo>
                  <a:lnTo>
                    <a:pt x="28" y="130"/>
                  </a:lnTo>
                  <a:lnTo>
                    <a:pt x="20" y="132"/>
                  </a:lnTo>
                  <a:lnTo>
                    <a:pt x="16" y="138"/>
                  </a:lnTo>
                  <a:lnTo>
                    <a:pt x="12" y="134"/>
                  </a:lnTo>
                  <a:lnTo>
                    <a:pt x="8" y="136"/>
                  </a:lnTo>
                  <a:lnTo>
                    <a:pt x="4" y="140"/>
                  </a:lnTo>
                  <a:lnTo>
                    <a:pt x="4" y="146"/>
                  </a:lnTo>
                  <a:lnTo>
                    <a:pt x="4" y="150"/>
                  </a:lnTo>
                  <a:lnTo>
                    <a:pt x="0" y="150"/>
                  </a:lnTo>
                  <a:lnTo>
                    <a:pt x="2" y="152"/>
                  </a:lnTo>
                  <a:lnTo>
                    <a:pt x="6" y="152"/>
                  </a:lnTo>
                  <a:lnTo>
                    <a:pt x="14" y="15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9" name="Freeform 842">
              <a:extLst>
                <a:ext uri="{FF2B5EF4-FFF2-40B4-BE49-F238E27FC236}">
                  <a16:creationId xmlns:a16="http://schemas.microsoft.com/office/drawing/2014/main" id="{B7F0CBF8-9A5D-4A52-A8B6-2F3FF8593A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7288" y="4237038"/>
              <a:ext cx="117475" cy="120650"/>
            </a:xfrm>
            <a:custGeom>
              <a:avLst/>
              <a:gdLst/>
              <a:ahLst/>
              <a:cxnLst>
                <a:cxn ang="0">
                  <a:pos x="16" y="20"/>
                </a:cxn>
                <a:cxn ang="0">
                  <a:pos x="16" y="24"/>
                </a:cxn>
                <a:cxn ang="0">
                  <a:pos x="16" y="26"/>
                </a:cxn>
                <a:cxn ang="0">
                  <a:pos x="24" y="28"/>
                </a:cxn>
                <a:cxn ang="0">
                  <a:pos x="24" y="30"/>
                </a:cxn>
                <a:cxn ang="0">
                  <a:pos x="16" y="38"/>
                </a:cxn>
                <a:cxn ang="0">
                  <a:pos x="12" y="42"/>
                </a:cxn>
                <a:cxn ang="0">
                  <a:pos x="8" y="44"/>
                </a:cxn>
                <a:cxn ang="0">
                  <a:pos x="6" y="46"/>
                </a:cxn>
                <a:cxn ang="0">
                  <a:pos x="4" y="52"/>
                </a:cxn>
                <a:cxn ang="0">
                  <a:pos x="2" y="58"/>
                </a:cxn>
                <a:cxn ang="0">
                  <a:pos x="2" y="64"/>
                </a:cxn>
                <a:cxn ang="0">
                  <a:pos x="0" y="76"/>
                </a:cxn>
                <a:cxn ang="0">
                  <a:pos x="6" y="76"/>
                </a:cxn>
                <a:cxn ang="0">
                  <a:pos x="12" y="72"/>
                </a:cxn>
                <a:cxn ang="0">
                  <a:pos x="16" y="72"/>
                </a:cxn>
                <a:cxn ang="0">
                  <a:pos x="60" y="72"/>
                </a:cxn>
                <a:cxn ang="0">
                  <a:pos x="60" y="62"/>
                </a:cxn>
                <a:cxn ang="0">
                  <a:pos x="60" y="58"/>
                </a:cxn>
                <a:cxn ang="0">
                  <a:pos x="60" y="54"/>
                </a:cxn>
                <a:cxn ang="0">
                  <a:pos x="62" y="50"/>
                </a:cxn>
                <a:cxn ang="0">
                  <a:pos x="68" y="42"/>
                </a:cxn>
                <a:cxn ang="0">
                  <a:pos x="74" y="34"/>
                </a:cxn>
                <a:cxn ang="0">
                  <a:pos x="72" y="24"/>
                </a:cxn>
                <a:cxn ang="0">
                  <a:pos x="60" y="0"/>
                </a:cxn>
                <a:cxn ang="0">
                  <a:pos x="54" y="6"/>
                </a:cxn>
                <a:cxn ang="0">
                  <a:pos x="52" y="8"/>
                </a:cxn>
                <a:cxn ang="0">
                  <a:pos x="50" y="6"/>
                </a:cxn>
                <a:cxn ang="0">
                  <a:pos x="42" y="6"/>
                </a:cxn>
                <a:cxn ang="0">
                  <a:pos x="38" y="8"/>
                </a:cxn>
                <a:cxn ang="0">
                  <a:pos x="36" y="8"/>
                </a:cxn>
                <a:cxn ang="0">
                  <a:pos x="36" y="10"/>
                </a:cxn>
                <a:cxn ang="0">
                  <a:pos x="32" y="8"/>
                </a:cxn>
                <a:cxn ang="0">
                  <a:pos x="32" y="8"/>
                </a:cxn>
                <a:cxn ang="0">
                  <a:pos x="30" y="6"/>
                </a:cxn>
                <a:cxn ang="0">
                  <a:pos x="26" y="8"/>
                </a:cxn>
                <a:cxn ang="0">
                  <a:pos x="22" y="6"/>
                </a:cxn>
                <a:cxn ang="0">
                  <a:pos x="18" y="10"/>
                </a:cxn>
                <a:cxn ang="0">
                  <a:pos x="18" y="12"/>
                </a:cxn>
                <a:cxn ang="0">
                  <a:pos x="16" y="20"/>
                </a:cxn>
              </a:cxnLst>
              <a:rect l="0" t="0" r="r" b="b"/>
              <a:pathLst>
                <a:path w="74" h="76">
                  <a:moveTo>
                    <a:pt x="16" y="20"/>
                  </a:moveTo>
                  <a:lnTo>
                    <a:pt x="16" y="24"/>
                  </a:lnTo>
                  <a:lnTo>
                    <a:pt x="16" y="26"/>
                  </a:lnTo>
                  <a:lnTo>
                    <a:pt x="24" y="28"/>
                  </a:lnTo>
                  <a:lnTo>
                    <a:pt x="24" y="30"/>
                  </a:lnTo>
                  <a:lnTo>
                    <a:pt x="16" y="38"/>
                  </a:lnTo>
                  <a:lnTo>
                    <a:pt x="12" y="42"/>
                  </a:lnTo>
                  <a:lnTo>
                    <a:pt x="8" y="44"/>
                  </a:lnTo>
                  <a:lnTo>
                    <a:pt x="6" y="46"/>
                  </a:lnTo>
                  <a:lnTo>
                    <a:pt x="4" y="52"/>
                  </a:lnTo>
                  <a:lnTo>
                    <a:pt x="2" y="58"/>
                  </a:lnTo>
                  <a:lnTo>
                    <a:pt x="2" y="64"/>
                  </a:lnTo>
                  <a:lnTo>
                    <a:pt x="0" y="76"/>
                  </a:lnTo>
                  <a:lnTo>
                    <a:pt x="6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60" y="72"/>
                  </a:lnTo>
                  <a:lnTo>
                    <a:pt x="60" y="62"/>
                  </a:lnTo>
                  <a:lnTo>
                    <a:pt x="60" y="58"/>
                  </a:lnTo>
                  <a:lnTo>
                    <a:pt x="60" y="54"/>
                  </a:lnTo>
                  <a:lnTo>
                    <a:pt x="62" y="50"/>
                  </a:lnTo>
                  <a:lnTo>
                    <a:pt x="68" y="42"/>
                  </a:lnTo>
                  <a:lnTo>
                    <a:pt x="74" y="34"/>
                  </a:lnTo>
                  <a:lnTo>
                    <a:pt x="72" y="24"/>
                  </a:lnTo>
                  <a:lnTo>
                    <a:pt x="60" y="0"/>
                  </a:lnTo>
                  <a:lnTo>
                    <a:pt x="54" y="6"/>
                  </a:lnTo>
                  <a:lnTo>
                    <a:pt x="52" y="8"/>
                  </a:lnTo>
                  <a:lnTo>
                    <a:pt x="50" y="6"/>
                  </a:lnTo>
                  <a:lnTo>
                    <a:pt x="42" y="6"/>
                  </a:lnTo>
                  <a:lnTo>
                    <a:pt x="38" y="8"/>
                  </a:lnTo>
                  <a:lnTo>
                    <a:pt x="36" y="8"/>
                  </a:lnTo>
                  <a:lnTo>
                    <a:pt x="36" y="10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0" y="6"/>
                  </a:lnTo>
                  <a:lnTo>
                    <a:pt x="26" y="8"/>
                  </a:lnTo>
                  <a:lnTo>
                    <a:pt x="22" y="6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2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0" name="Freeform 845">
              <a:extLst>
                <a:ext uri="{FF2B5EF4-FFF2-40B4-BE49-F238E27FC236}">
                  <a16:creationId xmlns:a16="http://schemas.microsoft.com/office/drawing/2014/main" id="{97E2AD6A-38AC-4C23-9D5A-CD4A265990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0263" y="4090988"/>
              <a:ext cx="282575" cy="190500"/>
            </a:xfrm>
            <a:custGeom>
              <a:avLst/>
              <a:gdLst/>
              <a:ahLst/>
              <a:cxnLst>
                <a:cxn ang="0">
                  <a:pos x="106" y="2"/>
                </a:cxn>
                <a:cxn ang="0">
                  <a:pos x="98" y="10"/>
                </a:cxn>
                <a:cxn ang="0">
                  <a:pos x="94" y="14"/>
                </a:cxn>
                <a:cxn ang="0">
                  <a:pos x="90" y="18"/>
                </a:cxn>
                <a:cxn ang="0">
                  <a:pos x="76" y="26"/>
                </a:cxn>
                <a:cxn ang="0">
                  <a:pos x="64" y="28"/>
                </a:cxn>
                <a:cxn ang="0">
                  <a:pos x="64" y="34"/>
                </a:cxn>
                <a:cxn ang="0">
                  <a:pos x="56" y="40"/>
                </a:cxn>
                <a:cxn ang="0">
                  <a:pos x="38" y="44"/>
                </a:cxn>
                <a:cxn ang="0">
                  <a:pos x="22" y="48"/>
                </a:cxn>
                <a:cxn ang="0">
                  <a:pos x="10" y="52"/>
                </a:cxn>
                <a:cxn ang="0">
                  <a:pos x="6" y="64"/>
                </a:cxn>
                <a:cxn ang="0">
                  <a:pos x="0" y="68"/>
                </a:cxn>
                <a:cxn ang="0">
                  <a:pos x="2" y="78"/>
                </a:cxn>
                <a:cxn ang="0">
                  <a:pos x="4" y="86"/>
                </a:cxn>
                <a:cxn ang="0">
                  <a:pos x="8" y="90"/>
                </a:cxn>
                <a:cxn ang="0">
                  <a:pos x="12" y="102"/>
                </a:cxn>
                <a:cxn ang="0">
                  <a:pos x="20" y="108"/>
                </a:cxn>
                <a:cxn ang="0">
                  <a:pos x="24" y="120"/>
                </a:cxn>
                <a:cxn ang="0">
                  <a:pos x="28" y="110"/>
                </a:cxn>
                <a:cxn ang="0">
                  <a:pos x="40" y="100"/>
                </a:cxn>
                <a:cxn ang="0">
                  <a:pos x="52" y="102"/>
                </a:cxn>
                <a:cxn ang="0">
                  <a:pos x="56" y="102"/>
                </a:cxn>
                <a:cxn ang="0">
                  <a:pos x="56" y="94"/>
                </a:cxn>
                <a:cxn ang="0">
                  <a:pos x="66" y="82"/>
                </a:cxn>
                <a:cxn ang="0">
                  <a:pos x="76" y="82"/>
                </a:cxn>
                <a:cxn ang="0">
                  <a:pos x="82" y="88"/>
                </a:cxn>
                <a:cxn ang="0">
                  <a:pos x="104" y="92"/>
                </a:cxn>
                <a:cxn ang="0">
                  <a:pos x="108" y="94"/>
                </a:cxn>
                <a:cxn ang="0">
                  <a:pos x="112" y="88"/>
                </a:cxn>
                <a:cxn ang="0">
                  <a:pos x="120" y="86"/>
                </a:cxn>
                <a:cxn ang="0">
                  <a:pos x="128" y="84"/>
                </a:cxn>
                <a:cxn ang="0">
                  <a:pos x="140" y="84"/>
                </a:cxn>
                <a:cxn ang="0">
                  <a:pos x="148" y="82"/>
                </a:cxn>
                <a:cxn ang="0">
                  <a:pos x="154" y="78"/>
                </a:cxn>
                <a:cxn ang="0">
                  <a:pos x="172" y="80"/>
                </a:cxn>
                <a:cxn ang="0">
                  <a:pos x="174" y="74"/>
                </a:cxn>
                <a:cxn ang="0">
                  <a:pos x="164" y="66"/>
                </a:cxn>
                <a:cxn ang="0">
                  <a:pos x="160" y="56"/>
                </a:cxn>
                <a:cxn ang="0">
                  <a:pos x="148" y="50"/>
                </a:cxn>
                <a:cxn ang="0">
                  <a:pos x="148" y="44"/>
                </a:cxn>
                <a:cxn ang="0">
                  <a:pos x="136" y="38"/>
                </a:cxn>
                <a:cxn ang="0">
                  <a:pos x="134" y="34"/>
                </a:cxn>
                <a:cxn ang="0">
                  <a:pos x="124" y="32"/>
                </a:cxn>
                <a:cxn ang="0">
                  <a:pos x="126" y="16"/>
                </a:cxn>
                <a:cxn ang="0">
                  <a:pos x="114" y="2"/>
                </a:cxn>
                <a:cxn ang="0">
                  <a:pos x="110" y="0"/>
                </a:cxn>
              </a:cxnLst>
              <a:rect l="0" t="0" r="r" b="b"/>
              <a:pathLst>
                <a:path w="178" h="120">
                  <a:moveTo>
                    <a:pt x="110" y="0"/>
                  </a:moveTo>
                  <a:lnTo>
                    <a:pt x="106" y="2"/>
                  </a:lnTo>
                  <a:lnTo>
                    <a:pt x="100" y="6"/>
                  </a:lnTo>
                  <a:lnTo>
                    <a:pt x="98" y="10"/>
                  </a:lnTo>
                  <a:lnTo>
                    <a:pt x="96" y="12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0" y="18"/>
                  </a:lnTo>
                  <a:lnTo>
                    <a:pt x="82" y="24"/>
                  </a:lnTo>
                  <a:lnTo>
                    <a:pt x="76" y="26"/>
                  </a:lnTo>
                  <a:lnTo>
                    <a:pt x="70" y="28"/>
                  </a:lnTo>
                  <a:lnTo>
                    <a:pt x="64" y="28"/>
                  </a:lnTo>
                  <a:lnTo>
                    <a:pt x="60" y="30"/>
                  </a:lnTo>
                  <a:lnTo>
                    <a:pt x="64" y="34"/>
                  </a:lnTo>
                  <a:lnTo>
                    <a:pt x="58" y="38"/>
                  </a:lnTo>
                  <a:lnTo>
                    <a:pt x="56" y="40"/>
                  </a:lnTo>
                  <a:lnTo>
                    <a:pt x="44" y="42"/>
                  </a:lnTo>
                  <a:lnTo>
                    <a:pt x="38" y="44"/>
                  </a:lnTo>
                  <a:lnTo>
                    <a:pt x="32" y="48"/>
                  </a:lnTo>
                  <a:lnTo>
                    <a:pt x="22" y="48"/>
                  </a:lnTo>
                  <a:lnTo>
                    <a:pt x="14" y="48"/>
                  </a:lnTo>
                  <a:lnTo>
                    <a:pt x="10" y="52"/>
                  </a:lnTo>
                  <a:lnTo>
                    <a:pt x="8" y="58"/>
                  </a:lnTo>
                  <a:lnTo>
                    <a:pt x="6" y="64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70"/>
                  </a:lnTo>
                  <a:lnTo>
                    <a:pt x="2" y="78"/>
                  </a:lnTo>
                  <a:lnTo>
                    <a:pt x="4" y="80"/>
                  </a:lnTo>
                  <a:lnTo>
                    <a:pt x="4" y="86"/>
                  </a:lnTo>
                  <a:lnTo>
                    <a:pt x="6" y="88"/>
                  </a:lnTo>
                  <a:lnTo>
                    <a:pt x="8" y="90"/>
                  </a:lnTo>
                  <a:lnTo>
                    <a:pt x="8" y="96"/>
                  </a:lnTo>
                  <a:lnTo>
                    <a:pt x="12" y="102"/>
                  </a:lnTo>
                  <a:lnTo>
                    <a:pt x="18" y="106"/>
                  </a:lnTo>
                  <a:lnTo>
                    <a:pt x="20" y="108"/>
                  </a:lnTo>
                  <a:lnTo>
                    <a:pt x="24" y="114"/>
                  </a:lnTo>
                  <a:lnTo>
                    <a:pt x="24" y="120"/>
                  </a:lnTo>
                  <a:lnTo>
                    <a:pt x="28" y="114"/>
                  </a:lnTo>
                  <a:lnTo>
                    <a:pt x="28" y="110"/>
                  </a:lnTo>
                  <a:lnTo>
                    <a:pt x="32" y="102"/>
                  </a:lnTo>
                  <a:lnTo>
                    <a:pt x="40" y="100"/>
                  </a:lnTo>
                  <a:lnTo>
                    <a:pt x="46" y="100"/>
                  </a:lnTo>
                  <a:lnTo>
                    <a:pt x="52" y="102"/>
                  </a:lnTo>
                  <a:lnTo>
                    <a:pt x="56" y="100"/>
                  </a:lnTo>
                  <a:lnTo>
                    <a:pt x="56" y="102"/>
                  </a:lnTo>
                  <a:lnTo>
                    <a:pt x="56" y="100"/>
                  </a:lnTo>
                  <a:lnTo>
                    <a:pt x="56" y="94"/>
                  </a:lnTo>
                  <a:lnTo>
                    <a:pt x="58" y="90"/>
                  </a:lnTo>
                  <a:lnTo>
                    <a:pt x="66" y="82"/>
                  </a:lnTo>
                  <a:lnTo>
                    <a:pt x="72" y="80"/>
                  </a:lnTo>
                  <a:lnTo>
                    <a:pt x="76" y="82"/>
                  </a:lnTo>
                  <a:lnTo>
                    <a:pt x="82" y="86"/>
                  </a:lnTo>
                  <a:lnTo>
                    <a:pt x="82" y="88"/>
                  </a:lnTo>
                  <a:lnTo>
                    <a:pt x="86" y="90"/>
                  </a:lnTo>
                  <a:lnTo>
                    <a:pt x="104" y="92"/>
                  </a:lnTo>
                  <a:lnTo>
                    <a:pt x="106" y="94"/>
                  </a:lnTo>
                  <a:lnTo>
                    <a:pt x="108" y="94"/>
                  </a:lnTo>
                  <a:lnTo>
                    <a:pt x="110" y="94"/>
                  </a:lnTo>
                  <a:lnTo>
                    <a:pt x="112" y="88"/>
                  </a:lnTo>
                  <a:lnTo>
                    <a:pt x="116" y="84"/>
                  </a:lnTo>
                  <a:lnTo>
                    <a:pt x="120" y="86"/>
                  </a:lnTo>
                  <a:lnTo>
                    <a:pt x="124" y="86"/>
                  </a:lnTo>
                  <a:lnTo>
                    <a:pt x="128" y="84"/>
                  </a:lnTo>
                  <a:lnTo>
                    <a:pt x="136" y="80"/>
                  </a:lnTo>
                  <a:lnTo>
                    <a:pt x="140" y="84"/>
                  </a:lnTo>
                  <a:lnTo>
                    <a:pt x="142" y="84"/>
                  </a:lnTo>
                  <a:lnTo>
                    <a:pt x="148" y="82"/>
                  </a:lnTo>
                  <a:lnTo>
                    <a:pt x="148" y="78"/>
                  </a:lnTo>
                  <a:lnTo>
                    <a:pt x="154" y="78"/>
                  </a:lnTo>
                  <a:lnTo>
                    <a:pt x="168" y="82"/>
                  </a:lnTo>
                  <a:lnTo>
                    <a:pt x="172" y="80"/>
                  </a:lnTo>
                  <a:lnTo>
                    <a:pt x="178" y="82"/>
                  </a:lnTo>
                  <a:lnTo>
                    <a:pt x="174" y="74"/>
                  </a:lnTo>
                  <a:lnTo>
                    <a:pt x="170" y="70"/>
                  </a:lnTo>
                  <a:lnTo>
                    <a:pt x="164" y="66"/>
                  </a:lnTo>
                  <a:lnTo>
                    <a:pt x="162" y="62"/>
                  </a:lnTo>
                  <a:lnTo>
                    <a:pt x="160" y="56"/>
                  </a:lnTo>
                  <a:lnTo>
                    <a:pt x="154" y="52"/>
                  </a:lnTo>
                  <a:lnTo>
                    <a:pt x="148" y="50"/>
                  </a:lnTo>
                  <a:lnTo>
                    <a:pt x="146" y="48"/>
                  </a:lnTo>
                  <a:lnTo>
                    <a:pt x="148" y="44"/>
                  </a:lnTo>
                  <a:lnTo>
                    <a:pt x="142" y="40"/>
                  </a:lnTo>
                  <a:lnTo>
                    <a:pt x="136" y="38"/>
                  </a:lnTo>
                  <a:lnTo>
                    <a:pt x="136" y="38"/>
                  </a:lnTo>
                  <a:lnTo>
                    <a:pt x="134" y="34"/>
                  </a:lnTo>
                  <a:lnTo>
                    <a:pt x="132" y="32"/>
                  </a:lnTo>
                  <a:lnTo>
                    <a:pt x="124" y="32"/>
                  </a:lnTo>
                  <a:lnTo>
                    <a:pt x="126" y="24"/>
                  </a:lnTo>
                  <a:lnTo>
                    <a:pt x="126" y="16"/>
                  </a:lnTo>
                  <a:lnTo>
                    <a:pt x="120" y="8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1" name="Freeform 848">
              <a:extLst>
                <a:ext uri="{FF2B5EF4-FFF2-40B4-BE49-F238E27FC236}">
                  <a16:creationId xmlns:a16="http://schemas.microsoft.com/office/drawing/2014/main" id="{78673A94-2C07-48F8-B31E-60060FEFC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1413" y="4351338"/>
              <a:ext cx="44450" cy="38100"/>
            </a:xfrm>
            <a:custGeom>
              <a:avLst/>
              <a:gdLst/>
              <a:ahLst/>
              <a:cxnLst>
                <a:cxn ang="0">
                  <a:pos x="10" y="4"/>
                </a:cxn>
                <a:cxn ang="0">
                  <a:pos x="6" y="8"/>
                </a:cxn>
                <a:cxn ang="0">
                  <a:pos x="4" y="12"/>
                </a:cxn>
                <a:cxn ang="0">
                  <a:pos x="4" y="16"/>
                </a:cxn>
                <a:cxn ang="0">
                  <a:pos x="2" y="16"/>
                </a:cxn>
                <a:cxn ang="0">
                  <a:pos x="2" y="18"/>
                </a:cxn>
                <a:cxn ang="0">
                  <a:pos x="0" y="20"/>
                </a:cxn>
                <a:cxn ang="0">
                  <a:pos x="2" y="22"/>
                </a:cxn>
                <a:cxn ang="0">
                  <a:pos x="10" y="24"/>
                </a:cxn>
                <a:cxn ang="0">
                  <a:pos x="16" y="18"/>
                </a:cxn>
                <a:cxn ang="0">
                  <a:pos x="20" y="18"/>
                </a:cxn>
                <a:cxn ang="0">
                  <a:pos x="24" y="18"/>
                </a:cxn>
                <a:cxn ang="0">
                  <a:pos x="26" y="18"/>
                </a:cxn>
                <a:cxn ang="0">
                  <a:pos x="28" y="14"/>
                </a:cxn>
                <a:cxn ang="0">
                  <a:pos x="24" y="4"/>
                </a:cxn>
                <a:cxn ang="0">
                  <a:pos x="22" y="0"/>
                </a:cxn>
                <a:cxn ang="0">
                  <a:pos x="16" y="4"/>
                </a:cxn>
                <a:cxn ang="0">
                  <a:pos x="10" y="4"/>
                </a:cxn>
              </a:cxnLst>
              <a:rect l="0" t="0" r="r" b="b"/>
              <a:pathLst>
                <a:path w="28" h="24">
                  <a:moveTo>
                    <a:pt x="10" y="4"/>
                  </a:moveTo>
                  <a:lnTo>
                    <a:pt x="6" y="8"/>
                  </a:lnTo>
                  <a:lnTo>
                    <a:pt x="4" y="12"/>
                  </a:lnTo>
                  <a:lnTo>
                    <a:pt x="4" y="16"/>
                  </a:lnTo>
                  <a:lnTo>
                    <a:pt x="2" y="16"/>
                  </a:lnTo>
                  <a:lnTo>
                    <a:pt x="2" y="18"/>
                  </a:lnTo>
                  <a:lnTo>
                    <a:pt x="0" y="20"/>
                  </a:lnTo>
                  <a:lnTo>
                    <a:pt x="2" y="22"/>
                  </a:lnTo>
                  <a:lnTo>
                    <a:pt x="10" y="24"/>
                  </a:lnTo>
                  <a:lnTo>
                    <a:pt x="16" y="18"/>
                  </a:lnTo>
                  <a:lnTo>
                    <a:pt x="20" y="18"/>
                  </a:lnTo>
                  <a:lnTo>
                    <a:pt x="24" y="18"/>
                  </a:lnTo>
                  <a:lnTo>
                    <a:pt x="26" y="18"/>
                  </a:lnTo>
                  <a:lnTo>
                    <a:pt x="28" y="14"/>
                  </a:lnTo>
                  <a:lnTo>
                    <a:pt x="24" y="4"/>
                  </a:lnTo>
                  <a:lnTo>
                    <a:pt x="22" y="0"/>
                  </a:lnTo>
                  <a:lnTo>
                    <a:pt x="16" y="4"/>
                  </a:lnTo>
                  <a:lnTo>
                    <a:pt x="10" y="4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2" name="Freeform 849">
              <a:extLst>
                <a:ext uri="{FF2B5EF4-FFF2-40B4-BE49-F238E27FC236}">
                  <a16:creationId xmlns:a16="http://schemas.microsoft.com/office/drawing/2014/main" id="{6EA97741-7D99-4920-8949-60BD3B8D8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4588" y="4379913"/>
              <a:ext cx="38100" cy="44450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8" y="6"/>
                </a:cxn>
                <a:cxn ang="0">
                  <a:pos x="0" y="4"/>
                </a:cxn>
                <a:cxn ang="0">
                  <a:pos x="2" y="12"/>
                </a:cxn>
                <a:cxn ang="0">
                  <a:pos x="6" y="28"/>
                </a:cxn>
                <a:cxn ang="0">
                  <a:pos x="10" y="28"/>
                </a:cxn>
                <a:cxn ang="0">
                  <a:pos x="20" y="18"/>
                </a:cxn>
                <a:cxn ang="0">
                  <a:pos x="20" y="16"/>
                </a:cxn>
                <a:cxn ang="0">
                  <a:pos x="22" y="14"/>
                </a:cxn>
                <a:cxn ang="0">
                  <a:pos x="24" y="12"/>
                </a:cxn>
                <a:cxn ang="0">
                  <a:pos x="24" y="8"/>
                </a:cxn>
                <a:cxn ang="0">
                  <a:pos x="20" y="8"/>
                </a:cxn>
                <a:cxn ang="0">
                  <a:pos x="20" y="4"/>
                </a:cxn>
                <a:cxn ang="0">
                  <a:pos x="22" y="0"/>
                </a:cxn>
                <a:cxn ang="0">
                  <a:pos x="18" y="0"/>
                </a:cxn>
                <a:cxn ang="0">
                  <a:pos x="14" y="0"/>
                </a:cxn>
              </a:cxnLst>
              <a:rect l="0" t="0" r="r" b="b"/>
              <a:pathLst>
                <a:path w="24" h="28">
                  <a:moveTo>
                    <a:pt x="14" y="0"/>
                  </a:moveTo>
                  <a:lnTo>
                    <a:pt x="8" y="6"/>
                  </a:lnTo>
                  <a:lnTo>
                    <a:pt x="0" y="4"/>
                  </a:lnTo>
                  <a:lnTo>
                    <a:pt x="2" y="12"/>
                  </a:lnTo>
                  <a:lnTo>
                    <a:pt x="6" y="28"/>
                  </a:lnTo>
                  <a:lnTo>
                    <a:pt x="10" y="28"/>
                  </a:lnTo>
                  <a:lnTo>
                    <a:pt x="20" y="18"/>
                  </a:lnTo>
                  <a:lnTo>
                    <a:pt x="20" y="16"/>
                  </a:lnTo>
                  <a:lnTo>
                    <a:pt x="22" y="14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3" name="Freeform 801">
              <a:extLst>
                <a:ext uri="{FF2B5EF4-FFF2-40B4-BE49-F238E27FC236}">
                  <a16:creationId xmlns:a16="http://schemas.microsoft.com/office/drawing/2014/main" id="{D5929B17-6BEC-4031-AA7D-AE188F95B9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9463" y="4424363"/>
              <a:ext cx="22225" cy="28575"/>
            </a:xfrm>
            <a:custGeom>
              <a:avLst/>
              <a:gdLst/>
              <a:ahLst/>
              <a:cxnLst>
                <a:cxn ang="0">
                  <a:pos x="6" y="14"/>
                </a:cxn>
                <a:cxn ang="0">
                  <a:pos x="6" y="8"/>
                </a:cxn>
                <a:cxn ang="0">
                  <a:pos x="10" y="4"/>
                </a:cxn>
                <a:cxn ang="0">
                  <a:pos x="14" y="2"/>
                </a:cxn>
                <a:cxn ang="0">
                  <a:pos x="10" y="0"/>
                </a:cxn>
                <a:cxn ang="0">
                  <a:pos x="6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10"/>
                </a:cxn>
                <a:cxn ang="0">
                  <a:pos x="2" y="18"/>
                </a:cxn>
                <a:cxn ang="0">
                  <a:pos x="6" y="18"/>
                </a:cxn>
                <a:cxn ang="0">
                  <a:pos x="6" y="14"/>
                </a:cxn>
              </a:cxnLst>
              <a:rect l="0" t="0" r="r" b="b"/>
              <a:pathLst>
                <a:path w="14" h="18">
                  <a:moveTo>
                    <a:pt x="6" y="14"/>
                  </a:moveTo>
                  <a:lnTo>
                    <a:pt x="6" y="8"/>
                  </a:lnTo>
                  <a:lnTo>
                    <a:pt x="10" y="4"/>
                  </a:lnTo>
                  <a:lnTo>
                    <a:pt x="14" y="2"/>
                  </a:lnTo>
                  <a:lnTo>
                    <a:pt x="10" y="0"/>
                  </a:lnTo>
                  <a:lnTo>
                    <a:pt x="6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2" y="18"/>
                  </a:lnTo>
                  <a:lnTo>
                    <a:pt x="6" y="18"/>
                  </a:lnTo>
                  <a:lnTo>
                    <a:pt x="6" y="14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4" name="Freeform 802">
              <a:extLst>
                <a:ext uri="{FF2B5EF4-FFF2-40B4-BE49-F238E27FC236}">
                  <a16:creationId xmlns:a16="http://schemas.microsoft.com/office/drawing/2014/main" id="{BA3ED859-7956-4808-BC99-C3255BFD8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0413" y="4249738"/>
              <a:ext cx="158750" cy="187325"/>
            </a:xfrm>
            <a:custGeom>
              <a:avLst/>
              <a:gdLst/>
              <a:ahLst/>
              <a:cxnLst>
                <a:cxn ang="0">
                  <a:pos x="22" y="110"/>
                </a:cxn>
                <a:cxn ang="0">
                  <a:pos x="30" y="116"/>
                </a:cxn>
                <a:cxn ang="0">
                  <a:pos x="42" y="108"/>
                </a:cxn>
                <a:cxn ang="0">
                  <a:pos x="44" y="110"/>
                </a:cxn>
                <a:cxn ang="0">
                  <a:pos x="44" y="114"/>
                </a:cxn>
                <a:cxn ang="0">
                  <a:pos x="50" y="114"/>
                </a:cxn>
                <a:cxn ang="0">
                  <a:pos x="58" y="106"/>
                </a:cxn>
                <a:cxn ang="0">
                  <a:pos x="68" y="92"/>
                </a:cxn>
                <a:cxn ang="0">
                  <a:pos x="68" y="90"/>
                </a:cxn>
                <a:cxn ang="0">
                  <a:pos x="68" y="80"/>
                </a:cxn>
                <a:cxn ang="0">
                  <a:pos x="74" y="72"/>
                </a:cxn>
                <a:cxn ang="0">
                  <a:pos x="80" y="64"/>
                </a:cxn>
                <a:cxn ang="0">
                  <a:pos x="88" y="58"/>
                </a:cxn>
                <a:cxn ang="0">
                  <a:pos x="90" y="54"/>
                </a:cxn>
                <a:cxn ang="0">
                  <a:pos x="92" y="44"/>
                </a:cxn>
                <a:cxn ang="0">
                  <a:pos x="94" y="22"/>
                </a:cxn>
                <a:cxn ang="0">
                  <a:pos x="98" y="14"/>
                </a:cxn>
                <a:cxn ang="0">
                  <a:pos x="100" y="8"/>
                </a:cxn>
                <a:cxn ang="0">
                  <a:pos x="100" y="0"/>
                </a:cxn>
                <a:cxn ang="0">
                  <a:pos x="90" y="0"/>
                </a:cxn>
                <a:cxn ang="0">
                  <a:pos x="76" y="2"/>
                </a:cxn>
                <a:cxn ang="0">
                  <a:pos x="72" y="14"/>
                </a:cxn>
                <a:cxn ang="0">
                  <a:pos x="66" y="24"/>
                </a:cxn>
                <a:cxn ang="0">
                  <a:pos x="54" y="22"/>
                </a:cxn>
                <a:cxn ang="0">
                  <a:pos x="28" y="20"/>
                </a:cxn>
                <a:cxn ang="0">
                  <a:pos x="28" y="30"/>
                </a:cxn>
                <a:cxn ang="0">
                  <a:pos x="34" y="32"/>
                </a:cxn>
                <a:cxn ang="0">
                  <a:pos x="42" y="30"/>
                </a:cxn>
                <a:cxn ang="0">
                  <a:pos x="44" y="40"/>
                </a:cxn>
                <a:cxn ang="0">
                  <a:pos x="40" y="42"/>
                </a:cxn>
                <a:cxn ang="0">
                  <a:pos x="38" y="52"/>
                </a:cxn>
                <a:cxn ang="0">
                  <a:pos x="46" y="58"/>
                </a:cxn>
                <a:cxn ang="0">
                  <a:pos x="44" y="72"/>
                </a:cxn>
                <a:cxn ang="0">
                  <a:pos x="42" y="78"/>
                </a:cxn>
                <a:cxn ang="0">
                  <a:pos x="40" y="82"/>
                </a:cxn>
                <a:cxn ang="0">
                  <a:pos x="38" y="84"/>
                </a:cxn>
                <a:cxn ang="0">
                  <a:pos x="36" y="82"/>
                </a:cxn>
                <a:cxn ang="0">
                  <a:pos x="36" y="82"/>
                </a:cxn>
                <a:cxn ang="0">
                  <a:pos x="32" y="82"/>
                </a:cxn>
                <a:cxn ang="0">
                  <a:pos x="22" y="76"/>
                </a:cxn>
                <a:cxn ang="0">
                  <a:pos x="16" y="76"/>
                </a:cxn>
                <a:cxn ang="0">
                  <a:pos x="18" y="82"/>
                </a:cxn>
                <a:cxn ang="0">
                  <a:pos x="6" y="82"/>
                </a:cxn>
                <a:cxn ang="0">
                  <a:pos x="8" y="90"/>
                </a:cxn>
                <a:cxn ang="0">
                  <a:pos x="10" y="94"/>
                </a:cxn>
                <a:cxn ang="0">
                  <a:pos x="4" y="98"/>
                </a:cxn>
                <a:cxn ang="0">
                  <a:pos x="0" y="104"/>
                </a:cxn>
                <a:cxn ang="0">
                  <a:pos x="12" y="118"/>
                </a:cxn>
                <a:cxn ang="0">
                  <a:pos x="18" y="112"/>
                </a:cxn>
              </a:cxnLst>
              <a:rect l="0" t="0" r="r" b="b"/>
              <a:pathLst>
                <a:path w="100" h="118">
                  <a:moveTo>
                    <a:pt x="18" y="112"/>
                  </a:moveTo>
                  <a:lnTo>
                    <a:pt x="22" y="110"/>
                  </a:lnTo>
                  <a:lnTo>
                    <a:pt x="26" y="112"/>
                  </a:lnTo>
                  <a:lnTo>
                    <a:pt x="30" y="116"/>
                  </a:lnTo>
                  <a:lnTo>
                    <a:pt x="34" y="110"/>
                  </a:lnTo>
                  <a:lnTo>
                    <a:pt x="42" y="108"/>
                  </a:lnTo>
                  <a:lnTo>
                    <a:pt x="44" y="108"/>
                  </a:lnTo>
                  <a:lnTo>
                    <a:pt x="44" y="110"/>
                  </a:lnTo>
                  <a:lnTo>
                    <a:pt x="44" y="110"/>
                  </a:lnTo>
                  <a:lnTo>
                    <a:pt x="44" y="114"/>
                  </a:lnTo>
                  <a:lnTo>
                    <a:pt x="44" y="116"/>
                  </a:lnTo>
                  <a:lnTo>
                    <a:pt x="50" y="114"/>
                  </a:lnTo>
                  <a:lnTo>
                    <a:pt x="56" y="108"/>
                  </a:lnTo>
                  <a:lnTo>
                    <a:pt x="58" y="106"/>
                  </a:lnTo>
                  <a:lnTo>
                    <a:pt x="64" y="10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0"/>
                  </a:lnTo>
                  <a:lnTo>
                    <a:pt x="68" y="82"/>
                  </a:lnTo>
                  <a:lnTo>
                    <a:pt x="68" y="80"/>
                  </a:lnTo>
                  <a:lnTo>
                    <a:pt x="72" y="76"/>
                  </a:lnTo>
                  <a:lnTo>
                    <a:pt x="74" y="72"/>
                  </a:lnTo>
                  <a:lnTo>
                    <a:pt x="76" y="66"/>
                  </a:lnTo>
                  <a:lnTo>
                    <a:pt x="80" y="64"/>
                  </a:lnTo>
                  <a:lnTo>
                    <a:pt x="82" y="64"/>
                  </a:lnTo>
                  <a:lnTo>
                    <a:pt x="88" y="58"/>
                  </a:lnTo>
                  <a:lnTo>
                    <a:pt x="88" y="58"/>
                  </a:lnTo>
                  <a:lnTo>
                    <a:pt x="90" y="5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4" y="30"/>
                  </a:lnTo>
                  <a:lnTo>
                    <a:pt x="94" y="22"/>
                  </a:lnTo>
                  <a:lnTo>
                    <a:pt x="96" y="18"/>
                  </a:lnTo>
                  <a:lnTo>
                    <a:pt x="98" y="14"/>
                  </a:lnTo>
                  <a:lnTo>
                    <a:pt x="98" y="12"/>
                  </a:lnTo>
                  <a:lnTo>
                    <a:pt x="100" y="8"/>
                  </a:lnTo>
                  <a:lnTo>
                    <a:pt x="100" y="2"/>
                  </a:lnTo>
                  <a:lnTo>
                    <a:pt x="100" y="0"/>
                  </a:lnTo>
                  <a:lnTo>
                    <a:pt x="96" y="2"/>
                  </a:lnTo>
                  <a:lnTo>
                    <a:pt x="90" y="0"/>
                  </a:lnTo>
                  <a:lnTo>
                    <a:pt x="84" y="0"/>
                  </a:lnTo>
                  <a:lnTo>
                    <a:pt x="76" y="2"/>
                  </a:lnTo>
                  <a:lnTo>
                    <a:pt x="72" y="10"/>
                  </a:lnTo>
                  <a:lnTo>
                    <a:pt x="72" y="14"/>
                  </a:lnTo>
                  <a:lnTo>
                    <a:pt x="68" y="20"/>
                  </a:lnTo>
                  <a:lnTo>
                    <a:pt x="66" y="24"/>
                  </a:lnTo>
                  <a:lnTo>
                    <a:pt x="66" y="28"/>
                  </a:lnTo>
                  <a:lnTo>
                    <a:pt x="54" y="22"/>
                  </a:lnTo>
                  <a:lnTo>
                    <a:pt x="46" y="20"/>
                  </a:lnTo>
                  <a:lnTo>
                    <a:pt x="28" y="20"/>
                  </a:lnTo>
                  <a:lnTo>
                    <a:pt x="26" y="28"/>
                  </a:lnTo>
                  <a:lnTo>
                    <a:pt x="28" y="30"/>
                  </a:lnTo>
                  <a:lnTo>
                    <a:pt x="28" y="34"/>
                  </a:lnTo>
                  <a:lnTo>
                    <a:pt x="34" y="32"/>
                  </a:lnTo>
                  <a:lnTo>
                    <a:pt x="42" y="32"/>
                  </a:lnTo>
                  <a:lnTo>
                    <a:pt x="42" y="30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36" y="46"/>
                  </a:lnTo>
                  <a:lnTo>
                    <a:pt x="38" y="52"/>
                  </a:lnTo>
                  <a:lnTo>
                    <a:pt x="44" y="56"/>
                  </a:lnTo>
                  <a:lnTo>
                    <a:pt x="46" y="58"/>
                  </a:lnTo>
                  <a:lnTo>
                    <a:pt x="44" y="64"/>
                  </a:lnTo>
                  <a:lnTo>
                    <a:pt x="44" y="72"/>
                  </a:lnTo>
                  <a:lnTo>
                    <a:pt x="44" y="76"/>
                  </a:lnTo>
                  <a:lnTo>
                    <a:pt x="42" y="78"/>
                  </a:lnTo>
                  <a:lnTo>
                    <a:pt x="42" y="82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38" y="84"/>
                  </a:lnTo>
                  <a:lnTo>
                    <a:pt x="38" y="84"/>
                  </a:lnTo>
                  <a:lnTo>
                    <a:pt x="36" y="82"/>
                  </a:lnTo>
                  <a:lnTo>
                    <a:pt x="38" y="82"/>
                  </a:lnTo>
                  <a:lnTo>
                    <a:pt x="36" y="82"/>
                  </a:lnTo>
                  <a:lnTo>
                    <a:pt x="34" y="80"/>
                  </a:lnTo>
                  <a:lnTo>
                    <a:pt x="32" y="82"/>
                  </a:lnTo>
                  <a:lnTo>
                    <a:pt x="24" y="82"/>
                  </a:lnTo>
                  <a:lnTo>
                    <a:pt x="22" y="76"/>
                  </a:lnTo>
                  <a:lnTo>
                    <a:pt x="18" y="74"/>
                  </a:lnTo>
                  <a:lnTo>
                    <a:pt x="16" y="76"/>
                  </a:lnTo>
                  <a:lnTo>
                    <a:pt x="18" y="78"/>
                  </a:lnTo>
                  <a:lnTo>
                    <a:pt x="18" y="82"/>
                  </a:lnTo>
                  <a:lnTo>
                    <a:pt x="10" y="82"/>
                  </a:lnTo>
                  <a:lnTo>
                    <a:pt x="6" y="82"/>
                  </a:lnTo>
                  <a:lnTo>
                    <a:pt x="6" y="86"/>
                  </a:lnTo>
                  <a:lnTo>
                    <a:pt x="8" y="90"/>
                  </a:lnTo>
                  <a:lnTo>
                    <a:pt x="6" y="92"/>
                  </a:lnTo>
                  <a:lnTo>
                    <a:pt x="10" y="94"/>
                  </a:lnTo>
                  <a:lnTo>
                    <a:pt x="10" y="98"/>
                  </a:lnTo>
                  <a:lnTo>
                    <a:pt x="4" y="9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12" y="118"/>
                  </a:lnTo>
                  <a:lnTo>
                    <a:pt x="12" y="118"/>
                  </a:lnTo>
                  <a:lnTo>
                    <a:pt x="18" y="112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5" name="Freeform 803">
              <a:extLst>
                <a:ext uri="{FF2B5EF4-FFF2-40B4-BE49-F238E27FC236}">
                  <a16:creationId xmlns:a16="http://schemas.microsoft.com/office/drawing/2014/main" id="{6E172870-A997-4056-8EEC-C380577460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4375" y="4278313"/>
              <a:ext cx="119063" cy="136525"/>
            </a:xfrm>
            <a:custGeom>
              <a:avLst/>
              <a:gdLst/>
              <a:ahLst/>
              <a:cxnLst>
                <a:cxn ang="0">
                  <a:pos x="39" y="76"/>
                </a:cxn>
                <a:cxn ang="0">
                  <a:pos x="37" y="72"/>
                </a:cxn>
                <a:cxn ang="0">
                  <a:pos x="35" y="64"/>
                </a:cxn>
                <a:cxn ang="0">
                  <a:pos x="47" y="64"/>
                </a:cxn>
                <a:cxn ang="0">
                  <a:pos x="45" y="58"/>
                </a:cxn>
                <a:cxn ang="0">
                  <a:pos x="51" y="58"/>
                </a:cxn>
                <a:cxn ang="0">
                  <a:pos x="61" y="64"/>
                </a:cxn>
                <a:cxn ang="0">
                  <a:pos x="65" y="64"/>
                </a:cxn>
                <a:cxn ang="0">
                  <a:pos x="65" y="64"/>
                </a:cxn>
                <a:cxn ang="0">
                  <a:pos x="67" y="66"/>
                </a:cxn>
                <a:cxn ang="0">
                  <a:pos x="69" y="64"/>
                </a:cxn>
                <a:cxn ang="0">
                  <a:pos x="71" y="60"/>
                </a:cxn>
                <a:cxn ang="0">
                  <a:pos x="73" y="54"/>
                </a:cxn>
                <a:cxn ang="0">
                  <a:pos x="75" y="40"/>
                </a:cxn>
                <a:cxn ang="0">
                  <a:pos x="67" y="34"/>
                </a:cxn>
                <a:cxn ang="0">
                  <a:pos x="69" y="24"/>
                </a:cxn>
                <a:cxn ang="0">
                  <a:pos x="73" y="22"/>
                </a:cxn>
                <a:cxn ang="0">
                  <a:pos x="71" y="12"/>
                </a:cxn>
                <a:cxn ang="0">
                  <a:pos x="63" y="14"/>
                </a:cxn>
                <a:cxn ang="0">
                  <a:pos x="57" y="12"/>
                </a:cxn>
                <a:cxn ang="0">
                  <a:pos x="57" y="2"/>
                </a:cxn>
                <a:cxn ang="0">
                  <a:pos x="47" y="0"/>
                </a:cxn>
                <a:cxn ang="0">
                  <a:pos x="39" y="0"/>
                </a:cxn>
                <a:cxn ang="0">
                  <a:pos x="31" y="2"/>
                </a:cxn>
                <a:cxn ang="0">
                  <a:pos x="12" y="18"/>
                </a:cxn>
                <a:cxn ang="0">
                  <a:pos x="4" y="24"/>
                </a:cxn>
                <a:cxn ang="0">
                  <a:pos x="6" y="30"/>
                </a:cxn>
                <a:cxn ang="0">
                  <a:pos x="2" y="40"/>
                </a:cxn>
                <a:cxn ang="0">
                  <a:pos x="0" y="44"/>
                </a:cxn>
                <a:cxn ang="0">
                  <a:pos x="8" y="64"/>
                </a:cxn>
                <a:cxn ang="0">
                  <a:pos x="16" y="70"/>
                </a:cxn>
                <a:cxn ang="0">
                  <a:pos x="22" y="78"/>
                </a:cxn>
                <a:cxn ang="0">
                  <a:pos x="33" y="80"/>
                </a:cxn>
              </a:cxnLst>
              <a:rect l="0" t="0" r="r" b="b"/>
              <a:pathLst>
                <a:path w="75" h="86">
                  <a:moveTo>
                    <a:pt x="39" y="80"/>
                  </a:moveTo>
                  <a:lnTo>
                    <a:pt x="39" y="76"/>
                  </a:lnTo>
                  <a:lnTo>
                    <a:pt x="35" y="74"/>
                  </a:lnTo>
                  <a:lnTo>
                    <a:pt x="37" y="72"/>
                  </a:lnTo>
                  <a:lnTo>
                    <a:pt x="35" y="68"/>
                  </a:lnTo>
                  <a:lnTo>
                    <a:pt x="35" y="64"/>
                  </a:lnTo>
                  <a:lnTo>
                    <a:pt x="39" y="64"/>
                  </a:lnTo>
                  <a:lnTo>
                    <a:pt x="47" y="64"/>
                  </a:lnTo>
                  <a:lnTo>
                    <a:pt x="47" y="60"/>
                  </a:lnTo>
                  <a:lnTo>
                    <a:pt x="45" y="58"/>
                  </a:lnTo>
                  <a:lnTo>
                    <a:pt x="47" y="56"/>
                  </a:lnTo>
                  <a:lnTo>
                    <a:pt x="51" y="58"/>
                  </a:lnTo>
                  <a:lnTo>
                    <a:pt x="53" y="64"/>
                  </a:lnTo>
                  <a:lnTo>
                    <a:pt x="61" y="64"/>
                  </a:lnTo>
                  <a:lnTo>
                    <a:pt x="63" y="62"/>
                  </a:lnTo>
                  <a:lnTo>
                    <a:pt x="65" y="64"/>
                  </a:lnTo>
                  <a:lnTo>
                    <a:pt x="67" y="64"/>
                  </a:lnTo>
                  <a:lnTo>
                    <a:pt x="65" y="64"/>
                  </a:lnTo>
                  <a:lnTo>
                    <a:pt x="67" y="66"/>
                  </a:lnTo>
                  <a:lnTo>
                    <a:pt x="67" y="66"/>
                  </a:lnTo>
                  <a:lnTo>
                    <a:pt x="69" y="66"/>
                  </a:lnTo>
                  <a:lnTo>
                    <a:pt x="69" y="64"/>
                  </a:lnTo>
                  <a:lnTo>
                    <a:pt x="71" y="64"/>
                  </a:lnTo>
                  <a:lnTo>
                    <a:pt x="71" y="60"/>
                  </a:lnTo>
                  <a:lnTo>
                    <a:pt x="73" y="58"/>
                  </a:lnTo>
                  <a:lnTo>
                    <a:pt x="73" y="54"/>
                  </a:lnTo>
                  <a:lnTo>
                    <a:pt x="73" y="46"/>
                  </a:lnTo>
                  <a:lnTo>
                    <a:pt x="75" y="40"/>
                  </a:lnTo>
                  <a:lnTo>
                    <a:pt x="73" y="38"/>
                  </a:lnTo>
                  <a:lnTo>
                    <a:pt x="67" y="34"/>
                  </a:lnTo>
                  <a:lnTo>
                    <a:pt x="65" y="28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73" y="22"/>
                  </a:lnTo>
                  <a:lnTo>
                    <a:pt x="73" y="18"/>
                  </a:lnTo>
                  <a:lnTo>
                    <a:pt x="71" y="12"/>
                  </a:lnTo>
                  <a:lnTo>
                    <a:pt x="71" y="14"/>
                  </a:lnTo>
                  <a:lnTo>
                    <a:pt x="63" y="14"/>
                  </a:lnTo>
                  <a:lnTo>
                    <a:pt x="57" y="16"/>
                  </a:lnTo>
                  <a:lnTo>
                    <a:pt x="57" y="12"/>
                  </a:lnTo>
                  <a:lnTo>
                    <a:pt x="55" y="10"/>
                  </a:lnTo>
                  <a:lnTo>
                    <a:pt x="57" y="2"/>
                  </a:lnTo>
                  <a:lnTo>
                    <a:pt x="51" y="2"/>
                  </a:lnTo>
                  <a:lnTo>
                    <a:pt x="47" y="0"/>
                  </a:lnTo>
                  <a:lnTo>
                    <a:pt x="45" y="0"/>
                  </a:lnTo>
                  <a:lnTo>
                    <a:pt x="39" y="0"/>
                  </a:lnTo>
                  <a:lnTo>
                    <a:pt x="31" y="0"/>
                  </a:lnTo>
                  <a:lnTo>
                    <a:pt x="31" y="2"/>
                  </a:lnTo>
                  <a:lnTo>
                    <a:pt x="31" y="18"/>
                  </a:lnTo>
                  <a:lnTo>
                    <a:pt x="12" y="18"/>
                  </a:lnTo>
                  <a:lnTo>
                    <a:pt x="6" y="20"/>
                  </a:lnTo>
                  <a:lnTo>
                    <a:pt x="4" y="24"/>
                  </a:lnTo>
                  <a:lnTo>
                    <a:pt x="6" y="26"/>
                  </a:lnTo>
                  <a:lnTo>
                    <a:pt x="6" y="30"/>
                  </a:lnTo>
                  <a:lnTo>
                    <a:pt x="4" y="36"/>
                  </a:lnTo>
                  <a:lnTo>
                    <a:pt x="2" y="40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8"/>
                  </a:lnTo>
                  <a:lnTo>
                    <a:pt x="8" y="64"/>
                  </a:lnTo>
                  <a:lnTo>
                    <a:pt x="10" y="64"/>
                  </a:lnTo>
                  <a:lnTo>
                    <a:pt x="16" y="70"/>
                  </a:lnTo>
                  <a:lnTo>
                    <a:pt x="18" y="72"/>
                  </a:lnTo>
                  <a:lnTo>
                    <a:pt x="22" y="78"/>
                  </a:lnTo>
                  <a:lnTo>
                    <a:pt x="29" y="86"/>
                  </a:lnTo>
                  <a:lnTo>
                    <a:pt x="33" y="80"/>
                  </a:lnTo>
                  <a:lnTo>
                    <a:pt x="39" y="8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6" name="Freeform 501">
              <a:extLst>
                <a:ext uri="{FF2B5EF4-FFF2-40B4-BE49-F238E27FC236}">
                  <a16:creationId xmlns:a16="http://schemas.microsoft.com/office/drawing/2014/main" id="{7E9C3E1A-E770-47A0-873E-3900C3702C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9663" y="1111249"/>
              <a:ext cx="3514725" cy="2243138"/>
            </a:xfrm>
            <a:custGeom>
              <a:avLst/>
              <a:gdLst/>
              <a:ahLst/>
              <a:cxnLst/>
              <a:rect l="l" t="t" r="r" b="b"/>
              <a:pathLst>
                <a:path w="3514725" h="2243138">
                  <a:moveTo>
                    <a:pt x="2565400" y="2149476"/>
                  </a:moveTo>
                  <a:lnTo>
                    <a:pt x="2571750" y="2152651"/>
                  </a:lnTo>
                  <a:lnTo>
                    <a:pt x="2565400" y="2155826"/>
                  </a:lnTo>
                  <a:lnTo>
                    <a:pt x="2555875" y="2165351"/>
                  </a:lnTo>
                  <a:lnTo>
                    <a:pt x="2552700" y="2171701"/>
                  </a:lnTo>
                  <a:lnTo>
                    <a:pt x="2549525" y="2174876"/>
                  </a:lnTo>
                  <a:lnTo>
                    <a:pt x="2549525" y="2168526"/>
                  </a:lnTo>
                  <a:lnTo>
                    <a:pt x="2559050" y="2155826"/>
                  </a:lnTo>
                  <a:close/>
                  <a:moveTo>
                    <a:pt x="2778125" y="1949451"/>
                  </a:moveTo>
                  <a:lnTo>
                    <a:pt x="2781300" y="1958976"/>
                  </a:lnTo>
                  <a:lnTo>
                    <a:pt x="2774950" y="1968501"/>
                  </a:lnTo>
                  <a:lnTo>
                    <a:pt x="2759075" y="1974851"/>
                  </a:lnTo>
                  <a:lnTo>
                    <a:pt x="2759075" y="1965326"/>
                  </a:lnTo>
                  <a:lnTo>
                    <a:pt x="2765425" y="1958976"/>
                  </a:lnTo>
                  <a:lnTo>
                    <a:pt x="2774950" y="1952626"/>
                  </a:lnTo>
                  <a:close/>
                  <a:moveTo>
                    <a:pt x="3419475" y="1892301"/>
                  </a:moveTo>
                  <a:lnTo>
                    <a:pt x="3422650" y="1898651"/>
                  </a:lnTo>
                  <a:lnTo>
                    <a:pt x="3413125" y="1905001"/>
                  </a:lnTo>
                  <a:lnTo>
                    <a:pt x="3403600" y="1908176"/>
                  </a:lnTo>
                  <a:lnTo>
                    <a:pt x="3394075" y="1905001"/>
                  </a:lnTo>
                  <a:lnTo>
                    <a:pt x="3406775" y="1905001"/>
                  </a:lnTo>
                  <a:lnTo>
                    <a:pt x="3416300" y="1898651"/>
                  </a:lnTo>
                  <a:close/>
                  <a:moveTo>
                    <a:pt x="2489200" y="1819276"/>
                  </a:moveTo>
                  <a:lnTo>
                    <a:pt x="2495550" y="1825626"/>
                  </a:lnTo>
                  <a:lnTo>
                    <a:pt x="2495550" y="1831976"/>
                  </a:lnTo>
                  <a:lnTo>
                    <a:pt x="2495550" y="1841501"/>
                  </a:lnTo>
                  <a:lnTo>
                    <a:pt x="2501900" y="1870076"/>
                  </a:lnTo>
                  <a:lnTo>
                    <a:pt x="2498725" y="1895476"/>
                  </a:lnTo>
                  <a:lnTo>
                    <a:pt x="2498725" y="1911351"/>
                  </a:lnTo>
                  <a:lnTo>
                    <a:pt x="2501900" y="1920876"/>
                  </a:lnTo>
                  <a:lnTo>
                    <a:pt x="2511425" y="1949451"/>
                  </a:lnTo>
                  <a:lnTo>
                    <a:pt x="2524125" y="2006601"/>
                  </a:lnTo>
                  <a:lnTo>
                    <a:pt x="2514600" y="2000251"/>
                  </a:lnTo>
                  <a:lnTo>
                    <a:pt x="2501900" y="1997076"/>
                  </a:lnTo>
                  <a:lnTo>
                    <a:pt x="2495550" y="2006601"/>
                  </a:lnTo>
                  <a:lnTo>
                    <a:pt x="2489200" y="2032001"/>
                  </a:lnTo>
                  <a:lnTo>
                    <a:pt x="2486025" y="2047876"/>
                  </a:lnTo>
                  <a:lnTo>
                    <a:pt x="2489200" y="2057401"/>
                  </a:lnTo>
                  <a:lnTo>
                    <a:pt x="2498725" y="2076451"/>
                  </a:lnTo>
                  <a:lnTo>
                    <a:pt x="2508250" y="2089151"/>
                  </a:lnTo>
                  <a:lnTo>
                    <a:pt x="2508250" y="2092326"/>
                  </a:lnTo>
                  <a:lnTo>
                    <a:pt x="2505075" y="2098676"/>
                  </a:lnTo>
                  <a:lnTo>
                    <a:pt x="2505075" y="2089151"/>
                  </a:lnTo>
                  <a:lnTo>
                    <a:pt x="2495550" y="2085976"/>
                  </a:lnTo>
                  <a:lnTo>
                    <a:pt x="2486025" y="2082801"/>
                  </a:lnTo>
                  <a:lnTo>
                    <a:pt x="2479675" y="2098676"/>
                  </a:lnTo>
                  <a:lnTo>
                    <a:pt x="2476500" y="2105026"/>
                  </a:lnTo>
                  <a:lnTo>
                    <a:pt x="2473325" y="2105026"/>
                  </a:lnTo>
                  <a:lnTo>
                    <a:pt x="2470150" y="2089151"/>
                  </a:lnTo>
                  <a:lnTo>
                    <a:pt x="2473325" y="2070101"/>
                  </a:lnTo>
                  <a:lnTo>
                    <a:pt x="2473325" y="2051051"/>
                  </a:lnTo>
                  <a:lnTo>
                    <a:pt x="2479675" y="2038351"/>
                  </a:lnTo>
                  <a:lnTo>
                    <a:pt x="2473325" y="2025651"/>
                  </a:lnTo>
                  <a:lnTo>
                    <a:pt x="2470150" y="2016126"/>
                  </a:lnTo>
                  <a:lnTo>
                    <a:pt x="2473325" y="2012951"/>
                  </a:lnTo>
                  <a:lnTo>
                    <a:pt x="2476500" y="1990726"/>
                  </a:lnTo>
                  <a:lnTo>
                    <a:pt x="2479675" y="1971676"/>
                  </a:lnTo>
                  <a:lnTo>
                    <a:pt x="2479675" y="1946276"/>
                  </a:lnTo>
                  <a:lnTo>
                    <a:pt x="2479675" y="1933576"/>
                  </a:lnTo>
                  <a:lnTo>
                    <a:pt x="2473325" y="1924051"/>
                  </a:lnTo>
                  <a:lnTo>
                    <a:pt x="2470150" y="1917701"/>
                  </a:lnTo>
                  <a:lnTo>
                    <a:pt x="2466975" y="1908176"/>
                  </a:lnTo>
                  <a:lnTo>
                    <a:pt x="2466975" y="1898651"/>
                  </a:lnTo>
                  <a:lnTo>
                    <a:pt x="2470150" y="1889126"/>
                  </a:lnTo>
                  <a:lnTo>
                    <a:pt x="2473325" y="1876426"/>
                  </a:lnTo>
                  <a:lnTo>
                    <a:pt x="2473325" y="1870076"/>
                  </a:lnTo>
                  <a:lnTo>
                    <a:pt x="2470150" y="1860551"/>
                  </a:lnTo>
                  <a:lnTo>
                    <a:pt x="2479675" y="1854201"/>
                  </a:lnTo>
                  <a:lnTo>
                    <a:pt x="2486025" y="1857376"/>
                  </a:lnTo>
                  <a:lnTo>
                    <a:pt x="2492375" y="1844676"/>
                  </a:lnTo>
                  <a:lnTo>
                    <a:pt x="2486025" y="1835151"/>
                  </a:lnTo>
                  <a:lnTo>
                    <a:pt x="2482850" y="1828801"/>
                  </a:lnTo>
                  <a:lnTo>
                    <a:pt x="2486025" y="1825626"/>
                  </a:lnTo>
                  <a:close/>
                  <a:moveTo>
                    <a:pt x="2368550" y="1793876"/>
                  </a:moveTo>
                  <a:lnTo>
                    <a:pt x="2371725" y="1793876"/>
                  </a:lnTo>
                  <a:lnTo>
                    <a:pt x="2368550" y="1797051"/>
                  </a:lnTo>
                  <a:lnTo>
                    <a:pt x="2368550" y="1800226"/>
                  </a:lnTo>
                  <a:lnTo>
                    <a:pt x="2365375" y="1800226"/>
                  </a:lnTo>
                  <a:lnTo>
                    <a:pt x="2362200" y="1800226"/>
                  </a:lnTo>
                  <a:lnTo>
                    <a:pt x="2359025" y="1800226"/>
                  </a:lnTo>
                  <a:close/>
                  <a:moveTo>
                    <a:pt x="2378075" y="1790701"/>
                  </a:moveTo>
                  <a:lnTo>
                    <a:pt x="2384425" y="1793876"/>
                  </a:lnTo>
                  <a:lnTo>
                    <a:pt x="2390775" y="1797051"/>
                  </a:lnTo>
                  <a:lnTo>
                    <a:pt x="2381250" y="1812926"/>
                  </a:lnTo>
                  <a:lnTo>
                    <a:pt x="2378075" y="1803401"/>
                  </a:lnTo>
                  <a:lnTo>
                    <a:pt x="2371725" y="1806576"/>
                  </a:lnTo>
                  <a:close/>
                  <a:moveTo>
                    <a:pt x="2990850" y="1784351"/>
                  </a:moveTo>
                  <a:lnTo>
                    <a:pt x="2997200" y="1784351"/>
                  </a:lnTo>
                  <a:lnTo>
                    <a:pt x="3006725" y="1809751"/>
                  </a:lnTo>
                  <a:lnTo>
                    <a:pt x="2994025" y="1793876"/>
                  </a:lnTo>
                  <a:close/>
                  <a:moveTo>
                    <a:pt x="2959100" y="1631951"/>
                  </a:moveTo>
                  <a:lnTo>
                    <a:pt x="2962275" y="1631951"/>
                  </a:lnTo>
                  <a:lnTo>
                    <a:pt x="2962275" y="1644651"/>
                  </a:lnTo>
                  <a:lnTo>
                    <a:pt x="2955925" y="1647826"/>
                  </a:lnTo>
                  <a:lnTo>
                    <a:pt x="2936875" y="1657351"/>
                  </a:lnTo>
                  <a:lnTo>
                    <a:pt x="2949575" y="1638301"/>
                  </a:lnTo>
                  <a:close/>
                  <a:moveTo>
                    <a:pt x="476250" y="1114426"/>
                  </a:moveTo>
                  <a:lnTo>
                    <a:pt x="492125" y="1127126"/>
                  </a:lnTo>
                  <a:lnTo>
                    <a:pt x="495300" y="1133476"/>
                  </a:lnTo>
                  <a:lnTo>
                    <a:pt x="492125" y="1143001"/>
                  </a:lnTo>
                  <a:lnTo>
                    <a:pt x="476250" y="1152526"/>
                  </a:lnTo>
                  <a:lnTo>
                    <a:pt x="466725" y="1158876"/>
                  </a:lnTo>
                  <a:lnTo>
                    <a:pt x="457200" y="1158876"/>
                  </a:lnTo>
                  <a:lnTo>
                    <a:pt x="450850" y="1149351"/>
                  </a:lnTo>
                  <a:lnTo>
                    <a:pt x="450850" y="1136651"/>
                  </a:lnTo>
                  <a:lnTo>
                    <a:pt x="454025" y="1117601"/>
                  </a:lnTo>
                  <a:close/>
                  <a:moveTo>
                    <a:pt x="3038475" y="1079501"/>
                  </a:moveTo>
                  <a:lnTo>
                    <a:pt x="3048000" y="1082676"/>
                  </a:lnTo>
                  <a:lnTo>
                    <a:pt x="3060700" y="1085851"/>
                  </a:lnTo>
                  <a:lnTo>
                    <a:pt x="3067050" y="1095376"/>
                  </a:lnTo>
                  <a:lnTo>
                    <a:pt x="3060700" y="1108076"/>
                  </a:lnTo>
                  <a:lnTo>
                    <a:pt x="3051175" y="1104901"/>
                  </a:lnTo>
                  <a:lnTo>
                    <a:pt x="3028950" y="1089026"/>
                  </a:lnTo>
                  <a:close/>
                  <a:moveTo>
                    <a:pt x="685800" y="1047750"/>
                  </a:moveTo>
                  <a:lnTo>
                    <a:pt x="714375" y="1079500"/>
                  </a:lnTo>
                  <a:lnTo>
                    <a:pt x="717550" y="1089025"/>
                  </a:lnTo>
                  <a:lnTo>
                    <a:pt x="711200" y="1095375"/>
                  </a:lnTo>
                  <a:lnTo>
                    <a:pt x="698500" y="1095375"/>
                  </a:lnTo>
                  <a:lnTo>
                    <a:pt x="695325" y="1092200"/>
                  </a:lnTo>
                  <a:lnTo>
                    <a:pt x="695325" y="1089025"/>
                  </a:lnTo>
                  <a:lnTo>
                    <a:pt x="682625" y="1082675"/>
                  </a:lnTo>
                  <a:lnTo>
                    <a:pt x="673100" y="1073150"/>
                  </a:lnTo>
                  <a:lnTo>
                    <a:pt x="669925" y="1060450"/>
                  </a:lnTo>
                  <a:lnTo>
                    <a:pt x="676275" y="1054100"/>
                  </a:lnTo>
                  <a:close/>
                  <a:moveTo>
                    <a:pt x="539750" y="1003300"/>
                  </a:moveTo>
                  <a:lnTo>
                    <a:pt x="555625" y="1006475"/>
                  </a:lnTo>
                  <a:lnTo>
                    <a:pt x="552450" y="1028700"/>
                  </a:lnTo>
                  <a:lnTo>
                    <a:pt x="542925" y="1009650"/>
                  </a:lnTo>
                  <a:lnTo>
                    <a:pt x="536575" y="1006475"/>
                  </a:lnTo>
                  <a:close/>
                  <a:moveTo>
                    <a:pt x="3305175" y="977901"/>
                  </a:moveTo>
                  <a:lnTo>
                    <a:pt x="3330575" y="981076"/>
                  </a:lnTo>
                  <a:lnTo>
                    <a:pt x="3346450" y="993776"/>
                  </a:lnTo>
                  <a:lnTo>
                    <a:pt x="3349625" y="1000126"/>
                  </a:lnTo>
                  <a:lnTo>
                    <a:pt x="3346450" y="1006476"/>
                  </a:lnTo>
                  <a:lnTo>
                    <a:pt x="3317875" y="1019176"/>
                  </a:lnTo>
                  <a:lnTo>
                    <a:pt x="3305175" y="1022351"/>
                  </a:lnTo>
                  <a:lnTo>
                    <a:pt x="3295650" y="1016001"/>
                  </a:lnTo>
                  <a:lnTo>
                    <a:pt x="3286125" y="1022351"/>
                  </a:lnTo>
                  <a:lnTo>
                    <a:pt x="3273425" y="1025526"/>
                  </a:lnTo>
                  <a:lnTo>
                    <a:pt x="3267075" y="1022351"/>
                  </a:lnTo>
                  <a:lnTo>
                    <a:pt x="3267075" y="1009651"/>
                  </a:lnTo>
                  <a:lnTo>
                    <a:pt x="3276600" y="996951"/>
                  </a:lnTo>
                  <a:lnTo>
                    <a:pt x="3295650" y="981076"/>
                  </a:lnTo>
                  <a:close/>
                  <a:moveTo>
                    <a:pt x="2420938" y="935831"/>
                  </a:moveTo>
                  <a:lnTo>
                    <a:pt x="2422525" y="936625"/>
                  </a:lnTo>
                  <a:lnTo>
                    <a:pt x="2419350" y="936625"/>
                  </a:lnTo>
                  <a:close/>
                  <a:moveTo>
                    <a:pt x="2159000" y="904876"/>
                  </a:moveTo>
                  <a:lnTo>
                    <a:pt x="2171700" y="904876"/>
                  </a:lnTo>
                  <a:lnTo>
                    <a:pt x="2184400" y="908051"/>
                  </a:lnTo>
                  <a:lnTo>
                    <a:pt x="2200275" y="914401"/>
                  </a:lnTo>
                  <a:lnTo>
                    <a:pt x="2203450" y="923926"/>
                  </a:lnTo>
                  <a:lnTo>
                    <a:pt x="2203450" y="939801"/>
                  </a:lnTo>
                  <a:lnTo>
                    <a:pt x="2190750" y="942976"/>
                  </a:lnTo>
                  <a:lnTo>
                    <a:pt x="2181225" y="936626"/>
                  </a:lnTo>
                  <a:lnTo>
                    <a:pt x="2162175" y="917576"/>
                  </a:lnTo>
                  <a:lnTo>
                    <a:pt x="2143125" y="917576"/>
                  </a:lnTo>
                  <a:lnTo>
                    <a:pt x="2143125" y="911226"/>
                  </a:lnTo>
                  <a:lnTo>
                    <a:pt x="2149475" y="911226"/>
                  </a:lnTo>
                  <a:close/>
                  <a:moveTo>
                    <a:pt x="1082675" y="898525"/>
                  </a:moveTo>
                  <a:lnTo>
                    <a:pt x="1092200" y="901700"/>
                  </a:lnTo>
                  <a:lnTo>
                    <a:pt x="1101725" y="908050"/>
                  </a:lnTo>
                  <a:lnTo>
                    <a:pt x="1095375" y="917575"/>
                  </a:lnTo>
                  <a:lnTo>
                    <a:pt x="1085850" y="923925"/>
                  </a:lnTo>
                  <a:lnTo>
                    <a:pt x="1069975" y="920750"/>
                  </a:lnTo>
                  <a:close/>
                  <a:moveTo>
                    <a:pt x="1120775" y="869950"/>
                  </a:moveTo>
                  <a:lnTo>
                    <a:pt x="1127125" y="882650"/>
                  </a:lnTo>
                  <a:lnTo>
                    <a:pt x="1127125" y="895350"/>
                  </a:lnTo>
                  <a:lnTo>
                    <a:pt x="1120775" y="898525"/>
                  </a:lnTo>
                  <a:lnTo>
                    <a:pt x="1111250" y="895350"/>
                  </a:lnTo>
                  <a:lnTo>
                    <a:pt x="1104900" y="889000"/>
                  </a:lnTo>
                  <a:lnTo>
                    <a:pt x="1108075" y="882650"/>
                  </a:lnTo>
                  <a:close/>
                  <a:moveTo>
                    <a:pt x="1019175" y="866775"/>
                  </a:moveTo>
                  <a:lnTo>
                    <a:pt x="1025525" y="869950"/>
                  </a:lnTo>
                  <a:lnTo>
                    <a:pt x="1028700" y="873125"/>
                  </a:lnTo>
                  <a:lnTo>
                    <a:pt x="1019175" y="885825"/>
                  </a:lnTo>
                  <a:lnTo>
                    <a:pt x="1009650" y="873125"/>
                  </a:lnTo>
                  <a:close/>
                  <a:moveTo>
                    <a:pt x="593725" y="847725"/>
                  </a:moveTo>
                  <a:lnTo>
                    <a:pt x="603250" y="854075"/>
                  </a:lnTo>
                  <a:lnTo>
                    <a:pt x="622300" y="860425"/>
                  </a:lnTo>
                  <a:lnTo>
                    <a:pt x="628650" y="873125"/>
                  </a:lnTo>
                  <a:lnTo>
                    <a:pt x="619125" y="882650"/>
                  </a:lnTo>
                  <a:lnTo>
                    <a:pt x="615950" y="895350"/>
                  </a:lnTo>
                  <a:lnTo>
                    <a:pt x="609600" y="917575"/>
                  </a:lnTo>
                  <a:lnTo>
                    <a:pt x="606425" y="933450"/>
                  </a:lnTo>
                  <a:lnTo>
                    <a:pt x="603250" y="949325"/>
                  </a:lnTo>
                  <a:lnTo>
                    <a:pt x="612775" y="984250"/>
                  </a:lnTo>
                  <a:lnTo>
                    <a:pt x="625475" y="1009650"/>
                  </a:lnTo>
                  <a:lnTo>
                    <a:pt x="638175" y="1025525"/>
                  </a:lnTo>
                  <a:lnTo>
                    <a:pt x="654050" y="1038225"/>
                  </a:lnTo>
                  <a:lnTo>
                    <a:pt x="644525" y="1047750"/>
                  </a:lnTo>
                  <a:lnTo>
                    <a:pt x="635000" y="1044575"/>
                  </a:lnTo>
                  <a:lnTo>
                    <a:pt x="625475" y="1041400"/>
                  </a:lnTo>
                  <a:lnTo>
                    <a:pt x="619125" y="1044575"/>
                  </a:lnTo>
                  <a:lnTo>
                    <a:pt x="609600" y="1044575"/>
                  </a:lnTo>
                  <a:lnTo>
                    <a:pt x="603250" y="1044575"/>
                  </a:lnTo>
                  <a:lnTo>
                    <a:pt x="603250" y="1047750"/>
                  </a:lnTo>
                  <a:lnTo>
                    <a:pt x="600075" y="1047750"/>
                  </a:lnTo>
                  <a:lnTo>
                    <a:pt x="596900" y="1047750"/>
                  </a:lnTo>
                  <a:lnTo>
                    <a:pt x="587375" y="1031875"/>
                  </a:lnTo>
                  <a:lnTo>
                    <a:pt x="574675" y="1035050"/>
                  </a:lnTo>
                  <a:lnTo>
                    <a:pt x="561975" y="1028700"/>
                  </a:lnTo>
                  <a:lnTo>
                    <a:pt x="568325" y="1025525"/>
                  </a:lnTo>
                  <a:lnTo>
                    <a:pt x="565150" y="1012825"/>
                  </a:lnTo>
                  <a:lnTo>
                    <a:pt x="552450" y="996950"/>
                  </a:lnTo>
                  <a:lnTo>
                    <a:pt x="549275" y="990600"/>
                  </a:lnTo>
                  <a:lnTo>
                    <a:pt x="546100" y="987425"/>
                  </a:lnTo>
                  <a:lnTo>
                    <a:pt x="542925" y="981075"/>
                  </a:lnTo>
                  <a:lnTo>
                    <a:pt x="533400" y="987425"/>
                  </a:lnTo>
                  <a:lnTo>
                    <a:pt x="523875" y="984250"/>
                  </a:lnTo>
                  <a:lnTo>
                    <a:pt x="517525" y="965200"/>
                  </a:lnTo>
                  <a:lnTo>
                    <a:pt x="530225" y="939800"/>
                  </a:lnTo>
                  <a:lnTo>
                    <a:pt x="536575" y="942975"/>
                  </a:lnTo>
                  <a:lnTo>
                    <a:pt x="539750" y="942975"/>
                  </a:lnTo>
                  <a:lnTo>
                    <a:pt x="542925" y="930275"/>
                  </a:lnTo>
                  <a:lnTo>
                    <a:pt x="546100" y="917575"/>
                  </a:lnTo>
                  <a:lnTo>
                    <a:pt x="539750" y="904875"/>
                  </a:lnTo>
                  <a:lnTo>
                    <a:pt x="539750" y="895350"/>
                  </a:lnTo>
                  <a:lnTo>
                    <a:pt x="549275" y="889000"/>
                  </a:lnTo>
                  <a:lnTo>
                    <a:pt x="555625" y="882650"/>
                  </a:lnTo>
                  <a:lnTo>
                    <a:pt x="555625" y="869950"/>
                  </a:lnTo>
                  <a:lnTo>
                    <a:pt x="565150" y="860425"/>
                  </a:lnTo>
                  <a:close/>
                  <a:moveTo>
                    <a:pt x="930275" y="838200"/>
                  </a:moveTo>
                  <a:lnTo>
                    <a:pt x="942975" y="838200"/>
                  </a:lnTo>
                  <a:lnTo>
                    <a:pt x="955675" y="854075"/>
                  </a:lnTo>
                  <a:lnTo>
                    <a:pt x="952500" y="863600"/>
                  </a:lnTo>
                  <a:lnTo>
                    <a:pt x="936625" y="869950"/>
                  </a:lnTo>
                  <a:lnTo>
                    <a:pt x="917575" y="873125"/>
                  </a:lnTo>
                  <a:lnTo>
                    <a:pt x="920750" y="844550"/>
                  </a:lnTo>
                  <a:close/>
                  <a:moveTo>
                    <a:pt x="2152650" y="825501"/>
                  </a:moveTo>
                  <a:lnTo>
                    <a:pt x="2178050" y="838201"/>
                  </a:lnTo>
                  <a:lnTo>
                    <a:pt x="2193925" y="854076"/>
                  </a:lnTo>
                  <a:lnTo>
                    <a:pt x="2190750" y="866776"/>
                  </a:lnTo>
                  <a:lnTo>
                    <a:pt x="2162175" y="885826"/>
                  </a:lnTo>
                  <a:lnTo>
                    <a:pt x="2149475" y="895351"/>
                  </a:lnTo>
                  <a:lnTo>
                    <a:pt x="2139950" y="908051"/>
                  </a:lnTo>
                  <a:lnTo>
                    <a:pt x="2133600" y="901701"/>
                  </a:lnTo>
                  <a:lnTo>
                    <a:pt x="2136775" y="863601"/>
                  </a:lnTo>
                  <a:lnTo>
                    <a:pt x="2139950" y="841376"/>
                  </a:lnTo>
                  <a:lnTo>
                    <a:pt x="2143125" y="831851"/>
                  </a:lnTo>
                  <a:close/>
                  <a:moveTo>
                    <a:pt x="2092325" y="809626"/>
                  </a:moveTo>
                  <a:lnTo>
                    <a:pt x="2105025" y="815976"/>
                  </a:lnTo>
                  <a:lnTo>
                    <a:pt x="2114550" y="825501"/>
                  </a:lnTo>
                  <a:lnTo>
                    <a:pt x="2127250" y="828676"/>
                  </a:lnTo>
                  <a:lnTo>
                    <a:pt x="2136775" y="831851"/>
                  </a:lnTo>
                  <a:lnTo>
                    <a:pt x="2133600" y="873126"/>
                  </a:lnTo>
                  <a:lnTo>
                    <a:pt x="2130425" y="908051"/>
                  </a:lnTo>
                  <a:lnTo>
                    <a:pt x="2133600" y="914401"/>
                  </a:lnTo>
                  <a:lnTo>
                    <a:pt x="2130425" y="917576"/>
                  </a:lnTo>
                  <a:lnTo>
                    <a:pt x="2124075" y="917576"/>
                  </a:lnTo>
                  <a:lnTo>
                    <a:pt x="2111375" y="908051"/>
                  </a:lnTo>
                  <a:lnTo>
                    <a:pt x="2108200" y="901701"/>
                  </a:lnTo>
                  <a:lnTo>
                    <a:pt x="2101850" y="898526"/>
                  </a:lnTo>
                  <a:lnTo>
                    <a:pt x="2076450" y="882651"/>
                  </a:lnTo>
                  <a:lnTo>
                    <a:pt x="2066925" y="876301"/>
                  </a:lnTo>
                  <a:lnTo>
                    <a:pt x="2073275" y="857251"/>
                  </a:lnTo>
                  <a:lnTo>
                    <a:pt x="2066925" y="838201"/>
                  </a:lnTo>
                  <a:lnTo>
                    <a:pt x="2073275" y="815976"/>
                  </a:lnTo>
                  <a:lnTo>
                    <a:pt x="2082800" y="812801"/>
                  </a:lnTo>
                  <a:close/>
                  <a:moveTo>
                    <a:pt x="2470150" y="806451"/>
                  </a:moveTo>
                  <a:lnTo>
                    <a:pt x="2498725" y="828676"/>
                  </a:lnTo>
                  <a:lnTo>
                    <a:pt x="2508250" y="847726"/>
                  </a:lnTo>
                  <a:lnTo>
                    <a:pt x="2501900" y="860426"/>
                  </a:lnTo>
                  <a:lnTo>
                    <a:pt x="2498725" y="860426"/>
                  </a:lnTo>
                  <a:lnTo>
                    <a:pt x="2466975" y="854076"/>
                  </a:lnTo>
                  <a:lnTo>
                    <a:pt x="2454275" y="847726"/>
                  </a:lnTo>
                  <a:lnTo>
                    <a:pt x="2441575" y="838201"/>
                  </a:lnTo>
                  <a:lnTo>
                    <a:pt x="2457450" y="809626"/>
                  </a:lnTo>
                  <a:close/>
                  <a:moveTo>
                    <a:pt x="2444750" y="777876"/>
                  </a:moveTo>
                  <a:lnTo>
                    <a:pt x="2454275" y="796926"/>
                  </a:lnTo>
                  <a:lnTo>
                    <a:pt x="2447925" y="803276"/>
                  </a:lnTo>
                  <a:lnTo>
                    <a:pt x="2441575" y="806451"/>
                  </a:lnTo>
                  <a:lnTo>
                    <a:pt x="2432050" y="787401"/>
                  </a:lnTo>
                  <a:close/>
                  <a:moveTo>
                    <a:pt x="1828800" y="755650"/>
                  </a:moveTo>
                  <a:lnTo>
                    <a:pt x="1841500" y="758825"/>
                  </a:lnTo>
                  <a:lnTo>
                    <a:pt x="1854200" y="762000"/>
                  </a:lnTo>
                  <a:lnTo>
                    <a:pt x="1857375" y="765175"/>
                  </a:lnTo>
                  <a:lnTo>
                    <a:pt x="1854200" y="774700"/>
                  </a:lnTo>
                  <a:lnTo>
                    <a:pt x="1844675" y="793750"/>
                  </a:lnTo>
                  <a:lnTo>
                    <a:pt x="1819275" y="781050"/>
                  </a:lnTo>
                  <a:lnTo>
                    <a:pt x="1816100" y="771525"/>
                  </a:lnTo>
                  <a:close/>
                  <a:moveTo>
                    <a:pt x="1181100" y="678815"/>
                  </a:moveTo>
                  <a:lnTo>
                    <a:pt x="1181100" y="698500"/>
                  </a:lnTo>
                  <a:lnTo>
                    <a:pt x="1177925" y="704850"/>
                  </a:lnTo>
                  <a:lnTo>
                    <a:pt x="1168400" y="688975"/>
                  </a:lnTo>
                  <a:close/>
                  <a:moveTo>
                    <a:pt x="1181100" y="676275"/>
                  </a:moveTo>
                  <a:lnTo>
                    <a:pt x="1184275" y="676275"/>
                  </a:lnTo>
                  <a:lnTo>
                    <a:pt x="1181100" y="678815"/>
                  </a:lnTo>
                  <a:close/>
                  <a:moveTo>
                    <a:pt x="2571750" y="669926"/>
                  </a:moveTo>
                  <a:lnTo>
                    <a:pt x="2581275" y="688976"/>
                  </a:lnTo>
                  <a:lnTo>
                    <a:pt x="2584450" y="688976"/>
                  </a:lnTo>
                  <a:lnTo>
                    <a:pt x="2606675" y="685801"/>
                  </a:lnTo>
                  <a:lnTo>
                    <a:pt x="2613025" y="695326"/>
                  </a:lnTo>
                  <a:lnTo>
                    <a:pt x="2622550" y="701676"/>
                  </a:lnTo>
                  <a:lnTo>
                    <a:pt x="2632075" y="695326"/>
                  </a:lnTo>
                  <a:lnTo>
                    <a:pt x="2638425" y="698501"/>
                  </a:lnTo>
                  <a:lnTo>
                    <a:pt x="2660650" y="708026"/>
                  </a:lnTo>
                  <a:lnTo>
                    <a:pt x="2654300" y="730251"/>
                  </a:lnTo>
                  <a:lnTo>
                    <a:pt x="2603500" y="733426"/>
                  </a:lnTo>
                  <a:lnTo>
                    <a:pt x="2568575" y="704851"/>
                  </a:lnTo>
                  <a:lnTo>
                    <a:pt x="2562225" y="698501"/>
                  </a:lnTo>
                  <a:close/>
                  <a:moveTo>
                    <a:pt x="2336800" y="650876"/>
                  </a:moveTo>
                  <a:lnTo>
                    <a:pt x="2343150" y="654051"/>
                  </a:lnTo>
                  <a:lnTo>
                    <a:pt x="2346325" y="666751"/>
                  </a:lnTo>
                  <a:lnTo>
                    <a:pt x="2333625" y="688976"/>
                  </a:lnTo>
                  <a:close/>
                  <a:moveTo>
                    <a:pt x="2400300" y="615951"/>
                  </a:moveTo>
                  <a:lnTo>
                    <a:pt x="2409825" y="615951"/>
                  </a:lnTo>
                  <a:lnTo>
                    <a:pt x="2432050" y="654051"/>
                  </a:lnTo>
                  <a:lnTo>
                    <a:pt x="2454275" y="663576"/>
                  </a:lnTo>
                  <a:lnTo>
                    <a:pt x="2451100" y="641351"/>
                  </a:lnTo>
                  <a:lnTo>
                    <a:pt x="2454275" y="625476"/>
                  </a:lnTo>
                  <a:lnTo>
                    <a:pt x="2463800" y="619126"/>
                  </a:lnTo>
                  <a:lnTo>
                    <a:pt x="2473325" y="628651"/>
                  </a:lnTo>
                  <a:lnTo>
                    <a:pt x="2482850" y="638176"/>
                  </a:lnTo>
                  <a:lnTo>
                    <a:pt x="2486025" y="644526"/>
                  </a:lnTo>
                  <a:lnTo>
                    <a:pt x="2505075" y="647701"/>
                  </a:lnTo>
                  <a:lnTo>
                    <a:pt x="2514600" y="647701"/>
                  </a:lnTo>
                  <a:lnTo>
                    <a:pt x="2543175" y="676276"/>
                  </a:lnTo>
                  <a:lnTo>
                    <a:pt x="2533650" y="704851"/>
                  </a:lnTo>
                  <a:lnTo>
                    <a:pt x="2520950" y="717551"/>
                  </a:lnTo>
                  <a:lnTo>
                    <a:pt x="2511425" y="723901"/>
                  </a:lnTo>
                  <a:lnTo>
                    <a:pt x="2489200" y="733426"/>
                  </a:lnTo>
                  <a:lnTo>
                    <a:pt x="2479675" y="733426"/>
                  </a:lnTo>
                  <a:lnTo>
                    <a:pt x="2473325" y="727076"/>
                  </a:lnTo>
                  <a:lnTo>
                    <a:pt x="2476500" y="723901"/>
                  </a:lnTo>
                  <a:lnTo>
                    <a:pt x="2428875" y="736601"/>
                  </a:lnTo>
                  <a:lnTo>
                    <a:pt x="2432050" y="733426"/>
                  </a:lnTo>
                  <a:lnTo>
                    <a:pt x="2422525" y="730251"/>
                  </a:lnTo>
                  <a:lnTo>
                    <a:pt x="2390775" y="739776"/>
                  </a:lnTo>
                  <a:lnTo>
                    <a:pt x="2378075" y="720726"/>
                  </a:lnTo>
                  <a:lnTo>
                    <a:pt x="2362200" y="688976"/>
                  </a:lnTo>
                  <a:lnTo>
                    <a:pt x="2371725" y="692151"/>
                  </a:lnTo>
                  <a:lnTo>
                    <a:pt x="2368550" y="663576"/>
                  </a:lnTo>
                  <a:lnTo>
                    <a:pt x="2368550" y="654051"/>
                  </a:lnTo>
                  <a:lnTo>
                    <a:pt x="2374900" y="638176"/>
                  </a:lnTo>
                  <a:lnTo>
                    <a:pt x="2387600" y="625476"/>
                  </a:lnTo>
                  <a:close/>
                  <a:moveTo>
                    <a:pt x="1482725" y="600075"/>
                  </a:moveTo>
                  <a:lnTo>
                    <a:pt x="1495425" y="606425"/>
                  </a:lnTo>
                  <a:lnTo>
                    <a:pt x="1479550" y="615950"/>
                  </a:lnTo>
                  <a:lnTo>
                    <a:pt x="1466850" y="609600"/>
                  </a:lnTo>
                  <a:lnTo>
                    <a:pt x="1470025" y="603250"/>
                  </a:lnTo>
                  <a:close/>
                  <a:moveTo>
                    <a:pt x="869950" y="539750"/>
                  </a:moveTo>
                  <a:lnTo>
                    <a:pt x="885825" y="542925"/>
                  </a:lnTo>
                  <a:lnTo>
                    <a:pt x="898525" y="561975"/>
                  </a:lnTo>
                  <a:lnTo>
                    <a:pt x="895350" y="587375"/>
                  </a:lnTo>
                  <a:lnTo>
                    <a:pt x="889000" y="593725"/>
                  </a:lnTo>
                  <a:lnTo>
                    <a:pt x="876300" y="612775"/>
                  </a:lnTo>
                  <a:lnTo>
                    <a:pt x="847725" y="628650"/>
                  </a:lnTo>
                  <a:lnTo>
                    <a:pt x="828675" y="641350"/>
                  </a:lnTo>
                  <a:lnTo>
                    <a:pt x="771525" y="669925"/>
                  </a:lnTo>
                  <a:lnTo>
                    <a:pt x="717550" y="723900"/>
                  </a:lnTo>
                  <a:lnTo>
                    <a:pt x="720725" y="727075"/>
                  </a:lnTo>
                  <a:lnTo>
                    <a:pt x="688975" y="762000"/>
                  </a:lnTo>
                  <a:lnTo>
                    <a:pt x="676275" y="774700"/>
                  </a:lnTo>
                  <a:lnTo>
                    <a:pt x="666750" y="800100"/>
                  </a:lnTo>
                  <a:lnTo>
                    <a:pt x="644525" y="844550"/>
                  </a:lnTo>
                  <a:lnTo>
                    <a:pt x="631825" y="857250"/>
                  </a:lnTo>
                  <a:lnTo>
                    <a:pt x="600075" y="838200"/>
                  </a:lnTo>
                  <a:lnTo>
                    <a:pt x="581025" y="844550"/>
                  </a:lnTo>
                  <a:lnTo>
                    <a:pt x="571500" y="838200"/>
                  </a:lnTo>
                  <a:lnTo>
                    <a:pt x="568325" y="819150"/>
                  </a:lnTo>
                  <a:lnTo>
                    <a:pt x="568325" y="812800"/>
                  </a:lnTo>
                  <a:lnTo>
                    <a:pt x="584200" y="803275"/>
                  </a:lnTo>
                  <a:lnTo>
                    <a:pt x="600075" y="790575"/>
                  </a:lnTo>
                  <a:lnTo>
                    <a:pt x="612775" y="793750"/>
                  </a:lnTo>
                  <a:lnTo>
                    <a:pt x="615950" y="784225"/>
                  </a:lnTo>
                  <a:lnTo>
                    <a:pt x="615950" y="758825"/>
                  </a:lnTo>
                  <a:lnTo>
                    <a:pt x="609600" y="755650"/>
                  </a:lnTo>
                  <a:lnTo>
                    <a:pt x="609600" y="746125"/>
                  </a:lnTo>
                  <a:lnTo>
                    <a:pt x="615950" y="733425"/>
                  </a:lnTo>
                  <a:lnTo>
                    <a:pt x="612775" y="717550"/>
                  </a:lnTo>
                  <a:lnTo>
                    <a:pt x="619125" y="701675"/>
                  </a:lnTo>
                  <a:lnTo>
                    <a:pt x="625475" y="704850"/>
                  </a:lnTo>
                  <a:lnTo>
                    <a:pt x="628650" y="698500"/>
                  </a:lnTo>
                  <a:lnTo>
                    <a:pt x="660400" y="669925"/>
                  </a:lnTo>
                  <a:lnTo>
                    <a:pt x="666750" y="660400"/>
                  </a:lnTo>
                  <a:lnTo>
                    <a:pt x="673100" y="654050"/>
                  </a:lnTo>
                  <a:lnTo>
                    <a:pt x="685800" y="644525"/>
                  </a:lnTo>
                  <a:lnTo>
                    <a:pt x="698500" y="638175"/>
                  </a:lnTo>
                  <a:lnTo>
                    <a:pt x="739775" y="606425"/>
                  </a:lnTo>
                  <a:lnTo>
                    <a:pt x="755650" y="612775"/>
                  </a:lnTo>
                  <a:lnTo>
                    <a:pt x="793750" y="600075"/>
                  </a:lnTo>
                  <a:lnTo>
                    <a:pt x="822325" y="581025"/>
                  </a:lnTo>
                  <a:lnTo>
                    <a:pt x="831850" y="565150"/>
                  </a:lnTo>
                  <a:lnTo>
                    <a:pt x="844550" y="552450"/>
                  </a:lnTo>
                  <a:close/>
                  <a:moveTo>
                    <a:pt x="1492250" y="520700"/>
                  </a:moveTo>
                  <a:lnTo>
                    <a:pt x="1495425" y="527050"/>
                  </a:lnTo>
                  <a:lnTo>
                    <a:pt x="1479550" y="542925"/>
                  </a:lnTo>
                  <a:lnTo>
                    <a:pt x="1463675" y="542925"/>
                  </a:lnTo>
                  <a:lnTo>
                    <a:pt x="1476375" y="533400"/>
                  </a:lnTo>
                  <a:close/>
                  <a:moveTo>
                    <a:pt x="1727200" y="508000"/>
                  </a:moveTo>
                  <a:lnTo>
                    <a:pt x="1733550" y="508000"/>
                  </a:lnTo>
                  <a:lnTo>
                    <a:pt x="1733550" y="514350"/>
                  </a:lnTo>
                  <a:lnTo>
                    <a:pt x="1730375" y="517525"/>
                  </a:lnTo>
                  <a:lnTo>
                    <a:pt x="1724025" y="517525"/>
                  </a:lnTo>
                  <a:close/>
                  <a:moveTo>
                    <a:pt x="1660525" y="469900"/>
                  </a:moveTo>
                  <a:lnTo>
                    <a:pt x="1685925" y="485775"/>
                  </a:lnTo>
                  <a:lnTo>
                    <a:pt x="1704975" y="504825"/>
                  </a:lnTo>
                  <a:lnTo>
                    <a:pt x="1711325" y="536575"/>
                  </a:lnTo>
                  <a:lnTo>
                    <a:pt x="1727200" y="546100"/>
                  </a:lnTo>
                  <a:lnTo>
                    <a:pt x="1714500" y="571500"/>
                  </a:lnTo>
                  <a:lnTo>
                    <a:pt x="1708150" y="581025"/>
                  </a:lnTo>
                  <a:lnTo>
                    <a:pt x="1704975" y="577850"/>
                  </a:lnTo>
                  <a:lnTo>
                    <a:pt x="1704975" y="587375"/>
                  </a:lnTo>
                  <a:lnTo>
                    <a:pt x="1711325" y="587375"/>
                  </a:lnTo>
                  <a:lnTo>
                    <a:pt x="1727200" y="587375"/>
                  </a:lnTo>
                  <a:lnTo>
                    <a:pt x="1739900" y="581025"/>
                  </a:lnTo>
                  <a:lnTo>
                    <a:pt x="1743075" y="571500"/>
                  </a:lnTo>
                  <a:lnTo>
                    <a:pt x="1752600" y="568325"/>
                  </a:lnTo>
                  <a:lnTo>
                    <a:pt x="1778000" y="565150"/>
                  </a:lnTo>
                  <a:lnTo>
                    <a:pt x="1806575" y="565150"/>
                  </a:lnTo>
                  <a:lnTo>
                    <a:pt x="1819275" y="571500"/>
                  </a:lnTo>
                  <a:lnTo>
                    <a:pt x="1831975" y="590550"/>
                  </a:lnTo>
                  <a:lnTo>
                    <a:pt x="1831975" y="593725"/>
                  </a:lnTo>
                  <a:lnTo>
                    <a:pt x="1841500" y="600075"/>
                  </a:lnTo>
                  <a:lnTo>
                    <a:pt x="1854200" y="609600"/>
                  </a:lnTo>
                  <a:lnTo>
                    <a:pt x="1857375" y="619125"/>
                  </a:lnTo>
                  <a:lnTo>
                    <a:pt x="1857375" y="625475"/>
                  </a:lnTo>
                  <a:lnTo>
                    <a:pt x="1860550" y="631825"/>
                  </a:lnTo>
                  <a:lnTo>
                    <a:pt x="1860550" y="641350"/>
                  </a:lnTo>
                  <a:lnTo>
                    <a:pt x="1866900" y="638175"/>
                  </a:lnTo>
                  <a:lnTo>
                    <a:pt x="1863725" y="663575"/>
                  </a:lnTo>
                  <a:lnTo>
                    <a:pt x="1860550" y="682625"/>
                  </a:lnTo>
                  <a:lnTo>
                    <a:pt x="1860550" y="695325"/>
                  </a:lnTo>
                  <a:lnTo>
                    <a:pt x="1854200" y="708025"/>
                  </a:lnTo>
                  <a:lnTo>
                    <a:pt x="1844675" y="720725"/>
                  </a:lnTo>
                  <a:lnTo>
                    <a:pt x="1838325" y="727075"/>
                  </a:lnTo>
                  <a:lnTo>
                    <a:pt x="1828800" y="736600"/>
                  </a:lnTo>
                  <a:lnTo>
                    <a:pt x="1797050" y="762000"/>
                  </a:lnTo>
                  <a:lnTo>
                    <a:pt x="1784350" y="777875"/>
                  </a:lnTo>
                  <a:lnTo>
                    <a:pt x="1781175" y="784225"/>
                  </a:lnTo>
                  <a:lnTo>
                    <a:pt x="1781175" y="787400"/>
                  </a:lnTo>
                  <a:lnTo>
                    <a:pt x="1771650" y="793750"/>
                  </a:lnTo>
                  <a:lnTo>
                    <a:pt x="1762125" y="800100"/>
                  </a:lnTo>
                  <a:lnTo>
                    <a:pt x="1755775" y="809625"/>
                  </a:lnTo>
                  <a:lnTo>
                    <a:pt x="1752600" y="819150"/>
                  </a:lnTo>
                  <a:lnTo>
                    <a:pt x="1724025" y="828675"/>
                  </a:lnTo>
                  <a:lnTo>
                    <a:pt x="1720850" y="835025"/>
                  </a:lnTo>
                  <a:lnTo>
                    <a:pt x="1714500" y="850900"/>
                  </a:lnTo>
                  <a:lnTo>
                    <a:pt x="1720850" y="863600"/>
                  </a:lnTo>
                  <a:lnTo>
                    <a:pt x="1749425" y="857250"/>
                  </a:lnTo>
                  <a:lnTo>
                    <a:pt x="1778000" y="841375"/>
                  </a:lnTo>
                  <a:lnTo>
                    <a:pt x="1790700" y="835025"/>
                  </a:lnTo>
                  <a:lnTo>
                    <a:pt x="1800225" y="828675"/>
                  </a:lnTo>
                  <a:lnTo>
                    <a:pt x="1803400" y="822325"/>
                  </a:lnTo>
                  <a:lnTo>
                    <a:pt x="1797050" y="819150"/>
                  </a:lnTo>
                  <a:lnTo>
                    <a:pt x="1784350" y="825500"/>
                  </a:lnTo>
                  <a:lnTo>
                    <a:pt x="1774825" y="819150"/>
                  </a:lnTo>
                  <a:lnTo>
                    <a:pt x="1781175" y="803275"/>
                  </a:lnTo>
                  <a:lnTo>
                    <a:pt x="1790700" y="800100"/>
                  </a:lnTo>
                  <a:lnTo>
                    <a:pt x="1806575" y="800100"/>
                  </a:lnTo>
                  <a:lnTo>
                    <a:pt x="1809750" y="806450"/>
                  </a:lnTo>
                  <a:lnTo>
                    <a:pt x="1816100" y="815975"/>
                  </a:lnTo>
                  <a:lnTo>
                    <a:pt x="1828800" y="822325"/>
                  </a:lnTo>
                  <a:lnTo>
                    <a:pt x="1841500" y="822325"/>
                  </a:lnTo>
                  <a:lnTo>
                    <a:pt x="1847850" y="815975"/>
                  </a:lnTo>
                  <a:lnTo>
                    <a:pt x="1847850" y="803275"/>
                  </a:lnTo>
                  <a:lnTo>
                    <a:pt x="1854200" y="819150"/>
                  </a:lnTo>
                  <a:lnTo>
                    <a:pt x="1857375" y="841375"/>
                  </a:lnTo>
                  <a:lnTo>
                    <a:pt x="1857375" y="838200"/>
                  </a:lnTo>
                  <a:lnTo>
                    <a:pt x="1870075" y="831850"/>
                  </a:lnTo>
                  <a:lnTo>
                    <a:pt x="1895475" y="822325"/>
                  </a:lnTo>
                  <a:lnTo>
                    <a:pt x="1924050" y="825500"/>
                  </a:lnTo>
                  <a:lnTo>
                    <a:pt x="1952625" y="831850"/>
                  </a:lnTo>
                  <a:lnTo>
                    <a:pt x="1965325" y="841375"/>
                  </a:lnTo>
                  <a:lnTo>
                    <a:pt x="1965325" y="860425"/>
                  </a:lnTo>
                  <a:lnTo>
                    <a:pt x="1971675" y="863600"/>
                  </a:lnTo>
                  <a:lnTo>
                    <a:pt x="1993900" y="879475"/>
                  </a:lnTo>
                  <a:lnTo>
                    <a:pt x="2003425" y="876300"/>
                  </a:lnTo>
                  <a:lnTo>
                    <a:pt x="2032000" y="879475"/>
                  </a:lnTo>
                  <a:lnTo>
                    <a:pt x="2063750" y="892175"/>
                  </a:lnTo>
                  <a:lnTo>
                    <a:pt x="2073275" y="895350"/>
                  </a:lnTo>
                  <a:lnTo>
                    <a:pt x="2082800" y="895350"/>
                  </a:lnTo>
                  <a:lnTo>
                    <a:pt x="2101850" y="901700"/>
                  </a:lnTo>
                  <a:lnTo>
                    <a:pt x="2111375" y="911225"/>
                  </a:lnTo>
                  <a:lnTo>
                    <a:pt x="2114550" y="917575"/>
                  </a:lnTo>
                  <a:lnTo>
                    <a:pt x="2120900" y="923925"/>
                  </a:lnTo>
                  <a:lnTo>
                    <a:pt x="2130425" y="930275"/>
                  </a:lnTo>
                  <a:lnTo>
                    <a:pt x="2139950" y="927100"/>
                  </a:lnTo>
                  <a:lnTo>
                    <a:pt x="2146300" y="923925"/>
                  </a:lnTo>
                  <a:lnTo>
                    <a:pt x="2149475" y="920750"/>
                  </a:lnTo>
                  <a:lnTo>
                    <a:pt x="2155825" y="920750"/>
                  </a:lnTo>
                  <a:lnTo>
                    <a:pt x="2165350" y="923925"/>
                  </a:lnTo>
                  <a:lnTo>
                    <a:pt x="2193925" y="965200"/>
                  </a:lnTo>
                  <a:lnTo>
                    <a:pt x="2203450" y="990600"/>
                  </a:lnTo>
                  <a:lnTo>
                    <a:pt x="2216150" y="1009650"/>
                  </a:lnTo>
                  <a:lnTo>
                    <a:pt x="2222500" y="1019175"/>
                  </a:lnTo>
                  <a:lnTo>
                    <a:pt x="2228850" y="1025525"/>
                  </a:lnTo>
                  <a:lnTo>
                    <a:pt x="2241550" y="1031875"/>
                  </a:lnTo>
                  <a:lnTo>
                    <a:pt x="2257425" y="990600"/>
                  </a:lnTo>
                  <a:lnTo>
                    <a:pt x="2266950" y="962025"/>
                  </a:lnTo>
                  <a:lnTo>
                    <a:pt x="2276475" y="958850"/>
                  </a:lnTo>
                  <a:lnTo>
                    <a:pt x="2273300" y="965200"/>
                  </a:lnTo>
                  <a:lnTo>
                    <a:pt x="2279650" y="974725"/>
                  </a:lnTo>
                  <a:lnTo>
                    <a:pt x="2292350" y="984250"/>
                  </a:lnTo>
                  <a:lnTo>
                    <a:pt x="2305050" y="990600"/>
                  </a:lnTo>
                  <a:lnTo>
                    <a:pt x="2317750" y="987425"/>
                  </a:lnTo>
                  <a:lnTo>
                    <a:pt x="2339975" y="974725"/>
                  </a:lnTo>
                  <a:lnTo>
                    <a:pt x="2355850" y="981075"/>
                  </a:lnTo>
                  <a:lnTo>
                    <a:pt x="2365375" y="987425"/>
                  </a:lnTo>
                  <a:lnTo>
                    <a:pt x="2374900" y="990600"/>
                  </a:lnTo>
                  <a:lnTo>
                    <a:pt x="2384425" y="1009650"/>
                  </a:lnTo>
                  <a:lnTo>
                    <a:pt x="2397125" y="993775"/>
                  </a:lnTo>
                  <a:lnTo>
                    <a:pt x="2390775" y="993775"/>
                  </a:lnTo>
                  <a:lnTo>
                    <a:pt x="2384425" y="990600"/>
                  </a:lnTo>
                  <a:lnTo>
                    <a:pt x="2390775" y="977900"/>
                  </a:lnTo>
                  <a:lnTo>
                    <a:pt x="2393950" y="974725"/>
                  </a:lnTo>
                  <a:lnTo>
                    <a:pt x="2406650" y="974725"/>
                  </a:lnTo>
                  <a:lnTo>
                    <a:pt x="2409825" y="981075"/>
                  </a:lnTo>
                  <a:lnTo>
                    <a:pt x="2416175" y="987425"/>
                  </a:lnTo>
                  <a:lnTo>
                    <a:pt x="2428875" y="977900"/>
                  </a:lnTo>
                  <a:lnTo>
                    <a:pt x="2425700" y="939800"/>
                  </a:lnTo>
                  <a:lnTo>
                    <a:pt x="2425700" y="933450"/>
                  </a:lnTo>
                  <a:lnTo>
                    <a:pt x="2420938" y="935831"/>
                  </a:lnTo>
                  <a:lnTo>
                    <a:pt x="2416175" y="933450"/>
                  </a:lnTo>
                  <a:lnTo>
                    <a:pt x="2416175" y="939800"/>
                  </a:lnTo>
                  <a:lnTo>
                    <a:pt x="2413000" y="933450"/>
                  </a:lnTo>
                  <a:lnTo>
                    <a:pt x="2419350" y="914400"/>
                  </a:lnTo>
                  <a:lnTo>
                    <a:pt x="2438400" y="914400"/>
                  </a:lnTo>
                  <a:lnTo>
                    <a:pt x="2447925" y="911225"/>
                  </a:lnTo>
                  <a:lnTo>
                    <a:pt x="2454275" y="908050"/>
                  </a:lnTo>
                  <a:lnTo>
                    <a:pt x="2451100" y="898525"/>
                  </a:lnTo>
                  <a:lnTo>
                    <a:pt x="2444750" y="885825"/>
                  </a:lnTo>
                  <a:lnTo>
                    <a:pt x="2451100" y="885825"/>
                  </a:lnTo>
                  <a:lnTo>
                    <a:pt x="2460625" y="889000"/>
                  </a:lnTo>
                  <a:lnTo>
                    <a:pt x="2473325" y="895350"/>
                  </a:lnTo>
                  <a:lnTo>
                    <a:pt x="2498725" y="898525"/>
                  </a:lnTo>
                  <a:lnTo>
                    <a:pt x="2527300" y="904875"/>
                  </a:lnTo>
                  <a:lnTo>
                    <a:pt x="2552700" y="911225"/>
                  </a:lnTo>
                  <a:lnTo>
                    <a:pt x="2578100" y="920750"/>
                  </a:lnTo>
                  <a:lnTo>
                    <a:pt x="2587625" y="923925"/>
                  </a:lnTo>
                  <a:lnTo>
                    <a:pt x="2613025" y="927100"/>
                  </a:lnTo>
                  <a:lnTo>
                    <a:pt x="2638425" y="936625"/>
                  </a:lnTo>
                  <a:lnTo>
                    <a:pt x="2647950" y="952500"/>
                  </a:lnTo>
                  <a:lnTo>
                    <a:pt x="2641600" y="965200"/>
                  </a:lnTo>
                  <a:lnTo>
                    <a:pt x="2632075" y="955675"/>
                  </a:lnTo>
                  <a:lnTo>
                    <a:pt x="2625725" y="965200"/>
                  </a:lnTo>
                  <a:lnTo>
                    <a:pt x="2622550" y="971550"/>
                  </a:lnTo>
                  <a:lnTo>
                    <a:pt x="2635250" y="971550"/>
                  </a:lnTo>
                  <a:lnTo>
                    <a:pt x="2644775" y="984250"/>
                  </a:lnTo>
                  <a:lnTo>
                    <a:pt x="2651125" y="981075"/>
                  </a:lnTo>
                  <a:lnTo>
                    <a:pt x="2660650" y="981075"/>
                  </a:lnTo>
                  <a:lnTo>
                    <a:pt x="2660650" y="996950"/>
                  </a:lnTo>
                  <a:lnTo>
                    <a:pt x="2682875" y="996950"/>
                  </a:lnTo>
                  <a:lnTo>
                    <a:pt x="2686050" y="1003300"/>
                  </a:lnTo>
                  <a:lnTo>
                    <a:pt x="2705100" y="1028700"/>
                  </a:lnTo>
                  <a:lnTo>
                    <a:pt x="2717800" y="1025525"/>
                  </a:lnTo>
                  <a:lnTo>
                    <a:pt x="2743200" y="1016000"/>
                  </a:lnTo>
                  <a:lnTo>
                    <a:pt x="2797175" y="1009650"/>
                  </a:lnTo>
                  <a:lnTo>
                    <a:pt x="2822575" y="1012825"/>
                  </a:lnTo>
                  <a:lnTo>
                    <a:pt x="2847975" y="1028700"/>
                  </a:lnTo>
                  <a:lnTo>
                    <a:pt x="2857500" y="1044575"/>
                  </a:lnTo>
                  <a:lnTo>
                    <a:pt x="2863850" y="1066800"/>
                  </a:lnTo>
                  <a:lnTo>
                    <a:pt x="2857500" y="1073150"/>
                  </a:lnTo>
                  <a:lnTo>
                    <a:pt x="2857500" y="1085850"/>
                  </a:lnTo>
                  <a:lnTo>
                    <a:pt x="2867025" y="1098550"/>
                  </a:lnTo>
                  <a:lnTo>
                    <a:pt x="2870200" y="1101725"/>
                  </a:lnTo>
                  <a:lnTo>
                    <a:pt x="2876550" y="1101725"/>
                  </a:lnTo>
                  <a:lnTo>
                    <a:pt x="2895600" y="1117600"/>
                  </a:lnTo>
                  <a:lnTo>
                    <a:pt x="2917825" y="1101725"/>
                  </a:lnTo>
                  <a:lnTo>
                    <a:pt x="2946400" y="1098550"/>
                  </a:lnTo>
                  <a:lnTo>
                    <a:pt x="2952750" y="1101725"/>
                  </a:lnTo>
                  <a:lnTo>
                    <a:pt x="2959100" y="1104900"/>
                  </a:lnTo>
                  <a:lnTo>
                    <a:pt x="2968625" y="1108075"/>
                  </a:lnTo>
                  <a:lnTo>
                    <a:pt x="2994025" y="1111250"/>
                  </a:lnTo>
                  <a:lnTo>
                    <a:pt x="3019425" y="1108075"/>
                  </a:lnTo>
                  <a:lnTo>
                    <a:pt x="3028950" y="1095375"/>
                  </a:lnTo>
                  <a:lnTo>
                    <a:pt x="3038475" y="1101725"/>
                  </a:lnTo>
                  <a:lnTo>
                    <a:pt x="3048000" y="1123950"/>
                  </a:lnTo>
                  <a:lnTo>
                    <a:pt x="3060700" y="1136650"/>
                  </a:lnTo>
                  <a:lnTo>
                    <a:pt x="3067050" y="1136650"/>
                  </a:lnTo>
                  <a:lnTo>
                    <a:pt x="3067050" y="1149350"/>
                  </a:lnTo>
                  <a:lnTo>
                    <a:pt x="3073400" y="1155700"/>
                  </a:lnTo>
                  <a:lnTo>
                    <a:pt x="3089275" y="1152525"/>
                  </a:lnTo>
                  <a:lnTo>
                    <a:pt x="3095625" y="1146175"/>
                  </a:lnTo>
                  <a:lnTo>
                    <a:pt x="3101975" y="1139825"/>
                  </a:lnTo>
                  <a:lnTo>
                    <a:pt x="3098800" y="1123950"/>
                  </a:lnTo>
                  <a:lnTo>
                    <a:pt x="3092450" y="1111250"/>
                  </a:lnTo>
                  <a:lnTo>
                    <a:pt x="3092450" y="1092200"/>
                  </a:lnTo>
                  <a:lnTo>
                    <a:pt x="3089275" y="1073150"/>
                  </a:lnTo>
                  <a:lnTo>
                    <a:pt x="3127375" y="1082675"/>
                  </a:lnTo>
                  <a:lnTo>
                    <a:pt x="3146425" y="1085850"/>
                  </a:lnTo>
                  <a:lnTo>
                    <a:pt x="3149600" y="1085850"/>
                  </a:lnTo>
                  <a:lnTo>
                    <a:pt x="3152775" y="1082675"/>
                  </a:lnTo>
                  <a:lnTo>
                    <a:pt x="3159125" y="1089025"/>
                  </a:lnTo>
                  <a:lnTo>
                    <a:pt x="3175000" y="1089025"/>
                  </a:lnTo>
                  <a:lnTo>
                    <a:pt x="3190875" y="1089025"/>
                  </a:lnTo>
                  <a:lnTo>
                    <a:pt x="3200400" y="1085850"/>
                  </a:lnTo>
                  <a:lnTo>
                    <a:pt x="3213100" y="1089025"/>
                  </a:lnTo>
                  <a:lnTo>
                    <a:pt x="3238500" y="1108075"/>
                  </a:lnTo>
                  <a:lnTo>
                    <a:pt x="3254375" y="1114425"/>
                  </a:lnTo>
                  <a:lnTo>
                    <a:pt x="3257550" y="1114425"/>
                  </a:lnTo>
                  <a:lnTo>
                    <a:pt x="3263900" y="1114425"/>
                  </a:lnTo>
                  <a:lnTo>
                    <a:pt x="3289300" y="1136650"/>
                  </a:lnTo>
                  <a:lnTo>
                    <a:pt x="3295650" y="1143000"/>
                  </a:lnTo>
                  <a:lnTo>
                    <a:pt x="3311525" y="1152525"/>
                  </a:lnTo>
                  <a:lnTo>
                    <a:pt x="3327400" y="1165225"/>
                  </a:lnTo>
                  <a:lnTo>
                    <a:pt x="3324225" y="1165225"/>
                  </a:lnTo>
                  <a:lnTo>
                    <a:pt x="3336925" y="1184275"/>
                  </a:lnTo>
                  <a:lnTo>
                    <a:pt x="3343275" y="1181100"/>
                  </a:lnTo>
                  <a:lnTo>
                    <a:pt x="3349625" y="1184275"/>
                  </a:lnTo>
                  <a:lnTo>
                    <a:pt x="3378200" y="1206500"/>
                  </a:lnTo>
                  <a:lnTo>
                    <a:pt x="3387725" y="1212850"/>
                  </a:lnTo>
                  <a:lnTo>
                    <a:pt x="3400425" y="1228725"/>
                  </a:lnTo>
                  <a:lnTo>
                    <a:pt x="3406775" y="1238250"/>
                  </a:lnTo>
                  <a:lnTo>
                    <a:pt x="3406775" y="1254125"/>
                  </a:lnTo>
                  <a:lnTo>
                    <a:pt x="3406775" y="1270000"/>
                  </a:lnTo>
                  <a:lnTo>
                    <a:pt x="3403600" y="1276350"/>
                  </a:lnTo>
                  <a:lnTo>
                    <a:pt x="3409950" y="1282700"/>
                  </a:lnTo>
                  <a:lnTo>
                    <a:pt x="3422650" y="1285875"/>
                  </a:lnTo>
                  <a:lnTo>
                    <a:pt x="3422650" y="1295400"/>
                  </a:lnTo>
                  <a:lnTo>
                    <a:pt x="3422650" y="1298575"/>
                  </a:lnTo>
                  <a:lnTo>
                    <a:pt x="3429000" y="1292225"/>
                  </a:lnTo>
                  <a:lnTo>
                    <a:pt x="3429000" y="1289050"/>
                  </a:lnTo>
                  <a:lnTo>
                    <a:pt x="3422650" y="1260475"/>
                  </a:lnTo>
                  <a:lnTo>
                    <a:pt x="3409950" y="1254125"/>
                  </a:lnTo>
                  <a:lnTo>
                    <a:pt x="3416300" y="1250950"/>
                  </a:lnTo>
                  <a:lnTo>
                    <a:pt x="3425825" y="1250950"/>
                  </a:lnTo>
                  <a:lnTo>
                    <a:pt x="3441700" y="1254125"/>
                  </a:lnTo>
                  <a:lnTo>
                    <a:pt x="3457575" y="1257300"/>
                  </a:lnTo>
                  <a:lnTo>
                    <a:pt x="3473450" y="1263650"/>
                  </a:lnTo>
                  <a:lnTo>
                    <a:pt x="3482975" y="1276350"/>
                  </a:lnTo>
                  <a:lnTo>
                    <a:pt x="3489325" y="1282700"/>
                  </a:lnTo>
                  <a:lnTo>
                    <a:pt x="3502025" y="1292225"/>
                  </a:lnTo>
                  <a:lnTo>
                    <a:pt x="3511550" y="1301750"/>
                  </a:lnTo>
                  <a:lnTo>
                    <a:pt x="3514725" y="1311275"/>
                  </a:lnTo>
                  <a:lnTo>
                    <a:pt x="3508375" y="1314450"/>
                  </a:lnTo>
                  <a:lnTo>
                    <a:pt x="3498850" y="1320800"/>
                  </a:lnTo>
                  <a:lnTo>
                    <a:pt x="3498850" y="1330325"/>
                  </a:lnTo>
                  <a:lnTo>
                    <a:pt x="3495675" y="1333500"/>
                  </a:lnTo>
                  <a:lnTo>
                    <a:pt x="3479800" y="1336675"/>
                  </a:lnTo>
                  <a:lnTo>
                    <a:pt x="3473450" y="1336675"/>
                  </a:lnTo>
                  <a:lnTo>
                    <a:pt x="3467100" y="1336675"/>
                  </a:lnTo>
                  <a:lnTo>
                    <a:pt x="3463925" y="1349375"/>
                  </a:lnTo>
                  <a:lnTo>
                    <a:pt x="3463925" y="1358900"/>
                  </a:lnTo>
                  <a:lnTo>
                    <a:pt x="3451225" y="1368425"/>
                  </a:lnTo>
                  <a:lnTo>
                    <a:pt x="3441700" y="1374775"/>
                  </a:lnTo>
                  <a:lnTo>
                    <a:pt x="3451225" y="1384300"/>
                  </a:lnTo>
                  <a:lnTo>
                    <a:pt x="3457575" y="1393825"/>
                  </a:lnTo>
                  <a:lnTo>
                    <a:pt x="3451225" y="1397000"/>
                  </a:lnTo>
                  <a:lnTo>
                    <a:pt x="3444875" y="1400175"/>
                  </a:lnTo>
                  <a:lnTo>
                    <a:pt x="3435350" y="1397000"/>
                  </a:lnTo>
                  <a:lnTo>
                    <a:pt x="3425825" y="1393825"/>
                  </a:lnTo>
                  <a:lnTo>
                    <a:pt x="3422650" y="1387475"/>
                  </a:lnTo>
                  <a:lnTo>
                    <a:pt x="3416300" y="1381125"/>
                  </a:lnTo>
                  <a:lnTo>
                    <a:pt x="3403600" y="1374775"/>
                  </a:lnTo>
                  <a:lnTo>
                    <a:pt x="3394075" y="1374775"/>
                  </a:lnTo>
                  <a:lnTo>
                    <a:pt x="3387725" y="1365250"/>
                  </a:lnTo>
                  <a:lnTo>
                    <a:pt x="3384550" y="1352550"/>
                  </a:lnTo>
                  <a:lnTo>
                    <a:pt x="3381375" y="1339850"/>
                  </a:lnTo>
                  <a:lnTo>
                    <a:pt x="3375025" y="1336675"/>
                  </a:lnTo>
                  <a:lnTo>
                    <a:pt x="3352800" y="1336675"/>
                  </a:lnTo>
                  <a:lnTo>
                    <a:pt x="3340100" y="1339850"/>
                  </a:lnTo>
                  <a:lnTo>
                    <a:pt x="3327400" y="1336675"/>
                  </a:lnTo>
                  <a:lnTo>
                    <a:pt x="3321050" y="1314450"/>
                  </a:lnTo>
                  <a:lnTo>
                    <a:pt x="3317875" y="1301750"/>
                  </a:lnTo>
                  <a:lnTo>
                    <a:pt x="3308350" y="1304925"/>
                  </a:lnTo>
                  <a:lnTo>
                    <a:pt x="3298825" y="1314450"/>
                  </a:lnTo>
                  <a:lnTo>
                    <a:pt x="3305175" y="1330325"/>
                  </a:lnTo>
                  <a:lnTo>
                    <a:pt x="3305175" y="1349375"/>
                  </a:lnTo>
                  <a:lnTo>
                    <a:pt x="3295650" y="1358900"/>
                  </a:lnTo>
                  <a:lnTo>
                    <a:pt x="3282950" y="1371600"/>
                  </a:lnTo>
                  <a:lnTo>
                    <a:pt x="3276600" y="1374775"/>
                  </a:lnTo>
                  <a:lnTo>
                    <a:pt x="3254375" y="1381125"/>
                  </a:lnTo>
                  <a:lnTo>
                    <a:pt x="3241675" y="1374775"/>
                  </a:lnTo>
                  <a:lnTo>
                    <a:pt x="3238500" y="1368425"/>
                  </a:lnTo>
                  <a:lnTo>
                    <a:pt x="3238500" y="1374775"/>
                  </a:lnTo>
                  <a:lnTo>
                    <a:pt x="3238500" y="1381125"/>
                  </a:lnTo>
                  <a:lnTo>
                    <a:pt x="3238500" y="1387475"/>
                  </a:lnTo>
                  <a:lnTo>
                    <a:pt x="3248025" y="1403350"/>
                  </a:lnTo>
                  <a:lnTo>
                    <a:pt x="3254375" y="1403350"/>
                  </a:lnTo>
                  <a:lnTo>
                    <a:pt x="3257550" y="1393825"/>
                  </a:lnTo>
                  <a:lnTo>
                    <a:pt x="3260725" y="1403350"/>
                  </a:lnTo>
                  <a:lnTo>
                    <a:pt x="3260725" y="1409700"/>
                  </a:lnTo>
                  <a:lnTo>
                    <a:pt x="3267075" y="1416050"/>
                  </a:lnTo>
                  <a:lnTo>
                    <a:pt x="3267075" y="1431925"/>
                  </a:lnTo>
                  <a:lnTo>
                    <a:pt x="3260725" y="1431925"/>
                  </a:lnTo>
                  <a:lnTo>
                    <a:pt x="3257550" y="1435100"/>
                  </a:lnTo>
                  <a:lnTo>
                    <a:pt x="3263900" y="1441450"/>
                  </a:lnTo>
                  <a:lnTo>
                    <a:pt x="3276600" y="1450975"/>
                  </a:lnTo>
                  <a:lnTo>
                    <a:pt x="3282950" y="1460500"/>
                  </a:lnTo>
                  <a:lnTo>
                    <a:pt x="3286125" y="1476375"/>
                  </a:lnTo>
                  <a:lnTo>
                    <a:pt x="3282950" y="1482725"/>
                  </a:lnTo>
                  <a:lnTo>
                    <a:pt x="3273425" y="1492250"/>
                  </a:lnTo>
                  <a:lnTo>
                    <a:pt x="3254375" y="1485900"/>
                  </a:lnTo>
                  <a:lnTo>
                    <a:pt x="3228975" y="1470025"/>
                  </a:lnTo>
                  <a:lnTo>
                    <a:pt x="3225800" y="1485900"/>
                  </a:lnTo>
                  <a:lnTo>
                    <a:pt x="3216275" y="1492250"/>
                  </a:lnTo>
                  <a:lnTo>
                    <a:pt x="3194050" y="1504950"/>
                  </a:lnTo>
                  <a:lnTo>
                    <a:pt x="3171825" y="1517650"/>
                  </a:lnTo>
                  <a:lnTo>
                    <a:pt x="3168650" y="1517650"/>
                  </a:lnTo>
                  <a:lnTo>
                    <a:pt x="3159125" y="1517650"/>
                  </a:lnTo>
                  <a:lnTo>
                    <a:pt x="3149600" y="1533526"/>
                  </a:lnTo>
                  <a:lnTo>
                    <a:pt x="3140075" y="1543051"/>
                  </a:lnTo>
                  <a:lnTo>
                    <a:pt x="3130550" y="1543051"/>
                  </a:lnTo>
                  <a:lnTo>
                    <a:pt x="3130550" y="1552576"/>
                  </a:lnTo>
                  <a:lnTo>
                    <a:pt x="3124200" y="1555751"/>
                  </a:lnTo>
                  <a:lnTo>
                    <a:pt x="3117850" y="1558926"/>
                  </a:lnTo>
                  <a:lnTo>
                    <a:pt x="3101975" y="1574801"/>
                  </a:lnTo>
                  <a:lnTo>
                    <a:pt x="3089275" y="1587501"/>
                  </a:lnTo>
                  <a:lnTo>
                    <a:pt x="3082925" y="1600201"/>
                  </a:lnTo>
                  <a:lnTo>
                    <a:pt x="3073400" y="1584326"/>
                  </a:lnTo>
                  <a:lnTo>
                    <a:pt x="3073400" y="1577976"/>
                  </a:lnTo>
                  <a:lnTo>
                    <a:pt x="3063875" y="1574801"/>
                  </a:lnTo>
                  <a:lnTo>
                    <a:pt x="3051175" y="1571626"/>
                  </a:lnTo>
                  <a:lnTo>
                    <a:pt x="3025775" y="1577976"/>
                  </a:lnTo>
                  <a:lnTo>
                    <a:pt x="3000375" y="1603376"/>
                  </a:lnTo>
                  <a:lnTo>
                    <a:pt x="2997200" y="1606551"/>
                  </a:lnTo>
                  <a:lnTo>
                    <a:pt x="2994025" y="1597026"/>
                  </a:lnTo>
                  <a:lnTo>
                    <a:pt x="3000375" y="1577976"/>
                  </a:lnTo>
                  <a:lnTo>
                    <a:pt x="2994025" y="1577976"/>
                  </a:lnTo>
                  <a:lnTo>
                    <a:pt x="2990850" y="1581151"/>
                  </a:lnTo>
                  <a:lnTo>
                    <a:pt x="2978150" y="1590676"/>
                  </a:lnTo>
                  <a:lnTo>
                    <a:pt x="2968625" y="1600201"/>
                  </a:lnTo>
                  <a:lnTo>
                    <a:pt x="2962275" y="1597026"/>
                  </a:lnTo>
                  <a:lnTo>
                    <a:pt x="2949575" y="1593851"/>
                  </a:lnTo>
                  <a:lnTo>
                    <a:pt x="2940050" y="1597026"/>
                  </a:lnTo>
                  <a:lnTo>
                    <a:pt x="2936875" y="1606551"/>
                  </a:lnTo>
                  <a:lnTo>
                    <a:pt x="2936875" y="1616076"/>
                  </a:lnTo>
                  <a:lnTo>
                    <a:pt x="2933700" y="1628776"/>
                  </a:lnTo>
                  <a:lnTo>
                    <a:pt x="2927350" y="1638301"/>
                  </a:lnTo>
                  <a:lnTo>
                    <a:pt x="2908300" y="1670051"/>
                  </a:lnTo>
                  <a:lnTo>
                    <a:pt x="2908300" y="1685926"/>
                  </a:lnTo>
                  <a:lnTo>
                    <a:pt x="2911475" y="1689101"/>
                  </a:lnTo>
                  <a:lnTo>
                    <a:pt x="2914650" y="1692276"/>
                  </a:lnTo>
                  <a:lnTo>
                    <a:pt x="2917825" y="1682751"/>
                  </a:lnTo>
                  <a:lnTo>
                    <a:pt x="2927350" y="1685926"/>
                  </a:lnTo>
                  <a:lnTo>
                    <a:pt x="2933700" y="1689101"/>
                  </a:lnTo>
                  <a:lnTo>
                    <a:pt x="2933700" y="1695451"/>
                  </a:lnTo>
                  <a:lnTo>
                    <a:pt x="2924175" y="1704976"/>
                  </a:lnTo>
                  <a:lnTo>
                    <a:pt x="2921000" y="1711326"/>
                  </a:lnTo>
                  <a:lnTo>
                    <a:pt x="2924175" y="1724026"/>
                  </a:lnTo>
                  <a:lnTo>
                    <a:pt x="2924175" y="1733551"/>
                  </a:lnTo>
                  <a:lnTo>
                    <a:pt x="2933700" y="1733551"/>
                  </a:lnTo>
                  <a:lnTo>
                    <a:pt x="2933700" y="1752601"/>
                  </a:lnTo>
                  <a:lnTo>
                    <a:pt x="2927350" y="1758951"/>
                  </a:lnTo>
                  <a:lnTo>
                    <a:pt x="2917825" y="1752601"/>
                  </a:lnTo>
                  <a:lnTo>
                    <a:pt x="2917825" y="1749426"/>
                  </a:lnTo>
                  <a:lnTo>
                    <a:pt x="2908300" y="1758951"/>
                  </a:lnTo>
                  <a:lnTo>
                    <a:pt x="2905125" y="1765301"/>
                  </a:lnTo>
                  <a:lnTo>
                    <a:pt x="2898775" y="1784351"/>
                  </a:lnTo>
                  <a:lnTo>
                    <a:pt x="2901950" y="1793876"/>
                  </a:lnTo>
                  <a:lnTo>
                    <a:pt x="2905125" y="1800226"/>
                  </a:lnTo>
                  <a:lnTo>
                    <a:pt x="2908300" y="1806576"/>
                  </a:lnTo>
                  <a:lnTo>
                    <a:pt x="2901950" y="1816101"/>
                  </a:lnTo>
                  <a:lnTo>
                    <a:pt x="2895600" y="1816101"/>
                  </a:lnTo>
                  <a:lnTo>
                    <a:pt x="2889250" y="1816101"/>
                  </a:lnTo>
                  <a:lnTo>
                    <a:pt x="2889250" y="1812926"/>
                  </a:lnTo>
                  <a:lnTo>
                    <a:pt x="2882900" y="1812926"/>
                  </a:lnTo>
                  <a:lnTo>
                    <a:pt x="2873375" y="1822451"/>
                  </a:lnTo>
                  <a:lnTo>
                    <a:pt x="2860675" y="1835151"/>
                  </a:lnTo>
                  <a:lnTo>
                    <a:pt x="2857500" y="1854201"/>
                  </a:lnTo>
                  <a:lnTo>
                    <a:pt x="2854325" y="1863726"/>
                  </a:lnTo>
                  <a:lnTo>
                    <a:pt x="2851150" y="1863726"/>
                  </a:lnTo>
                  <a:lnTo>
                    <a:pt x="2832100" y="1870076"/>
                  </a:lnTo>
                  <a:lnTo>
                    <a:pt x="2832100" y="1876426"/>
                  </a:lnTo>
                  <a:lnTo>
                    <a:pt x="2828925" y="1882776"/>
                  </a:lnTo>
                  <a:lnTo>
                    <a:pt x="2790825" y="1943101"/>
                  </a:lnTo>
                  <a:lnTo>
                    <a:pt x="2787650" y="1927226"/>
                  </a:lnTo>
                  <a:lnTo>
                    <a:pt x="2787650" y="1911351"/>
                  </a:lnTo>
                  <a:lnTo>
                    <a:pt x="2784475" y="1892301"/>
                  </a:lnTo>
                  <a:lnTo>
                    <a:pt x="2774950" y="1844676"/>
                  </a:lnTo>
                  <a:lnTo>
                    <a:pt x="2768600" y="1803401"/>
                  </a:lnTo>
                  <a:lnTo>
                    <a:pt x="2765425" y="1784351"/>
                  </a:lnTo>
                  <a:lnTo>
                    <a:pt x="2768600" y="1762126"/>
                  </a:lnTo>
                  <a:lnTo>
                    <a:pt x="2774950" y="1739901"/>
                  </a:lnTo>
                  <a:lnTo>
                    <a:pt x="2778125" y="1730376"/>
                  </a:lnTo>
                  <a:lnTo>
                    <a:pt x="2784475" y="1724026"/>
                  </a:lnTo>
                  <a:lnTo>
                    <a:pt x="2794000" y="1714501"/>
                  </a:lnTo>
                  <a:lnTo>
                    <a:pt x="2797175" y="1701801"/>
                  </a:lnTo>
                  <a:lnTo>
                    <a:pt x="2803525" y="1689101"/>
                  </a:lnTo>
                  <a:lnTo>
                    <a:pt x="2828925" y="1676401"/>
                  </a:lnTo>
                  <a:lnTo>
                    <a:pt x="2851150" y="1651001"/>
                  </a:lnTo>
                  <a:lnTo>
                    <a:pt x="2857500" y="1641476"/>
                  </a:lnTo>
                  <a:lnTo>
                    <a:pt x="2863850" y="1628776"/>
                  </a:lnTo>
                  <a:lnTo>
                    <a:pt x="2889250" y="1606551"/>
                  </a:lnTo>
                  <a:lnTo>
                    <a:pt x="2901950" y="1590676"/>
                  </a:lnTo>
                  <a:lnTo>
                    <a:pt x="2905125" y="1584326"/>
                  </a:lnTo>
                  <a:lnTo>
                    <a:pt x="2908300" y="1574801"/>
                  </a:lnTo>
                  <a:lnTo>
                    <a:pt x="2921000" y="1565276"/>
                  </a:lnTo>
                  <a:lnTo>
                    <a:pt x="2933700" y="1562101"/>
                  </a:lnTo>
                  <a:lnTo>
                    <a:pt x="2940050" y="1558926"/>
                  </a:lnTo>
                  <a:lnTo>
                    <a:pt x="2946400" y="1549401"/>
                  </a:lnTo>
                  <a:lnTo>
                    <a:pt x="2949575" y="1527176"/>
                  </a:lnTo>
                  <a:lnTo>
                    <a:pt x="2952750" y="1508125"/>
                  </a:lnTo>
                  <a:lnTo>
                    <a:pt x="2949575" y="1504950"/>
                  </a:lnTo>
                  <a:lnTo>
                    <a:pt x="2959100" y="1489075"/>
                  </a:lnTo>
                  <a:lnTo>
                    <a:pt x="2971800" y="1485900"/>
                  </a:lnTo>
                  <a:lnTo>
                    <a:pt x="2978150" y="1485900"/>
                  </a:lnTo>
                  <a:lnTo>
                    <a:pt x="2952750" y="1476375"/>
                  </a:lnTo>
                  <a:lnTo>
                    <a:pt x="2936875" y="1482725"/>
                  </a:lnTo>
                  <a:lnTo>
                    <a:pt x="2930525" y="1492250"/>
                  </a:lnTo>
                  <a:lnTo>
                    <a:pt x="2924175" y="1514475"/>
                  </a:lnTo>
                  <a:lnTo>
                    <a:pt x="2924175" y="1520826"/>
                  </a:lnTo>
                  <a:lnTo>
                    <a:pt x="2911475" y="1527176"/>
                  </a:lnTo>
                  <a:lnTo>
                    <a:pt x="2886075" y="1555751"/>
                  </a:lnTo>
                  <a:lnTo>
                    <a:pt x="2870200" y="1568451"/>
                  </a:lnTo>
                  <a:lnTo>
                    <a:pt x="2867025" y="1571626"/>
                  </a:lnTo>
                  <a:lnTo>
                    <a:pt x="2863850" y="1558926"/>
                  </a:lnTo>
                  <a:lnTo>
                    <a:pt x="2860675" y="1543051"/>
                  </a:lnTo>
                  <a:lnTo>
                    <a:pt x="2863850" y="1533526"/>
                  </a:lnTo>
                  <a:lnTo>
                    <a:pt x="2867025" y="1530351"/>
                  </a:lnTo>
                  <a:lnTo>
                    <a:pt x="2870200" y="1520826"/>
                  </a:lnTo>
                  <a:lnTo>
                    <a:pt x="2870200" y="1511300"/>
                  </a:lnTo>
                  <a:lnTo>
                    <a:pt x="2863850" y="1514475"/>
                  </a:lnTo>
                  <a:lnTo>
                    <a:pt x="2851150" y="1514475"/>
                  </a:lnTo>
                  <a:lnTo>
                    <a:pt x="2835275" y="1514475"/>
                  </a:lnTo>
                  <a:lnTo>
                    <a:pt x="2822575" y="1517650"/>
                  </a:lnTo>
                  <a:lnTo>
                    <a:pt x="2809875" y="1517650"/>
                  </a:lnTo>
                  <a:lnTo>
                    <a:pt x="2797175" y="1527176"/>
                  </a:lnTo>
                  <a:lnTo>
                    <a:pt x="2790825" y="1533526"/>
                  </a:lnTo>
                  <a:lnTo>
                    <a:pt x="2784475" y="1546226"/>
                  </a:lnTo>
                  <a:lnTo>
                    <a:pt x="2762250" y="1574801"/>
                  </a:lnTo>
                  <a:lnTo>
                    <a:pt x="2752725" y="1584326"/>
                  </a:lnTo>
                  <a:lnTo>
                    <a:pt x="2740025" y="1600201"/>
                  </a:lnTo>
                  <a:lnTo>
                    <a:pt x="2736850" y="1609726"/>
                  </a:lnTo>
                  <a:lnTo>
                    <a:pt x="2743200" y="1616076"/>
                  </a:lnTo>
                  <a:lnTo>
                    <a:pt x="2752725" y="1619251"/>
                  </a:lnTo>
                  <a:lnTo>
                    <a:pt x="2759075" y="1625601"/>
                  </a:lnTo>
                  <a:lnTo>
                    <a:pt x="2759075" y="1631951"/>
                  </a:lnTo>
                  <a:lnTo>
                    <a:pt x="2736850" y="1638301"/>
                  </a:lnTo>
                  <a:lnTo>
                    <a:pt x="2727325" y="1628776"/>
                  </a:lnTo>
                  <a:lnTo>
                    <a:pt x="2720975" y="1628776"/>
                  </a:lnTo>
                  <a:lnTo>
                    <a:pt x="2714625" y="1635126"/>
                  </a:lnTo>
                  <a:lnTo>
                    <a:pt x="2708275" y="1644651"/>
                  </a:lnTo>
                  <a:lnTo>
                    <a:pt x="2705100" y="1644651"/>
                  </a:lnTo>
                  <a:lnTo>
                    <a:pt x="2682875" y="1644651"/>
                  </a:lnTo>
                  <a:lnTo>
                    <a:pt x="2679700" y="1644651"/>
                  </a:lnTo>
                  <a:lnTo>
                    <a:pt x="2673350" y="1641476"/>
                  </a:lnTo>
                  <a:lnTo>
                    <a:pt x="2670175" y="1635126"/>
                  </a:lnTo>
                  <a:lnTo>
                    <a:pt x="2676525" y="1635126"/>
                  </a:lnTo>
                  <a:lnTo>
                    <a:pt x="2689225" y="1631951"/>
                  </a:lnTo>
                  <a:lnTo>
                    <a:pt x="2695575" y="1631951"/>
                  </a:lnTo>
                  <a:lnTo>
                    <a:pt x="2692400" y="1625601"/>
                  </a:lnTo>
                  <a:lnTo>
                    <a:pt x="2676525" y="1616076"/>
                  </a:lnTo>
                  <a:lnTo>
                    <a:pt x="2667000" y="1616076"/>
                  </a:lnTo>
                  <a:lnTo>
                    <a:pt x="2647950" y="1609726"/>
                  </a:lnTo>
                  <a:lnTo>
                    <a:pt x="2638425" y="1606551"/>
                  </a:lnTo>
                  <a:lnTo>
                    <a:pt x="2628900" y="1616076"/>
                  </a:lnTo>
                  <a:lnTo>
                    <a:pt x="2622550" y="1628776"/>
                  </a:lnTo>
                  <a:lnTo>
                    <a:pt x="2613025" y="1628776"/>
                  </a:lnTo>
                  <a:lnTo>
                    <a:pt x="2584450" y="1625601"/>
                  </a:lnTo>
                  <a:lnTo>
                    <a:pt x="2568575" y="1628776"/>
                  </a:lnTo>
                  <a:lnTo>
                    <a:pt x="2559050" y="1631951"/>
                  </a:lnTo>
                  <a:lnTo>
                    <a:pt x="2552700" y="1622426"/>
                  </a:lnTo>
                  <a:lnTo>
                    <a:pt x="2549525" y="1622426"/>
                  </a:lnTo>
                  <a:lnTo>
                    <a:pt x="2543175" y="1622426"/>
                  </a:lnTo>
                  <a:lnTo>
                    <a:pt x="2540000" y="1622426"/>
                  </a:lnTo>
                  <a:lnTo>
                    <a:pt x="2530475" y="1622426"/>
                  </a:lnTo>
                  <a:lnTo>
                    <a:pt x="2533650" y="1625601"/>
                  </a:lnTo>
                  <a:lnTo>
                    <a:pt x="2527300" y="1622426"/>
                  </a:lnTo>
                  <a:lnTo>
                    <a:pt x="2517775" y="1622426"/>
                  </a:lnTo>
                  <a:lnTo>
                    <a:pt x="2501900" y="1625601"/>
                  </a:lnTo>
                  <a:lnTo>
                    <a:pt x="2486025" y="1628776"/>
                  </a:lnTo>
                  <a:lnTo>
                    <a:pt x="2476500" y="1638301"/>
                  </a:lnTo>
                  <a:lnTo>
                    <a:pt x="2457450" y="1660526"/>
                  </a:lnTo>
                  <a:lnTo>
                    <a:pt x="2454275" y="1663701"/>
                  </a:lnTo>
                  <a:lnTo>
                    <a:pt x="2447925" y="1666876"/>
                  </a:lnTo>
                  <a:lnTo>
                    <a:pt x="2444750" y="1673226"/>
                  </a:lnTo>
                  <a:lnTo>
                    <a:pt x="2441575" y="1682751"/>
                  </a:lnTo>
                  <a:lnTo>
                    <a:pt x="2428875" y="1698626"/>
                  </a:lnTo>
                  <a:lnTo>
                    <a:pt x="2419350" y="1708151"/>
                  </a:lnTo>
                  <a:lnTo>
                    <a:pt x="2393950" y="1733551"/>
                  </a:lnTo>
                  <a:lnTo>
                    <a:pt x="2390775" y="1739901"/>
                  </a:lnTo>
                  <a:lnTo>
                    <a:pt x="2387600" y="1746251"/>
                  </a:lnTo>
                  <a:lnTo>
                    <a:pt x="2374900" y="1758951"/>
                  </a:lnTo>
                  <a:lnTo>
                    <a:pt x="2352675" y="1778001"/>
                  </a:lnTo>
                  <a:lnTo>
                    <a:pt x="2336800" y="1793876"/>
                  </a:lnTo>
                  <a:lnTo>
                    <a:pt x="2327275" y="1809751"/>
                  </a:lnTo>
                  <a:lnTo>
                    <a:pt x="2336800" y="1812926"/>
                  </a:lnTo>
                  <a:lnTo>
                    <a:pt x="2343150" y="1812926"/>
                  </a:lnTo>
                  <a:lnTo>
                    <a:pt x="2352675" y="1812926"/>
                  </a:lnTo>
                  <a:lnTo>
                    <a:pt x="2359025" y="1812926"/>
                  </a:lnTo>
                  <a:lnTo>
                    <a:pt x="2359025" y="1835151"/>
                  </a:lnTo>
                  <a:lnTo>
                    <a:pt x="2359025" y="1841501"/>
                  </a:lnTo>
                  <a:lnTo>
                    <a:pt x="2362200" y="1844676"/>
                  </a:lnTo>
                  <a:lnTo>
                    <a:pt x="2371725" y="1838326"/>
                  </a:lnTo>
                  <a:lnTo>
                    <a:pt x="2371725" y="1835151"/>
                  </a:lnTo>
                  <a:lnTo>
                    <a:pt x="2368550" y="1828801"/>
                  </a:lnTo>
                  <a:lnTo>
                    <a:pt x="2381250" y="1825626"/>
                  </a:lnTo>
                  <a:lnTo>
                    <a:pt x="2378075" y="1838326"/>
                  </a:lnTo>
                  <a:lnTo>
                    <a:pt x="2374900" y="1847851"/>
                  </a:lnTo>
                  <a:lnTo>
                    <a:pt x="2387600" y="1854201"/>
                  </a:lnTo>
                  <a:lnTo>
                    <a:pt x="2393950" y="1854201"/>
                  </a:lnTo>
                  <a:lnTo>
                    <a:pt x="2397125" y="1854201"/>
                  </a:lnTo>
                  <a:lnTo>
                    <a:pt x="2403475" y="1825626"/>
                  </a:lnTo>
                  <a:lnTo>
                    <a:pt x="2422525" y="1825626"/>
                  </a:lnTo>
                  <a:lnTo>
                    <a:pt x="2435225" y="1838326"/>
                  </a:lnTo>
                  <a:lnTo>
                    <a:pt x="2460625" y="1863726"/>
                  </a:lnTo>
                  <a:lnTo>
                    <a:pt x="2460625" y="1866901"/>
                  </a:lnTo>
                  <a:lnTo>
                    <a:pt x="2457450" y="1876426"/>
                  </a:lnTo>
                  <a:lnTo>
                    <a:pt x="2460625" y="1892301"/>
                  </a:lnTo>
                  <a:lnTo>
                    <a:pt x="2457450" y="1911351"/>
                  </a:lnTo>
                  <a:lnTo>
                    <a:pt x="2454275" y="1917701"/>
                  </a:lnTo>
                  <a:lnTo>
                    <a:pt x="2451100" y="1920876"/>
                  </a:lnTo>
                  <a:lnTo>
                    <a:pt x="2444750" y="1943101"/>
                  </a:lnTo>
                  <a:lnTo>
                    <a:pt x="2441575" y="1952626"/>
                  </a:lnTo>
                  <a:lnTo>
                    <a:pt x="2441575" y="1958976"/>
                  </a:lnTo>
                  <a:lnTo>
                    <a:pt x="2441575" y="1974851"/>
                  </a:lnTo>
                  <a:lnTo>
                    <a:pt x="2441575" y="1981201"/>
                  </a:lnTo>
                  <a:lnTo>
                    <a:pt x="2444750" y="1987551"/>
                  </a:lnTo>
                  <a:lnTo>
                    <a:pt x="2438400" y="2000251"/>
                  </a:lnTo>
                  <a:lnTo>
                    <a:pt x="2435225" y="2022476"/>
                  </a:lnTo>
                  <a:lnTo>
                    <a:pt x="2428875" y="2032001"/>
                  </a:lnTo>
                  <a:lnTo>
                    <a:pt x="2422525" y="2041526"/>
                  </a:lnTo>
                  <a:lnTo>
                    <a:pt x="2403475" y="2066926"/>
                  </a:lnTo>
                  <a:lnTo>
                    <a:pt x="2397125" y="2079626"/>
                  </a:lnTo>
                  <a:lnTo>
                    <a:pt x="2390775" y="2092326"/>
                  </a:lnTo>
                  <a:lnTo>
                    <a:pt x="2390775" y="2095501"/>
                  </a:lnTo>
                  <a:lnTo>
                    <a:pt x="2381250" y="2108201"/>
                  </a:lnTo>
                  <a:lnTo>
                    <a:pt x="2371725" y="2117726"/>
                  </a:lnTo>
                  <a:lnTo>
                    <a:pt x="2362200" y="2130426"/>
                  </a:lnTo>
                  <a:lnTo>
                    <a:pt x="2352675" y="2143126"/>
                  </a:lnTo>
                  <a:lnTo>
                    <a:pt x="2343150" y="2155826"/>
                  </a:lnTo>
                  <a:lnTo>
                    <a:pt x="2333625" y="2165351"/>
                  </a:lnTo>
                  <a:lnTo>
                    <a:pt x="2333625" y="2171701"/>
                  </a:lnTo>
                  <a:lnTo>
                    <a:pt x="2317750" y="2184401"/>
                  </a:lnTo>
                  <a:lnTo>
                    <a:pt x="2292350" y="2200276"/>
                  </a:lnTo>
                  <a:lnTo>
                    <a:pt x="2286000" y="2203451"/>
                  </a:lnTo>
                  <a:lnTo>
                    <a:pt x="2279650" y="2203451"/>
                  </a:lnTo>
                  <a:lnTo>
                    <a:pt x="2273300" y="2200276"/>
                  </a:lnTo>
                  <a:lnTo>
                    <a:pt x="2266950" y="2200276"/>
                  </a:lnTo>
                  <a:lnTo>
                    <a:pt x="2263775" y="2190751"/>
                  </a:lnTo>
                  <a:lnTo>
                    <a:pt x="2260600" y="2184401"/>
                  </a:lnTo>
                  <a:lnTo>
                    <a:pt x="2251075" y="2193926"/>
                  </a:lnTo>
                  <a:lnTo>
                    <a:pt x="2241550" y="2203451"/>
                  </a:lnTo>
                  <a:lnTo>
                    <a:pt x="2235200" y="2209801"/>
                  </a:lnTo>
                  <a:lnTo>
                    <a:pt x="2228850" y="2216151"/>
                  </a:lnTo>
                  <a:lnTo>
                    <a:pt x="2228850" y="2212976"/>
                  </a:lnTo>
                  <a:lnTo>
                    <a:pt x="2225675" y="2206626"/>
                  </a:lnTo>
                  <a:lnTo>
                    <a:pt x="2222500" y="2203451"/>
                  </a:lnTo>
                  <a:lnTo>
                    <a:pt x="2228850" y="2200276"/>
                  </a:lnTo>
                  <a:lnTo>
                    <a:pt x="2235200" y="2200276"/>
                  </a:lnTo>
                  <a:lnTo>
                    <a:pt x="2241550" y="2197101"/>
                  </a:lnTo>
                  <a:lnTo>
                    <a:pt x="2238375" y="2193926"/>
                  </a:lnTo>
                  <a:lnTo>
                    <a:pt x="2241550" y="2190751"/>
                  </a:lnTo>
                  <a:lnTo>
                    <a:pt x="2244725" y="2181226"/>
                  </a:lnTo>
                  <a:lnTo>
                    <a:pt x="2241550" y="2178051"/>
                  </a:lnTo>
                  <a:lnTo>
                    <a:pt x="2241550" y="2174876"/>
                  </a:lnTo>
                  <a:lnTo>
                    <a:pt x="2241550" y="2165351"/>
                  </a:lnTo>
                  <a:lnTo>
                    <a:pt x="2244725" y="2162176"/>
                  </a:lnTo>
                  <a:lnTo>
                    <a:pt x="2238375" y="2143126"/>
                  </a:lnTo>
                  <a:lnTo>
                    <a:pt x="2251075" y="2133601"/>
                  </a:lnTo>
                  <a:lnTo>
                    <a:pt x="2260600" y="2127251"/>
                  </a:lnTo>
                  <a:lnTo>
                    <a:pt x="2276475" y="2133601"/>
                  </a:lnTo>
                  <a:lnTo>
                    <a:pt x="2279650" y="2133601"/>
                  </a:lnTo>
                  <a:lnTo>
                    <a:pt x="2282825" y="2127251"/>
                  </a:lnTo>
                  <a:lnTo>
                    <a:pt x="2289175" y="2117726"/>
                  </a:lnTo>
                  <a:lnTo>
                    <a:pt x="2292350" y="2108201"/>
                  </a:lnTo>
                  <a:lnTo>
                    <a:pt x="2298700" y="2095501"/>
                  </a:lnTo>
                  <a:lnTo>
                    <a:pt x="2301875" y="2076451"/>
                  </a:lnTo>
                  <a:lnTo>
                    <a:pt x="2305050" y="2063751"/>
                  </a:lnTo>
                  <a:lnTo>
                    <a:pt x="2308225" y="2060576"/>
                  </a:lnTo>
                  <a:lnTo>
                    <a:pt x="2311400" y="2060576"/>
                  </a:lnTo>
                  <a:lnTo>
                    <a:pt x="2317750" y="2051051"/>
                  </a:lnTo>
                  <a:lnTo>
                    <a:pt x="2317750" y="2047876"/>
                  </a:lnTo>
                  <a:lnTo>
                    <a:pt x="2317750" y="2032001"/>
                  </a:lnTo>
                  <a:lnTo>
                    <a:pt x="2314575" y="2028826"/>
                  </a:lnTo>
                  <a:lnTo>
                    <a:pt x="2311400" y="2028826"/>
                  </a:lnTo>
                  <a:lnTo>
                    <a:pt x="2286000" y="2035176"/>
                  </a:lnTo>
                  <a:lnTo>
                    <a:pt x="2276475" y="2041526"/>
                  </a:lnTo>
                  <a:lnTo>
                    <a:pt x="2270125" y="2051051"/>
                  </a:lnTo>
                  <a:lnTo>
                    <a:pt x="2247900" y="2051051"/>
                  </a:lnTo>
                  <a:lnTo>
                    <a:pt x="2238375" y="2051051"/>
                  </a:lnTo>
                  <a:lnTo>
                    <a:pt x="2232025" y="2041526"/>
                  </a:lnTo>
                  <a:lnTo>
                    <a:pt x="2225675" y="2022476"/>
                  </a:lnTo>
                  <a:lnTo>
                    <a:pt x="2225675" y="2019301"/>
                  </a:lnTo>
                  <a:lnTo>
                    <a:pt x="2219325" y="2012951"/>
                  </a:lnTo>
                  <a:lnTo>
                    <a:pt x="2212975" y="2006601"/>
                  </a:lnTo>
                  <a:lnTo>
                    <a:pt x="2206625" y="2000251"/>
                  </a:lnTo>
                  <a:lnTo>
                    <a:pt x="2206625" y="1997076"/>
                  </a:lnTo>
                  <a:lnTo>
                    <a:pt x="2190750" y="1993901"/>
                  </a:lnTo>
                  <a:lnTo>
                    <a:pt x="2181225" y="1990726"/>
                  </a:lnTo>
                  <a:lnTo>
                    <a:pt x="2171700" y="1990726"/>
                  </a:lnTo>
                  <a:lnTo>
                    <a:pt x="2162175" y="1981201"/>
                  </a:lnTo>
                  <a:lnTo>
                    <a:pt x="2162175" y="1974851"/>
                  </a:lnTo>
                  <a:lnTo>
                    <a:pt x="2162175" y="1968501"/>
                  </a:lnTo>
                  <a:lnTo>
                    <a:pt x="2155825" y="1958976"/>
                  </a:lnTo>
                  <a:lnTo>
                    <a:pt x="2159000" y="1958976"/>
                  </a:lnTo>
                  <a:lnTo>
                    <a:pt x="2155825" y="1952626"/>
                  </a:lnTo>
                  <a:lnTo>
                    <a:pt x="2155825" y="1949451"/>
                  </a:lnTo>
                  <a:lnTo>
                    <a:pt x="2143125" y="1917701"/>
                  </a:lnTo>
                  <a:lnTo>
                    <a:pt x="2139950" y="1905001"/>
                  </a:lnTo>
                  <a:lnTo>
                    <a:pt x="2136775" y="1892301"/>
                  </a:lnTo>
                  <a:lnTo>
                    <a:pt x="2130425" y="1879601"/>
                  </a:lnTo>
                  <a:lnTo>
                    <a:pt x="2120900" y="1870076"/>
                  </a:lnTo>
                  <a:lnTo>
                    <a:pt x="2111375" y="1863726"/>
                  </a:lnTo>
                  <a:lnTo>
                    <a:pt x="2105025" y="1866901"/>
                  </a:lnTo>
                  <a:lnTo>
                    <a:pt x="2101850" y="1863726"/>
                  </a:lnTo>
                  <a:lnTo>
                    <a:pt x="2073275" y="1851026"/>
                  </a:lnTo>
                  <a:lnTo>
                    <a:pt x="2051050" y="1857376"/>
                  </a:lnTo>
                  <a:lnTo>
                    <a:pt x="2041525" y="1857376"/>
                  </a:lnTo>
                  <a:lnTo>
                    <a:pt x="2032000" y="1860551"/>
                  </a:lnTo>
                  <a:lnTo>
                    <a:pt x="2022475" y="1860551"/>
                  </a:lnTo>
                  <a:lnTo>
                    <a:pt x="2016125" y="1863726"/>
                  </a:lnTo>
                  <a:lnTo>
                    <a:pt x="2003425" y="1879601"/>
                  </a:lnTo>
                  <a:lnTo>
                    <a:pt x="2003425" y="1882776"/>
                  </a:lnTo>
                  <a:lnTo>
                    <a:pt x="2006600" y="1885951"/>
                  </a:lnTo>
                  <a:lnTo>
                    <a:pt x="2012950" y="1885951"/>
                  </a:lnTo>
                  <a:lnTo>
                    <a:pt x="2016125" y="1895476"/>
                  </a:lnTo>
                  <a:lnTo>
                    <a:pt x="2012950" y="1905001"/>
                  </a:lnTo>
                  <a:lnTo>
                    <a:pt x="2006600" y="1914526"/>
                  </a:lnTo>
                  <a:lnTo>
                    <a:pt x="2000250" y="1920876"/>
                  </a:lnTo>
                  <a:lnTo>
                    <a:pt x="1993900" y="1939926"/>
                  </a:lnTo>
                  <a:lnTo>
                    <a:pt x="1987550" y="1952626"/>
                  </a:lnTo>
                  <a:lnTo>
                    <a:pt x="1981200" y="1962151"/>
                  </a:lnTo>
                  <a:lnTo>
                    <a:pt x="1981200" y="1965326"/>
                  </a:lnTo>
                  <a:lnTo>
                    <a:pt x="1984375" y="1965326"/>
                  </a:lnTo>
                  <a:lnTo>
                    <a:pt x="1981200" y="1974851"/>
                  </a:lnTo>
                  <a:lnTo>
                    <a:pt x="1965325" y="1981201"/>
                  </a:lnTo>
                  <a:lnTo>
                    <a:pt x="1952625" y="1990726"/>
                  </a:lnTo>
                  <a:lnTo>
                    <a:pt x="1927225" y="1981201"/>
                  </a:lnTo>
                  <a:lnTo>
                    <a:pt x="1914525" y="1974851"/>
                  </a:lnTo>
                  <a:lnTo>
                    <a:pt x="1908175" y="1978026"/>
                  </a:lnTo>
                  <a:lnTo>
                    <a:pt x="1901825" y="1978026"/>
                  </a:lnTo>
                  <a:lnTo>
                    <a:pt x="1892300" y="1971676"/>
                  </a:lnTo>
                  <a:lnTo>
                    <a:pt x="1882775" y="1965326"/>
                  </a:lnTo>
                  <a:lnTo>
                    <a:pt x="1873250" y="1968501"/>
                  </a:lnTo>
                  <a:lnTo>
                    <a:pt x="1860550" y="1974851"/>
                  </a:lnTo>
                  <a:lnTo>
                    <a:pt x="1851025" y="1984376"/>
                  </a:lnTo>
                  <a:lnTo>
                    <a:pt x="1841500" y="1993901"/>
                  </a:lnTo>
                  <a:lnTo>
                    <a:pt x="1838325" y="1990726"/>
                  </a:lnTo>
                  <a:lnTo>
                    <a:pt x="1831975" y="1990726"/>
                  </a:lnTo>
                  <a:lnTo>
                    <a:pt x="1819275" y="1997076"/>
                  </a:lnTo>
                  <a:lnTo>
                    <a:pt x="1806575" y="2000251"/>
                  </a:lnTo>
                  <a:lnTo>
                    <a:pt x="1797050" y="2003426"/>
                  </a:lnTo>
                  <a:lnTo>
                    <a:pt x="1784350" y="2003426"/>
                  </a:lnTo>
                  <a:lnTo>
                    <a:pt x="1778000" y="2000251"/>
                  </a:lnTo>
                  <a:lnTo>
                    <a:pt x="1774825" y="2000251"/>
                  </a:lnTo>
                  <a:lnTo>
                    <a:pt x="1765300" y="1997076"/>
                  </a:lnTo>
                  <a:lnTo>
                    <a:pt x="1755775" y="1997076"/>
                  </a:lnTo>
                  <a:lnTo>
                    <a:pt x="1743075" y="1990726"/>
                  </a:lnTo>
                  <a:lnTo>
                    <a:pt x="1739900" y="1987551"/>
                  </a:lnTo>
                  <a:lnTo>
                    <a:pt x="1739900" y="1978026"/>
                  </a:lnTo>
                  <a:lnTo>
                    <a:pt x="1724025" y="1974851"/>
                  </a:lnTo>
                  <a:lnTo>
                    <a:pt x="1717675" y="1968501"/>
                  </a:lnTo>
                  <a:lnTo>
                    <a:pt x="1711325" y="1965326"/>
                  </a:lnTo>
                  <a:lnTo>
                    <a:pt x="1676400" y="1962151"/>
                  </a:lnTo>
                  <a:lnTo>
                    <a:pt x="1663700" y="1965326"/>
                  </a:lnTo>
                  <a:lnTo>
                    <a:pt x="1654175" y="1971676"/>
                  </a:lnTo>
                  <a:lnTo>
                    <a:pt x="1628775" y="1965326"/>
                  </a:lnTo>
                  <a:lnTo>
                    <a:pt x="1622425" y="1958976"/>
                  </a:lnTo>
                  <a:lnTo>
                    <a:pt x="1616075" y="1955801"/>
                  </a:lnTo>
                  <a:lnTo>
                    <a:pt x="1616075" y="1936751"/>
                  </a:lnTo>
                  <a:lnTo>
                    <a:pt x="1616075" y="1930401"/>
                  </a:lnTo>
                  <a:lnTo>
                    <a:pt x="1609725" y="1927226"/>
                  </a:lnTo>
                  <a:lnTo>
                    <a:pt x="1600200" y="1924051"/>
                  </a:lnTo>
                  <a:lnTo>
                    <a:pt x="1568450" y="1917701"/>
                  </a:lnTo>
                  <a:lnTo>
                    <a:pt x="1555750" y="1911351"/>
                  </a:lnTo>
                  <a:lnTo>
                    <a:pt x="1546225" y="1901826"/>
                  </a:lnTo>
                  <a:lnTo>
                    <a:pt x="1539875" y="1914526"/>
                  </a:lnTo>
                  <a:lnTo>
                    <a:pt x="1530350" y="1917701"/>
                  </a:lnTo>
                  <a:lnTo>
                    <a:pt x="1524000" y="1930401"/>
                  </a:lnTo>
                  <a:lnTo>
                    <a:pt x="1520825" y="1939926"/>
                  </a:lnTo>
                  <a:lnTo>
                    <a:pt x="1524000" y="1949451"/>
                  </a:lnTo>
                  <a:lnTo>
                    <a:pt x="1527175" y="1955801"/>
                  </a:lnTo>
                  <a:lnTo>
                    <a:pt x="1530350" y="1955801"/>
                  </a:lnTo>
                  <a:lnTo>
                    <a:pt x="1530350" y="1965326"/>
                  </a:lnTo>
                  <a:lnTo>
                    <a:pt x="1511300" y="1984376"/>
                  </a:lnTo>
                  <a:lnTo>
                    <a:pt x="1504950" y="1981201"/>
                  </a:lnTo>
                  <a:lnTo>
                    <a:pt x="1489075" y="1974851"/>
                  </a:lnTo>
                  <a:lnTo>
                    <a:pt x="1476375" y="1974851"/>
                  </a:lnTo>
                  <a:lnTo>
                    <a:pt x="1473200" y="1974851"/>
                  </a:lnTo>
                  <a:lnTo>
                    <a:pt x="1466850" y="1978026"/>
                  </a:lnTo>
                  <a:lnTo>
                    <a:pt x="1444625" y="1965326"/>
                  </a:lnTo>
                  <a:lnTo>
                    <a:pt x="1444625" y="1955801"/>
                  </a:lnTo>
                  <a:lnTo>
                    <a:pt x="1438275" y="1955801"/>
                  </a:lnTo>
                  <a:lnTo>
                    <a:pt x="1425575" y="1955801"/>
                  </a:lnTo>
                  <a:lnTo>
                    <a:pt x="1419225" y="1955801"/>
                  </a:lnTo>
                  <a:lnTo>
                    <a:pt x="1416050" y="1952626"/>
                  </a:lnTo>
                  <a:lnTo>
                    <a:pt x="1403350" y="1949451"/>
                  </a:lnTo>
                  <a:lnTo>
                    <a:pt x="1377950" y="1958976"/>
                  </a:lnTo>
                  <a:lnTo>
                    <a:pt x="1349375" y="1974851"/>
                  </a:lnTo>
                  <a:lnTo>
                    <a:pt x="1343025" y="1978026"/>
                  </a:lnTo>
                  <a:lnTo>
                    <a:pt x="1343025" y="1984376"/>
                  </a:lnTo>
                  <a:lnTo>
                    <a:pt x="1333500" y="1993901"/>
                  </a:lnTo>
                  <a:lnTo>
                    <a:pt x="1304925" y="2003426"/>
                  </a:lnTo>
                  <a:lnTo>
                    <a:pt x="1292225" y="2003426"/>
                  </a:lnTo>
                  <a:lnTo>
                    <a:pt x="1285875" y="1997076"/>
                  </a:lnTo>
                  <a:lnTo>
                    <a:pt x="1282700" y="1987551"/>
                  </a:lnTo>
                  <a:lnTo>
                    <a:pt x="1279525" y="1981201"/>
                  </a:lnTo>
                  <a:lnTo>
                    <a:pt x="1273175" y="1987551"/>
                  </a:lnTo>
                  <a:lnTo>
                    <a:pt x="1263650" y="1990726"/>
                  </a:lnTo>
                  <a:lnTo>
                    <a:pt x="1247775" y="1987551"/>
                  </a:lnTo>
                  <a:lnTo>
                    <a:pt x="1231900" y="1965326"/>
                  </a:lnTo>
                  <a:lnTo>
                    <a:pt x="1222375" y="1949451"/>
                  </a:lnTo>
                  <a:lnTo>
                    <a:pt x="1212850" y="1943101"/>
                  </a:lnTo>
                  <a:lnTo>
                    <a:pt x="1206500" y="1939926"/>
                  </a:lnTo>
                  <a:lnTo>
                    <a:pt x="1200150" y="1943101"/>
                  </a:lnTo>
                  <a:lnTo>
                    <a:pt x="1193800" y="1946276"/>
                  </a:lnTo>
                  <a:lnTo>
                    <a:pt x="1193800" y="1949451"/>
                  </a:lnTo>
                  <a:lnTo>
                    <a:pt x="1177925" y="1949451"/>
                  </a:lnTo>
                  <a:lnTo>
                    <a:pt x="1165225" y="1949451"/>
                  </a:lnTo>
                  <a:lnTo>
                    <a:pt x="1158875" y="1943101"/>
                  </a:lnTo>
                  <a:lnTo>
                    <a:pt x="1162050" y="1936751"/>
                  </a:lnTo>
                  <a:lnTo>
                    <a:pt x="1158875" y="1933576"/>
                  </a:lnTo>
                  <a:lnTo>
                    <a:pt x="1158875" y="1936751"/>
                  </a:lnTo>
                  <a:lnTo>
                    <a:pt x="1149350" y="1930401"/>
                  </a:lnTo>
                  <a:lnTo>
                    <a:pt x="1146175" y="1933576"/>
                  </a:lnTo>
                  <a:lnTo>
                    <a:pt x="1143000" y="1943101"/>
                  </a:lnTo>
                  <a:lnTo>
                    <a:pt x="1136650" y="1949451"/>
                  </a:lnTo>
                  <a:lnTo>
                    <a:pt x="1136650" y="1946276"/>
                  </a:lnTo>
                  <a:lnTo>
                    <a:pt x="1133475" y="1939926"/>
                  </a:lnTo>
                  <a:lnTo>
                    <a:pt x="1130300" y="1936751"/>
                  </a:lnTo>
                  <a:lnTo>
                    <a:pt x="1127125" y="1930401"/>
                  </a:lnTo>
                  <a:lnTo>
                    <a:pt x="1127125" y="1924051"/>
                  </a:lnTo>
                  <a:lnTo>
                    <a:pt x="1120775" y="1914526"/>
                  </a:lnTo>
                  <a:lnTo>
                    <a:pt x="1117600" y="1905001"/>
                  </a:lnTo>
                  <a:lnTo>
                    <a:pt x="1114425" y="1901826"/>
                  </a:lnTo>
                  <a:lnTo>
                    <a:pt x="1111250" y="1898651"/>
                  </a:lnTo>
                  <a:lnTo>
                    <a:pt x="1108075" y="1892301"/>
                  </a:lnTo>
                  <a:lnTo>
                    <a:pt x="1104900" y="1889126"/>
                  </a:lnTo>
                  <a:lnTo>
                    <a:pt x="1101725" y="1879601"/>
                  </a:lnTo>
                  <a:lnTo>
                    <a:pt x="1095375" y="1870076"/>
                  </a:lnTo>
                  <a:lnTo>
                    <a:pt x="1095375" y="1866901"/>
                  </a:lnTo>
                  <a:lnTo>
                    <a:pt x="1082675" y="1851026"/>
                  </a:lnTo>
                  <a:lnTo>
                    <a:pt x="1069975" y="1844676"/>
                  </a:lnTo>
                  <a:lnTo>
                    <a:pt x="1063625" y="1835151"/>
                  </a:lnTo>
                  <a:lnTo>
                    <a:pt x="1060450" y="1828801"/>
                  </a:lnTo>
                  <a:lnTo>
                    <a:pt x="1060450" y="1822451"/>
                  </a:lnTo>
                  <a:lnTo>
                    <a:pt x="1054100" y="1825626"/>
                  </a:lnTo>
                  <a:lnTo>
                    <a:pt x="1047750" y="1828801"/>
                  </a:lnTo>
                  <a:lnTo>
                    <a:pt x="1038225" y="1835151"/>
                  </a:lnTo>
                  <a:lnTo>
                    <a:pt x="1031875" y="1841501"/>
                  </a:lnTo>
                  <a:lnTo>
                    <a:pt x="1028700" y="1841501"/>
                  </a:lnTo>
                  <a:lnTo>
                    <a:pt x="1019175" y="1844676"/>
                  </a:lnTo>
                  <a:lnTo>
                    <a:pt x="1009650" y="1851026"/>
                  </a:lnTo>
                  <a:lnTo>
                    <a:pt x="1003300" y="1847851"/>
                  </a:lnTo>
                  <a:lnTo>
                    <a:pt x="1000125" y="1847851"/>
                  </a:lnTo>
                  <a:lnTo>
                    <a:pt x="1000125" y="1851026"/>
                  </a:lnTo>
                  <a:lnTo>
                    <a:pt x="993775" y="1854201"/>
                  </a:lnTo>
                  <a:lnTo>
                    <a:pt x="990600" y="1847851"/>
                  </a:lnTo>
                  <a:lnTo>
                    <a:pt x="993775" y="1841501"/>
                  </a:lnTo>
                  <a:lnTo>
                    <a:pt x="990600" y="1835151"/>
                  </a:lnTo>
                  <a:lnTo>
                    <a:pt x="981075" y="1828801"/>
                  </a:lnTo>
                  <a:lnTo>
                    <a:pt x="968375" y="1822451"/>
                  </a:lnTo>
                  <a:lnTo>
                    <a:pt x="962025" y="1828801"/>
                  </a:lnTo>
                  <a:lnTo>
                    <a:pt x="949325" y="1831976"/>
                  </a:lnTo>
                  <a:lnTo>
                    <a:pt x="946150" y="1831976"/>
                  </a:lnTo>
                  <a:lnTo>
                    <a:pt x="942975" y="1825626"/>
                  </a:lnTo>
                  <a:lnTo>
                    <a:pt x="946150" y="1819276"/>
                  </a:lnTo>
                  <a:lnTo>
                    <a:pt x="939800" y="1800226"/>
                  </a:lnTo>
                  <a:lnTo>
                    <a:pt x="942975" y="1800226"/>
                  </a:lnTo>
                  <a:lnTo>
                    <a:pt x="942975" y="1797051"/>
                  </a:lnTo>
                  <a:lnTo>
                    <a:pt x="939800" y="1790701"/>
                  </a:lnTo>
                  <a:lnTo>
                    <a:pt x="933450" y="1787526"/>
                  </a:lnTo>
                  <a:lnTo>
                    <a:pt x="930275" y="1787526"/>
                  </a:lnTo>
                  <a:lnTo>
                    <a:pt x="920750" y="1790701"/>
                  </a:lnTo>
                  <a:lnTo>
                    <a:pt x="898525" y="1781176"/>
                  </a:lnTo>
                  <a:lnTo>
                    <a:pt x="892175" y="1784351"/>
                  </a:lnTo>
                  <a:lnTo>
                    <a:pt x="889000" y="1790701"/>
                  </a:lnTo>
                  <a:lnTo>
                    <a:pt x="882650" y="1790701"/>
                  </a:lnTo>
                  <a:lnTo>
                    <a:pt x="882650" y="1797051"/>
                  </a:lnTo>
                  <a:lnTo>
                    <a:pt x="873125" y="1803401"/>
                  </a:lnTo>
                  <a:lnTo>
                    <a:pt x="866775" y="1803401"/>
                  </a:lnTo>
                  <a:lnTo>
                    <a:pt x="844550" y="1809751"/>
                  </a:lnTo>
                  <a:lnTo>
                    <a:pt x="828675" y="1809751"/>
                  </a:lnTo>
                  <a:lnTo>
                    <a:pt x="822325" y="1812926"/>
                  </a:lnTo>
                  <a:lnTo>
                    <a:pt x="815975" y="1816101"/>
                  </a:lnTo>
                  <a:lnTo>
                    <a:pt x="815975" y="1819276"/>
                  </a:lnTo>
                  <a:lnTo>
                    <a:pt x="815975" y="1822451"/>
                  </a:lnTo>
                  <a:lnTo>
                    <a:pt x="812800" y="1819276"/>
                  </a:lnTo>
                  <a:lnTo>
                    <a:pt x="806450" y="1819276"/>
                  </a:lnTo>
                  <a:lnTo>
                    <a:pt x="790575" y="1825626"/>
                  </a:lnTo>
                  <a:lnTo>
                    <a:pt x="781050" y="1828801"/>
                  </a:lnTo>
                  <a:lnTo>
                    <a:pt x="771525" y="1828801"/>
                  </a:lnTo>
                  <a:lnTo>
                    <a:pt x="768350" y="1831976"/>
                  </a:lnTo>
                  <a:lnTo>
                    <a:pt x="765175" y="1831976"/>
                  </a:lnTo>
                  <a:lnTo>
                    <a:pt x="762000" y="1835151"/>
                  </a:lnTo>
                  <a:lnTo>
                    <a:pt x="758825" y="1835151"/>
                  </a:lnTo>
                  <a:lnTo>
                    <a:pt x="755650" y="1831976"/>
                  </a:lnTo>
                  <a:lnTo>
                    <a:pt x="752475" y="1835151"/>
                  </a:lnTo>
                  <a:lnTo>
                    <a:pt x="749300" y="1831976"/>
                  </a:lnTo>
                  <a:lnTo>
                    <a:pt x="746125" y="1835151"/>
                  </a:lnTo>
                  <a:lnTo>
                    <a:pt x="742950" y="1835151"/>
                  </a:lnTo>
                  <a:lnTo>
                    <a:pt x="739775" y="1835151"/>
                  </a:lnTo>
                  <a:lnTo>
                    <a:pt x="736600" y="1831976"/>
                  </a:lnTo>
                  <a:lnTo>
                    <a:pt x="730250" y="1831976"/>
                  </a:lnTo>
                  <a:lnTo>
                    <a:pt x="730250" y="1851026"/>
                  </a:lnTo>
                  <a:lnTo>
                    <a:pt x="733425" y="1851026"/>
                  </a:lnTo>
                  <a:lnTo>
                    <a:pt x="733425" y="1854201"/>
                  </a:lnTo>
                  <a:lnTo>
                    <a:pt x="739775" y="1863726"/>
                  </a:lnTo>
                  <a:lnTo>
                    <a:pt x="749300" y="1866901"/>
                  </a:lnTo>
                  <a:lnTo>
                    <a:pt x="746125" y="1870076"/>
                  </a:lnTo>
                  <a:lnTo>
                    <a:pt x="742950" y="1870076"/>
                  </a:lnTo>
                  <a:lnTo>
                    <a:pt x="739775" y="1870076"/>
                  </a:lnTo>
                  <a:lnTo>
                    <a:pt x="730250" y="1870076"/>
                  </a:lnTo>
                  <a:lnTo>
                    <a:pt x="727075" y="1873251"/>
                  </a:lnTo>
                  <a:lnTo>
                    <a:pt x="727075" y="1895476"/>
                  </a:lnTo>
                  <a:lnTo>
                    <a:pt x="717550" y="1901826"/>
                  </a:lnTo>
                  <a:lnTo>
                    <a:pt x="711200" y="1905001"/>
                  </a:lnTo>
                  <a:lnTo>
                    <a:pt x="708025" y="1911351"/>
                  </a:lnTo>
                  <a:lnTo>
                    <a:pt x="711200" y="1914526"/>
                  </a:lnTo>
                  <a:lnTo>
                    <a:pt x="723900" y="1920876"/>
                  </a:lnTo>
                  <a:lnTo>
                    <a:pt x="730250" y="1924051"/>
                  </a:lnTo>
                  <a:lnTo>
                    <a:pt x="736600" y="1927226"/>
                  </a:lnTo>
                  <a:lnTo>
                    <a:pt x="736600" y="1933576"/>
                  </a:lnTo>
                  <a:lnTo>
                    <a:pt x="736600" y="1946276"/>
                  </a:lnTo>
                  <a:lnTo>
                    <a:pt x="727075" y="1952626"/>
                  </a:lnTo>
                  <a:lnTo>
                    <a:pt x="714375" y="1952626"/>
                  </a:lnTo>
                  <a:lnTo>
                    <a:pt x="704850" y="1946276"/>
                  </a:lnTo>
                  <a:lnTo>
                    <a:pt x="698500" y="1955801"/>
                  </a:lnTo>
                  <a:lnTo>
                    <a:pt x="685800" y="1952626"/>
                  </a:lnTo>
                  <a:lnTo>
                    <a:pt x="676275" y="1949451"/>
                  </a:lnTo>
                  <a:lnTo>
                    <a:pt x="666750" y="1936751"/>
                  </a:lnTo>
                  <a:lnTo>
                    <a:pt x="657225" y="1936751"/>
                  </a:lnTo>
                  <a:lnTo>
                    <a:pt x="644525" y="1939926"/>
                  </a:lnTo>
                  <a:lnTo>
                    <a:pt x="631825" y="1939926"/>
                  </a:lnTo>
                  <a:lnTo>
                    <a:pt x="625475" y="1943101"/>
                  </a:lnTo>
                  <a:lnTo>
                    <a:pt x="619125" y="1949451"/>
                  </a:lnTo>
                  <a:lnTo>
                    <a:pt x="609600" y="1955801"/>
                  </a:lnTo>
                  <a:lnTo>
                    <a:pt x="596900" y="1943101"/>
                  </a:lnTo>
                  <a:lnTo>
                    <a:pt x="596900" y="1946276"/>
                  </a:lnTo>
                  <a:lnTo>
                    <a:pt x="593725" y="1946276"/>
                  </a:lnTo>
                  <a:lnTo>
                    <a:pt x="581025" y="1943101"/>
                  </a:lnTo>
                  <a:lnTo>
                    <a:pt x="577850" y="1939926"/>
                  </a:lnTo>
                  <a:lnTo>
                    <a:pt x="574675" y="1936751"/>
                  </a:lnTo>
                  <a:lnTo>
                    <a:pt x="574675" y="1933576"/>
                  </a:lnTo>
                  <a:lnTo>
                    <a:pt x="571500" y="1933576"/>
                  </a:lnTo>
                  <a:lnTo>
                    <a:pt x="568325" y="1933576"/>
                  </a:lnTo>
                  <a:lnTo>
                    <a:pt x="565150" y="1930401"/>
                  </a:lnTo>
                  <a:lnTo>
                    <a:pt x="565150" y="1927226"/>
                  </a:lnTo>
                  <a:lnTo>
                    <a:pt x="561975" y="1924051"/>
                  </a:lnTo>
                  <a:lnTo>
                    <a:pt x="542925" y="1927226"/>
                  </a:lnTo>
                  <a:lnTo>
                    <a:pt x="539750" y="1920876"/>
                  </a:lnTo>
                  <a:lnTo>
                    <a:pt x="530225" y="1917701"/>
                  </a:lnTo>
                  <a:lnTo>
                    <a:pt x="527050" y="1920876"/>
                  </a:lnTo>
                  <a:lnTo>
                    <a:pt x="517525" y="1917701"/>
                  </a:lnTo>
                  <a:lnTo>
                    <a:pt x="511175" y="1917701"/>
                  </a:lnTo>
                  <a:lnTo>
                    <a:pt x="508000" y="1917701"/>
                  </a:lnTo>
                  <a:lnTo>
                    <a:pt x="504825" y="1914526"/>
                  </a:lnTo>
                  <a:lnTo>
                    <a:pt x="495300" y="1927226"/>
                  </a:lnTo>
                  <a:lnTo>
                    <a:pt x="488950" y="1933576"/>
                  </a:lnTo>
                  <a:lnTo>
                    <a:pt x="485775" y="1933576"/>
                  </a:lnTo>
                  <a:lnTo>
                    <a:pt x="466725" y="1952626"/>
                  </a:lnTo>
                  <a:lnTo>
                    <a:pt x="457200" y="1955801"/>
                  </a:lnTo>
                  <a:lnTo>
                    <a:pt x="457200" y="1958976"/>
                  </a:lnTo>
                  <a:lnTo>
                    <a:pt x="463550" y="1974851"/>
                  </a:lnTo>
                  <a:lnTo>
                    <a:pt x="454025" y="1981201"/>
                  </a:lnTo>
                  <a:lnTo>
                    <a:pt x="447675" y="1974851"/>
                  </a:lnTo>
                  <a:lnTo>
                    <a:pt x="438150" y="1962151"/>
                  </a:lnTo>
                  <a:lnTo>
                    <a:pt x="434975" y="1958976"/>
                  </a:lnTo>
                  <a:lnTo>
                    <a:pt x="428625" y="1965326"/>
                  </a:lnTo>
                  <a:lnTo>
                    <a:pt x="428625" y="1974851"/>
                  </a:lnTo>
                  <a:lnTo>
                    <a:pt x="425450" y="1978026"/>
                  </a:lnTo>
                  <a:lnTo>
                    <a:pt x="419100" y="1993901"/>
                  </a:lnTo>
                  <a:lnTo>
                    <a:pt x="425450" y="2003426"/>
                  </a:lnTo>
                  <a:lnTo>
                    <a:pt x="415925" y="2012951"/>
                  </a:lnTo>
                  <a:lnTo>
                    <a:pt x="412750" y="2028826"/>
                  </a:lnTo>
                  <a:lnTo>
                    <a:pt x="419100" y="2028826"/>
                  </a:lnTo>
                  <a:lnTo>
                    <a:pt x="422275" y="2032001"/>
                  </a:lnTo>
                  <a:lnTo>
                    <a:pt x="422275" y="2041526"/>
                  </a:lnTo>
                  <a:lnTo>
                    <a:pt x="425450" y="2044701"/>
                  </a:lnTo>
                  <a:lnTo>
                    <a:pt x="425450" y="2047876"/>
                  </a:lnTo>
                  <a:lnTo>
                    <a:pt x="431800" y="2047876"/>
                  </a:lnTo>
                  <a:lnTo>
                    <a:pt x="444500" y="2047876"/>
                  </a:lnTo>
                  <a:lnTo>
                    <a:pt x="450850" y="2054226"/>
                  </a:lnTo>
                  <a:lnTo>
                    <a:pt x="457200" y="2060576"/>
                  </a:lnTo>
                  <a:lnTo>
                    <a:pt x="466725" y="2079626"/>
                  </a:lnTo>
                  <a:lnTo>
                    <a:pt x="460375" y="2082801"/>
                  </a:lnTo>
                  <a:lnTo>
                    <a:pt x="457200" y="2079626"/>
                  </a:lnTo>
                  <a:lnTo>
                    <a:pt x="457200" y="2082801"/>
                  </a:lnTo>
                  <a:lnTo>
                    <a:pt x="469900" y="2092326"/>
                  </a:lnTo>
                  <a:lnTo>
                    <a:pt x="488950" y="2108201"/>
                  </a:lnTo>
                  <a:lnTo>
                    <a:pt x="473075" y="2124076"/>
                  </a:lnTo>
                  <a:lnTo>
                    <a:pt x="463550" y="2136776"/>
                  </a:lnTo>
                  <a:lnTo>
                    <a:pt x="460375" y="2143126"/>
                  </a:lnTo>
                  <a:lnTo>
                    <a:pt x="463550" y="2149476"/>
                  </a:lnTo>
                  <a:lnTo>
                    <a:pt x="466725" y="2165351"/>
                  </a:lnTo>
                  <a:lnTo>
                    <a:pt x="466725" y="2171701"/>
                  </a:lnTo>
                  <a:lnTo>
                    <a:pt x="469900" y="2178051"/>
                  </a:lnTo>
                  <a:lnTo>
                    <a:pt x="476250" y="2190751"/>
                  </a:lnTo>
                  <a:lnTo>
                    <a:pt x="482600" y="2203451"/>
                  </a:lnTo>
                  <a:lnTo>
                    <a:pt x="457200" y="2224088"/>
                  </a:lnTo>
                  <a:lnTo>
                    <a:pt x="447675" y="2236788"/>
                  </a:lnTo>
                  <a:lnTo>
                    <a:pt x="438150" y="2243138"/>
                  </a:lnTo>
                  <a:lnTo>
                    <a:pt x="428625" y="2239963"/>
                  </a:lnTo>
                  <a:lnTo>
                    <a:pt x="422275" y="2230438"/>
                  </a:lnTo>
                  <a:lnTo>
                    <a:pt x="409575" y="2224088"/>
                  </a:lnTo>
                  <a:lnTo>
                    <a:pt x="403225" y="2220913"/>
                  </a:lnTo>
                  <a:lnTo>
                    <a:pt x="393700" y="2216151"/>
                  </a:lnTo>
                  <a:lnTo>
                    <a:pt x="387350" y="2209801"/>
                  </a:lnTo>
                  <a:lnTo>
                    <a:pt x="381000" y="2203451"/>
                  </a:lnTo>
                  <a:lnTo>
                    <a:pt x="374650" y="2206626"/>
                  </a:lnTo>
                  <a:lnTo>
                    <a:pt x="361950" y="2206626"/>
                  </a:lnTo>
                  <a:lnTo>
                    <a:pt x="352425" y="2203451"/>
                  </a:lnTo>
                  <a:lnTo>
                    <a:pt x="342900" y="2197101"/>
                  </a:lnTo>
                  <a:lnTo>
                    <a:pt x="333375" y="2190751"/>
                  </a:lnTo>
                  <a:lnTo>
                    <a:pt x="320675" y="2187576"/>
                  </a:lnTo>
                  <a:lnTo>
                    <a:pt x="311150" y="2187576"/>
                  </a:lnTo>
                  <a:lnTo>
                    <a:pt x="301625" y="2184401"/>
                  </a:lnTo>
                  <a:lnTo>
                    <a:pt x="292100" y="2181226"/>
                  </a:lnTo>
                  <a:lnTo>
                    <a:pt x="282575" y="2178051"/>
                  </a:lnTo>
                  <a:lnTo>
                    <a:pt x="273050" y="2184401"/>
                  </a:lnTo>
                  <a:lnTo>
                    <a:pt x="254000" y="2165351"/>
                  </a:lnTo>
                  <a:lnTo>
                    <a:pt x="234950" y="2152651"/>
                  </a:lnTo>
                  <a:lnTo>
                    <a:pt x="225425" y="2146301"/>
                  </a:lnTo>
                  <a:lnTo>
                    <a:pt x="219075" y="2143126"/>
                  </a:lnTo>
                  <a:lnTo>
                    <a:pt x="209550" y="2136776"/>
                  </a:lnTo>
                  <a:lnTo>
                    <a:pt x="206375" y="2127251"/>
                  </a:lnTo>
                  <a:lnTo>
                    <a:pt x="215900" y="2127251"/>
                  </a:lnTo>
                  <a:lnTo>
                    <a:pt x="225425" y="2111376"/>
                  </a:lnTo>
                  <a:lnTo>
                    <a:pt x="228600" y="2105026"/>
                  </a:lnTo>
                  <a:lnTo>
                    <a:pt x="234950" y="2101851"/>
                  </a:lnTo>
                  <a:lnTo>
                    <a:pt x="241300" y="2101851"/>
                  </a:lnTo>
                  <a:lnTo>
                    <a:pt x="228600" y="2092326"/>
                  </a:lnTo>
                  <a:lnTo>
                    <a:pt x="225425" y="2082801"/>
                  </a:lnTo>
                  <a:lnTo>
                    <a:pt x="238125" y="2076451"/>
                  </a:lnTo>
                  <a:lnTo>
                    <a:pt x="244475" y="2076451"/>
                  </a:lnTo>
                  <a:lnTo>
                    <a:pt x="257175" y="2070101"/>
                  </a:lnTo>
                  <a:lnTo>
                    <a:pt x="257175" y="2066926"/>
                  </a:lnTo>
                  <a:lnTo>
                    <a:pt x="257175" y="2063751"/>
                  </a:lnTo>
                  <a:lnTo>
                    <a:pt x="254000" y="2063751"/>
                  </a:lnTo>
                  <a:lnTo>
                    <a:pt x="250825" y="2063751"/>
                  </a:lnTo>
                  <a:lnTo>
                    <a:pt x="247650" y="2066926"/>
                  </a:lnTo>
                  <a:lnTo>
                    <a:pt x="234950" y="2070101"/>
                  </a:lnTo>
                  <a:lnTo>
                    <a:pt x="234950" y="2060576"/>
                  </a:lnTo>
                  <a:lnTo>
                    <a:pt x="238125" y="2051051"/>
                  </a:lnTo>
                  <a:lnTo>
                    <a:pt x="247650" y="2047876"/>
                  </a:lnTo>
                  <a:lnTo>
                    <a:pt x="257175" y="2044701"/>
                  </a:lnTo>
                  <a:lnTo>
                    <a:pt x="266700" y="2044701"/>
                  </a:lnTo>
                  <a:lnTo>
                    <a:pt x="266700" y="2041526"/>
                  </a:lnTo>
                  <a:lnTo>
                    <a:pt x="269875" y="2035176"/>
                  </a:lnTo>
                  <a:lnTo>
                    <a:pt x="269875" y="2028826"/>
                  </a:lnTo>
                  <a:lnTo>
                    <a:pt x="266700" y="2022476"/>
                  </a:lnTo>
                  <a:lnTo>
                    <a:pt x="266700" y="2016126"/>
                  </a:lnTo>
                  <a:lnTo>
                    <a:pt x="266700" y="2006601"/>
                  </a:lnTo>
                  <a:lnTo>
                    <a:pt x="273050" y="2003426"/>
                  </a:lnTo>
                  <a:lnTo>
                    <a:pt x="276225" y="1997076"/>
                  </a:lnTo>
                  <a:lnTo>
                    <a:pt x="273050" y="1987551"/>
                  </a:lnTo>
                  <a:lnTo>
                    <a:pt x="244475" y="1978026"/>
                  </a:lnTo>
                  <a:lnTo>
                    <a:pt x="228600" y="1974851"/>
                  </a:lnTo>
                  <a:lnTo>
                    <a:pt x="222250" y="1968501"/>
                  </a:lnTo>
                  <a:lnTo>
                    <a:pt x="215900" y="1962151"/>
                  </a:lnTo>
                  <a:lnTo>
                    <a:pt x="212725" y="1962151"/>
                  </a:lnTo>
                  <a:lnTo>
                    <a:pt x="206375" y="1965326"/>
                  </a:lnTo>
                  <a:lnTo>
                    <a:pt x="193675" y="1965326"/>
                  </a:lnTo>
                  <a:lnTo>
                    <a:pt x="177800" y="1958976"/>
                  </a:lnTo>
                  <a:lnTo>
                    <a:pt x="174625" y="1952626"/>
                  </a:lnTo>
                  <a:lnTo>
                    <a:pt x="171450" y="1943101"/>
                  </a:lnTo>
                  <a:lnTo>
                    <a:pt x="165100" y="1933576"/>
                  </a:lnTo>
                  <a:lnTo>
                    <a:pt x="149225" y="1930401"/>
                  </a:lnTo>
                  <a:lnTo>
                    <a:pt x="146050" y="1917701"/>
                  </a:lnTo>
                  <a:lnTo>
                    <a:pt x="142875" y="1898651"/>
                  </a:lnTo>
                  <a:lnTo>
                    <a:pt x="139700" y="1895476"/>
                  </a:lnTo>
                  <a:lnTo>
                    <a:pt x="130175" y="1892301"/>
                  </a:lnTo>
                  <a:lnTo>
                    <a:pt x="117475" y="1898651"/>
                  </a:lnTo>
                  <a:lnTo>
                    <a:pt x="104775" y="1905001"/>
                  </a:lnTo>
                  <a:lnTo>
                    <a:pt x="101600" y="1905001"/>
                  </a:lnTo>
                  <a:lnTo>
                    <a:pt x="95250" y="1901826"/>
                  </a:lnTo>
                  <a:lnTo>
                    <a:pt x="92075" y="1895476"/>
                  </a:lnTo>
                  <a:lnTo>
                    <a:pt x="92075" y="1892301"/>
                  </a:lnTo>
                  <a:lnTo>
                    <a:pt x="92075" y="1889126"/>
                  </a:lnTo>
                  <a:lnTo>
                    <a:pt x="88900" y="1882776"/>
                  </a:lnTo>
                  <a:lnTo>
                    <a:pt x="88900" y="1876426"/>
                  </a:lnTo>
                  <a:lnTo>
                    <a:pt x="85725" y="1873251"/>
                  </a:lnTo>
                  <a:lnTo>
                    <a:pt x="85725" y="1863726"/>
                  </a:lnTo>
                  <a:lnTo>
                    <a:pt x="92075" y="1863726"/>
                  </a:lnTo>
                  <a:lnTo>
                    <a:pt x="95250" y="1866901"/>
                  </a:lnTo>
                  <a:lnTo>
                    <a:pt x="101600" y="1870076"/>
                  </a:lnTo>
                  <a:lnTo>
                    <a:pt x="111125" y="1860551"/>
                  </a:lnTo>
                  <a:lnTo>
                    <a:pt x="117475" y="1854201"/>
                  </a:lnTo>
                  <a:lnTo>
                    <a:pt x="111125" y="1844676"/>
                  </a:lnTo>
                  <a:lnTo>
                    <a:pt x="95250" y="1841501"/>
                  </a:lnTo>
                  <a:lnTo>
                    <a:pt x="98425" y="1835151"/>
                  </a:lnTo>
                  <a:lnTo>
                    <a:pt x="82550" y="1809751"/>
                  </a:lnTo>
                  <a:lnTo>
                    <a:pt x="79375" y="1809751"/>
                  </a:lnTo>
                  <a:lnTo>
                    <a:pt x="76200" y="1797051"/>
                  </a:lnTo>
                  <a:lnTo>
                    <a:pt x="79375" y="1784351"/>
                  </a:lnTo>
                  <a:lnTo>
                    <a:pt x="76200" y="1774826"/>
                  </a:lnTo>
                  <a:lnTo>
                    <a:pt x="57150" y="1765301"/>
                  </a:lnTo>
                  <a:lnTo>
                    <a:pt x="44450" y="1768476"/>
                  </a:lnTo>
                  <a:lnTo>
                    <a:pt x="38100" y="1758951"/>
                  </a:lnTo>
                  <a:lnTo>
                    <a:pt x="31750" y="1758951"/>
                  </a:lnTo>
                  <a:lnTo>
                    <a:pt x="28575" y="1758951"/>
                  </a:lnTo>
                  <a:lnTo>
                    <a:pt x="22225" y="1755776"/>
                  </a:lnTo>
                  <a:lnTo>
                    <a:pt x="19050" y="1758951"/>
                  </a:lnTo>
                  <a:lnTo>
                    <a:pt x="15875" y="1752601"/>
                  </a:lnTo>
                  <a:lnTo>
                    <a:pt x="19050" y="1746251"/>
                  </a:lnTo>
                  <a:lnTo>
                    <a:pt x="15875" y="1736726"/>
                  </a:lnTo>
                  <a:lnTo>
                    <a:pt x="9525" y="1717676"/>
                  </a:lnTo>
                  <a:lnTo>
                    <a:pt x="9525" y="1711326"/>
                  </a:lnTo>
                  <a:lnTo>
                    <a:pt x="9525" y="1708151"/>
                  </a:lnTo>
                  <a:lnTo>
                    <a:pt x="0" y="1698626"/>
                  </a:lnTo>
                  <a:lnTo>
                    <a:pt x="3175" y="1689101"/>
                  </a:lnTo>
                  <a:lnTo>
                    <a:pt x="6350" y="1689101"/>
                  </a:lnTo>
                  <a:lnTo>
                    <a:pt x="9525" y="1682751"/>
                  </a:lnTo>
                  <a:lnTo>
                    <a:pt x="6350" y="1679576"/>
                  </a:lnTo>
                  <a:lnTo>
                    <a:pt x="3175" y="1654176"/>
                  </a:lnTo>
                  <a:lnTo>
                    <a:pt x="9525" y="1631951"/>
                  </a:lnTo>
                  <a:lnTo>
                    <a:pt x="12700" y="1619251"/>
                  </a:lnTo>
                  <a:lnTo>
                    <a:pt x="15875" y="1612901"/>
                  </a:lnTo>
                  <a:lnTo>
                    <a:pt x="28575" y="1606551"/>
                  </a:lnTo>
                  <a:lnTo>
                    <a:pt x="34925" y="1603376"/>
                  </a:lnTo>
                  <a:lnTo>
                    <a:pt x="38100" y="1597026"/>
                  </a:lnTo>
                  <a:lnTo>
                    <a:pt x="34925" y="1587501"/>
                  </a:lnTo>
                  <a:lnTo>
                    <a:pt x="22225" y="1574801"/>
                  </a:lnTo>
                  <a:lnTo>
                    <a:pt x="9525" y="1574801"/>
                  </a:lnTo>
                  <a:lnTo>
                    <a:pt x="53975" y="1527176"/>
                  </a:lnTo>
                  <a:lnTo>
                    <a:pt x="76200" y="1492250"/>
                  </a:lnTo>
                  <a:lnTo>
                    <a:pt x="85725" y="1482725"/>
                  </a:lnTo>
                  <a:lnTo>
                    <a:pt x="92075" y="1466850"/>
                  </a:lnTo>
                  <a:lnTo>
                    <a:pt x="69850" y="1441450"/>
                  </a:lnTo>
                  <a:lnTo>
                    <a:pt x="60325" y="1431925"/>
                  </a:lnTo>
                  <a:lnTo>
                    <a:pt x="57150" y="1425575"/>
                  </a:lnTo>
                  <a:lnTo>
                    <a:pt x="60325" y="1422400"/>
                  </a:lnTo>
                  <a:lnTo>
                    <a:pt x="69850" y="1409700"/>
                  </a:lnTo>
                  <a:lnTo>
                    <a:pt x="63500" y="1384300"/>
                  </a:lnTo>
                  <a:lnTo>
                    <a:pt x="53975" y="1374775"/>
                  </a:lnTo>
                  <a:lnTo>
                    <a:pt x="47625" y="1362075"/>
                  </a:lnTo>
                  <a:lnTo>
                    <a:pt x="50800" y="1343025"/>
                  </a:lnTo>
                  <a:lnTo>
                    <a:pt x="53975" y="1330325"/>
                  </a:lnTo>
                  <a:lnTo>
                    <a:pt x="60325" y="1323975"/>
                  </a:lnTo>
                  <a:lnTo>
                    <a:pt x="44450" y="1276350"/>
                  </a:lnTo>
                  <a:lnTo>
                    <a:pt x="38100" y="1260475"/>
                  </a:lnTo>
                  <a:lnTo>
                    <a:pt x="41275" y="1250950"/>
                  </a:lnTo>
                  <a:lnTo>
                    <a:pt x="47625" y="1241425"/>
                  </a:lnTo>
                  <a:lnTo>
                    <a:pt x="57150" y="1225550"/>
                  </a:lnTo>
                  <a:lnTo>
                    <a:pt x="57150" y="1216025"/>
                  </a:lnTo>
                  <a:lnTo>
                    <a:pt x="50800" y="1206500"/>
                  </a:lnTo>
                  <a:lnTo>
                    <a:pt x="38100" y="1193800"/>
                  </a:lnTo>
                  <a:lnTo>
                    <a:pt x="31750" y="1190625"/>
                  </a:lnTo>
                  <a:lnTo>
                    <a:pt x="25400" y="1181100"/>
                  </a:lnTo>
                  <a:lnTo>
                    <a:pt x="22225" y="1168400"/>
                  </a:lnTo>
                  <a:lnTo>
                    <a:pt x="22225" y="1149350"/>
                  </a:lnTo>
                  <a:lnTo>
                    <a:pt x="28575" y="1143000"/>
                  </a:lnTo>
                  <a:lnTo>
                    <a:pt x="34925" y="1139825"/>
                  </a:lnTo>
                  <a:lnTo>
                    <a:pt x="41275" y="1127125"/>
                  </a:lnTo>
                  <a:lnTo>
                    <a:pt x="41275" y="1123950"/>
                  </a:lnTo>
                  <a:lnTo>
                    <a:pt x="57150" y="1114425"/>
                  </a:lnTo>
                  <a:lnTo>
                    <a:pt x="63500" y="1108075"/>
                  </a:lnTo>
                  <a:lnTo>
                    <a:pt x="73025" y="1108075"/>
                  </a:lnTo>
                  <a:lnTo>
                    <a:pt x="76200" y="1092200"/>
                  </a:lnTo>
                  <a:lnTo>
                    <a:pt x="85725" y="1098550"/>
                  </a:lnTo>
                  <a:lnTo>
                    <a:pt x="92075" y="1098550"/>
                  </a:lnTo>
                  <a:lnTo>
                    <a:pt x="95250" y="1092200"/>
                  </a:lnTo>
                  <a:lnTo>
                    <a:pt x="101600" y="1082675"/>
                  </a:lnTo>
                  <a:lnTo>
                    <a:pt x="114300" y="1092200"/>
                  </a:lnTo>
                  <a:lnTo>
                    <a:pt x="123825" y="1095375"/>
                  </a:lnTo>
                  <a:lnTo>
                    <a:pt x="120650" y="1108075"/>
                  </a:lnTo>
                  <a:lnTo>
                    <a:pt x="130175" y="1114425"/>
                  </a:lnTo>
                  <a:lnTo>
                    <a:pt x="142875" y="1120775"/>
                  </a:lnTo>
                  <a:lnTo>
                    <a:pt x="161925" y="1123950"/>
                  </a:lnTo>
                  <a:lnTo>
                    <a:pt x="184150" y="1130300"/>
                  </a:lnTo>
                  <a:lnTo>
                    <a:pt x="212725" y="1152525"/>
                  </a:lnTo>
                  <a:lnTo>
                    <a:pt x="225425" y="1162050"/>
                  </a:lnTo>
                  <a:lnTo>
                    <a:pt x="238125" y="1174750"/>
                  </a:lnTo>
                  <a:lnTo>
                    <a:pt x="254000" y="1190625"/>
                  </a:lnTo>
                  <a:lnTo>
                    <a:pt x="263525" y="1196975"/>
                  </a:lnTo>
                  <a:lnTo>
                    <a:pt x="292100" y="1216025"/>
                  </a:lnTo>
                  <a:lnTo>
                    <a:pt x="301625" y="1244600"/>
                  </a:lnTo>
                  <a:lnTo>
                    <a:pt x="298450" y="1266825"/>
                  </a:lnTo>
                  <a:lnTo>
                    <a:pt x="288925" y="1282700"/>
                  </a:lnTo>
                  <a:lnTo>
                    <a:pt x="276225" y="1295400"/>
                  </a:lnTo>
                  <a:lnTo>
                    <a:pt x="250825" y="1304925"/>
                  </a:lnTo>
                  <a:lnTo>
                    <a:pt x="225425" y="1304925"/>
                  </a:lnTo>
                  <a:lnTo>
                    <a:pt x="196850" y="1295400"/>
                  </a:lnTo>
                  <a:lnTo>
                    <a:pt x="168275" y="1285875"/>
                  </a:lnTo>
                  <a:lnTo>
                    <a:pt x="142875" y="1273175"/>
                  </a:lnTo>
                  <a:lnTo>
                    <a:pt x="130175" y="1270000"/>
                  </a:lnTo>
                  <a:lnTo>
                    <a:pt x="117475" y="1257300"/>
                  </a:lnTo>
                  <a:lnTo>
                    <a:pt x="117475" y="1254125"/>
                  </a:lnTo>
                  <a:lnTo>
                    <a:pt x="111125" y="1247775"/>
                  </a:lnTo>
                  <a:lnTo>
                    <a:pt x="95250" y="1247775"/>
                  </a:lnTo>
                  <a:lnTo>
                    <a:pt x="107950" y="1260475"/>
                  </a:lnTo>
                  <a:lnTo>
                    <a:pt x="114300" y="1266825"/>
                  </a:lnTo>
                  <a:lnTo>
                    <a:pt x="117475" y="1276350"/>
                  </a:lnTo>
                  <a:lnTo>
                    <a:pt x="130175" y="1285875"/>
                  </a:lnTo>
                  <a:lnTo>
                    <a:pt x="136525" y="1292225"/>
                  </a:lnTo>
                  <a:lnTo>
                    <a:pt x="161925" y="1317625"/>
                  </a:lnTo>
                  <a:lnTo>
                    <a:pt x="165100" y="1327150"/>
                  </a:lnTo>
                  <a:lnTo>
                    <a:pt x="158750" y="1339850"/>
                  </a:lnTo>
                  <a:lnTo>
                    <a:pt x="155575" y="1339850"/>
                  </a:lnTo>
                  <a:lnTo>
                    <a:pt x="152400" y="1343025"/>
                  </a:lnTo>
                  <a:lnTo>
                    <a:pt x="158750" y="1365250"/>
                  </a:lnTo>
                  <a:lnTo>
                    <a:pt x="161925" y="1374775"/>
                  </a:lnTo>
                  <a:lnTo>
                    <a:pt x="158750" y="1387475"/>
                  </a:lnTo>
                  <a:lnTo>
                    <a:pt x="171450" y="1397000"/>
                  </a:lnTo>
                  <a:lnTo>
                    <a:pt x="174625" y="1397000"/>
                  </a:lnTo>
                  <a:lnTo>
                    <a:pt x="177800" y="1393825"/>
                  </a:lnTo>
                  <a:lnTo>
                    <a:pt x="187325" y="1403350"/>
                  </a:lnTo>
                  <a:lnTo>
                    <a:pt x="190500" y="1412875"/>
                  </a:lnTo>
                  <a:lnTo>
                    <a:pt x="200025" y="1416050"/>
                  </a:lnTo>
                  <a:lnTo>
                    <a:pt x="209550" y="1419225"/>
                  </a:lnTo>
                  <a:lnTo>
                    <a:pt x="222250" y="1416050"/>
                  </a:lnTo>
                  <a:lnTo>
                    <a:pt x="231775" y="1412875"/>
                  </a:lnTo>
                  <a:lnTo>
                    <a:pt x="228600" y="1400175"/>
                  </a:lnTo>
                  <a:lnTo>
                    <a:pt x="209550" y="1393825"/>
                  </a:lnTo>
                  <a:lnTo>
                    <a:pt x="200025" y="1374775"/>
                  </a:lnTo>
                  <a:lnTo>
                    <a:pt x="203200" y="1358900"/>
                  </a:lnTo>
                  <a:lnTo>
                    <a:pt x="206375" y="1352550"/>
                  </a:lnTo>
                  <a:lnTo>
                    <a:pt x="222250" y="1358900"/>
                  </a:lnTo>
                  <a:lnTo>
                    <a:pt x="231775" y="1374775"/>
                  </a:lnTo>
                  <a:lnTo>
                    <a:pt x="238125" y="1374775"/>
                  </a:lnTo>
                  <a:lnTo>
                    <a:pt x="244475" y="1374775"/>
                  </a:lnTo>
                  <a:lnTo>
                    <a:pt x="257175" y="1381125"/>
                  </a:lnTo>
                  <a:lnTo>
                    <a:pt x="269875" y="1387475"/>
                  </a:lnTo>
                  <a:lnTo>
                    <a:pt x="282575" y="1387475"/>
                  </a:lnTo>
                  <a:lnTo>
                    <a:pt x="282575" y="1384300"/>
                  </a:lnTo>
                  <a:lnTo>
                    <a:pt x="269875" y="1352550"/>
                  </a:lnTo>
                  <a:lnTo>
                    <a:pt x="266700" y="1339850"/>
                  </a:lnTo>
                  <a:lnTo>
                    <a:pt x="269875" y="1330325"/>
                  </a:lnTo>
                  <a:lnTo>
                    <a:pt x="288925" y="1314450"/>
                  </a:lnTo>
                  <a:lnTo>
                    <a:pt x="307975" y="1301750"/>
                  </a:lnTo>
                  <a:lnTo>
                    <a:pt x="317500" y="1289050"/>
                  </a:lnTo>
                  <a:lnTo>
                    <a:pt x="323850" y="1282700"/>
                  </a:lnTo>
                  <a:lnTo>
                    <a:pt x="339725" y="1289050"/>
                  </a:lnTo>
                  <a:lnTo>
                    <a:pt x="352425" y="1295400"/>
                  </a:lnTo>
                  <a:lnTo>
                    <a:pt x="358775" y="1301750"/>
                  </a:lnTo>
                  <a:lnTo>
                    <a:pt x="361950" y="1298575"/>
                  </a:lnTo>
                  <a:lnTo>
                    <a:pt x="368300" y="1276350"/>
                  </a:lnTo>
                  <a:lnTo>
                    <a:pt x="368300" y="1263650"/>
                  </a:lnTo>
                  <a:lnTo>
                    <a:pt x="361950" y="1247775"/>
                  </a:lnTo>
                  <a:lnTo>
                    <a:pt x="352425" y="1244600"/>
                  </a:lnTo>
                  <a:lnTo>
                    <a:pt x="358775" y="1225550"/>
                  </a:lnTo>
                  <a:lnTo>
                    <a:pt x="361950" y="1193800"/>
                  </a:lnTo>
                  <a:lnTo>
                    <a:pt x="365125" y="1184275"/>
                  </a:lnTo>
                  <a:lnTo>
                    <a:pt x="358775" y="1177925"/>
                  </a:lnTo>
                  <a:lnTo>
                    <a:pt x="346075" y="1168400"/>
                  </a:lnTo>
                  <a:lnTo>
                    <a:pt x="342900" y="1162050"/>
                  </a:lnTo>
                  <a:lnTo>
                    <a:pt x="346075" y="1162050"/>
                  </a:lnTo>
                  <a:lnTo>
                    <a:pt x="358775" y="1168400"/>
                  </a:lnTo>
                  <a:lnTo>
                    <a:pt x="371475" y="1168400"/>
                  </a:lnTo>
                  <a:lnTo>
                    <a:pt x="396875" y="1171575"/>
                  </a:lnTo>
                  <a:lnTo>
                    <a:pt x="406400" y="1184275"/>
                  </a:lnTo>
                  <a:lnTo>
                    <a:pt x="412750" y="1193800"/>
                  </a:lnTo>
                  <a:lnTo>
                    <a:pt x="415925" y="1206500"/>
                  </a:lnTo>
                  <a:lnTo>
                    <a:pt x="406400" y="1212850"/>
                  </a:lnTo>
                  <a:lnTo>
                    <a:pt x="393700" y="1212850"/>
                  </a:lnTo>
                  <a:lnTo>
                    <a:pt x="384175" y="1225550"/>
                  </a:lnTo>
                  <a:lnTo>
                    <a:pt x="381000" y="1238250"/>
                  </a:lnTo>
                  <a:lnTo>
                    <a:pt x="393700" y="1254125"/>
                  </a:lnTo>
                  <a:lnTo>
                    <a:pt x="396875" y="1263650"/>
                  </a:lnTo>
                  <a:lnTo>
                    <a:pt x="403225" y="1266825"/>
                  </a:lnTo>
                  <a:lnTo>
                    <a:pt x="412750" y="1266825"/>
                  </a:lnTo>
                  <a:lnTo>
                    <a:pt x="428625" y="1263650"/>
                  </a:lnTo>
                  <a:lnTo>
                    <a:pt x="438150" y="1257300"/>
                  </a:lnTo>
                  <a:lnTo>
                    <a:pt x="441325" y="1235075"/>
                  </a:lnTo>
                  <a:lnTo>
                    <a:pt x="441325" y="1225550"/>
                  </a:lnTo>
                  <a:lnTo>
                    <a:pt x="447675" y="1219200"/>
                  </a:lnTo>
                  <a:lnTo>
                    <a:pt x="460375" y="1216025"/>
                  </a:lnTo>
                  <a:lnTo>
                    <a:pt x="488950" y="1193800"/>
                  </a:lnTo>
                  <a:lnTo>
                    <a:pt x="501650" y="1184275"/>
                  </a:lnTo>
                  <a:lnTo>
                    <a:pt x="514350" y="1177925"/>
                  </a:lnTo>
                  <a:lnTo>
                    <a:pt x="527050" y="1171575"/>
                  </a:lnTo>
                  <a:lnTo>
                    <a:pt x="549275" y="1155700"/>
                  </a:lnTo>
                  <a:lnTo>
                    <a:pt x="561975" y="1149350"/>
                  </a:lnTo>
                  <a:lnTo>
                    <a:pt x="574675" y="1143000"/>
                  </a:lnTo>
                  <a:lnTo>
                    <a:pt x="581025" y="1146175"/>
                  </a:lnTo>
                  <a:lnTo>
                    <a:pt x="571500" y="1155700"/>
                  </a:lnTo>
                  <a:lnTo>
                    <a:pt x="561975" y="1177925"/>
                  </a:lnTo>
                  <a:lnTo>
                    <a:pt x="558800" y="1187450"/>
                  </a:lnTo>
                  <a:lnTo>
                    <a:pt x="571500" y="1187450"/>
                  </a:lnTo>
                  <a:lnTo>
                    <a:pt x="581025" y="1187450"/>
                  </a:lnTo>
                  <a:lnTo>
                    <a:pt x="593725" y="1177925"/>
                  </a:lnTo>
                  <a:lnTo>
                    <a:pt x="603250" y="1168400"/>
                  </a:lnTo>
                  <a:lnTo>
                    <a:pt x="615950" y="1165225"/>
                  </a:lnTo>
                  <a:lnTo>
                    <a:pt x="628650" y="1168400"/>
                  </a:lnTo>
                  <a:lnTo>
                    <a:pt x="628650" y="1165225"/>
                  </a:lnTo>
                  <a:lnTo>
                    <a:pt x="647700" y="1165225"/>
                  </a:lnTo>
                  <a:lnTo>
                    <a:pt x="650875" y="1158875"/>
                  </a:lnTo>
                  <a:lnTo>
                    <a:pt x="660400" y="1152525"/>
                  </a:lnTo>
                  <a:lnTo>
                    <a:pt x="676275" y="1143000"/>
                  </a:lnTo>
                  <a:lnTo>
                    <a:pt x="679450" y="1146175"/>
                  </a:lnTo>
                  <a:lnTo>
                    <a:pt x="682625" y="1146175"/>
                  </a:lnTo>
                  <a:lnTo>
                    <a:pt x="692150" y="1158875"/>
                  </a:lnTo>
                  <a:lnTo>
                    <a:pt x="685800" y="1168400"/>
                  </a:lnTo>
                  <a:lnTo>
                    <a:pt x="685800" y="1177925"/>
                  </a:lnTo>
                  <a:lnTo>
                    <a:pt x="692150" y="1181100"/>
                  </a:lnTo>
                  <a:lnTo>
                    <a:pt x="701675" y="1177925"/>
                  </a:lnTo>
                  <a:lnTo>
                    <a:pt x="717550" y="1155700"/>
                  </a:lnTo>
                  <a:lnTo>
                    <a:pt x="723900" y="1136650"/>
                  </a:lnTo>
                  <a:lnTo>
                    <a:pt x="720725" y="1130300"/>
                  </a:lnTo>
                  <a:lnTo>
                    <a:pt x="714375" y="1120775"/>
                  </a:lnTo>
                  <a:lnTo>
                    <a:pt x="708025" y="1108075"/>
                  </a:lnTo>
                  <a:lnTo>
                    <a:pt x="711200" y="1101725"/>
                  </a:lnTo>
                  <a:lnTo>
                    <a:pt x="723900" y="1089025"/>
                  </a:lnTo>
                  <a:lnTo>
                    <a:pt x="733425" y="1092200"/>
                  </a:lnTo>
                  <a:lnTo>
                    <a:pt x="762000" y="1095375"/>
                  </a:lnTo>
                  <a:lnTo>
                    <a:pt x="790575" y="1108075"/>
                  </a:lnTo>
                  <a:lnTo>
                    <a:pt x="800100" y="1114425"/>
                  </a:lnTo>
                  <a:lnTo>
                    <a:pt x="812800" y="1123950"/>
                  </a:lnTo>
                  <a:lnTo>
                    <a:pt x="822325" y="1130300"/>
                  </a:lnTo>
                  <a:lnTo>
                    <a:pt x="825500" y="1133475"/>
                  </a:lnTo>
                  <a:lnTo>
                    <a:pt x="831850" y="1139825"/>
                  </a:lnTo>
                  <a:lnTo>
                    <a:pt x="841375" y="1143000"/>
                  </a:lnTo>
                  <a:lnTo>
                    <a:pt x="857250" y="1155700"/>
                  </a:lnTo>
                  <a:lnTo>
                    <a:pt x="869950" y="1168400"/>
                  </a:lnTo>
                  <a:lnTo>
                    <a:pt x="879475" y="1174750"/>
                  </a:lnTo>
                  <a:lnTo>
                    <a:pt x="882650" y="1184275"/>
                  </a:lnTo>
                  <a:lnTo>
                    <a:pt x="882650" y="1190625"/>
                  </a:lnTo>
                  <a:lnTo>
                    <a:pt x="892175" y="1184275"/>
                  </a:lnTo>
                  <a:lnTo>
                    <a:pt x="895350" y="1165225"/>
                  </a:lnTo>
                  <a:lnTo>
                    <a:pt x="895350" y="1146175"/>
                  </a:lnTo>
                  <a:lnTo>
                    <a:pt x="879475" y="1127125"/>
                  </a:lnTo>
                  <a:lnTo>
                    <a:pt x="876300" y="1111250"/>
                  </a:lnTo>
                  <a:lnTo>
                    <a:pt x="866775" y="1104900"/>
                  </a:lnTo>
                  <a:lnTo>
                    <a:pt x="860425" y="1101725"/>
                  </a:lnTo>
                  <a:lnTo>
                    <a:pt x="854075" y="1098550"/>
                  </a:lnTo>
                  <a:lnTo>
                    <a:pt x="854075" y="1108075"/>
                  </a:lnTo>
                  <a:lnTo>
                    <a:pt x="850900" y="1089025"/>
                  </a:lnTo>
                  <a:lnTo>
                    <a:pt x="854075" y="1079500"/>
                  </a:lnTo>
                  <a:lnTo>
                    <a:pt x="860425" y="1041400"/>
                  </a:lnTo>
                  <a:lnTo>
                    <a:pt x="857250" y="1028700"/>
                  </a:lnTo>
                  <a:lnTo>
                    <a:pt x="850900" y="1031875"/>
                  </a:lnTo>
                  <a:lnTo>
                    <a:pt x="847725" y="1009650"/>
                  </a:lnTo>
                  <a:lnTo>
                    <a:pt x="854075" y="996950"/>
                  </a:lnTo>
                  <a:lnTo>
                    <a:pt x="857250" y="996950"/>
                  </a:lnTo>
                  <a:lnTo>
                    <a:pt x="882650" y="971550"/>
                  </a:lnTo>
                  <a:lnTo>
                    <a:pt x="898525" y="898525"/>
                  </a:lnTo>
                  <a:lnTo>
                    <a:pt x="904875" y="885825"/>
                  </a:lnTo>
                  <a:lnTo>
                    <a:pt x="908050" y="879475"/>
                  </a:lnTo>
                  <a:lnTo>
                    <a:pt x="914400" y="879475"/>
                  </a:lnTo>
                  <a:lnTo>
                    <a:pt x="936625" y="882650"/>
                  </a:lnTo>
                  <a:lnTo>
                    <a:pt x="952500" y="882650"/>
                  </a:lnTo>
                  <a:lnTo>
                    <a:pt x="974725" y="895350"/>
                  </a:lnTo>
                  <a:lnTo>
                    <a:pt x="981075" y="898525"/>
                  </a:lnTo>
                  <a:lnTo>
                    <a:pt x="981075" y="920750"/>
                  </a:lnTo>
                  <a:lnTo>
                    <a:pt x="974725" y="946150"/>
                  </a:lnTo>
                  <a:lnTo>
                    <a:pt x="971550" y="965200"/>
                  </a:lnTo>
                  <a:lnTo>
                    <a:pt x="968375" y="971550"/>
                  </a:lnTo>
                  <a:lnTo>
                    <a:pt x="958850" y="984250"/>
                  </a:lnTo>
                  <a:lnTo>
                    <a:pt x="965200" y="996950"/>
                  </a:lnTo>
                  <a:lnTo>
                    <a:pt x="974725" y="1006475"/>
                  </a:lnTo>
                  <a:lnTo>
                    <a:pt x="981075" y="1022350"/>
                  </a:lnTo>
                  <a:lnTo>
                    <a:pt x="981075" y="1031875"/>
                  </a:lnTo>
                  <a:lnTo>
                    <a:pt x="977900" y="1054100"/>
                  </a:lnTo>
                  <a:lnTo>
                    <a:pt x="974725" y="1060450"/>
                  </a:lnTo>
                  <a:lnTo>
                    <a:pt x="977900" y="1085850"/>
                  </a:lnTo>
                  <a:lnTo>
                    <a:pt x="977900" y="1123950"/>
                  </a:lnTo>
                  <a:lnTo>
                    <a:pt x="974725" y="1130300"/>
                  </a:lnTo>
                  <a:lnTo>
                    <a:pt x="974725" y="1143000"/>
                  </a:lnTo>
                  <a:lnTo>
                    <a:pt x="984250" y="1155700"/>
                  </a:lnTo>
                  <a:lnTo>
                    <a:pt x="996950" y="1168400"/>
                  </a:lnTo>
                  <a:lnTo>
                    <a:pt x="1000125" y="1174750"/>
                  </a:lnTo>
                  <a:lnTo>
                    <a:pt x="996950" y="1174750"/>
                  </a:lnTo>
                  <a:lnTo>
                    <a:pt x="990600" y="1184275"/>
                  </a:lnTo>
                  <a:lnTo>
                    <a:pt x="987425" y="1187450"/>
                  </a:lnTo>
                  <a:lnTo>
                    <a:pt x="987425" y="1200150"/>
                  </a:lnTo>
                  <a:lnTo>
                    <a:pt x="981075" y="1222375"/>
                  </a:lnTo>
                  <a:lnTo>
                    <a:pt x="965200" y="1254125"/>
                  </a:lnTo>
                  <a:lnTo>
                    <a:pt x="949325" y="1263650"/>
                  </a:lnTo>
                  <a:lnTo>
                    <a:pt x="955675" y="1273175"/>
                  </a:lnTo>
                  <a:lnTo>
                    <a:pt x="952500" y="1276350"/>
                  </a:lnTo>
                  <a:lnTo>
                    <a:pt x="955675" y="1295400"/>
                  </a:lnTo>
                  <a:lnTo>
                    <a:pt x="958850" y="1298575"/>
                  </a:lnTo>
                  <a:lnTo>
                    <a:pt x="965200" y="1298575"/>
                  </a:lnTo>
                  <a:lnTo>
                    <a:pt x="968375" y="1292225"/>
                  </a:lnTo>
                  <a:lnTo>
                    <a:pt x="974725" y="1279525"/>
                  </a:lnTo>
                  <a:lnTo>
                    <a:pt x="984250" y="1270000"/>
                  </a:lnTo>
                  <a:lnTo>
                    <a:pt x="996950" y="1266825"/>
                  </a:lnTo>
                  <a:lnTo>
                    <a:pt x="1003300" y="1257300"/>
                  </a:lnTo>
                  <a:lnTo>
                    <a:pt x="1006475" y="1247775"/>
                  </a:lnTo>
                  <a:lnTo>
                    <a:pt x="1019175" y="1225550"/>
                  </a:lnTo>
                  <a:lnTo>
                    <a:pt x="1025525" y="1206500"/>
                  </a:lnTo>
                  <a:lnTo>
                    <a:pt x="1019175" y="1184275"/>
                  </a:lnTo>
                  <a:lnTo>
                    <a:pt x="1012825" y="1177925"/>
                  </a:lnTo>
                  <a:lnTo>
                    <a:pt x="1016000" y="1165225"/>
                  </a:lnTo>
                  <a:lnTo>
                    <a:pt x="1025525" y="1152525"/>
                  </a:lnTo>
                  <a:lnTo>
                    <a:pt x="1038225" y="1149350"/>
                  </a:lnTo>
                  <a:lnTo>
                    <a:pt x="1050925" y="1143000"/>
                  </a:lnTo>
                  <a:lnTo>
                    <a:pt x="1057275" y="1133475"/>
                  </a:lnTo>
                  <a:lnTo>
                    <a:pt x="1035050" y="1130300"/>
                  </a:lnTo>
                  <a:lnTo>
                    <a:pt x="1022350" y="1133475"/>
                  </a:lnTo>
                  <a:lnTo>
                    <a:pt x="1009650" y="1136650"/>
                  </a:lnTo>
                  <a:lnTo>
                    <a:pt x="1000125" y="1127125"/>
                  </a:lnTo>
                  <a:lnTo>
                    <a:pt x="1000125" y="1085850"/>
                  </a:lnTo>
                  <a:lnTo>
                    <a:pt x="1009650" y="1054100"/>
                  </a:lnTo>
                  <a:lnTo>
                    <a:pt x="1012825" y="1035050"/>
                  </a:lnTo>
                  <a:lnTo>
                    <a:pt x="987425" y="990600"/>
                  </a:lnTo>
                  <a:lnTo>
                    <a:pt x="996950" y="958850"/>
                  </a:lnTo>
                  <a:lnTo>
                    <a:pt x="1012825" y="949325"/>
                  </a:lnTo>
                  <a:lnTo>
                    <a:pt x="1028700" y="939800"/>
                  </a:lnTo>
                  <a:lnTo>
                    <a:pt x="1028700" y="908050"/>
                  </a:lnTo>
                  <a:lnTo>
                    <a:pt x="1025525" y="885825"/>
                  </a:lnTo>
                  <a:lnTo>
                    <a:pt x="1038225" y="892175"/>
                  </a:lnTo>
                  <a:lnTo>
                    <a:pt x="1041400" y="908050"/>
                  </a:lnTo>
                  <a:lnTo>
                    <a:pt x="1041400" y="927100"/>
                  </a:lnTo>
                  <a:lnTo>
                    <a:pt x="1038225" y="946150"/>
                  </a:lnTo>
                  <a:lnTo>
                    <a:pt x="1031875" y="958850"/>
                  </a:lnTo>
                  <a:lnTo>
                    <a:pt x="1035050" y="990600"/>
                  </a:lnTo>
                  <a:lnTo>
                    <a:pt x="1044575" y="1000125"/>
                  </a:lnTo>
                  <a:lnTo>
                    <a:pt x="1060450" y="1003300"/>
                  </a:lnTo>
                  <a:lnTo>
                    <a:pt x="1069975" y="1009650"/>
                  </a:lnTo>
                  <a:lnTo>
                    <a:pt x="1066800" y="984250"/>
                  </a:lnTo>
                  <a:lnTo>
                    <a:pt x="1054100" y="977900"/>
                  </a:lnTo>
                  <a:lnTo>
                    <a:pt x="1050925" y="958850"/>
                  </a:lnTo>
                  <a:lnTo>
                    <a:pt x="1050925" y="952500"/>
                  </a:lnTo>
                  <a:lnTo>
                    <a:pt x="1063625" y="946150"/>
                  </a:lnTo>
                  <a:lnTo>
                    <a:pt x="1082675" y="933450"/>
                  </a:lnTo>
                  <a:lnTo>
                    <a:pt x="1108075" y="920750"/>
                  </a:lnTo>
                  <a:lnTo>
                    <a:pt x="1136650" y="933450"/>
                  </a:lnTo>
                  <a:lnTo>
                    <a:pt x="1149350" y="942975"/>
                  </a:lnTo>
                  <a:lnTo>
                    <a:pt x="1155700" y="952500"/>
                  </a:lnTo>
                  <a:lnTo>
                    <a:pt x="1162050" y="962025"/>
                  </a:lnTo>
                  <a:lnTo>
                    <a:pt x="1187450" y="965200"/>
                  </a:lnTo>
                  <a:lnTo>
                    <a:pt x="1190625" y="946150"/>
                  </a:lnTo>
                  <a:lnTo>
                    <a:pt x="1187450" y="939800"/>
                  </a:lnTo>
                  <a:lnTo>
                    <a:pt x="1187450" y="933450"/>
                  </a:lnTo>
                  <a:lnTo>
                    <a:pt x="1184275" y="927100"/>
                  </a:lnTo>
                  <a:lnTo>
                    <a:pt x="1155700" y="914400"/>
                  </a:lnTo>
                  <a:lnTo>
                    <a:pt x="1149350" y="889000"/>
                  </a:lnTo>
                  <a:lnTo>
                    <a:pt x="1146175" y="841375"/>
                  </a:lnTo>
                  <a:lnTo>
                    <a:pt x="1149350" y="831850"/>
                  </a:lnTo>
                  <a:lnTo>
                    <a:pt x="1158875" y="831850"/>
                  </a:lnTo>
                  <a:lnTo>
                    <a:pt x="1171575" y="828675"/>
                  </a:lnTo>
                  <a:lnTo>
                    <a:pt x="1200150" y="825500"/>
                  </a:lnTo>
                  <a:lnTo>
                    <a:pt x="1225550" y="822325"/>
                  </a:lnTo>
                  <a:lnTo>
                    <a:pt x="1244600" y="819150"/>
                  </a:lnTo>
                  <a:lnTo>
                    <a:pt x="1254125" y="815975"/>
                  </a:lnTo>
                  <a:lnTo>
                    <a:pt x="1266825" y="809625"/>
                  </a:lnTo>
                  <a:lnTo>
                    <a:pt x="1282700" y="806450"/>
                  </a:lnTo>
                  <a:lnTo>
                    <a:pt x="1285875" y="796925"/>
                  </a:lnTo>
                  <a:lnTo>
                    <a:pt x="1292225" y="796925"/>
                  </a:lnTo>
                  <a:lnTo>
                    <a:pt x="1285875" y="768350"/>
                  </a:lnTo>
                  <a:lnTo>
                    <a:pt x="1270000" y="752475"/>
                  </a:lnTo>
                  <a:lnTo>
                    <a:pt x="1270000" y="733425"/>
                  </a:lnTo>
                  <a:lnTo>
                    <a:pt x="1289050" y="742950"/>
                  </a:lnTo>
                  <a:lnTo>
                    <a:pt x="1292225" y="723900"/>
                  </a:lnTo>
                  <a:lnTo>
                    <a:pt x="1285875" y="711200"/>
                  </a:lnTo>
                  <a:lnTo>
                    <a:pt x="1285875" y="708025"/>
                  </a:lnTo>
                  <a:lnTo>
                    <a:pt x="1292225" y="704850"/>
                  </a:lnTo>
                  <a:lnTo>
                    <a:pt x="1314450" y="701675"/>
                  </a:lnTo>
                  <a:lnTo>
                    <a:pt x="1320800" y="692150"/>
                  </a:lnTo>
                  <a:lnTo>
                    <a:pt x="1330325" y="682625"/>
                  </a:lnTo>
                  <a:lnTo>
                    <a:pt x="1333500" y="679450"/>
                  </a:lnTo>
                  <a:lnTo>
                    <a:pt x="1387475" y="660400"/>
                  </a:lnTo>
                  <a:lnTo>
                    <a:pt x="1416050" y="650875"/>
                  </a:lnTo>
                  <a:lnTo>
                    <a:pt x="1416050" y="644525"/>
                  </a:lnTo>
                  <a:lnTo>
                    <a:pt x="1412875" y="635000"/>
                  </a:lnTo>
                  <a:lnTo>
                    <a:pt x="1419225" y="625475"/>
                  </a:lnTo>
                  <a:lnTo>
                    <a:pt x="1431925" y="622300"/>
                  </a:lnTo>
                  <a:lnTo>
                    <a:pt x="1444625" y="622300"/>
                  </a:lnTo>
                  <a:lnTo>
                    <a:pt x="1447800" y="628650"/>
                  </a:lnTo>
                  <a:lnTo>
                    <a:pt x="1457325" y="625475"/>
                  </a:lnTo>
                  <a:lnTo>
                    <a:pt x="1466850" y="619125"/>
                  </a:lnTo>
                  <a:lnTo>
                    <a:pt x="1482725" y="622300"/>
                  </a:lnTo>
                  <a:lnTo>
                    <a:pt x="1492250" y="635000"/>
                  </a:lnTo>
                  <a:lnTo>
                    <a:pt x="1504950" y="635000"/>
                  </a:lnTo>
                  <a:lnTo>
                    <a:pt x="1517650" y="635000"/>
                  </a:lnTo>
                  <a:lnTo>
                    <a:pt x="1533525" y="612775"/>
                  </a:lnTo>
                  <a:lnTo>
                    <a:pt x="1552575" y="612775"/>
                  </a:lnTo>
                  <a:lnTo>
                    <a:pt x="1558925" y="603250"/>
                  </a:lnTo>
                  <a:lnTo>
                    <a:pt x="1562100" y="590550"/>
                  </a:lnTo>
                  <a:lnTo>
                    <a:pt x="1590675" y="590550"/>
                  </a:lnTo>
                  <a:lnTo>
                    <a:pt x="1593850" y="587375"/>
                  </a:lnTo>
                  <a:lnTo>
                    <a:pt x="1587500" y="558800"/>
                  </a:lnTo>
                  <a:lnTo>
                    <a:pt x="1593850" y="530225"/>
                  </a:lnTo>
                  <a:lnTo>
                    <a:pt x="1609725" y="508000"/>
                  </a:lnTo>
                  <a:lnTo>
                    <a:pt x="1635125" y="479425"/>
                  </a:lnTo>
                  <a:lnTo>
                    <a:pt x="1647825" y="473075"/>
                  </a:lnTo>
                  <a:close/>
                  <a:moveTo>
                    <a:pt x="1720850" y="422275"/>
                  </a:moveTo>
                  <a:lnTo>
                    <a:pt x="1733550" y="425450"/>
                  </a:lnTo>
                  <a:lnTo>
                    <a:pt x="1730375" y="434975"/>
                  </a:lnTo>
                  <a:lnTo>
                    <a:pt x="1724025" y="434975"/>
                  </a:lnTo>
                  <a:lnTo>
                    <a:pt x="1704975" y="428625"/>
                  </a:lnTo>
                  <a:lnTo>
                    <a:pt x="1708150" y="425450"/>
                  </a:lnTo>
                  <a:close/>
                  <a:moveTo>
                    <a:pt x="1708150" y="406400"/>
                  </a:moveTo>
                  <a:lnTo>
                    <a:pt x="1714500" y="412750"/>
                  </a:lnTo>
                  <a:lnTo>
                    <a:pt x="1704975" y="419100"/>
                  </a:lnTo>
                  <a:lnTo>
                    <a:pt x="1698625" y="419100"/>
                  </a:lnTo>
                  <a:close/>
                  <a:moveTo>
                    <a:pt x="1619250" y="282575"/>
                  </a:moveTo>
                  <a:lnTo>
                    <a:pt x="1635125" y="295275"/>
                  </a:lnTo>
                  <a:lnTo>
                    <a:pt x="1631950" y="301625"/>
                  </a:lnTo>
                  <a:lnTo>
                    <a:pt x="1628775" y="311150"/>
                  </a:lnTo>
                  <a:lnTo>
                    <a:pt x="1619250" y="352425"/>
                  </a:lnTo>
                  <a:lnTo>
                    <a:pt x="1628775" y="336550"/>
                  </a:lnTo>
                  <a:lnTo>
                    <a:pt x="1641475" y="320675"/>
                  </a:lnTo>
                  <a:lnTo>
                    <a:pt x="1663700" y="333375"/>
                  </a:lnTo>
                  <a:lnTo>
                    <a:pt x="1679575" y="352425"/>
                  </a:lnTo>
                  <a:lnTo>
                    <a:pt x="1682750" y="384175"/>
                  </a:lnTo>
                  <a:lnTo>
                    <a:pt x="1679575" y="393700"/>
                  </a:lnTo>
                  <a:lnTo>
                    <a:pt x="1673225" y="403225"/>
                  </a:lnTo>
                  <a:lnTo>
                    <a:pt x="1663700" y="403225"/>
                  </a:lnTo>
                  <a:lnTo>
                    <a:pt x="1638300" y="415925"/>
                  </a:lnTo>
                  <a:lnTo>
                    <a:pt x="1609725" y="419100"/>
                  </a:lnTo>
                  <a:lnTo>
                    <a:pt x="1581150" y="434975"/>
                  </a:lnTo>
                  <a:lnTo>
                    <a:pt x="1568450" y="444500"/>
                  </a:lnTo>
                  <a:lnTo>
                    <a:pt x="1555750" y="444500"/>
                  </a:lnTo>
                  <a:lnTo>
                    <a:pt x="1603375" y="292100"/>
                  </a:lnTo>
                  <a:close/>
                  <a:moveTo>
                    <a:pt x="1374775" y="206375"/>
                  </a:moveTo>
                  <a:lnTo>
                    <a:pt x="1393825" y="206375"/>
                  </a:lnTo>
                  <a:lnTo>
                    <a:pt x="1422400" y="215900"/>
                  </a:lnTo>
                  <a:lnTo>
                    <a:pt x="1431925" y="222250"/>
                  </a:lnTo>
                  <a:lnTo>
                    <a:pt x="1435100" y="228600"/>
                  </a:lnTo>
                  <a:lnTo>
                    <a:pt x="1419225" y="244475"/>
                  </a:lnTo>
                  <a:lnTo>
                    <a:pt x="1393825" y="254000"/>
                  </a:lnTo>
                  <a:lnTo>
                    <a:pt x="1381125" y="238125"/>
                  </a:lnTo>
                  <a:lnTo>
                    <a:pt x="1374775" y="231775"/>
                  </a:lnTo>
                  <a:lnTo>
                    <a:pt x="1374775" y="209550"/>
                  </a:lnTo>
                  <a:close/>
                  <a:moveTo>
                    <a:pt x="437861" y="202478"/>
                  </a:moveTo>
                  <a:lnTo>
                    <a:pt x="438150" y="203200"/>
                  </a:lnTo>
                  <a:lnTo>
                    <a:pt x="434975" y="203200"/>
                  </a:lnTo>
                  <a:close/>
                  <a:moveTo>
                    <a:pt x="1517650" y="193675"/>
                  </a:moveTo>
                  <a:lnTo>
                    <a:pt x="1530350" y="206375"/>
                  </a:lnTo>
                  <a:lnTo>
                    <a:pt x="1546225" y="209550"/>
                  </a:lnTo>
                  <a:lnTo>
                    <a:pt x="1555750" y="215900"/>
                  </a:lnTo>
                  <a:lnTo>
                    <a:pt x="1568450" y="241300"/>
                  </a:lnTo>
                  <a:lnTo>
                    <a:pt x="1562100" y="288925"/>
                  </a:lnTo>
                  <a:lnTo>
                    <a:pt x="1565275" y="320675"/>
                  </a:lnTo>
                  <a:lnTo>
                    <a:pt x="1565275" y="339725"/>
                  </a:lnTo>
                  <a:lnTo>
                    <a:pt x="1555750" y="352425"/>
                  </a:lnTo>
                  <a:lnTo>
                    <a:pt x="1520825" y="352425"/>
                  </a:lnTo>
                  <a:lnTo>
                    <a:pt x="1504950" y="346075"/>
                  </a:lnTo>
                  <a:lnTo>
                    <a:pt x="1495425" y="336550"/>
                  </a:lnTo>
                  <a:lnTo>
                    <a:pt x="1476375" y="327025"/>
                  </a:lnTo>
                  <a:lnTo>
                    <a:pt x="1466850" y="327025"/>
                  </a:lnTo>
                  <a:lnTo>
                    <a:pt x="1454150" y="320675"/>
                  </a:lnTo>
                  <a:lnTo>
                    <a:pt x="1444625" y="288925"/>
                  </a:lnTo>
                  <a:lnTo>
                    <a:pt x="1431925" y="263525"/>
                  </a:lnTo>
                  <a:lnTo>
                    <a:pt x="1441450" y="234950"/>
                  </a:lnTo>
                  <a:lnTo>
                    <a:pt x="1450975" y="215900"/>
                  </a:lnTo>
                  <a:lnTo>
                    <a:pt x="1466850" y="203200"/>
                  </a:lnTo>
                  <a:lnTo>
                    <a:pt x="1492250" y="196850"/>
                  </a:lnTo>
                  <a:close/>
                  <a:moveTo>
                    <a:pt x="625475" y="168275"/>
                  </a:moveTo>
                  <a:lnTo>
                    <a:pt x="641350" y="184150"/>
                  </a:lnTo>
                  <a:lnTo>
                    <a:pt x="638175" y="206375"/>
                  </a:lnTo>
                  <a:lnTo>
                    <a:pt x="628650" y="206375"/>
                  </a:lnTo>
                  <a:lnTo>
                    <a:pt x="609600" y="200025"/>
                  </a:lnTo>
                  <a:lnTo>
                    <a:pt x="612775" y="200025"/>
                  </a:lnTo>
                  <a:lnTo>
                    <a:pt x="619125" y="171450"/>
                  </a:lnTo>
                  <a:close/>
                  <a:moveTo>
                    <a:pt x="638175" y="152400"/>
                  </a:moveTo>
                  <a:lnTo>
                    <a:pt x="650875" y="152400"/>
                  </a:lnTo>
                  <a:lnTo>
                    <a:pt x="663575" y="152400"/>
                  </a:lnTo>
                  <a:lnTo>
                    <a:pt x="676275" y="158750"/>
                  </a:lnTo>
                  <a:lnTo>
                    <a:pt x="688975" y="171450"/>
                  </a:lnTo>
                  <a:lnTo>
                    <a:pt x="654050" y="200025"/>
                  </a:lnTo>
                  <a:lnTo>
                    <a:pt x="644525" y="193675"/>
                  </a:lnTo>
                  <a:close/>
                  <a:moveTo>
                    <a:pt x="596900" y="104775"/>
                  </a:moveTo>
                  <a:lnTo>
                    <a:pt x="603250" y="107950"/>
                  </a:lnTo>
                  <a:lnTo>
                    <a:pt x="615950" y="117475"/>
                  </a:lnTo>
                  <a:lnTo>
                    <a:pt x="593725" y="127000"/>
                  </a:lnTo>
                  <a:lnTo>
                    <a:pt x="584200" y="123825"/>
                  </a:lnTo>
                  <a:lnTo>
                    <a:pt x="574675" y="117475"/>
                  </a:lnTo>
                  <a:lnTo>
                    <a:pt x="574675" y="114300"/>
                  </a:lnTo>
                  <a:lnTo>
                    <a:pt x="584200" y="107950"/>
                  </a:lnTo>
                  <a:close/>
                  <a:moveTo>
                    <a:pt x="428625" y="104775"/>
                  </a:moveTo>
                  <a:lnTo>
                    <a:pt x="447675" y="104775"/>
                  </a:lnTo>
                  <a:lnTo>
                    <a:pt x="460375" y="117475"/>
                  </a:lnTo>
                  <a:lnTo>
                    <a:pt x="460375" y="136525"/>
                  </a:lnTo>
                  <a:lnTo>
                    <a:pt x="450850" y="133350"/>
                  </a:lnTo>
                  <a:lnTo>
                    <a:pt x="441325" y="117475"/>
                  </a:lnTo>
                  <a:lnTo>
                    <a:pt x="428625" y="130175"/>
                  </a:lnTo>
                  <a:lnTo>
                    <a:pt x="403225" y="158750"/>
                  </a:lnTo>
                  <a:lnTo>
                    <a:pt x="390525" y="146050"/>
                  </a:lnTo>
                  <a:lnTo>
                    <a:pt x="377825" y="133350"/>
                  </a:lnTo>
                  <a:lnTo>
                    <a:pt x="381000" y="133350"/>
                  </a:lnTo>
                  <a:lnTo>
                    <a:pt x="412750" y="120650"/>
                  </a:lnTo>
                  <a:close/>
                  <a:moveTo>
                    <a:pt x="742950" y="98425"/>
                  </a:moveTo>
                  <a:lnTo>
                    <a:pt x="752475" y="117475"/>
                  </a:lnTo>
                  <a:lnTo>
                    <a:pt x="749300" y="133350"/>
                  </a:lnTo>
                  <a:lnTo>
                    <a:pt x="742950" y="146050"/>
                  </a:lnTo>
                  <a:lnTo>
                    <a:pt x="727075" y="161925"/>
                  </a:lnTo>
                  <a:lnTo>
                    <a:pt x="714375" y="161925"/>
                  </a:lnTo>
                  <a:lnTo>
                    <a:pt x="688975" y="146050"/>
                  </a:lnTo>
                  <a:lnTo>
                    <a:pt x="692150" y="114300"/>
                  </a:lnTo>
                  <a:lnTo>
                    <a:pt x="698500" y="104775"/>
                  </a:lnTo>
                  <a:lnTo>
                    <a:pt x="708025" y="104775"/>
                  </a:lnTo>
                  <a:lnTo>
                    <a:pt x="717550" y="107950"/>
                  </a:lnTo>
                  <a:close/>
                  <a:moveTo>
                    <a:pt x="488950" y="95250"/>
                  </a:moveTo>
                  <a:lnTo>
                    <a:pt x="514350" y="111125"/>
                  </a:lnTo>
                  <a:lnTo>
                    <a:pt x="523875" y="117475"/>
                  </a:lnTo>
                  <a:lnTo>
                    <a:pt x="527050" y="127000"/>
                  </a:lnTo>
                  <a:lnTo>
                    <a:pt x="514350" y="139700"/>
                  </a:lnTo>
                  <a:lnTo>
                    <a:pt x="485775" y="149225"/>
                  </a:lnTo>
                  <a:lnTo>
                    <a:pt x="473075" y="158750"/>
                  </a:lnTo>
                  <a:lnTo>
                    <a:pt x="463550" y="165100"/>
                  </a:lnTo>
                  <a:lnTo>
                    <a:pt x="460375" y="180975"/>
                  </a:lnTo>
                  <a:lnTo>
                    <a:pt x="457200" y="196850"/>
                  </a:lnTo>
                  <a:lnTo>
                    <a:pt x="447675" y="200025"/>
                  </a:lnTo>
                  <a:lnTo>
                    <a:pt x="437861" y="202478"/>
                  </a:lnTo>
                  <a:lnTo>
                    <a:pt x="431800" y="187325"/>
                  </a:lnTo>
                  <a:lnTo>
                    <a:pt x="422275" y="190500"/>
                  </a:lnTo>
                  <a:lnTo>
                    <a:pt x="415925" y="177800"/>
                  </a:lnTo>
                  <a:lnTo>
                    <a:pt x="422275" y="168275"/>
                  </a:lnTo>
                  <a:lnTo>
                    <a:pt x="431800" y="174625"/>
                  </a:lnTo>
                  <a:lnTo>
                    <a:pt x="431800" y="155575"/>
                  </a:lnTo>
                  <a:lnTo>
                    <a:pt x="447675" y="146050"/>
                  </a:lnTo>
                  <a:lnTo>
                    <a:pt x="454025" y="142875"/>
                  </a:lnTo>
                  <a:lnTo>
                    <a:pt x="463550" y="152400"/>
                  </a:lnTo>
                  <a:lnTo>
                    <a:pt x="479425" y="133350"/>
                  </a:lnTo>
                  <a:lnTo>
                    <a:pt x="479425" y="120650"/>
                  </a:lnTo>
                  <a:lnTo>
                    <a:pt x="476250" y="123825"/>
                  </a:lnTo>
                  <a:lnTo>
                    <a:pt x="473075" y="123825"/>
                  </a:lnTo>
                  <a:lnTo>
                    <a:pt x="466725" y="120650"/>
                  </a:lnTo>
                  <a:close/>
                  <a:moveTo>
                    <a:pt x="600075" y="76200"/>
                  </a:moveTo>
                  <a:lnTo>
                    <a:pt x="609600" y="82550"/>
                  </a:lnTo>
                  <a:lnTo>
                    <a:pt x="619125" y="76200"/>
                  </a:lnTo>
                  <a:lnTo>
                    <a:pt x="635000" y="88900"/>
                  </a:lnTo>
                  <a:lnTo>
                    <a:pt x="647700" y="104775"/>
                  </a:lnTo>
                  <a:lnTo>
                    <a:pt x="654050" y="111125"/>
                  </a:lnTo>
                  <a:lnTo>
                    <a:pt x="647700" y="120650"/>
                  </a:lnTo>
                  <a:lnTo>
                    <a:pt x="638175" y="123825"/>
                  </a:lnTo>
                  <a:lnTo>
                    <a:pt x="622300" y="104775"/>
                  </a:lnTo>
                  <a:lnTo>
                    <a:pt x="603250" y="95250"/>
                  </a:lnTo>
                  <a:lnTo>
                    <a:pt x="590550" y="88900"/>
                  </a:lnTo>
                  <a:lnTo>
                    <a:pt x="584200" y="79375"/>
                  </a:lnTo>
                  <a:close/>
                  <a:moveTo>
                    <a:pt x="622300" y="60325"/>
                  </a:moveTo>
                  <a:lnTo>
                    <a:pt x="644525" y="66675"/>
                  </a:lnTo>
                  <a:lnTo>
                    <a:pt x="657225" y="73025"/>
                  </a:lnTo>
                  <a:lnTo>
                    <a:pt x="666750" y="88900"/>
                  </a:lnTo>
                  <a:lnTo>
                    <a:pt x="644525" y="88900"/>
                  </a:lnTo>
                  <a:lnTo>
                    <a:pt x="631825" y="73025"/>
                  </a:lnTo>
                  <a:close/>
                  <a:moveTo>
                    <a:pt x="809625" y="57150"/>
                  </a:moveTo>
                  <a:lnTo>
                    <a:pt x="822325" y="76200"/>
                  </a:lnTo>
                  <a:lnTo>
                    <a:pt x="819150" y="95250"/>
                  </a:lnTo>
                  <a:lnTo>
                    <a:pt x="812800" y="107950"/>
                  </a:lnTo>
                  <a:lnTo>
                    <a:pt x="787400" y="120650"/>
                  </a:lnTo>
                  <a:lnTo>
                    <a:pt x="771525" y="123825"/>
                  </a:lnTo>
                  <a:lnTo>
                    <a:pt x="758825" y="111125"/>
                  </a:lnTo>
                  <a:lnTo>
                    <a:pt x="758825" y="104775"/>
                  </a:lnTo>
                  <a:lnTo>
                    <a:pt x="784225" y="73025"/>
                  </a:lnTo>
                  <a:close/>
                  <a:moveTo>
                    <a:pt x="1371600" y="50800"/>
                  </a:moveTo>
                  <a:lnTo>
                    <a:pt x="1384300" y="63500"/>
                  </a:lnTo>
                  <a:lnTo>
                    <a:pt x="1365250" y="73025"/>
                  </a:lnTo>
                  <a:lnTo>
                    <a:pt x="1352550" y="69850"/>
                  </a:lnTo>
                  <a:lnTo>
                    <a:pt x="1352550" y="53975"/>
                  </a:lnTo>
                  <a:close/>
                  <a:moveTo>
                    <a:pt x="1473200" y="34925"/>
                  </a:moveTo>
                  <a:lnTo>
                    <a:pt x="1482725" y="47625"/>
                  </a:lnTo>
                  <a:lnTo>
                    <a:pt x="1492250" y="69850"/>
                  </a:lnTo>
                  <a:lnTo>
                    <a:pt x="1501775" y="88900"/>
                  </a:lnTo>
                  <a:lnTo>
                    <a:pt x="1511300" y="98425"/>
                  </a:lnTo>
                  <a:lnTo>
                    <a:pt x="1524000" y="111125"/>
                  </a:lnTo>
                  <a:lnTo>
                    <a:pt x="1520825" y="117475"/>
                  </a:lnTo>
                  <a:lnTo>
                    <a:pt x="1514475" y="120650"/>
                  </a:lnTo>
                  <a:lnTo>
                    <a:pt x="1508125" y="120650"/>
                  </a:lnTo>
                  <a:lnTo>
                    <a:pt x="1504950" y="133350"/>
                  </a:lnTo>
                  <a:lnTo>
                    <a:pt x="1504950" y="142875"/>
                  </a:lnTo>
                  <a:lnTo>
                    <a:pt x="1511300" y="168275"/>
                  </a:lnTo>
                  <a:lnTo>
                    <a:pt x="1492250" y="180975"/>
                  </a:lnTo>
                  <a:lnTo>
                    <a:pt x="1435100" y="206375"/>
                  </a:lnTo>
                  <a:lnTo>
                    <a:pt x="1406525" y="193675"/>
                  </a:lnTo>
                  <a:lnTo>
                    <a:pt x="1397000" y="184150"/>
                  </a:lnTo>
                  <a:lnTo>
                    <a:pt x="1381125" y="168275"/>
                  </a:lnTo>
                  <a:lnTo>
                    <a:pt x="1400175" y="142875"/>
                  </a:lnTo>
                  <a:lnTo>
                    <a:pt x="1412875" y="142875"/>
                  </a:lnTo>
                  <a:lnTo>
                    <a:pt x="1419225" y="107950"/>
                  </a:lnTo>
                  <a:lnTo>
                    <a:pt x="1409700" y="111125"/>
                  </a:lnTo>
                  <a:lnTo>
                    <a:pt x="1406525" y="107950"/>
                  </a:lnTo>
                  <a:lnTo>
                    <a:pt x="1409700" y="92075"/>
                  </a:lnTo>
                  <a:lnTo>
                    <a:pt x="1428750" y="69850"/>
                  </a:lnTo>
                  <a:lnTo>
                    <a:pt x="1470025" y="44450"/>
                  </a:lnTo>
                  <a:close/>
                  <a:moveTo>
                    <a:pt x="654050" y="0"/>
                  </a:moveTo>
                  <a:lnTo>
                    <a:pt x="673100" y="25400"/>
                  </a:lnTo>
                  <a:lnTo>
                    <a:pt x="657225" y="28575"/>
                  </a:lnTo>
                  <a:lnTo>
                    <a:pt x="635000" y="19050"/>
                  </a:lnTo>
                  <a:lnTo>
                    <a:pt x="635000" y="1587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7" name="Freeform 72">
              <a:extLst>
                <a:ext uri="{FF2B5EF4-FFF2-40B4-BE49-F238E27FC236}">
                  <a16:creationId xmlns:a16="http://schemas.microsoft.com/office/drawing/2014/main" id="{AE4E497D-FDD3-4AD5-A78C-00E90847DB4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89938" y="2540000"/>
              <a:ext cx="57150" cy="31750"/>
            </a:xfrm>
            <a:custGeom>
              <a:avLst/>
              <a:gdLst/>
              <a:ahLst/>
              <a:cxnLst>
                <a:cxn ang="0">
                  <a:pos x="16" y="2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2" y="0"/>
                </a:cxn>
                <a:cxn ang="0">
                  <a:pos x="0" y="6"/>
                </a:cxn>
                <a:cxn ang="0">
                  <a:pos x="4" y="12"/>
                </a:cxn>
                <a:cxn ang="0">
                  <a:pos x="10" y="8"/>
                </a:cxn>
                <a:cxn ang="0">
                  <a:pos x="18" y="8"/>
                </a:cxn>
                <a:cxn ang="0">
                  <a:pos x="24" y="14"/>
                </a:cxn>
                <a:cxn ang="0">
                  <a:pos x="28" y="18"/>
                </a:cxn>
                <a:cxn ang="0">
                  <a:pos x="30" y="20"/>
                </a:cxn>
                <a:cxn ang="0">
                  <a:pos x="36" y="14"/>
                </a:cxn>
                <a:cxn ang="0">
                  <a:pos x="30" y="6"/>
                </a:cxn>
                <a:cxn ang="0">
                  <a:pos x="22" y="0"/>
                </a:cxn>
                <a:cxn ang="0">
                  <a:pos x="16" y="2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2" y="0"/>
                  </a:lnTo>
                  <a:lnTo>
                    <a:pt x="0" y="6"/>
                  </a:lnTo>
                  <a:lnTo>
                    <a:pt x="4" y="12"/>
                  </a:lnTo>
                  <a:lnTo>
                    <a:pt x="10" y="8"/>
                  </a:lnTo>
                  <a:lnTo>
                    <a:pt x="18" y="8"/>
                  </a:lnTo>
                  <a:lnTo>
                    <a:pt x="24" y="14"/>
                  </a:lnTo>
                  <a:lnTo>
                    <a:pt x="28" y="18"/>
                  </a:lnTo>
                  <a:lnTo>
                    <a:pt x="30" y="20"/>
                  </a:lnTo>
                  <a:lnTo>
                    <a:pt x="36" y="14"/>
                  </a:lnTo>
                  <a:lnTo>
                    <a:pt x="30" y="6"/>
                  </a:lnTo>
                  <a:lnTo>
                    <a:pt x="22" y="0"/>
                  </a:lnTo>
                  <a:lnTo>
                    <a:pt x="16" y="2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8" name="Freeform 876">
              <a:extLst>
                <a:ext uri="{FF2B5EF4-FFF2-40B4-BE49-F238E27FC236}">
                  <a16:creationId xmlns:a16="http://schemas.microsoft.com/office/drawing/2014/main" id="{5B8CC4E0-F683-4134-8226-FA893E2E68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3075" y="5618163"/>
              <a:ext cx="542925" cy="127000"/>
            </a:xfrm>
            <a:custGeom>
              <a:avLst/>
              <a:gdLst/>
              <a:ahLst/>
              <a:cxnLst/>
              <a:rect l="l" t="t" r="r" b="b"/>
              <a:pathLst>
                <a:path w="542925" h="127000">
                  <a:moveTo>
                    <a:pt x="501650" y="95250"/>
                  </a:moveTo>
                  <a:lnTo>
                    <a:pt x="511175" y="95250"/>
                  </a:lnTo>
                  <a:lnTo>
                    <a:pt x="523875" y="98425"/>
                  </a:lnTo>
                  <a:lnTo>
                    <a:pt x="542925" y="123825"/>
                  </a:lnTo>
                  <a:lnTo>
                    <a:pt x="539750" y="127000"/>
                  </a:lnTo>
                  <a:lnTo>
                    <a:pt x="530225" y="114300"/>
                  </a:lnTo>
                  <a:lnTo>
                    <a:pt x="514350" y="98425"/>
                  </a:lnTo>
                  <a:lnTo>
                    <a:pt x="508000" y="98425"/>
                  </a:lnTo>
                  <a:close/>
                  <a:moveTo>
                    <a:pt x="44450" y="0"/>
                  </a:moveTo>
                  <a:lnTo>
                    <a:pt x="50800" y="0"/>
                  </a:lnTo>
                  <a:lnTo>
                    <a:pt x="57150" y="0"/>
                  </a:lnTo>
                  <a:lnTo>
                    <a:pt x="60325" y="0"/>
                  </a:lnTo>
                  <a:lnTo>
                    <a:pt x="69850" y="3175"/>
                  </a:lnTo>
                  <a:lnTo>
                    <a:pt x="69850" y="12700"/>
                  </a:lnTo>
                  <a:lnTo>
                    <a:pt x="63500" y="12700"/>
                  </a:lnTo>
                  <a:lnTo>
                    <a:pt x="57150" y="15875"/>
                  </a:lnTo>
                  <a:lnTo>
                    <a:pt x="53975" y="22225"/>
                  </a:lnTo>
                  <a:lnTo>
                    <a:pt x="41275" y="31750"/>
                  </a:lnTo>
                  <a:lnTo>
                    <a:pt x="34925" y="34925"/>
                  </a:lnTo>
                  <a:lnTo>
                    <a:pt x="28575" y="28575"/>
                  </a:lnTo>
                  <a:lnTo>
                    <a:pt x="34925" y="15875"/>
                  </a:lnTo>
                  <a:lnTo>
                    <a:pt x="41275" y="15875"/>
                  </a:lnTo>
                  <a:lnTo>
                    <a:pt x="44450" y="15875"/>
                  </a:lnTo>
                  <a:lnTo>
                    <a:pt x="44450" y="6350"/>
                  </a:lnTo>
                  <a:close/>
                  <a:moveTo>
                    <a:pt x="9525" y="0"/>
                  </a:moveTo>
                  <a:lnTo>
                    <a:pt x="12700" y="3175"/>
                  </a:lnTo>
                  <a:lnTo>
                    <a:pt x="34925" y="3175"/>
                  </a:lnTo>
                  <a:lnTo>
                    <a:pt x="34925" y="0"/>
                  </a:lnTo>
                  <a:lnTo>
                    <a:pt x="38100" y="3175"/>
                  </a:lnTo>
                  <a:lnTo>
                    <a:pt x="34925" y="6350"/>
                  </a:lnTo>
                  <a:lnTo>
                    <a:pt x="31750" y="9525"/>
                  </a:lnTo>
                  <a:lnTo>
                    <a:pt x="28575" y="15875"/>
                  </a:lnTo>
                  <a:lnTo>
                    <a:pt x="12700" y="28575"/>
                  </a:lnTo>
                  <a:lnTo>
                    <a:pt x="9525" y="31750"/>
                  </a:lnTo>
                  <a:lnTo>
                    <a:pt x="0" y="25400"/>
                  </a:lnTo>
                  <a:lnTo>
                    <a:pt x="9525" y="22225"/>
                  </a:lnTo>
                  <a:lnTo>
                    <a:pt x="12700" y="15875"/>
                  </a:lnTo>
                  <a:lnTo>
                    <a:pt x="19050" y="12700"/>
                  </a:lnTo>
                  <a:lnTo>
                    <a:pt x="9525" y="317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9" name="Freeform 888">
              <a:extLst>
                <a:ext uri="{FF2B5EF4-FFF2-40B4-BE49-F238E27FC236}">
                  <a16:creationId xmlns:a16="http://schemas.microsoft.com/office/drawing/2014/main" id="{F35F4BAA-79FE-4FCE-84BA-02AE7BBB7C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4925" y="4329113"/>
              <a:ext cx="273050" cy="400050"/>
            </a:xfrm>
            <a:custGeom>
              <a:avLst/>
              <a:gdLst/>
              <a:ahLst/>
              <a:cxnLst>
                <a:cxn ang="0">
                  <a:pos x="160" y="238"/>
                </a:cxn>
                <a:cxn ang="0">
                  <a:pos x="168" y="228"/>
                </a:cxn>
                <a:cxn ang="0">
                  <a:pos x="164" y="222"/>
                </a:cxn>
                <a:cxn ang="0">
                  <a:pos x="162" y="208"/>
                </a:cxn>
                <a:cxn ang="0">
                  <a:pos x="166" y="198"/>
                </a:cxn>
                <a:cxn ang="0">
                  <a:pos x="170" y="174"/>
                </a:cxn>
                <a:cxn ang="0">
                  <a:pos x="160" y="148"/>
                </a:cxn>
                <a:cxn ang="0">
                  <a:pos x="148" y="150"/>
                </a:cxn>
                <a:cxn ang="0">
                  <a:pos x="146" y="138"/>
                </a:cxn>
                <a:cxn ang="0">
                  <a:pos x="142" y="130"/>
                </a:cxn>
                <a:cxn ang="0">
                  <a:pos x="124" y="136"/>
                </a:cxn>
                <a:cxn ang="0">
                  <a:pos x="116" y="128"/>
                </a:cxn>
                <a:cxn ang="0">
                  <a:pos x="110" y="118"/>
                </a:cxn>
                <a:cxn ang="0">
                  <a:pos x="102" y="100"/>
                </a:cxn>
                <a:cxn ang="0">
                  <a:pos x="106" y="90"/>
                </a:cxn>
                <a:cxn ang="0">
                  <a:pos x="112" y="76"/>
                </a:cxn>
                <a:cxn ang="0">
                  <a:pos x="124" y="64"/>
                </a:cxn>
                <a:cxn ang="0">
                  <a:pos x="148" y="56"/>
                </a:cxn>
                <a:cxn ang="0">
                  <a:pos x="148" y="52"/>
                </a:cxn>
                <a:cxn ang="0">
                  <a:pos x="154" y="36"/>
                </a:cxn>
                <a:cxn ang="0">
                  <a:pos x="130" y="30"/>
                </a:cxn>
                <a:cxn ang="0">
                  <a:pos x="118" y="32"/>
                </a:cxn>
                <a:cxn ang="0">
                  <a:pos x="110" y="30"/>
                </a:cxn>
                <a:cxn ang="0">
                  <a:pos x="104" y="16"/>
                </a:cxn>
                <a:cxn ang="0">
                  <a:pos x="94" y="8"/>
                </a:cxn>
                <a:cxn ang="0">
                  <a:pos x="82" y="2"/>
                </a:cxn>
                <a:cxn ang="0">
                  <a:pos x="82" y="12"/>
                </a:cxn>
                <a:cxn ang="0">
                  <a:pos x="72" y="26"/>
                </a:cxn>
                <a:cxn ang="0">
                  <a:pos x="46" y="40"/>
                </a:cxn>
                <a:cxn ang="0">
                  <a:pos x="38" y="52"/>
                </a:cxn>
                <a:cxn ang="0">
                  <a:pos x="30" y="66"/>
                </a:cxn>
                <a:cxn ang="0">
                  <a:pos x="16" y="58"/>
                </a:cxn>
                <a:cxn ang="0">
                  <a:pos x="14" y="54"/>
                </a:cxn>
                <a:cxn ang="0">
                  <a:pos x="0" y="58"/>
                </a:cxn>
                <a:cxn ang="0">
                  <a:pos x="4" y="68"/>
                </a:cxn>
                <a:cxn ang="0">
                  <a:pos x="2" y="80"/>
                </a:cxn>
                <a:cxn ang="0">
                  <a:pos x="20" y="92"/>
                </a:cxn>
                <a:cxn ang="0">
                  <a:pos x="28" y="108"/>
                </a:cxn>
                <a:cxn ang="0">
                  <a:pos x="36" y="122"/>
                </a:cxn>
                <a:cxn ang="0">
                  <a:pos x="46" y="142"/>
                </a:cxn>
                <a:cxn ang="0">
                  <a:pos x="56" y="160"/>
                </a:cxn>
                <a:cxn ang="0">
                  <a:pos x="62" y="170"/>
                </a:cxn>
                <a:cxn ang="0">
                  <a:pos x="68" y="188"/>
                </a:cxn>
                <a:cxn ang="0">
                  <a:pos x="78" y="204"/>
                </a:cxn>
                <a:cxn ang="0">
                  <a:pos x="100" y="220"/>
                </a:cxn>
                <a:cxn ang="0">
                  <a:pos x="118" y="228"/>
                </a:cxn>
                <a:cxn ang="0">
                  <a:pos x="128" y="236"/>
                </a:cxn>
                <a:cxn ang="0">
                  <a:pos x="136" y="240"/>
                </a:cxn>
                <a:cxn ang="0">
                  <a:pos x="148" y="252"/>
                </a:cxn>
              </a:cxnLst>
              <a:rect l="0" t="0" r="r" b="b"/>
              <a:pathLst>
                <a:path w="172" h="252">
                  <a:moveTo>
                    <a:pt x="158" y="244"/>
                  </a:moveTo>
                  <a:lnTo>
                    <a:pt x="160" y="240"/>
                  </a:lnTo>
                  <a:lnTo>
                    <a:pt x="160" y="238"/>
                  </a:lnTo>
                  <a:lnTo>
                    <a:pt x="160" y="236"/>
                  </a:lnTo>
                  <a:lnTo>
                    <a:pt x="164" y="232"/>
                  </a:lnTo>
                  <a:lnTo>
                    <a:pt x="168" y="228"/>
                  </a:lnTo>
                  <a:lnTo>
                    <a:pt x="166" y="224"/>
                  </a:lnTo>
                  <a:lnTo>
                    <a:pt x="166" y="222"/>
                  </a:lnTo>
                  <a:lnTo>
                    <a:pt x="164" y="222"/>
                  </a:lnTo>
                  <a:lnTo>
                    <a:pt x="162" y="216"/>
                  </a:lnTo>
                  <a:lnTo>
                    <a:pt x="162" y="214"/>
                  </a:lnTo>
                  <a:lnTo>
                    <a:pt x="162" y="208"/>
                  </a:lnTo>
                  <a:lnTo>
                    <a:pt x="162" y="202"/>
                  </a:lnTo>
                  <a:lnTo>
                    <a:pt x="164" y="200"/>
                  </a:lnTo>
                  <a:lnTo>
                    <a:pt x="166" y="198"/>
                  </a:lnTo>
                  <a:lnTo>
                    <a:pt x="168" y="194"/>
                  </a:lnTo>
                  <a:lnTo>
                    <a:pt x="168" y="176"/>
                  </a:lnTo>
                  <a:lnTo>
                    <a:pt x="170" y="174"/>
                  </a:lnTo>
                  <a:lnTo>
                    <a:pt x="172" y="170"/>
                  </a:lnTo>
                  <a:lnTo>
                    <a:pt x="168" y="164"/>
                  </a:lnTo>
                  <a:lnTo>
                    <a:pt x="160" y="148"/>
                  </a:lnTo>
                  <a:lnTo>
                    <a:pt x="154" y="148"/>
                  </a:lnTo>
                  <a:lnTo>
                    <a:pt x="152" y="150"/>
                  </a:lnTo>
                  <a:lnTo>
                    <a:pt x="148" y="150"/>
                  </a:lnTo>
                  <a:lnTo>
                    <a:pt x="146" y="148"/>
                  </a:lnTo>
                  <a:lnTo>
                    <a:pt x="146" y="150"/>
                  </a:lnTo>
                  <a:lnTo>
                    <a:pt x="146" y="138"/>
                  </a:lnTo>
                  <a:lnTo>
                    <a:pt x="146" y="134"/>
                  </a:lnTo>
                  <a:lnTo>
                    <a:pt x="146" y="128"/>
                  </a:lnTo>
                  <a:lnTo>
                    <a:pt x="142" y="130"/>
                  </a:lnTo>
                  <a:lnTo>
                    <a:pt x="138" y="134"/>
                  </a:lnTo>
                  <a:lnTo>
                    <a:pt x="132" y="136"/>
                  </a:lnTo>
                  <a:lnTo>
                    <a:pt x="124" y="136"/>
                  </a:lnTo>
                  <a:lnTo>
                    <a:pt x="124" y="132"/>
                  </a:lnTo>
                  <a:lnTo>
                    <a:pt x="120" y="128"/>
                  </a:lnTo>
                  <a:lnTo>
                    <a:pt x="116" y="128"/>
                  </a:lnTo>
                  <a:lnTo>
                    <a:pt x="110" y="128"/>
                  </a:lnTo>
                  <a:lnTo>
                    <a:pt x="114" y="122"/>
                  </a:lnTo>
                  <a:lnTo>
                    <a:pt x="110" y="118"/>
                  </a:lnTo>
                  <a:lnTo>
                    <a:pt x="104" y="108"/>
                  </a:lnTo>
                  <a:lnTo>
                    <a:pt x="100" y="102"/>
                  </a:lnTo>
                  <a:lnTo>
                    <a:pt x="102" y="100"/>
                  </a:lnTo>
                  <a:lnTo>
                    <a:pt x="104" y="98"/>
                  </a:lnTo>
                  <a:lnTo>
                    <a:pt x="102" y="96"/>
                  </a:lnTo>
                  <a:lnTo>
                    <a:pt x="106" y="90"/>
                  </a:lnTo>
                  <a:lnTo>
                    <a:pt x="108" y="88"/>
                  </a:lnTo>
                  <a:lnTo>
                    <a:pt x="110" y="84"/>
                  </a:lnTo>
                  <a:lnTo>
                    <a:pt x="112" y="76"/>
                  </a:lnTo>
                  <a:lnTo>
                    <a:pt x="114" y="70"/>
                  </a:lnTo>
                  <a:lnTo>
                    <a:pt x="116" y="68"/>
                  </a:lnTo>
                  <a:lnTo>
                    <a:pt x="124" y="64"/>
                  </a:lnTo>
                  <a:lnTo>
                    <a:pt x="130" y="60"/>
                  </a:lnTo>
                  <a:lnTo>
                    <a:pt x="140" y="58"/>
                  </a:lnTo>
                  <a:lnTo>
                    <a:pt x="148" y="56"/>
                  </a:lnTo>
                  <a:lnTo>
                    <a:pt x="154" y="56"/>
                  </a:lnTo>
                  <a:lnTo>
                    <a:pt x="150" y="52"/>
                  </a:lnTo>
                  <a:lnTo>
                    <a:pt x="148" y="52"/>
                  </a:lnTo>
                  <a:lnTo>
                    <a:pt x="144" y="50"/>
                  </a:lnTo>
                  <a:lnTo>
                    <a:pt x="152" y="40"/>
                  </a:lnTo>
                  <a:lnTo>
                    <a:pt x="154" y="36"/>
                  </a:lnTo>
                  <a:lnTo>
                    <a:pt x="150" y="34"/>
                  </a:lnTo>
                  <a:lnTo>
                    <a:pt x="144" y="30"/>
                  </a:lnTo>
                  <a:lnTo>
                    <a:pt x="130" y="30"/>
                  </a:lnTo>
                  <a:lnTo>
                    <a:pt x="128" y="32"/>
                  </a:lnTo>
                  <a:lnTo>
                    <a:pt x="124" y="32"/>
                  </a:lnTo>
                  <a:lnTo>
                    <a:pt x="118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0" y="30"/>
                  </a:lnTo>
                  <a:lnTo>
                    <a:pt x="112" y="28"/>
                  </a:lnTo>
                  <a:lnTo>
                    <a:pt x="110" y="22"/>
                  </a:lnTo>
                  <a:lnTo>
                    <a:pt x="104" y="16"/>
                  </a:lnTo>
                  <a:lnTo>
                    <a:pt x="98" y="14"/>
                  </a:lnTo>
                  <a:lnTo>
                    <a:pt x="96" y="12"/>
                  </a:lnTo>
                  <a:lnTo>
                    <a:pt x="94" y="8"/>
                  </a:lnTo>
                  <a:lnTo>
                    <a:pt x="88" y="2"/>
                  </a:lnTo>
                  <a:lnTo>
                    <a:pt x="84" y="0"/>
                  </a:lnTo>
                  <a:lnTo>
                    <a:pt x="82" y="2"/>
                  </a:lnTo>
                  <a:lnTo>
                    <a:pt x="78" y="2"/>
                  </a:lnTo>
                  <a:lnTo>
                    <a:pt x="82" y="6"/>
                  </a:lnTo>
                  <a:lnTo>
                    <a:pt x="82" y="12"/>
                  </a:lnTo>
                  <a:lnTo>
                    <a:pt x="80" y="12"/>
                  </a:lnTo>
                  <a:lnTo>
                    <a:pt x="78" y="20"/>
                  </a:lnTo>
                  <a:lnTo>
                    <a:pt x="72" y="26"/>
                  </a:lnTo>
                  <a:lnTo>
                    <a:pt x="60" y="36"/>
                  </a:lnTo>
                  <a:lnTo>
                    <a:pt x="52" y="38"/>
                  </a:lnTo>
                  <a:lnTo>
                    <a:pt x="46" y="40"/>
                  </a:lnTo>
                  <a:lnTo>
                    <a:pt x="44" y="44"/>
                  </a:lnTo>
                  <a:lnTo>
                    <a:pt x="42" y="46"/>
                  </a:lnTo>
                  <a:lnTo>
                    <a:pt x="38" y="52"/>
                  </a:lnTo>
                  <a:lnTo>
                    <a:pt x="36" y="60"/>
                  </a:lnTo>
                  <a:lnTo>
                    <a:pt x="32" y="66"/>
                  </a:lnTo>
                  <a:lnTo>
                    <a:pt x="30" y="66"/>
                  </a:lnTo>
                  <a:lnTo>
                    <a:pt x="26" y="62"/>
                  </a:lnTo>
                  <a:lnTo>
                    <a:pt x="18" y="58"/>
                  </a:lnTo>
                  <a:lnTo>
                    <a:pt x="16" y="58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4" y="54"/>
                  </a:lnTo>
                  <a:lnTo>
                    <a:pt x="16" y="52"/>
                  </a:lnTo>
                  <a:lnTo>
                    <a:pt x="14" y="46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2" y="66"/>
                  </a:lnTo>
                  <a:lnTo>
                    <a:pt x="4" y="68"/>
                  </a:lnTo>
                  <a:lnTo>
                    <a:pt x="4" y="72"/>
                  </a:lnTo>
                  <a:lnTo>
                    <a:pt x="6" y="78"/>
                  </a:lnTo>
                  <a:lnTo>
                    <a:pt x="2" y="80"/>
                  </a:lnTo>
                  <a:lnTo>
                    <a:pt x="6" y="84"/>
                  </a:lnTo>
                  <a:lnTo>
                    <a:pt x="14" y="88"/>
                  </a:lnTo>
                  <a:lnTo>
                    <a:pt x="20" y="92"/>
                  </a:lnTo>
                  <a:lnTo>
                    <a:pt x="24" y="100"/>
                  </a:lnTo>
                  <a:lnTo>
                    <a:pt x="26" y="104"/>
                  </a:lnTo>
                  <a:lnTo>
                    <a:pt x="28" y="108"/>
                  </a:lnTo>
                  <a:lnTo>
                    <a:pt x="32" y="112"/>
                  </a:lnTo>
                  <a:lnTo>
                    <a:pt x="36" y="120"/>
                  </a:lnTo>
                  <a:lnTo>
                    <a:pt x="36" y="122"/>
                  </a:lnTo>
                  <a:lnTo>
                    <a:pt x="40" y="126"/>
                  </a:lnTo>
                  <a:lnTo>
                    <a:pt x="42" y="134"/>
                  </a:lnTo>
                  <a:lnTo>
                    <a:pt x="46" y="142"/>
                  </a:lnTo>
                  <a:lnTo>
                    <a:pt x="48" y="148"/>
                  </a:lnTo>
                  <a:lnTo>
                    <a:pt x="52" y="154"/>
                  </a:lnTo>
                  <a:lnTo>
                    <a:pt x="56" y="160"/>
                  </a:lnTo>
                  <a:lnTo>
                    <a:pt x="56" y="162"/>
                  </a:lnTo>
                  <a:lnTo>
                    <a:pt x="56" y="164"/>
                  </a:lnTo>
                  <a:lnTo>
                    <a:pt x="62" y="170"/>
                  </a:lnTo>
                  <a:lnTo>
                    <a:pt x="66" y="176"/>
                  </a:lnTo>
                  <a:lnTo>
                    <a:pt x="70" y="186"/>
                  </a:lnTo>
                  <a:lnTo>
                    <a:pt x="68" y="188"/>
                  </a:lnTo>
                  <a:lnTo>
                    <a:pt x="66" y="190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84" y="210"/>
                  </a:lnTo>
                  <a:lnTo>
                    <a:pt x="92" y="214"/>
                  </a:lnTo>
                  <a:lnTo>
                    <a:pt x="100" y="220"/>
                  </a:lnTo>
                  <a:lnTo>
                    <a:pt x="108" y="222"/>
                  </a:lnTo>
                  <a:lnTo>
                    <a:pt x="114" y="226"/>
                  </a:lnTo>
                  <a:lnTo>
                    <a:pt x="118" y="228"/>
                  </a:lnTo>
                  <a:lnTo>
                    <a:pt x="120" y="228"/>
                  </a:lnTo>
                  <a:lnTo>
                    <a:pt x="128" y="234"/>
                  </a:lnTo>
                  <a:lnTo>
                    <a:pt x="128" y="236"/>
                  </a:lnTo>
                  <a:lnTo>
                    <a:pt x="130" y="236"/>
                  </a:lnTo>
                  <a:lnTo>
                    <a:pt x="134" y="238"/>
                  </a:lnTo>
                  <a:lnTo>
                    <a:pt x="136" y="240"/>
                  </a:lnTo>
                  <a:lnTo>
                    <a:pt x="138" y="244"/>
                  </a:lnTo>
                  <a:lnTo>
                    <a:pt x="144" y="248"/>
                  </a:lnTo>
                  <a:lnTo>
                    <a:pt x="148" y="252"/>
                  </a:lnTo>
                  <a:lnTo>
                    <a:pt x="156" y="248"/>
                  </a:lnTo>
                  <a:lnTo>
                    <a:pt x="158" y="244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C0048164-0A1B-48DC-9766-91EFA3CEB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725" y="4710113"/>
              <a:ext cx="9525" cy="9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"/>
                </a:cxn>
                <a:cxn ang="0">
                  <a:pos x="6" y="6"/>
                </a:cxn>
                <a:cxn ang="0">
                  <a:pos x="4" y="2"/>
                </a:cxn>
                <a:cxn ang="0">
                  <a:pos x="0" y="0"/>
                </a:cxn>
              </a:cxnLst>
              <a:rect l="0" t="0" r="r" b="b"/>
              <a:pathLst>
                <a:path w="6" h="6">
                  <a:moveTo>
                    <a:pt x="0" y="0"/>
                  </a:moveTo>
                  <a:lnTo>
                    <a:pt x="0" y="4"/>
                  </a:lnTo>
                  <a:lnTo>
                    <a:pt x="6" y="6"/>
                  </a:lnTo>
                  <a:lnTo>
                    <a:pt x="4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1" name="Freeform 969">
              <a:extLst>
                <a:ext uri="{FF2B5EF4-FFF2-40B4-BE49-F238E27FC236}">
                  <a16:creationId xmlns:a16="http://schemas.microsoft.com/office/drawing/2014/main" id="{3ACB6030-1563-4F34-8DEF-C4E9353C4FF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5849" y="4297363"/>
              <a:ext cx="349250" cy="136525"/>
            </a:xfrm>
            <a:custGeom>
              <a:avLst/>
              <a:gdLst/>
              <a:ahLst/>
              <a:cxnLst/>
              <a:rect l="l" t="t" r="r" b="b"/>
              <a:pathLst>
                <a:path w="349250" h="136525">
                  <a:moveTo>
                    <a:pt x="244475" y="88900"/>
                  </a:moveTo>
                  <a:lnTo>
                    <a:pt x="250825" y="92075"/>
                  </a:lnTo>
                  <a:lnTo>
                    <a:pt x="244475" y="98425"/>
                  </a:lnTo>
                  <a:lnTo>
                    <a:pt x="241300" y="92075"/>
                  </a:lnTo>
                  <a:close/>
                  <a:moveTo>
                    <a:pt x="0" y="28575"/>
                  </a:moveTo>
                  <a:lnTo>
                    <a:pt x="9525" y="41275"/>
                  </a:lnTo>
                  <a:lnTo>
                    <a:pt x="12700" y="50800"/>
                  </a:lnTo>
                  <a:lnTo>
                    <a:pt x="0" y="53975"/>
                  </a:lnTo>
                  <a:lnTo>
                    <a:pt x="3175" y="44450"/>
                  </a:lnTo>
                  <a:close/>
                  <a:moveTo>
                    <a:pt x="273050" y="0"/>
                  </a:moveTo>
                  <a:lnTo>
                    <a:pt x="282575" y="6350"/>
                  </a:lnTo>
                  <a:lnTo>
                    <a:pt x="292100" y="12700"/>
                  </a:lnTo>
                  <a:lnTo>
                    <a:pt x="295275" y="12700"/>
                  </a:lnTo>
                  <a:lnTo>
                    <a:pt x="298450" y="12700"/>
                  </a:lnTo>
                  <a:lnTo>
                    <a:pt x="301625" y="22225"/>
                  </a:lnTo>
                  <a:lnTo>
                    <a:pt x="311150" y="25400"/>
                  </a:lnTo>
                  <a:lnTo>
                    <a:pt x="323850" y="25400"/>
                  </a:lnTo>
                  <a:lnTo>
                    <a:pt x="323850" y="22225"/>
                  </a:lnTo>
                  <a:lnTo>
                    <a:pt x="330200" y="22225"/>
                  </a:lnTo>
                  <a:lnTo>
                    <a:pt x="339725" y="28575"/>
                  </a:lnTo>
                  <a:lnTo>
                    <a:pt x="349250" y="34925"/>
                  </a:lnTo>
                  <a:lnTo>
                    <a:pt x="342900" y="34925"/>
                  </a:lnTo>
                  <a:lnTo>
                    <a:pt x="349250" y="41275"/>
                  </a:lnTo>
                  <a:lnTo>
                    <a:pt x="349250" y="50800"/>
                  </a:lnTo>
                  <a:lnTo>
                    <a:pt x="346075" y="50800"/>
                  </a:lnTo>
                  <a:lnTo>
                    <a:pt x="342900" y="63500"/>
                  </a:lnTo>
                  <a:lnTo>
                    <a:pt x="333375" y="73025"/>
                  </a:lnTo>
                  <a:lnTo>
                    <a:pt x="314325" y="88900"/>
                  </a:lnTo>
                  <a:lnTo>
                    <a:pt x="301625" y="92075"/>
                  </a:lnTo>
                  <a:lnTo>
                    <a:pt x="292100" y="95250"/>
                  </a:lnTo>
                  <a:lnTo>
                    <a:pt x="288925" y="101600"/>
                  </a:lnTo>
                  <a:lnTo>
                    <a:pt x="285750" y="104775"/>
                  </a:lnTo>
                  <a:lnTo>
                    <a:pt x="279400" y="114300"/>
                  </a:lnTo>
                  <a:lnTo>
                    <a:pt x="276225" y="127000"/>
                  </a:lnTo>
                  <a:lnTo>
                    <a:pt x="269875" y="136525"/>
                  </a:lnTo>
                  <a:lnTo>
                    <a:pt x="266700" y="136525"/>
                  </a:lnTo>
                  <a:lnTo>
                    <a:pt x="260350" y="130175"/>
                  </a:lnTo>
                  <a:lnTo>
                    <a:pt x="247650" y="123825"/>
                  </a:lnTo>
                  <a:lnTo>
                    <a:pt x="244475" y="123825"/>
                  </a:lnTo>
                  <a:lnTo>
                    <a:pt x="238125" y="127000"/>
                  </a:lnTo>
                  <a:lnTo>
                    <a:pt x="238125" y="117475"/>
                  </a:lnTo>
                  <a:lnTo>
                    <a:pt x="241300" y="117475"/>
                  </a:lnTo>
                  <a:lnTo>
                    <a:pt x="244475" y="114300"/>
                  </a:lnTo>
                  <a:lnTo>
                    <a:pt x="241300" y="104775"/>
                  </a:lnTo>
                  <a:lnTo>
                    <a:pt x="250825" y="98425"/>
                  </a:lnTo>
                  <a:lnTo>
                    <a:pt x="250825" y="92075"/>
                  </a:lnTo>
                  <a:lnTo>
                    <a:pt x="250825" y="85725"/>
                  </a:lnTo>
                  <a:lnTo>
                    <a:pt x="241300" y="88900"/>
                  </a:lnTo>
                  <a:lnTo>
                    <a:pt x="231775" y="85725"/>
                  </a:lnTo>
                  <a:lnTo>
                    <a:pt x="228600" y="79375"/>
                  </a:lnTo>
                  <a:lnTo>
                    <a:pt x="231775" y="69850"/>
                  </a:lnTo>
                  <a:lnTo>
                    <a:pt x="228600" y="57150"/>
                  </a:lnTo>
                  <a:lnTo>
                    <a:pt x="228600" y="50800"/>
                  </a:lnTo>
                  <a:lnTo>
                    <a:pt x="231775" y="50800"/>
                  </a:lnTo>
                  <a:lnTo>
                    <a:pt x="238125" y="41275"/>
                  </a:lnTo>
                  <a:lnTo>
                    <a:pt x="247650" y="28575"/>
                  </a:lnTo>
                  <a:lnTo>
                    <a:pt x="244475" y="19050"/>
                  </a:lnTo>
                  <a:lnTo>
                    <a:pt x="250825" y="12700"/>
                  </a:lnTo>
                  <a:lnTo>
                    <a:pt x="260350" y="6350"/>
                  </a:lnTo>
                  <a:lnTo>
                    <a:pt x="266700" y="635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2" name="Freeform 908">
              <a:extLst>
                <a:ext uri="{FF2B5EF4-FFF2-40B4-BE49-F238E27FC236}">
                  <a16:creationId xmlns:a16="http://schemas.microsoft.com/office/drawing/2014/main" id="{20AEBA67-1D0B-4823-B1FD-B0C6FCC67C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8300" y="3108325"/>
              <a:ext cx="1247775" cy="661988"/>
            </a:xfrm>
            <a:custGeom>
              <a:avLst/>
              <a:gdLst/>
              <a:ahLst/>
              <a:cxnLst/>
              <a:rect l="l" t="t" r="r" b="b"/>
              <a:pathLst>
                <a:path w="1247775" h="661988">
                  <a:moveTo>
                    <a:pt x="638175" y="0"/>
                  </a:moveTo>
                  <a:lnTo>
                    <a:pt x="644525" y="3175"/>
                  </a:lnTo>
                  <a:lnTo>
                    <a:pt x="647700" y="15875"/>
                  </a:lnTo>
                  <a:lnTo>
                    <a:pt x="666750" y="22225"/>
                  </a:lnTo>
                  <a:lnTo>
                    <a:pt x="676275" y="25400"/>
                  </a:lnTo>
                  <a:lnTo>
                    <a:pt x="685800" y="25400"/>
                  </a:lnTo>
                  <a:lnTo>
                    <a:pt x="695325" y="28575"/>
                  </a:lnTo>
                  <a:lnTo>
                    <a:pt x="695325" y="31750"/>
                  </a:lnTo>
                  <a:lnTo>
                    <a:pt x="695325" y="34925"/>
                  </a:lnTo>
                  <a:lnTo>
                    <a:pt x="698500" y="34925"/>
                  </a:lnTo>
                  <a:lnTo>
                    <a:pt x="711200" y="38100"/>
                  </a:lnTo>
                  <a:lnTo>
                    <a:pt x="714375" y="41275"/>
                  </a:lnTo>
                  <a:lnTo>
                    <a:pt x="717550" y="41275"/>
                  </a:lnTo>
                  <a:lnTo>
                    <a:pt x="727075" y="38100"/>
                  </a:lnTo>
                  <a:lnTo>
                    <a:pt x="730250" y="38100"/>
                  </a:lnTo>
                  <a:lnTo>
                    <a:pt x="736600" y="41275"/>
                  </a:lnTo>
                  <a:lnTo>
                    <a:pt x="742950" y="41275"/>
                  </a:lnTo>
                  <a:lnTo>
                    <a:pt x="758825" y="44450"/>
                  </a:lnTo>
                  <a:lnTo>
                    <a:pt x="762000" y="44450"/>
                  </a:lnTo>
                  <a:lnTo>
                    <a:pt x="771525" y="38100"/>
                  </a:lnTo>
                  <a:lnTo>
                    <a:pt x="784225" y="34925"/>
                  </a:lnTo>
                  <a:lnTo>
                    <a:pt x="796925" y="41275"/>
                  </a:lnTo>
                  <a:lnTo>
                    <a:pt x="809625" y="47625"/>
                  </a:lnTo>
                  <a:lnTo>
                    <a:pt x="835025" y="63500"/>
                  </a:lnTo>
                  <a:lnTo>
                    <a:pt x="860425" y="79375"/>
                  </a:lnTo>
                  <a:lnTo>
                    <a:pt x="863600" y="85725"/>
                  </a:lnTo>
                  <a:lnTo>
                    <a:pt x="869950" y="92075"/>
                  </a:lnTo>
                  <a:lnTo>
                    <a:pt x="879475" y="98425"/>
                  </a:lnTo>
                  <a:lnTo>
                    <a:pt x="889000" y="104775"/>
                  </a:lnTo>
                  <a:lnTo>
                    <a:pt x="889000" y="107950"/>
                  </a:lnTo>
                  <a:lnTo>
                    <a:pt x="885825" y="111125"/>
                  </a:lnTo>
                  <a:lnTo>
                    <a:pt x="904875" y="123825"/>
                  </a:lnTo>
                  <a:lnTo>
                    <a:pt x="911225" y="130175"/>
                  </a:lnTo>
                  <a:lnTo>
                    <a:pt x="914400" y="146050"/>
                  </a:lnTo>
                  <a:lnTo>
                    <a:pt x="917575" y="171450"/>
                  </a:lnTo>
                  <a:lnTo>
                    <a:pt x="917575" y="184150"/>
                  </a:lnTo>
                  <a:lnTo>
                    <a:pt x="914400" y="196850"/>
                  </a:lnTo>
                  <a:lnTo>
                    <a:pt x="908050" y="209550"/>
                  </a:lnTo>
                  <a:lnTo>
                    <a:pt x="904875" y="215900"/>
                  </a:lnTo>
                  <a:lnTo>
                    <a:pt x="898525" y="215900"/>
                  </a:lnTo>
                  <a:lnTo>
                    <a:pt x="898525" y="227013"/>
                  </a:lnTo>
                  <a:lnTo>
                    <a:pt x="908050" y="233363"/>
                  </a:lnTo>
                  <a:lnTo>
                    <a:pt x="914400" y="233363"/>
                  </a:lnTo>
                  <a:lnTo>
                    <a:pt x="920750" y="230188"/>
                  </a:lnTo>
                  <a:lnTo>
                    <a:pt x="933450" y="220663"/>
                  </a:lnTo>
                  <a:lnTo>
                    <a:pt x="946150" y="219075"/>
                  </a:lnTo>
                  <a:lnTo>
                    <a:pt x="962025" y="215900"/>
                  </a:lnTo>
                  <a:lnTo>
                    <a:pt x="971550" y="209550"/>
                  </a:lnTo>
                  <a:lnTo>
                    <a:pt x="984250" y="203200"/>
                  </a:lnTo>
                  <a:lnTo>
                    <a:pt x="987425" y="200025"/>
                  </a:lnTo>
                  <a:lnTo>
                    <a:pt x="984250" y="193675"/>
                  </a:lnTo>
                  <a:lnTo>
                    <a:pt x="984250" y="190500"/>
                  </a:lnTo>
                  <a:lnTo>
                    <a:pt x="984250" y="184150"/>
                  </a:lnTo>
                  <a:lnTo>
                    <a:pt x="996950" y="177800"/>
                  </a:lnTo>
                  <a:lnTo>
                    <a:pt x="1012825" y="177800"/>
                  </a:lnTo>
                  <a:lnTo>
                    <a:pt x="1031875" y="177800"/>
                  </a:lnTo>
                  <a:lnTo>
                    <a:pt x="1038225" y="174625"/>
                  </a:lnTo>
                  <a:lnTo>
                    <a:pt x="1041400" y="165100"/>
                  </a:lnTo>
                  <a:lnTo>
                    <a:pt x="1057275" y="152400"/>
                  </a:lnTo>
                  <a:lnTo>
                    <a:pt x="1079500" y="136525"/>
                  </a:lnTo>
                  <a:lnTo>
                    <a:pt x="1108075" y="136525"/>
                  </a:lnTo>
                  <a:lnTo>
                    <a:pt x="1139825" y="136525"/>
                  </a:lnTo>
                  <a:lnTo>
                    <a:pt x="1149350" y="136525"/>
                  </a:lnTo>
                  <a:lnTo>
                    <a:pt x="1162050" y="123825"/>
                  </a:lnTo>
                  <a:lnTo>
                    <a:pt x="1171575" y="114300"/>
                  </a:lnTo>
                  <a:lnTo>
                    <a:pt x="1174750" y="107950"/>
                  </a:lnTo>
                  <a:lnTo>
                    <a:pt x="1177925" y="98425"/>
                  </a:lnTo>
                  <a:lnTo>
                    <a:pt x="1181100" y="92075"/>
                  </a:lnTo>
                  <a:lnTo>
                    <a:pt x="1181100" y="82550"/>
                  </a:lnTo>
                  <a:lnTo>
                    <a:pt x="1190625" y="69850"/>
                  </a:lnTo>
                  <a:lnTo>
                    <a:pt x="1200150" y="60325"/>
                  </a:lnTo>
                  <a:lnTo>
                    <a:pt x="1200150" y="66675"/>
                  </a:lnTo>
                  <a:lnTo>
                    <a:pt x="1206500" y="69850"/>
                  </a:lnTo>
                  <a:lnTo>
                    <a:pt x="1216025" y="63500"/>
                  </a:lnTo>
                  <a:lnTo>
                    <a:pt x="1225550" y="69850"/>
                  </a:lnTo>
                  <a:lnTo>
                    <a:pt x="1228725" y="76200"/>
                  </a:lnTo>
                  <a:lnTo>
                    <a:pt x="1228725" y="85725"/>
                  </a:lnTo>
                  <a:lnTo>
                    <a:pt x="1228725" y="111125"/>
                  </a:lnTo>
                  <a:lnTo>
                    <a:pt x="1228725" y="117475"/>
                  </a:lnTo>
                  <a:lnTo>
                    <a:pt x="1231900" y="117475"/>
                  </a:lnTo>
                  <a:lnTo>
                    <a:pt x="1238250" y="120650"/>
                  </a:lnTo>
                  <a:lnTo>
                    <a:pt x="1241425" y="133350"/>
                  </a:lnTo>
                  <a:lnTo>
                    <a:pt x="1247775" y="142875"/>
                  </a:lnTo>
                  <a:lnTo>
                    <a:pt x="1241425" y="149225"/>
                  </a:lnTo>
                  <a:lnTo>
                    <a:pt x="1228725" y="152400"/>
                  </a:lnTo>
                  <a:lnTo>
                    <a:pt x="1222375" y="158750"/>
                  </a:lnTo>
                  <a:lnTo>
                    <a:pt x="1219200" y="152400"/>
                  </a:lnTo>
                  <a:lnTo>
                    <a:pt x="1203325" y="165100"/>
                  </a:lnTo>
                  <a:lnTo>
                    <a:pt x="1196975" y="171450"/>
                  </a:lnTo>
                  <a:lnTo>
                    <a:pt x="1187450" y="174625"/>
                  </a:lnTo>
                  <a:lnTo>
                    <a:pt x="1184275" y="177800"/>
                  </a:lnTo>
                  <a:lnTo>
                    <a:pt x="1181100" y="174625"/>
                  </a:lnTo>
                  <a:lnTo>
                    <a:pt x="1174750" y="187325"/>
                  </a:lnTo>
                  <a:lnTo>
                    <a:pt x="1165225" y="193675"/>
                  </a:lnTo>
                  <a:lnTo>
                    <a:pt x="1165225" y="196850"/>
                  </a:lnTo>
                  <a:lnTo>
                    <a:pt x="1162050" y="203200"/>
                  </a:lnTo>
                  <a:lnTo>
                    <a:pt x="1168400" y="209550"/>
                  </a:lnTo>
                  <a:lnTo>
                    <a:pt x="1162050" y="212725"/>
                  </a:lnTo>
                  <a:lnTo>
                    <a:pt x="1158875" y="219075"/>
                  </a:lnTo>
                  <a:lnTo>
                    <a:pt x="1165225" y="227013"/>
                  </a:lnTo>
                  <a:lnTo>
                    <a:pt x="1177925" y="233363"/>
                  </a:lnTo>
                  <a:lnTo>
                    <a:pt x="1177925" y="223838"/>
                  </a:lnTo>
                  <a:lnTo>
                    <a:pt x="1181100" y="223838"/>
                  </a:lnTo>
                  <a:lnTo>
                    <a:pt x="1181100" y="233363"/>
                  </a:lnTo>
                  <a:lnTo>
                    <a:pt x="1177925" y="236538"/>
                  </a:lnTo>
                  <a:lnTo>
                    <a:pt x="1171575" y="236538"/>
                  </a:lnTo>
                  <a:lnTo>
                    <a:pt x="1165225" y="236538"/>
                  </a:lnTo>
                  <a:lnTo>
                    <a:pt x="1165225" y="233363"/>
                  </a:lnTo>
                  <a:lnTo>
                    <a:pt x="1162050" y="236538"/>
                  </a:lnTo>
                  <a:lnTo>
                    <a:pt x="1158875" y="239713"/>
                  </a:lnTo>
                  <a:lnTo>
                    <a:pt x="1152525" y="233363"/>
                  </a:lnTo>
                  <a:lnTo>
                    <a:pt x="1149350" y="239713"/>
                  </a:lnTo>
                  <a:lnTo>
                    <a:pt x="1146175" y="242888"/>
                  </a:lnTo>
                  <a:lnTo>
                    <a:pt x="1130300" y="242888"/>
                  </a:lnTo>
                  <a:lnTo>
                    <a:pt x="1120775" y="246063"/>
                  </a:lnTo>
                  <a:lnTo>
                    <a:pt x="1108075" y="252413"/>
                  </a:lnTo>
                  <a:lnTo>
                    <a:pt x="1101725" y="252413"/>
                  </a:lnTo>
                  <a:lnTo>
                    <a:pt x="1099185" y="257493"/>
                  </a:lnTo>
                  <a:lnTo>
                    <a:pt x="1104900" y="255588"/>
                  </a:lnTo>
                  <a:lnTo>
                    <a:pt x="1111250" y="255588"/>
                  </a:lnTo>
                  <a:lnTo>
                    <a:pt x="1120775" y="255588"/>
                  </a:lnTo>
                  <a:lnTo>
                    <a:pt x="1133475" y="249238"/>
                  </a:lnTo>
                  <a:lnTo>
                    <a:pt x="1139825" y="252413"/>
                  </a:lnTo>
                  <a:lnTo>
                    <a:pt x="1123950" y="258763"/>
                  </a:lnTo>
                  <a:lnTo>
                    <a:pt x="1117600" y="261938"/>
                  </a:lnTo>
                  <a:lnTo>
                    <a:pt x="1104900" y="265113"/>
                  </a:lnTo>
                  <a:lnTo>
                    <a:pt x="1095375" y="265113"/>
                  </a:lnTo>
                  <a:lnTo>
                    <a:pt x="1095375" y="261938"/>
                  </a:lnTo>
                  <a:lnTo>
                    <a:pt x="1089025" y="268288"/>
                  </a:lnTo>
                  <a:lnTo>
                    <a:pt x="1095375" y="274638"/>
                  </a:lnTo>
                  <a:lnTo>
                    <a:pt x="1092200" y="290513"/>
                  </a:lnTo>
                  <a:lnTo>
                    <a:pt x="1082675" y="300038"/>
                  </a:lnTo>
                  <a:lnTo>
                    <a:pt x="1076325" y="312738"/>
                  </a:lnTo>
                  <a:lnTo>
                    <a:pt x="1076325" y="306388"/>
                  </a:lnTo>
                  <a:lnTo>
                    <a:pt x="1066800" y="300038"/>
                  </a:lnTo>
                  <a:lnTo>
                    <a:pt x="1063625" y="303213"/>
                  </a:lnTo>
                  <a:lnTo>
                    <a:pt x="1066800" y="309563"/>
                  </a:lnTo>
                  <a:lnTo>
                    <a:pt x="1073150" y="325438"/>
                  </a:lnTo>
                  <a:lnTo>
                    <a:pt x="1066800" y="338138"/>
                  </a:lnTo>
                  <a:lnTo>
                    <a:pt x="1060450" y="350838"/>
                  </a:lnTo>
                  <a:lnTo>
                    <a:pt x="1054100" y="360363"/>
                  </a:lnTo>
                  <a:lnTo>
                    <a:pt x="1050925" y="357188"/>
                  </a:lnTo>
                  <a:lnTo>
                    <a:pt x="1054100" y="350838"/>
                  </a:lnTo>
                  <a:lnTo>
                    <a:pt x="1057275" y="341313"/>
                  </a:lnTo>
                  <a:lnTo>
                    <a:pt x="1057275" y="334963"/>
                  </a:lnTo>
                  <a:lnTo>
                    <a:pt x="1050925" y="328613"/>
                  </a:lnTo>
                  <a:lnTo>
                    <a:pt x="1047750" y="325438"/>
                  </a:lnTo>
                  <a:lnTo>
                    <a:pt x="1047750" y="322263"/>
                  </a:lnTo>
                  <a:lnTo>
                    <a:pt x="1044575" y="309563"/>
                  </a:lnTo>
                  <a:lnTo>
                    <a:pt x="1047750" y="300038"/>
                  </a:lnTo>
                  <a:lnTo>
                    <a:pt x="1050925" y="300038"/>
                  </a:lnTo>
                  <a:lnTo>
                    <a:pt x="1050925" y="293688"/>
                  </a:lnTo>
                  <a:lnTo>
                    <a:pt x="1044575" y="300038"/>
                  </a:lnTo>
                  <a:lnTo>
                    <a:pt x="1041400" y="306388"/>
                  </a:lnTo>
                  <a:lnTo>
                    <a:pt x="1041400" y="319088"/>
                  </a:lnTo>
                  <a:lnTo>
                    <a:pt x="1038225" y="322263"/>
                  </a:lnTo>
                  <a:lnTo>
                    <a:pt x="1044575" y="334963"/>
                  </a:lnTo>
                  <a:lnTo>
                    <a:pt x="1044575" y="341313"/>
                  </a:lnTo>
                  <a:lnTo>
                    <a:pt x="1041400" y="347663"/>
                  </a:lnTo>
                  <a:lnTo>
                    <a:pt x="1044575" y="360363"/>
                  </a:lnTo>
                  <a:lnTo>
                    <a:pt x="1044575" y="366713"/>
                  </a:lnTo>
                  <a:lnTo>
                    <a:pt x="1050925" y="366713"/>
                  </a:lnTo>
                  <a:lnTo>
                    <a:pt x="1054100" y="379413"/>
                  </a:lnTo>
                  <a:lnTo>
                    <a:pt x="1060450" y="395288"/>
                  </a:lnTo>
                  <a:lnTo>
                    <a:pt x="1047750" y="388938"/>
                  </a:lnTo>
                  <a:lnTo>
                    <a:pt x="1035050" y="392113"/>
                  </a:lnTo>
                  <a:lnTo>
                    <a:pt x="1047750" y="395288"/>
                  </a:lnTo>
                  <a:lnTo>
                    <a:pt x="1054100" y="392113"/>
                  </a:lnTo>
                  <a:lnTo>
                    <a:pt x="1057275" y="395288"/>
                  </a:lnTo>
                  <a:lnTo>
                    <a:pt x="1054100" y="404813"/>
                  </a:lnTo>
                  <a:lnTo>
                    <a:pt x="1047750" y="407988"/>
                  </a:lnTo>
                  <a:lnTo>
                    <a:pt x="1044575" y="417513"/>
                  </a:lnTo>
                  <a:lnTo>
                    <a:pt x="1038225" y="423863"/>
                  </a:lnTo>
                  <a:lnTo>
                    <a:pt x="1022350" y="430213"/>
                  </a:lnTo>
                  <a:lnTo>
                    <a:pt x="1009650" y="436563"/>
                  </a:lnTo>
                  <a:lnTo>
                    <a:pt x="1003300" y="446088"/>
                  </a:lnTo>
                  <a:lnTo>
                    <a:pt x="996950" y="446088"/>
                  </a:lnTo>
                  <a:lnTo>
                    <a:pt x="987425" y="452438"/>
                  </a:lnTo>
                  <a:lnTo>
                    <a:pt x="984250" y="458788"/>
                  </a:lnTo>
                  <a:lnTo>
                    <a:pt x="977900" y="465138"/>
                  </a:lnTo>
                  <a:lnTo>
                    <a:pt x="971550" y="471488"/>
                  </a:lnTo>
                  <a:lnTo>
                    <a:pt x="965200" y="477838"/>
                  </a:lnTo>
                  <a:lnTo>
                    <a:pt x="949325" y="484188"/>
                  </a:lnTo>
                  <a:lnTo>
                    <a:pt x="942975" y="496888"/>
                  </a:lnTo>
                  <a:lnTo>
                    <a:pt x="939800" y="503238"/>
                  </a:lnTo>
                  <a:lnTo>
                    <a:pt x="936625" y="512763"/>
                  </a:lnTo>
                  <a:lnTo>
                    <a:pt x="936625" y="515938"/>
                  </a:lnTo>
                  <a:lnTo>
                    <a:pt x="933450" y="522288"/>
                  </a:lnTo>
                  <a:lnTo>
                    <a:pt x="936625" y="538163"/>
                  </a:lnTo>
                  <a:lnTo>
                    <a:pt x="936625" y="550863"/>
                  </a:lnTo>
                  <a:lnTo>
                    <a:pt x="942975" y="566738"/>
                  </a:lnTo>
                  <a:lnTo>
                    <a:pt x="946150" y="573088"/>
                  </a:lnTo>
                  <a:lnTo>
                    <a:pt x="946150" y="579438"/>
                  </a:lnTo>
                  <a:lnTo>
                    <a:pt x="958850" y="604838"/>
                  </a:lnTo>
                  <a:lnTo>
                    <a:pt x="965200" y="630238"/>
                  </a:lnTo>
                  <a:lnTo>
                    <a:pt x="962025" y="646113"/>
                  </a:lnTo>
                  <a:lnTo>
                    <a:pt x="958850" y="652463"/>
                  </a:lnTo>
                  <a:lnTo>
                    <a:pt x="958850" y="658813"/>
                  </a:lnTo>
                  <a:lnTo>
                    <a:pt x="952500" y="661988"/>
                  </a:lnTo>
                  <a:lnTo>
                    <a:pt x="946150" y="661988"/>
                  </a:lnTo>
                  <a:lnTo>
                    <a:pt x="939800" y="661988"/>
                  </a:lnTo>
                  <a:lnTo>
                    <a:pt x="936625" y="652463"/>
                  </a:lnTo>
                  <a:lnTo>
                    <a:pt x="933450" y="646113"/>
                  </a:lnTo>
                  <a:lnTo>
                    <a:pt x="930275" y="642938"/>
                  </a:lnTo>
                  <a:lnTo>
                    <a:pt x="927100" y="642938"/>
                  </a:lnTo>
                  <a:lnTo>
                    <a:pt x="927100" y="636588"/>
                  </a:lnTo>
                  <a:lnTo>
                    <a:pt x="927100" y="623888"/>
                  </a:lnTo>
                  <a:lnTo>
                    <a:pt x="923925" y="630238"/>
                  </a:lnTo>
                  <a:lnTo>
                    <a:pt x="920750" y="627063"/>
                  </a:lnTo>
                  <a:lnTo>
                    <a:pt x="920750" y="623888"/>
                  </a:lnTo>
                  <a:lnTo>
                    <a:pt x="920750" y="620713"/>
                  </a:lnTo>
                  <a:lnTo>
                    <a:pt x="917575" y="620713"/>
                  </a:lnTo>
                  <a:lnTo>
                    <a:pt x="914400" y="620713"/>
                  </a:lnTo>
                  <a:lnTo>
                    <a:pt x="908050" y="604838"/>
                  </a:lnTo>
                  <a:lnTo>
                    <a:pt x="904875" y="595313"/>
                  </a:lnTo>
                  <a:lnTo>
                    <a:pt x="904875" y="592138"/>
                  </a:lnTo>
                  <a:lnTo>
                    <a:pt x="904875" y="588963"/>
                  </a:lnTo>
                  <a:lnTo>
                    <a:pt x="908050" y="576263"/>
                  </a:lnTo>
                  <a:lnTo>
                    <a:pt x="908050" y="569913"/>
                  </a:lnTo>
                  <a:lnTo>
                    <a:pt x="901700" y="566738"/>
                  </a:lnTo>
                  <a:lnTo>
                    <a:pt x="898525" y="563563"/>
                  </a:lnTo>
                  <a:lnTo>
                    <a:pt x="895350" y="560388"/>
                  </a:lnTo>
                  <a:lnTo>
                    <a:pt x="885825" y="547688"/>
                  </a:lnTo>
                  <a:lnTo>
                    <a:pt x="869950" y="544513"/>
                  </a:lnTo>
                  <a:lnTo>
                    <a:pt x="860425" y="550863"/>
                  </a:lnTo>
                  <a:lnTo>
                    <a:pt x="857250" y="554038"/>
                  </a:lnTo>
                  <a:lnTo>
                    <a:pt x="850900" y="554038"/>
                  </a:lnTo>
                  <a:lnTo>
                    <a:pt x="847725" y="550863"/>
                  </a:lnTo>
                  <a:lnTo>
                    <a:pt x="847725" y="547688"/>
                  </a:lnTo>
                  <a:lnTo>
                    <a:pt x="841375" y="541338"/>
                  </a:lnTo>
                  <a:lnTo>
                    <a:pt x="831850" y="538163"/>
                  </a:lnTo>
                  <a:lnTo>
                    <a:pt x="825500" y="531813"/>
                  </a:lnTo>
                  <a:lnTo>
                    <a:pt x="815975" y="534988"/>
                  </a:lnTo>
                  <a:lnTo>
                    <a:pt x="803275" y="538163"/>
                  </a:lnTo>
                  <a:lnTo>
                    <a:pt x="796925" y="538163"/>
                  </a:lnTo>
                  <a:lnTo>
                    <a:pt x="793750" y="534988"/>
                  </a:lnTo>
                  <a:lnTo>
                    <a:pt x="793750" y="528638"/>
                  </a:lnTo>
                  <a:lnTo>
                    <a:pt x="793750" y="525463"/>
                  </a:lnTo>
                  <a:lnTo>
                    <a:pt x="784225" y="534988"/>
                  </a:lnTo>
                  <a:lnTo>
                    <a:pt x="781050" y="538163"/>
                  </a:lnTo>
                  <a:lnTo>
                    <a:pt x="774700" y="534988"/>
                  </a:lnTo>
                  <a:lnTo>
                    <a:pt x="765175" y="538163"/>
                  </a:lnTo>
                  <a:lnTo>
                    <a:pt x="762000" y="544513"/>
                  </a:lnTo>
                  <a:lnTo>
                    <a:pt x="755650" y="554038"/>
                  </a:lnTo>
                  <a:lnTo>
                    <a:pt x="771525" y="566738"/>
                  </a:lnTo>
                  <a:lnTo>
                    <a:pt x="762000" y="566738"/>
                  </a:lnTo>
                  <a:lnTo>
                    <a:pt x="755650" y="560388"/>
                  </a:lnTo>
                  <a:lnTo>
                    <a:pt x="746125" y="557213"/>
                  </a:lnTo>
                  <a:lnTo>
                    <a:pt x="746125" y="566738"/>
                  </a:lnTo>
                  <a:lnTo>
                    <a:pt x="739775" y="563563"/>
                  </a:lnTo>
                  <a:lnTo>
                    <a:pt x="733425" y="566738"/>
                  </a:lnTo>
                  <a:lnTo>
                    <a:pt x="720725" y="563563"/>
                  </a:lnTo>
                  <a:lnTo>
                    <a:pt x="717550" y="557213"/>
                  </a:lnTo>
                  <a:lnTo>
                    <a:pt x="711200" y="550863"/>
                  </a:lnTo>
                  <a:lnTo>
                    <a:pt x="704850" y="550863"/>
                  </a:lnTo>
                  <a:lnTo>
                    <a:pt x="704850" y="554038"/>
                  </a:lnTo>
                  <a:lnTo>
                    <a:pt x="682625" y="550863"/>
                  </a:lnTo>
                  <a:lnTo>
                    <a:pt x="669925" y="550863"/>
                  </a:lnTo>
                  <a:lnTo>
                    <a:pt x="657225" y="554038"/>
                  </a:lnTo>
                  <a:lnTo>
                    <a:pt x="644525" y="563563"/>
                  </a:lnTo>
                  <a:lnTo>
                    <a:pt x="638175" y="566738"/>
                  </a:lnTo>
                  <a:lnTo>
                    <a:pt x="635000" y="573088"/>
                  </a:lnTo>
                  <a:lnTo>
                    <a:pt x="622300" y="579438"/>
                  </a:lnTo>
                  <a:lnTo>
                    <a:pt x="615950" y="579438"/>
                  </a:lnTo>
                  <a:lnTo>
                    <a:pt x="606425" y="579438"/>
                  </a:lnTo>
                  <a:lnTo>
                    <a:pt x="603250" y="582613"/>
                  </a:lnTo>
                  <a:lnTo>
                    <a:pt x="603250" y="588963"/>
                  </a:lnTo>
                  <a:lnTo>
                    <a:pt x="596900" y="592138"/>
                  </a:lnTo>
                  <a:lnTo>
                    <a:pt x="596900" y="595313"/>
                  </a:lnTo>
                  <a:lnTo>
                    <a:pt x="590550" y="598488"/>
                  </a:lnTo>
                  <a:lnTo>
                    <a:pt x="590550" y="608013"/>
                  </a:lnTo>
                  <a:lnTo>
                    <a:pt x="587375" y="611188"/>
                  </a:lnTo>
                  <a:lnTo>
                    <a:pt x="587375" y="614363"/>
                  </a:lnTo>
                  <a:lnTo>
                    <a:pt x="587375" y="623888"/>
                  </a:lnTo>
                  <a:lnTo>
                    <a:pt x="590550" y="636588"/>
                  </a:lnTo>
                  <a:lnTo>
                    <a:pt x="593725" y="639763"/>
                  </a:lnTo>
                  <a:lnTo>
                    <a:pt x="593725" y="642938"/>
                  </a:lnTo>
                  <a:lnTo>
                    <a:pt x="590550" y="642938"/>
                  </a:lnTo>
                  <a:lnTo>
                    <a:pt x="574675" y="639763"/>
                  </a:lnTo>
                  <a:lnTo>
                    <a:pt x="565150" y="636588"/>
                  </a:lnTo>
                  <a:lnTo>
                    <a:pt x="552450" y="630238"/>
                  </a:lnTo>
                  <a:lnTo>
                    <a:pt x="549275" y="623888"/>
                  </a:lnTo>
                  <a:lnTo>
                    <a:pt x="546100" y="617538"/>
                  </a:lnTo>
                  <a:lnTo>
                    <a:pt x="546100" y="614363"/>
                  </a:lnTo>
                  <a:lnTo>
                    <a:pt x="546100" y="611188"/>
                  </a:lnTo>
                  <a:lnTo>
                    <a:pt x="542925" y="604838"/>
                  </a:lnTo>
                  <a:lnTo>
                    <a:pt x="539750" y="601663"/>
                  </a:lnTo>
                  <a:lnTo>
                    <a:pt x="536575" y="598488"/>
                  </a:lnTo>
                  <a:lnTo>
                    <a:pt x="527050" y="585788"/>
                  </a:lnTo>
                  <a:lnTo>
                    <a:pt x="520700" y="569913"/>
                  </a:lnTo>
                  <a:lnTo>
                    <a:pt x="517525" y="566738"/>
                  </a:lnTo>
                  <a:lnTo>
                    <a:pt x="514350" y="560388"/>
                  </a:lnTo>
                  <a:lnTo>
                    <a:pt x="504825" y="554038"/>
                  </a:lnTo>
                  <a:lnTo>
                    <a:pt x="492125" y="547688"/>
                  </a:lnTo>
                  <a:lnTo>
                    <a:pt x="482600" y="547688"/>
                  </a:lnTo>
                  <a:lnTo>
                    <a:pt x="479425" y="550863"/>
                  </a:lnTo>
                  <a:lnTo>
                    <a:pt x="473075" y="557213"/>
                  </a:lnTo>
                  <a:lnTo>
                    <a:pt x="469900" y="563563"/>
                  </a:lnTo>
                  <a:lnTo>
                    <a:pt x="466725" y="569913"/>
                  </a:lnTo>
                  <a:lnTo>
                    <a:pt x="463550" y="569913"/>
                  </a:lnTo>
                  <a:lnTo>
                    <a:pt x="450850" y="563563"/>
                  </a:lnTo>
                  <a:lnTo>
                    <a:pt x="438150" y="557213"/>
                  </a:lnTo>
                  <a:lnTo>
                    <a:pt x="431800" y="544513"/>
                  </a:lnTo>
                  <a:lnTo>
                    <a:pt x="431800" y="541338"/>
                  </a:lnTo>
                  <a:lnTo>
                    <a:pt x="428625" y="531813"/>
                  </a:lnTo>
                  <a:lnTo>
                    <a:pt x="419100" y="525463"/>
                  </a:lnTo>
                  <a:lnTo>
                    <a:pt x="409575" y="515938"/>
                  </a:lnTo>
                  <a:lnTo>
                    <a:pt x="396875" y="503238"/>
                  </a:lnTo>
                  <a:lnTo>
                    <a:pt x="387350" y="500063"/>
                  </a:lnTo>
                  <a:lnTo>
                    <a:pt x="355600" y="500063"/>
                  </a:lnTo>
                  <a:lnTo>
                    <a:pt x="355600" y="512763"/>
                  </a:lnTo>
                  <a:lnTo>
                    <a:pt x="342900" y="512763"/>
                  </a:lnTo>
                  <a:lnTo>
                    <a:pt x="323850" y="512763"/>
                  </a:lnTo>
                  <a:lnTo>
                    <a:pt x="301625" y="512763"/>
                  </a:lnTo>
                  <a:lnTo>
                    <a:pt x="292100" y="512763"/>
                  </a:lnTo>
                  <a:lnTo>
                    <a:pt x="266700" y="500063"/>
                  </a:lnTo>
                  <a:lnTo>
                    <a:pt x="212725" y="481013"/>
                  </a:lnTo>
                  <a:lnTo>
                    <a:pt x="215900" y="477838"/>
                  </a:lnTo>
                  <a:lnTo>
                    <a:pt x="165100" y="481013"/>
                  </a:lnTo>
                  <a:lnTo>
                    <a:pt x="152400" y="458788"/>
                  </a:lnTo>
                  <a:lnTo>
                    <a:pt x="142875" y="449263"/>
                  </a:lnTo>
                  <a:lnTo>
                    <a:pt x="133350" y="442913"/>
                  </a:lnTo>
                  <a:lnTo>
                    <a:pt x="104775" y="433388"/>
                  </a:lnTo>
                  <a:lnTo>
                    <a:pt x="92075" y="430213"/>
                  </a:lnTo>
                  <a:lnTo>
                    <a:pt x="88900" y="420688"/>
                  </a:lnTo>
                  <a:lnTo>
                    <a:pt x="73025" y="398463"/>
                  </a:lnTo>
                  <a:lnTo>
                    <a:pt x="60325" y="382588"/>
                  </a:lnTo>
                  <a:lnTo>
                    <a:pt x="60325" y="376238"/>
                  </a:lnTo>
                  <a:lnTo>
                    <a:pt x="63500" y="373063"/>
                  </a:lnTo>
                  <a:lnTo>
                    <a:pt x="60325" y="366713"/>
                  </a:lnTo>
                  <a:lnTo>
                    <a:pt x="57150" y="366713"/>
                  </a:lnTo>
                  <a:lnTo>
                    <a:pt x="50800" y="360363"/>
                  </a:lnTo>
                  <a:lnTo>
                    <a:pt x="47625" y="347663"/>
                  </a:lnTo>
                  <a:lnTo>
                    <a:pt x="47625" y="341313"/>
                  </a:lnTo>
                  <a:lnTo>
                    <a:pt x="41275" y="338138"/>
                  </a:lnTo>
                  <a:lnTo>
                    <a:pt x="34925" y="325438"/>
                  </a:lnTo>
                  <a:lnTo>
                    <a:pt x="28575" y="319088"/>
                  </a:lnTo>
                  <a:lnTo>
                    <a:pt x="22225" y="312738"/>
                  </a:lnTo>
                  <a:lnTo>
                    <a:pt x="19050" y="300038"/>
                  </a:lnTo>
                  <a:lnTo>
                    <a:pt x="22225" y="293688"/>
                  </a:lnTo>
                  <a:lnTo>
                    <a:pt x="19050" y="287338"/>
                  </a:lnTo>
                  <a:lnTo>
                    <a:pt x="12700" y="277813"/>
                  </a:lnTo>
                  <a:lnTo>
                    <a:pt x="6350" y="265113"/>
                  </a:lnTo>
                  <a:lnTo>
                    <a:pt x="12700" y="258763"/>
                  </a:lnTo>
                  <a:lnTo>
                    <a:pt x="12700" y="252413"/>
                  </a:lnTo>
                  <a:lnTo>
                    <a:pt x="12700" y="236538"/>
                  </a:lnTo>
                  <a:lnTo>
                    <a:pt x="9525" y="227013"/>
                  </a:lnTo>
                  <a:lnTo>
                    <a:pt x="9525" y="220663"/>
                  </a:lnTo>
                  <a:lnTo>
                    <a:pt x="6350" y="212725"/>
                  </a:lnTo>
                  <a:lnTo>
                    <a:pt x="6350" y="203200"/>
                  </a:lnTo>
                  <a:lnTo>
                    <a:pt x="6350" y="193675"/>
                  </a:lnTo>
                  <a:lnTo>
                    <a:pt x="9525" y="187325"/>
                  </a:lnTo>
                  <a:lnTo>
                    <a:pt x="12700" y="171450"/>
                  </a:lnTo>
                  <a:lnTo>
                    <a:pt x="12700" y="146050"/>
                  </a:lnTo>
                  <a:lnTo>
                    <a:pt x="15875" y="139700"/>
                  </a:lnTo>
                  <a:lnTo>
                    <a:pt x="15875" y="133350"/>
                  </a:lnTo>
                  <a:lnTo>
                    <a:pt x="15875" y="114300"/>
                  </a:lnTo>
                  <a:lnTo>
                    <a:pt x="15875" y="104775"/>
                  </a:lnTo>
                  <a:lnTo>
                    <a:pt x="15875" y="95250"/>
                  </a:lnTo>
                  <a:lnTo>
                    <a:pt x="22225" y="85725"/>
                  </a:lnTo>
                  <a:lnTo>
                    <a:pt x="19050" y="76200"/>
                  </a:lnTo>
                  <a:lnTo>
                    <a:pt x="15875" y="69850"/>
                  </a:lnTo>
                  <a:lnTo>
                    <a:pt x="9525" y="63500"/>
                  </a:lnTo>
                  <a:lnTo>
                    <a:pt x="6350" y="53975"/>
                  </a:lnTo>
                  <a:lnTo>
                    <a:pt x="6350" y="47625"/>
                  </a:lnTo>
                  <a:lnTo>
                    <a:pt x="0" y="44450"/>
                  </a:lnTo>
                  <a:lnTo>
                    <a:pt x="0" y="31750"/>
                  </a:lnTo>
                  <a:lnTo>
                    <a:pt x="15875" y="38100"/>
                  </a:lnTo>
                  <a:lnTo>
                    <a:pt x="34925" y="41275"/>
                  </a:lnTo>
                  <a:lnTo>
                    <a:pt x="41275" y="41275"/>
                  </a:lnTo>
                  <a:lnTo>
                    <a:pt x="47625" y="50800"/>
                  </a:lnTo>
                  <a:lnTo>
                    <a:pt x="47625" y="63500"/>
                  </a:lnTo>
                  <a:lnTo>
                    <a:pt x="44450" y="66675"/>
                  </a:lnTo>
                  <a:lnTo>
                    <a:pt x="34925" y="69850"/>
                  </a:lnTo>
                  <a:lnTo>
                    <a:pt x="38100" y="73025"/>
                  </a:lnTo>
                  <a:lnTo>
                    <a:pt x="41275" y="73025"/>
                  </a:lnTo>
                  <a:lnTo>
                    <a:pt x="50800" y="66675"/>
                  </a:lnTo>
                  <a:lnTo>
                    <a:pt x="50800" y="63500"/>
                  </a:lnTo>
                  <a:lnTo>
                    <a:pt x="50800" y="60325"/>
                  </a:lnTo>
                  <a:lnTo>
                    <a:pt x="53975" y="44450"/>
                  </a:lnTo>
                  <a:lnTo>
                    <a:pt x="50800" y="34925"/>
                  </a:lnTo>
                  <a:lnTo>
                    <a:pt x="47625" y="31750"/>
                  </a:lnTo>
                  <a:lnTo>
                    <a:pt x="44450" y="25400"/>
                  </a:lnTo>
                  <a:lnTo>
                    <a:pt x="44450" y="19050"/>
                  </a:lnTo>
                  <a:lnTo>
                    <a:pt x="41275" y="12700"/>
                  </a:lnTo>
                  <a:lnTo>
                    <a:pt x="165100" y="12700"/>
                  </a:lnTo>
                  <a:lnTo>
                    <a:pt x="187325" y="12700"/>
                  </a:lnTo>
                  <a:lnTo>
                    <a:pt x="228600" y="12700"/>
                  </a:lnTo>
                  <a:lnTo>
                    <a:pt x="317500" y="12700"/>
                  </a:lnTo>
                  <a:lnTo>
                    <a:pt x="447675" y="12700"/>
                  </a:lnTo>
                  <a:lnTo>
                    <a:pt x="504825" y="12700"/>
                  </a:lnTo>
                  <a:lnTo>
                    <a:pt x="593725" y="12700"/>
                  </a:lnTo>
                  <a:lnTo>
                    <a:pt x="638175" y="1270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3" name="Freeform 963">
              <a:extLst>
                <a:ext uri="{FF2B5EF4-FFF2-40B4-BE49-F238E27FC236}">
                  <a16:creationId xmlns:a16="http://schemas.microsoft.com/office/drawing/2014/main" id="{865C02B3-52E8-449D-A621-64060799F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3399" y="3586163"/>
              <a:ext cx="654050" cy="428625"/>
            </a:xfrm>
            <a:custGeom>
              <a:avLst/>
              <a:gdLst/>
              <a:ahLst/>
              <a:cxnLst/>
              <a:rect l="l" t="t" r="r" b="b"/>
              <a:pathLst>
                <a:path w="654050" h="428625">
                  <a:moveTo>
                    <a:pt x="98425" y="88900"/>
                  </a:moveTo>
                  <a:lnTo>
                    <a:pt x="104775" y="88900"/>
                  </a:lnTo>
                  <a:lnTo>
                    <a:pt x="104775" y="92075"/>
                  </a:lnTo>
                  <a:lnTo>
                    <a:pt x="98425" y="95250"/>
                  </a:lnTo>
                  <a:lnTo>
                    <a:pt x="98425" y="92075"/>
                  </a:lnTo>
                  <a:close/>
                  <a:moveTo>
                    <a:pt x="76200" y="76200"/>
                  </a:moveTo>
                  <a:lnTo>
                    <a:pt x="79375" y="82550"/>
                  </a:lnTo>
                  <a:lnTo>
                    <a:pt x="85725" y="92075"/>
                  </a:lnTo>
                  <a:lnTo>
                    <a:pt x="79375" y="85725"/>
                  </a:lnTo>
                  <a:close/>
                  <a:moveTo>
                    <a:pt x="50800" y="0"/>
                  </a:moveTo>
                  <a:lnTo>
                    <a:pt x="47625" y="3175"/>
                  </a:lnTo>
                  <a:lnTo>
                    <a:pt x="101600" y="22225"/>
                  </a:lnTo>
                  <a:lnTo>
                    <a:pt x="127000" y="34925"/>
                  </a:lnTo>
                  <a:lnTo>
                    <a:pt x="136525" y="34925"/>
                  </a:lnTo>
                  <a:lnTo>
                    <a:pt x="158750" y="34925"/>
                  </a:lnTo>
                  <a:lnTo>
                    <a:pt x="177800" y="34925"/>
                  </a:lnTo>
                  <a:lnTo>
                    <a:pt x="190500" y="34925"/>
                  </a:lnTo>
                  <a:lnTo>
                    <a:pt x="190500" y="22225"/>
                  </a:lnTo>
                  <a:lnTo>
                    <a:pt x="222250" y="22225"/>
                  </a:lnTo>
                  <a:lnTo>
                    <a:pt x="231775" y="25400"/>
                  </a:lnTo>
                  <a:lnTo>
                    <a:pt x="244475" y="38100"/>
                  </a:lnTo>
                  <a:lnTo>
                    <a:pt x="254000" y="47625"/>
                  </a:lnTo>
                  <a:lnTo>
                    <a:pt x="263525" y="53975"/>
                  </a:lnTo>
                  <a:lnTo>
                    <a:pt x="266700" y="63500"/>
                  </a:lnTo>
                  <a:lnTo>
                    <a:pt x="266700" y="66675"/>
                  </a:lnTo>
                  <a:lnTo>
                    <a:pt x="273050" y="79375"/>
                  </a:lnTo>
                  <a:lnTo>
                    <a:pt x="285750" y="85725"/>
                  </a:lnTo>
                  <a:lnTo>
                    <a:pt x="298450" y="92075"/>
                  </a:lnTo>
                  <a:lnTo>
                    <a:pt x="301625" y="92075"/>
                  </a:lnTo>
                  <a:lnTo>
                    <a:pt x="304800" y="85725"/>
                  </a:lnTo>
                  <a:lnTo>
                    <a:pt x="307975" y="79375"/>
                  </a:lnTo>
                  <a:lnTo>
                    <a:pt x="314325" y="73025"/>
                  </a:lnTo>
                  <a:lnTo>
                    <a:pt x="317500" y="69850"/>
                  </a:lnTo>
                  <a:lnTo>
                    <a:pt x="327025" y="69850"/>
                  </a:lnTo>
                  <a:lnTo>
                    <a:pt x="339725" y="76200"/>
                  </a:lnTo>
                  <a:lnTo>
                    <a:pt x="349250" y="82550"/>
                  </a:lnTo>
                  <a:lnTo>
                    <a:pt x="352425" y="88900"/>
                  </a:lnTo>
                  <a:lnTo>
                    <a:pt x="355600" y="92075"/>
                  </a:lnTo>
                  <a:lnTo>
                    <a:pt x="361950" y="107950"/>
                  </a:lnTo>
                  <a:lnTo>
                    <a:pt x="371475" y="120650"/>
                  </a:lnTo>
                  <a:lnTo>
                    <a:pt x="374650" y="123825"/>
                  </a:lnTo>
                  <a:lnTo>
                    <a:pt x="377825" y="127000"/>
                  </a:lnTo>
                  <a:lnTo>
                    <a:pt x="381000" y="133350"/>
                  </a:lnTo>
                  <a:lnTo>
                    <a:pt x="381000" y="136525"/>
                  </a:lnTo>
                  <a:lnTo>
                    <a:pt x="381000" y="139700"/>
                  </a:lnTo>
                  <a:lnTo>
                    <a:pt x="384175" y="146050"/>
                  </a:lnTo>
                  <a:lnTo>
                    <a:pt x="387350" y="152400"/>
                  </a:lnTo>
                  <a:lnTo>
                    <a:pt x="400050" y="158750"/>
                  </a:lnTo>
                  <a:lnTo>
                    <a:pt x="409575" y="161925"/>
                  </a:lnTo>
                  <a:lnTo>
                    <a:pt x="425450" y="165100"/>
                  </a:lnTo>
                  <a:lnTo>
                    <a:pt x="428625" y="165100"/>
                  </a:lnTo>
                  <a:lnTo>
                    <a:pt x="422275" y="190500"/>
                  </a:lnTo>
                  <a:lnTo>
                    <a:pt x="419100" y="203200"/>
                  </a:lnTo>
                  <a:lnTo>
                    <a:pt x="415925" y="209550"/>
                  </a:lnTo>
                  <a:lnTo>
                    <a:pt x="415925" y="215900"/>
                  </a:lnTo>
                  <a:lnTo>
                    <a:pt x="415925" y="231775"/>
                  </a:lnTo>
                  <a:lnTo>
                    <a:pt x="415925" y="238125"/>
                  </a:lnTo>
                  <a:lnTo>
                    <a:pt x="412750" y="244475"/>
                  </a:lnTo>
                  <a:lnTo>
                    <a:pt x="415925" y="254000"/>
                  </a:lnTo>
                  <a:lnTo>
                    <a:pt x="419100" y="266700"/>
                  </a:lnTo>
                  <a:lnTo>
                    <a:pt x="422275" y="276225"/>
                  </a:lnTo>
                  <a:lnTo>
                    <a:pt x="428625" y="288925"/>
                  </a:lnTo>
                  <a:lnTo>
                    <a:pt x="438150" y="298450"/>
                  </a:lnTo>
                  <a:lnTo>
                    <a:pt x="447675" y="311150"/>
                  </a:lnTo>
                  <a:lnTo>
                    <a:pt x="447675" y="317500"/>
                  </a:lnTo>
                  <a:lnTo>
                    <a:pt x="450850" y="320675"/>
                  </a:lnTo>
                  <a:lnTo>
                    <a:pt x="460375" y="333375"/>
                  </a:lnTo>
                  <a:lnTo>
                    <a:pt x="473075" y="333375"/>
                  </a:lnTo>
                  <a:lnTo>
                    <a:pt x="482600" y="339725"/>
                  </a:lnTo>
                  <a:lnTo>
                    <a:pt x="485775" y="346075"/>
                  </a:lnTo>
                  <a:lnTo>
                    <a:pt x="495300" y="346075"/>
                  </a:lnTo>
                  <a:lnTo>
                    <a:pt x="504825" y="339725"/>
                  </a:lnTo>
                  <a:lnTo>
                    <a:pt x="514350" y="339725"/>
                  </a:lnTo>
                  <a:lnTo>
                    <a:pt x="523875" y="336550"/>
                  </a:lnTo>
                  <a:lnTo>
                    <a:pt x="533400" y="333375"/>
                  </a:lnTo>
                  <a:lnTo>
                    <a:pt x="542925" y="333375"/>
                  </a:lnTo>
                  <a:lnTo>
                    <a:pt x="542925" y="339725"/>
                  </a:lnTo>
                  <a:lnTo>
                    <a:pt x="555625" y="336550"/>
                  </a:lnTo>
                  <a:lnTo>
                    <a:pt x="558800" y="333375"/>
                  </a:lnTo>
                  <a:lnTo>
                    <a:pt x="561975" y="327025"/>
                  </a:lnTo>
                  <a:lnTo>
                    <a:pt x="568325" y="317500"/>
                  </a:lnTo>
                  <a:lnTo>
                    <a:pt x="571500" y="307975"/>
                  </a:lnTo>
                  <a:lnTo>
                    <a:pt x="574675" y="307975"/>
                  </a:lnTo>
                  <a:lnTo>
                    <a:pt x="574675" y="301625"/>
                  </a:lnTo>
                  <a:lnTo>
                    <a:pt x="574675" y="298450"/>
                  </a:lnTo>
                  <a:lnTo>
                    <a:pt x="574675" y="288925"/>
                  </a:lnTo>
                  <a:lnTo>
                    <a:pt x="577850" y="279400"/>
                  </a:lnTo>
                  <a:lnTo>
                    <a:pt x="590550" y="276225"/>
                  </a:lnTo>
                  <a:lnTo>
                    <a:pt x="603250" y="273050"/>
                  </a:lnTo>
                  <a:lnTo>
                    <a:pt x="622300" y="269875"/>
                  </a:lnTo>
                  <a:lnTo>
                    <a:pt x="628650" y="266700"/>
                  </a:lnTo>
                  <a:lnTo>
                    <a:pt x="635000" y="269875"/>
                  </a:lnTo>
                  <a:lnTo>
                    <a:pt x="644525" y="273050"/>
                  </a:lnTo>
                  <a:lnTo>
                    <a:pt x="647700" y="266700"/>
                  </a:lnTo>
                  <a:lnTo>
                    <a:pt x="654050" y="273050"/>
                  </a:lnTo>
                  <a:lnTo>
                    <a:pt x="650875" y="285750"/>
                  </a:lnTo>
                  <a:lnTo>
                    <a:pt x="644525" y="292100"/>
                  </a:lnTo>
                  <a:lnTo>
                    <a:pt x="641350" y="298450"/>
                  </a:lnTo>
                  <a:lnTo>
                    <a:pt x="638175" y="307975"/>
                  </a:lnTo>
                  <a:lnTo>
                    <a:pt x="638175" y="311150"/>
                  </a:lnTo>
                  <a:lnTo>
                    <a:pt x="638175" y="317500"/>
                  </a:lnTo>
                  <a:lnTo>
                    <a:pt x="635000" y="330200"/>
                  </a:lnTo>
                  <a:lnTo>
                    <a:pt x="631825" y="339725"/>
                  </a:lnTo>
                  <a:lnTo>
                    <a:pt x="625475" y="336550"/>
                  </a:lnTo>
                  <a:lnTo>
                    <a:pt x="622300" y="333375"/>
                  </a:lnTo>
                  <a:lnTo>
                    <a:pt x="622300" y="339725"/>
                  </a:lnTo>
                  <a:lnTo>
                    <a:pt x="615950" y="339725"/>
                  </a:lnTo>
                  <a:lnTo>
                    <a:pt x="612775" y="346075"/>
                  </a:lnTo>
                  <a:lnTo>
                    <a:pt x="606425" y="349250"/>
                  </a:lnTo>
                  <a:lnTo>
                    <a:pt x="603250" y="352425"/>
                  </a:lnTo>
                  <a:lnTo>
                    <a:pt x="603250" y="355600"/>
                  </a:lnTo>
                  <a:lnTo>
                    <a:pt x="574675" y="355600"/>
                  </a:lnTo>
                  <a:lnTo>
                    <a:pt x="561975" y="355600"/>
                  </a:lnTo>
                  <a:lnTo>
                    <a:pt x="561975" y="368300"/>
                  </a:lnTo>
                  <a:lnTo>
                    <a:pt x="552450" y="368300"/>
                  </a:lnTo>
                  <a:lnTo>
                    <a:pt x="561975" y="374650"/>
                  </a:lnTo>
                  <a:lnTo>
                    <a:pt x="568325" y="377825"/>
                  </a:lnTo>
                  <a:lnTo>
                    <a:pt x="574675" y="393700"/>
                  </a:lnTo>
                  <a:lnTo>
                    <a:pt x="555625" y="393700"/>
                  </a:lnTo>
                  <a:lnTo>
                    <a:pt x="546100" y="393700"/>
                  </a:lnTo>
                  <a:lnTo>
                    <a:pt x="542925" y="396875"/>
                  </a:lnTo>
                  <a:lnTo>
                    <a:pt x="536575" y="412750"/>
                  </a:lnTo>
                  <a:lnTo>
                    <a:pt x="539750" y="419100"/>
                  </a:lnTo>
                  <a:lnTo>
                    <a:pt x="536575" y="428625"/>
                  </a:lnTo>
                  <a:lnTo>
                    <a:pt x="514350" y="406400"/>
                  </a:lnTo>
                  <a:lnTo>
                    <a:pt x="504825" y="396875"/>
                  </a:lnTo>
                  <a:lnTo>
                    <a:pt x="492125" y="390525"/>
                  </a:lnTo>
                  <a:lnTo>
                    <a:pt x="482600" y="387350"/>
                  </a:lnTo>
                  <a:lnTo>
                    <a:pt x="479425" y="384175"/>
                  </a:lnTo>
                  <a:lnTo>
                    <a:pt x="473075" y="390525"/>
                  </a:lnTo>
                  <a:lnTo>
                    <a:pt x="463550" y="396875"/>
                  </a:lnTo>
                  <a:lnTo>
                    <a:pt x="450850" y="403225"/>
                  </a:lnTo>
                  <a:lnTo>
                    <a:pt x="428625" y="396875"/>
                  </a:lnTo>
                  <a:lnTo>
                    <a:pt x="412750" y="393700"/>
                  </a:lnTo>
                  <a:lnTo>
                    <a:pt x="403225" y="390525"/>
                  </a:lnTo>
                  <a:lnTo>
                    <a:pt x="393700" y="384175"/>
                  </a:lnTo>
                  <a:lnTo>
                    <a:pt x="377825" y="377825"/>
                  </a:lnTo>
                  <a:lnTo>
                    <a:pt x="365125" y="374650"/>
                  </a:lnTo>
                  <a:lnTo>
                    <a:pt x="352425" y="368300"/>
                  </a:lnTo>
                  <a:lnTo>
                    <a:pt x="339725" y="361950"/>
                  </a:lnTo>
                  <a:lnTo>
                    <a:pt x="330200" y="355600"/>
                  </a:lnTo>
                  <a:lnTo>
                    <a:pt x="323850" y="349250"/>
                  </a:lnTo>
                  <a:lnTo>
                    <a:pt x="320675" y="352425"/>
                  </a:lnTo>
                  <a:lnTo>
                    <a:pt x="314325" y="349250"/>
                  </a:lnTo>
                  <a:lnTo>
                    <a:pt x="301625" y="346075"/>
                  </a:lnTo>
                  <a:lnTo>
                    <a:pt x="288925" y="336550"/>
                  </a:lnTo>
                  <a:lnTo>
                    <a:pt x="279400" y="330200"/>
                  </a:lnTo>
                  <a:lnTo>
                    <a:pt x="266700" y="323850"/>
                  </a:lnTo>
                  <a:lnTo>
                    <a:pt x="254000" y="314325"/>
                  </a:lnTo>
                  <a:lnTo>
                    <a:pt x="247650" y="301625"/>
                  </a:lnTo>
                  <a:lnTo>
                    <a:pt x="244475" y="295275"/>
                  </a:lnTo>
                  <a:lnTo>
                    <a:pt x="247650" y="292100"/>
                  </a:lnTo>
                  <a:lnTo>
                    <a:pt x="250825" y="285750"/>
                  </a:lnTo>
                  <a:lnTo>
                    <a:pt x="254000" y="279400"/>
                  </a:lnTo>
                  <a:lnTo>
                    <a:pt x="254000" y="273050"/>
                  </a:lnTo>
                  <a:lnTo>
                    <a:pt x="250825" y="266700"/>
                  </a:lnTo>
                  <a:lnTo>
                    <a:pt x="247650" y="260350"/>
                  </a:lnTo>
                  <a:lnTo>
                    <a:pt x="247650" y="257175"/>
                  </a:lnTo>
                  <a:lnTo>
                    <a:pt x="238125" y="238125"/>
                  </a:lnTo>
                  <a:lnTo>
                    <a:pt x="219075" y="219075"/>
                  </a:lnTo>
                  <a:lnTo>
                    <a:pt x="209550" y="206375"/>
                  </a:lnTo>
                  <a:lnTo>
                    <a:pt x="200025" y="200025"/>
                  </a:lnTo>
                  <a:lnTo>
                    <a:pt x="190500" y="190500"/>
                  </a:lnTo>
                  <a:lnTo>
                    <a:pt x="180975" y="180975"/>
                  </a:lnTo>
                  <a:lnTo>
                    <a:pt x="171450" y="174625"/>
                  </a:lnTo>
                  <a:lnTo>
                    <a:pt x="165100" y="168275"/>
                  </a:lnTo>
                  <a:lnTo>
                    <a:pt x="168275" y="158750"/>
                  </a:lnTo>
                  <a:lnTo>
                    <a:pt x="168275" y="152400"/>
                  </a:lnTo>
                  <a:lnTo>
                    <a:pt x="165100" y="146050"/>
                  </a:lnTo>
                  <a:lnTo>
                    <a:pt x="158750" y="146050"/>
                  </a:lnTo>
                  <a:lnTo>
                    <a:pt x="155575" y="142875"/>
                  </a:lnTo>
                  <a:lnTo>
                    <a:pt x="146050" y="136525"/>
                  </a:lnTo>
                  <a:lnTo>
                    <a:pt x="139700" y="123825"/>
                  </a:lnTo>
                  <a:lnTo>
                    <a:pt x="142875" y="120650"/>
                  </a:lnTo>
                  <a:lnTo>
                    <a:pt x="136525" y="117475"/>
                  </a:lnTo>
                  <a:lnTo>
                    <a:pt x="133350" y="117475"/>
                  </a:lnTo>
                  <a:lnTo>
                    <a:pt x="130175" y="117475"/>
                  </a:lnTo>
                  <a:lnTo>
                    <a:pt x="127000" y="114300"/>
                  </a:lnTo>
                  <a:lnTo>
                    <a:pt x="114300" y="101600"/>
                  </a:lnTo>
                  <a:lnTo>
                    <a:pt x="107950" y="95250"/>
                  </a:lnTo>
                  <a:lnTo>
                    <a:pt x="104775" y="88900"/>
                  </a:lnTo>
                  <a:lnTo>
                    <a:pt x="104775" y="82550"/>
                  </a:lnTo>
                  <a:lnTo>
                    <a:pt x="98425" y="76200"/>
                  </a:lnTo>
                  <a:lnTo>
                    <a:pt x="92075" y="66675"/>
                  </a:lnTo>
                  <a:lnTo>
                    <a:pt x="88900" y="53975"/>
                  </a:lnTo>
                  <a:lnTo>
                    <a:pt x="85725" y="47625"/>
                  </a:lnTo>
                  <a:lnTo>
                    <a:pt x="82550" y="34925"/>
                  </a:lnTo>
                  <a:lnTo>
                    <a:pt x="73025" y="34925"/>
                  </a:lnTo>
                  <a:lnTo>
                    <a:pt x="66675" y="28575"/>
                  </a:lnTo>
                  <a:lnTo>
                    <a:pt x="60325" y="28575"/>
                  </a:lnTo>
                  <a:lnTo>
                    <a:pt x="47625" y="22225"/>
                  </a:lnTo>
                  <a:lnTo>
                    <a:pt x="50800" y="25400"/>
                  </a:lnTo>
                  <a:lnTo>
                    <a:pt x="47625" y="28575"/>
                  </a:lnTo>
                  <a:lnTo>
                    <a:pt x="47625" y="31750"/>
                  </a:lnTo>
                  <a:lnTo>
                    <a:pt x="50800" y="44450"/>
                  </a:lnTo>
                  <a:lnTo>
                    <a:pt x="50800" y="47625"/>
                  </a:lnTo>
                  <a:lnTo>
                    <a:pt x="53975" y="53975"/>
                  </a:lnTo>
                  <a:lnTo>
                    <a:pt x="50800" y="63500"/>
                  </a:lnTo>
                  <a:lnTo>
                    <a:pt x="53975" y="66675"/>
                  </a:lnTo>
                  <a:lnTo>
                    <a:pt x="66675" y="76200"/>
                  </a:lnTo>
                  <a:lnTo>
                    <a:pt x="76200" y="85725"/>
                  </a:lnTo>
                  <a:lnTo>
                    <a:pt x="85725" y="98425"/>
                  </a:lnTo>
                  <a:lnTo>
                    <a:pt x="92075" y="111125"/>
                  </a:lnTo>
                  <a:lnTo>
                    <a:pt x="92075" y="117475"/>
                  </a:lnTo>
                  <a:lnTo>
                    <a:pt x="95250" y="123825"/>
                  </a:lnTo>
                  <a:lnTo>
                    <a:pt x="101600" y="130175"/>
                  </a:lnTo>
                  <a:lnTo>
                    <a:pt x="104775" y="136525"/>
                  </a:lnTo>
                  <a:lnTo>
                    <a:pt x="111125" y="139700"/>
                  </a:lnTo>
                  <a:lnTo>
                    <a:pt x="114300" y="142875"/>
                  </a:lnTo>
                  <a:lnTo>
                    <a:pt x="117475" y="146050"/>
                  </a:lnTo>
                  <a:lnTo>
                    <a:pt x="120650" y="152400"/>
                  </a:lnTo>
                  <a:lnTo>
                    <a:pt x="123825" y="161925"/>
                  </a:lnTo>
                  <a:lnTo>
                    <a:pt x="123825" y="168275"/>
                  </a:lnTo>
                  <a:lnTo>
                    <a:pt x="130175" y="180975"/>
                  </a:lnTo>
                  <a:lnTo>
                    <a:pt x="133350" y="187325"/>
                  </a:lnTo>
                  <a:lnTo>
                    <a:pt x="136525" y="193675"/>
                  </a:lnTo>
                  <a:lnTo>
                    <a:pt x="136525" y="203200"/>
                  </a:lnTo>
                  <a:lnTo>
                    <a:pt x="146050" y="206375"/>
                  </a:lnTo>
                  <a:lnTo>
                    <a:pt x="146050" y="203200"/>
                  </a:lnTo>
                  <a:lnTo>
                    <a:pt x="149225" y="203200"/>
                  </a:lnTo>
                  <a:lnTo>
                    <a:pt x="158750" y="215900"/>
                  </a:lnTo>
                  <a:lnTo>
                    <a:pt x="165100" y="225425"/>
                  </a:lnTo>
                  <a:lnTo>
                    <a:pt x="158750" y="234950"/>
                  </a:lnTo>
                  <a:lnTo>
                    <a:pt x="149225" y="234950"/>
                  </a:lnTo>
                  <a:lnTo>
                    <a:pt x="149225" y="225425"/>
                  </a:lnTo>
                  <a:lnTo>
                    <a:pt x="146050" y="222250"/>
                  </a:lnTo>
                  <a:lnTo>
                    <a:pt x="139700" y="219075"/>
                  </a:lnTo>
                  <a:lnTo>
                    <a:pt x="117475" y="200025"/>
                  </a:lnTo>
                  <a:lnTo>
                    <a:pt x="111125" y="193675"/>
                  </a:lnTo>
                  <a:lnTo>
                    <a:pt x="107950" y="193675"/>
                  </a:lnTo>
                  <a:lnTo>
                    <a:pt x="104775" y="187325"/>
                  </a:lnTo>
                  <a:lnTo>
                    <a:pt x="107950" y="177800"/>
                  </a:lnTo>
                  <a:lnTo>
                    <a:pt x="101600" y="165100"/>
                  </a:lnTo>
                  <a:lnTo>
                    <a:pt x="98425" y="158750"/>
                  </a:lnTo>
                  <a:lnTo>
                    <a:pt x="95250" y="155575"/>
                  </a:lnTo>
                  <a:lnTo>
                    <a:pt x="82550" y="149225"/>
                  </a:lnTo>
                  <a:lnTo>
                    <a:pt x="76200" y="146050"/>
                  </a:lnTo>
                  <a:lnTo>
                    <a:pt x="73025" y="142875"/>
                  </a:lnTo>
                  <a:lnTo>
                    <a:pt x="47625" y="123825"/>
                  </a:lnTo>
                  <a:lnTo>
                    <a:pt x="63500" y="117475"/>
                  </a:lnTo>
                  <a:lnTo>
                    <a:pt x="63500" y="107950"/>
                  </a:lnTo>
                  <a:lnTo>
                    <a:pt x="63500" y="101600"/>
                  </a:lnTo>
                  <a:lnTo>
                    <a:pt x="53975" y="92075"/>
                  </a:lnTo>
                  <a:lnTo>
                    <a:pt x="41275" y="82550"/>
                  </a:lnTo>
                  <a:lnTo>
                    <a:pt x="31750" y="76200"/>
                  </a:lnTo>
                  <a:lnTo>
                    <a:pt x="28575" y="63500"/>
                  </a:lnTo>
                  <a:lnTo>
                    <a:pt x="25400" y="60325"/>
                  </a:lnTo>
                  <a:lnTo>
                    <a:pt x="25400" y="57150"/>
                  </a:lnTo>
                  <a:lnTo>
                    <a:pt x="22225" y="47625"/>
                  </a:lnTo>
                  <a:lnTo>
                    <a:pt x="12700" y="34925"/>
                  </a:lnTo>
                  <a:lnTo>
                    <a:pt x="9525" y="25400"/>
                  </a:lnTo>
                  <a:lnTo>
                    <a:pt x="0" y="317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4" name="Freeform 935">
              <a:extLst>
                <a:ext uri="{FF2B5EF4-FFF2-40B4-BE49-F238E27FC236}">
                  <a16:creationId xmlns:a16="http://schemas.microsoft.com/office/drawing/2014/main" id="{918177EC-28C8-4B44-9A68-77529D0AB6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2075" y="3729037"/>
              <a:ext cx="123825" cy="139700"/>
            </a:xfrm>
            <a:custGeom>
              <a:avLst/>
              <a:gdLst/>
              <a:ahLst/>
              <a:cxnLst/>
              <a:rect l="l" t="t" r="r" b="b"/>
              <a:pathLst>
                <a:path w="123825" h="139700">
                  <a:moveTo>
                    <a:pt x="123825" y="130175"/>
                  </a:moveTo>
                  <a:lnTo>
                    <a:pt x="120650" y="136525"/>
                  </a:lnTo>
                  <a:lnTo>
                    <a:pt x="114300" y="139700"/>
                  </a:lnTo>
                  <a:lnTo>
                    <a:pt x="107950" y="139700"/>
                  </a:lnTo>
                  <a:lnTo>
                    <a:pt x="107950" y="136525"/>
                  </a:lnTo>
                  <a:lnTo>
                    <a:pt x="117475" y="133350"/>
                  </a:lnTo>
                  <a:close/>
                  <a:moveTo>
                    <a:pt x="104775" y="98426"/>
                  </a:moveTo>
                  <a:lnTo>
                    <a:pt x="101600" y="107951"/>
                  </a:lnTo>
                  <a:lnTo>
                    <a:pt x="95250" y="111126"/>
                  </a:lnTo>
                  <a:lnTo>
                    <a:pt x="98425" y="104776"/>
                  </a:lnTo>
                  <a:close/>
                  <a:moveTo>
                    <a:pt x="92075" y="95250"/>
                  </a:moveTo>
                  <a:lnTo>
                    <a:pt x="101600" y="98425"/>
                  </a:lnTo>
                  <a:lnTo>
                    <a:pt x="98425" y="98425"/>
                  </a:lnTo>
                  <a:close/>
                  <a:moveTo>
                    <a:pt x="73025" y="76200"/>
                  </a:moveTo>
                  <a:lnTo>
                    <a:pt x="82550" y="95250"/>
                  </a:lnTo>
                  <a:lnTo>
                    <a:pt x="76200" y="88900"/>
                  </a:lnTo>
                  <a:close/>
                  <a:moveTo>
                    <a:pt x="22225" y="63500"/>
                  </a:moveTo>
                  <a:lnTo>
                    <a:pt x="22225" y="76200"/>
                  </a:lnTo>
                  <a:lnTo>
                    <a:pt x="19050" y="69850"/>
                  </a:lnTo>
                  <a:close/>
                  <a:moveTo>
                    <a:pt x="53975" y="44450"/>
                  </a:moveTo>
                  <a:lnTo>
                    <a:pt x="53975" y="53975"/>
                  </a:lnTo>
                  <a:lnTo>
                    <a:pt x="50800" y="50800"/>
                  </a:lnTo>
                  <a:close/>
                  <a:moveTo>
                    <a:pt x="9525" y="41275"/>
                  </a:moveTo>
                  <a:lnTo>
                    <a:pt x="19050" y="50800"/>
                  </a:lnTo>
                  <a:lnTo>
                    <a:pt x="15875" y="60325"/>
                  </a:lnTo>
                  <a:lnTo>
                    <a:pt x="9525" y="57150"/>
                  </a:lnTo>
                  <a:lnTo>
                    <a:pt x="6350" y="53975"/>
                  </a:lnTo>
                  <a:close/>
                  <a:moveTo>
                    <a:pt x="41275" y="31750"/>
                  </a:moveTo>
                  <a:lnTo>
                    <a:pt x="53975" y="41275"/>
                  </a:lnTo>
                  <a:lnTo>
                    <a:pt x="53975" y="44450"/>
                  </a:lnTo>
                  <a:lnTo>
                    <a:pt x="50800" y="41275"/>
                  </a:lnTo>
                  <a:lnTo>
                    <a:pt x="47625" y="38100"/>
                  </a:lnTo>
                  <a:close/>
                  <a:moveTo>
                    <a:pt x="3175" y="6350"/>
                  </a:moveTo>
                  <a:lnTo>
                    <a:pt x="9525" y="6350"/>
                  </a:lnTo>
                  <a:lnTo>
                    <a:pt x="12700" y="6350"/>
                  </a:lnTo>
                  <a:lnTo>
                    <a:pt x="0" y="9525"/>
                  </a:lnTo>
                  <a:close/>
                  <a:moveTo>
                    <a:pt x="25400" y="0"/>
                  </a:moveTo>
                  <a:lnTo>
                    <a:pt x="34925" y="9525"/>
                  </a:lnTo>
                  <a:lnTo>
                    <a:pt x="34925" y="15875"/>
                  </a:lnTo>
                  <a:lnTo>
                    <a:pt x="31750" y="25400"/>
                  </a:lnTo>
                  <a:lnTo>
                    <a:pt x="28575" y="22225"/>
                  </a:lnTo>
                  <a:lnTo>
                    <a:pt x="31750" y="19050"/>
                  </a:lnTo>
                  <a:lnTo>
                    <a:pt x="31750" y="952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5" name="Freeform 939">
              <a:extLst>
                <a:ext uri="{FF2B5EF4-FFF2-40B4-BE49-F238E27FC236}">
                  <a16:creationId xmlns:a16="http://schemas.microsoft.com/office/drawing/2014/main" id="{7B055611-CF52-4DC2-A04A-2E417C4A40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8125" y="3894138"/>
              <a:ext cx="73025" cy="50800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2" y="18"/>
                </a:cxn>
                <a:cxn ang="0">
                  <a:pos x="2" y="24"/>
                </a:cxn>
                <a:cxn ang="0">
                  <a:pos x="2" y="26"/>
                </a:cxn>
                <a:cxn ang="0">
                  <a:pos x="4" y="28"/>
                </a:cxn>
                <a:cxn ang="0">
                  <a:pos x="6" y="32"/>
                </a:cxn>
                <a:cxn ang="0">
                  <a:pos x="8" y="28"/>
                </a:cxn>
                <a:cxn ang="0">
                  <a:pos x="12" y="22"/>
                </a:cxn>
                <a:cxn ang="0">
                  <a:pos x="14" y="22"/>
                </a:cxn>
                <a:cxn ang="0">
                  <a:pos x="18" y="22"/>
                </a:cxn>
                <a:cxn ang="0">
                  <a:pos x="22" y="22"/>
                </a:cxn>
                <a:cxn ang="0">
                  <a:pos x="26" y="20"/>
                </a:cxn>
                <a:cxn ang="0">
                  <a:pos x="30" y="20"/>
                </a:cxn>
                <a:cxn ang="0">
                  <a:pos x="34" y="20"/>
                </a:cxn>
                <a:cxn ang="0">
                  <a:pos x="40" y="20"/>
                </a:cxn>
                <a:cxn ang="0">
                  <a:pos x="42" y="22"/>
                </a:cxn>
                <a:cxn ang="0">
                  <a:pos x="46" y="22"/>
                </a:cxn>
                <a:cxn ang="0">
                  <a:pos x="46" y="22"/>
                </a:cxn>
                <a:cxn ang="0">
                  <a:pos x="46" y="16"/>
                </a:cxn>
                <a:cxn ang="0">
                  <a:pos x="42" y="12"/>
                </a:cxn>
                <a:cxn ang="0">
                  <a:pos x="36" y="12"/>
                </a:cxn>
                <a:cxn ang="0">
                  <a:pos x="30" y="10"/>
                </a:cxn>
                <a:cxn ang="0">
                  <a:pos x="30" y="8"/>
                </a:cxn>
                <a:cxn ang="0">
                  <a:pos x="26" y="4"/>
                </a:cxn>
                <a:cxn ang="0">
                  <a:pos x="20" y="2"/>
                </a:cxn>
                <a:cxn ang="0">
                  <a:pos x="14" y="0"/>
                </a:cxn>
                <a:cxn ang="0">
                  <a:pos x="8" y="0"/>
                </a:cxn>
                <a:cxn ang="0">
                  <a:pos x="2" y="0"/>
                </a:cxn>
                <a:cxn ang="0">
                  <a:pos x="4" y="8"/>
                </a:cxn>
                <a:cxn ang="0">
                  <a:pos x="0" y="12"/>
                </a:cxn>
              </a:cxnLst>
              <a:rect l="0" t="0" r="r" b="b"/>
              <a:pathLst>
                <a:path w="46" h="32">
                  <a:moveTo>
                    <a:pt x="0" y="12"/>
                  </a:moveTo>
                  <a:lnTo>
                    <a:pt x="2" y="18"/>
                  </a:lnTo>
                  <a:lnTo>
                    <a:pt x="2" y="24"/>
                  </a:lnTo>
                  <a:lnTo>
                    <a:pt x="2" y="26"/>
                  </a:lnTo>
                  <a:lnTo>
                    <a:pt x="4" y="28"/>
                  </a:lnTo>
                  <a:lnTo>
                    <a:pt x="6" y="32"/>
                  </a:lnTo>
                  <a:lnTo>
                    <a:pt x="8" y="28"/>
                  </a:lnTo>
                  <a:lnTo>
                    <a:pt x="12" y="22"/>
                  </a:lnTo>
                  <a:lnTo>
                    <a:pt x="14" y="22"/>
                  </a:lnTo>
                  <a:lnTo>
                    <a:pt x="18" y="22"/>
                  </a:lnTo>
                  <a:lnTo>
                    <a:pt x="22" y="22"/>
                  </a:lnTo>
                  <a:lnTo>
                    <a:pt x="26" y="20"/>
                  </a:lnTo>
                  <a:lnTo>
                    <a:pt x="30" y="20"/>
                  </a:lnTo>
                  <a:lnTo>
                    <a:pt x="34" y="20"/>
                  </a:lnTo>
                  <a:lnTo>
                    <a:pt x="40" y="20"/>
                  </a:lnTo>
                  <a:lnTo>
                    <a:pt x="42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16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26" y="4"/>
                  </a:lnTo>
                  <a:lnTo>
                    <a:pt x="20" y="2"/>
                  </a:lnTo>
                  <a:lnTo>
                    <a:pt x="14" y="0"/>
                  </a:lnTo>
                  <a:lnTo>
                    <a:pt x="8" y="0"/>
                  </a:lnTo>
                  <a:lnTo>
                    <a:pt x="2" y="0"/>
                  </a:lnTo>
                  <a:lnTo>
                    <a:pt x="4" y="8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6" name="Freeform 940">
              <a:extLst>
                <a:ext uri="{FF2B5EF4-FFF2-40B4-BE49-F238E27FC236}">
                  <a16:creationId xmlns:a16="http://schemas.microsoft.com/office/drawing/2014/main" id="{85261DA3-FDD9-43EA-B3B7-DAD6F60C1A5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4150" y="3890963"/>
              <a:ext cx="60325" cy="44450"/>
            </a:xfrm>
            <a:custGeom>
              <a:avLst/>
              <a:gdLst/>
              <a:ahLst/>
              <a:cxnLst>
                <a:cxn ang="0">
                  <a:pos x="2" y="24"/>
                </a:cxn>
                <a:cxn ang="0">
                  <a:pos x="4" y="26"/>
                </a:cxn>
                <a:cxn ang="0">
                  <a:pos x="8" y="26"/>
                </a:cxn>
                <a:cxn ang="0">
                  <a:pos x="12" y="24"/>
                </a:cxn>
                <a:cxn ang="0">
                  <a:pos x="20" y="26"/>
                </a:cxn>
                <a:cxn ang="0">
                  <a:pos x="36" y="28"/>
                </a:cxn>
                <a:cxn ang="0">
                  <a:pos x="36" y="26"/>
                </a:cxn>
                <a:cxn ang="0">
                  <a:pos x="36" y="20"/>
                </a:cxn>
                <a:cxn ang="0">
                  <a:pos x="34" y="14"/>
                </a:cxn>
                <a:cxn ang="0">
                  <a:pos x="38" y="10"/>
                </a:cxn>
                <a:cxn ang="0">
                  <a:pos x="36" y="2"/>
                </a:cxn>
                <a:cxn ang="0">
                  <a:pos x="32" y="4"/>
                </a:cxn>
                <a:cxn ang="0">
                  <a:pos x="28" y="2"/>
                </a:cxn>
                <a:cxn ang="0">
                  <a:pos x="22" y="0"/>
                </a:cxn>
                <a:cxn ang="0">
                  <a:pos x="18" y="2"/>
                </a:cxn>
                <a:cxn ang="0">
                  <a:pos x="14" y="4"/>
                </a:cxn>
                <a:cxn ang="0">
                  <a:pos x="18" y="6"/>
                </a:cxn>
                <a:cxn ang="0">
                  <a:pos x="22" y="6"/>
                </a:cxn>
                <a:cxn ang="0">
                  <a:pos x="22" y="10"/>
                </a:cxn>
                <a:cxn ang="0">
                  <a:pos x="24" y="14"/>
                </a:cxn>
                <a:cxn ang="0">
                  <a:pos x="26" y="18"/>
                </a:cxn>
                <a:cxn ang="0">
                  <a:pos x="28" y="20"/>
                </a:cxn>
                <a:cxn ang="0">
                  <a:pos x="28" y="20"/>
                </a:cxn>
                <a:cxn ang="0">
                  <a:pos x="18" y="22"/>
                </a:cxn>
                <a:cxn ang="0">
                  <a:pos x="10" y="22"/>
                </a:cxn>
                <a:cxn ang="0">
                  <a:pos x="4" y="20"/>
                </a:cxn>
                <a:cxn ang="0">
                  <a:pos x="0" y="22"/>
                </a:cxn>
                <a:cxn ang="0">
                  <a:pos x="2" y="24"/>
                </a:cxn>
                <a:cxn ang="0">
                  <a:pos x="2" y="24"/>
                </a:cxn>
              </a:cxnLst>
              <a:rect l="0" t="0" r="r" b="b"/>
              <a:pathLst>
                <a:path w="38" h="28">
                  <a:moveTo>
                    <a:pt x="2" y="24"/>
                  </a:moveTo>
                  <a:lnTo>
                    <a:pt x="4" y="26"/>
                  </a:lnTo>
                  <a:lnTo>
                    <a:pt x="8" y="26"/>
                  </a:lnTo>
                  <a:lnTo>
                    <a:pt x="12" y="24"/>
                  </a:lnTo>
                  <a:lnTo>
                    <a:pt x="20" y="26"/>
                  </a:lnTo>
                  <a:lnTo>
                    <a:pt x="36" y="28"/>
                  </a:lnTo>
                  <a:lnTo>
                    <a:pt x="36" y="26"/>
                  </a:lnTo>
                  <a:lnTo>
                    <a:pt x="36" y="20"/>
                  </a:lnTo>
                  <a:lnTo>
                    <a:pt x="34" y="14"/>
                  </a:lnTo>
                  <a:lnTo>
                    <a:pt x="38" y="10"/>
                  </a:lnTo>
                  <a:lnTo>
                    <a:pt x="36" y="2"/>
                  </a:lnTo>
                  <a:lnTo>
                    <a:pt x="32" y="4"/>
                  </a:lnTo>
                  <a:lnTo>
                    <a:pt x="28" y="2"/>
                  </a:lnTo>
                  <a:lnTo>
                    <a:pt x="22" y="0"/>
                  </a:lnTo>
                  <a:lnTo>
                    <a:pt x="18" y="2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22" y="6"/>
                  </a:lnTo>
                  <a:lnTo>
                    <a:pt x="22" y="10"/>
                  </a:lnTo>
                  <a:lnTo>
                    <a:pt x="24" y="14"/>
                  </a:lnTo>
                  <a:lnTo>
                    <a:pt x="26" y="18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18" y="22"/>
                  </a:lnTo>
                  <a:lnTo>
                    <a:pt x="10" y="22"/>
                  </a:lnTo>
                  <a:lnTo>
                    <a:pt x="4" y="20"/>
                  </a:lnTo>
                  <a:lnTo>
                    <a:pt x="0" y="22"/>
                  </a:lnTo>
                  <a:lnTo>
                    <a:pt x="2" y="24"/>
                  </a:lnTo>
                  <a:lnTo>
                    <a:pt x="2" y="24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7" name="Freeform 960">
              <a:extLst>
                <a:ext uri="{FF2B5EF4-FFF2-40B4-BE49-F238E27FC236}">
                  <a16:creationId xmlns:a16="http://schemas.microsoft.com/office/drawing/2014/main" id="{79866071-1C0D-44D8-BB5C-ACBD5CF8B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7199" y="3970337"/>
              <a:ext cx="19050" cy="44450"/>
            </a:xfrm>
            <a:custGeom>
              <a:avLst/>
              <a:gdLst/>
              <a:ahLst/>
              <a:cxnLst/>
              <a:rect l="l" t="t" r="r" b="b"/>
              <a:pathLst>
                <a:path w="19050" h="44450">
                  <a:moveTo>
                    <a:pt x="12700" y="34925"/>
                  </a:moveTo>
                  <a:lnTo>
                    <a:pt x="19050" y="41275"/>
                  </a:lnTo>
                  <a:lnTo>
                    <a:pt x="19050" y="44450"/>
                  </a:lnTo>
                  <a:lnTo>
                    <a:pt x="15875" y="44450"/>
                  </a:lnTo>
                  <a:close/>
                  <a:moveTo>
                    <a:pt x="6350" y="0"/>
                  </a:moveTo>
                  <a:lnTo>
                    <a:pt x="9525" y="3175"/>
                  </a:lnTo>
                  <a:lnTo>
                    <a:pt x="9525" y="6350"/>
                  </a:lnTo>
                  <a:lnTo>
                    <a:pt x="3175" y="6350"/>
                  </a:lnTo>
                  <a:lnTo>
                    <a:pt x="0" y="9525"/>
                  </a:lnTo>
                  <a:lnTo>
                    <a:pt x="0" y="6350"/>
                  </a:lnTo>
                  <a:lnTo>
                    <a:pt x="3175" y="317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8" name="Freeform 973">
              <a:extLst>
                <a:ext uri="{FF2B5EF4-FFF2-40B4-BE49-F238E27FC236}">
                  <a16:creationId xmlns:a16="http://schemas.microsoft.com/office/drawing/2014/main" id="{D2F2E02C-DBA4-4963-8D99-2FCA53C864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8425" y="3925888"/>
              <a:ext cx="44450" cy="1587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4" y="8"/>
                </a:cxn>
                <a:cxn ang="0">
                  <a:pos x="16" y="10"/>
                </a:cxn>
                <a:cxn ang="0">
                  <a:pos x="18" y="8"/>
                </a:cxn>
                <a:cxn ang="0">
                  <a:pos x="22" y="6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6"/>
                </a:cxn>
                <a:cxn ang="0">
                  <a:pos x="28" y="4"/>
                </a:cxn>
                <a:cxn ang="0">
                  <a:pos x="10" y="0"/>
                </a:cxn>
                <a:cxn ang="0">
                  <a:pos x="6" y="0"/>
                </a:cxn>
              </a:cxnLst>
              <a:rect l="0" t="0" r="r" b="b"/>
              <a:pathLst>
                <a:path w="28" h="10">
                  <a:moveTo>
                    <a:pt x="6" y="0"/>
                  </a:moveTo>
                  <a:lnTo>
                    <a:pt x="0" y="2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4" y="8"/>
                  </a:lnTo>
                  <a:lnTo>
                    <a:pt x="16" y="10"/>
                  </a:lnTo>
                  <a:lnTo>
                    <a:pt x="18" y="8"/>
                  </a:lnTo>
                  <a:lnTo>
                    <a:pt x="22" y="6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6"/>
                  </a:lnTo>
                  <a:lnTo>
                    <a:pt x="28" y="4"/>
                  </a:lnTo>
                  <a:lnTo>
                    <a:pt x="1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9" name="Freeform 974">
              <a:extLst>
                <a:ext uri="{FF2B5EF4-FFF2-40B4-BE49-F238E27FC236}">
                  <a16:creationId xmlns:a16="http://schemas.microsoft.com/office/drawing/2014/main" id="{2897EB73-A661-4F2B-9C52-0D60390C6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8724" y="3817937"/>
              <a:ext cx="228600" cy="76200"/>
            </a:xfrm>
            <a:custGeom>
              <a:avLst/>
              <a:gdLst/>
              <a:ahLst/>
              <a:cxnLst/>
              <a:rect l="l" t="t" r="r" b="b"/>
              <a:pathLst>
                <a:path w="228600" h="76200">
                  <a:moveTo>
                    <a:pt x="41275" y="28575"/>
                  </a:moveTo>
                  <a:lnTo>
                    <a:pt x="47625" y="28575"/>
                  </a:lnTo>
                  <a:lnTo>
                    <a:pt x="47625" y="38100"/>
                  </a:lnTo>
                  <a:lnTo>
                    <a:pt x="38100" y="38100"/>
                  </a:lnTo>
                  <a:lnTo>
                    <a:pt x="38100" y="31750"/>
                  </a:lnTo>
                  <a:close/>
                  <a:moveTo>
                    <a:pt x="53975" y="0"/>
                  </a:moveTo>
                  <a:lnTo>
                    <a:pt x="69850" y="0"/>
                  </a:lnTo>
                  <a:lnTo>
                    <a:pt x="82550" y="0"/>
                  </a:lnTo>
                  <a:lnTo>
                    <a:pt x="88900" y="0"/>
                  </a:lnTo>
                  <a:lnTo>
                    <a:pt x="95250" y="3175"/>
                  </a:lnTo>
                  <a:lnTo>
                    <a:pt x="104775" y="6350"/>
                  </a:lnTo>
                  <a:lnTo>
                    <a:pt x="114300" y="12700"/>
                  </a:lnTo>
                  <a:lnTo>
                    <a:pt x="120650" y="19050"/>
                  </a:lnTo>
                  <a:lnTo>
                    <a:pt x="130175" y="19050"/>
                  </a:lnTo>
                  <a:lnTo>
                    <a:pt x="139700" y="22225"/>
                  </a:lnTo>
                  <a:lnTo>
                    <a:pt x="146050" y="25400"/>
                  </a:lnTo>
                  <a:lnTo>
                    <a:pt x="155575" y="31750"/>
                  </a:lnTo>
                  <a:lnTo>
                    <a:pt x="161925" y="31750"/>
                  </a:lnTo>
                  <a:lnTo>
                    <a:pt x="165100" y="38100"/>
                  </a:lnTo>
                  <a:lnTo>
                    <a:pt x="168275" y="38100"/>
                  </a:lnTo>
                  <a:lnTo>
                    <a:pt x="174625" y="41275"/>
                  </a:lnTo>
                  <a:lnTo>
                    <a:pt x="196850" y="50800"/>
                  </a:lnTo>
                  <a:lnTo>
                    <a:pt x="200025" y="50800"/>
                  </a:lnTo>
                  <a:lnTo>
                    <a:pt x="200025" y="53975"/>
                  </a:lnTo>
                  <a:lnTo>
                    <a:pt x="212725" y="57150"/>
                  </a:lnTo>
                  <a:lnTo>
                    <a:pt x="219075" y="60325"/>
                  </a:lnTo>
                  <a:lnTo>
                    <a:pt x="222250" y="63500"/>
                  </a:lnTo>
                  <a:lnTo>
                    <a:pt x="225425" y="66675"/>
                  </a:lnTo>
                  <a:lnTo>
                    <a:pt x="228600" y="69850"/>
                  </a:lnTo>
                  <a:lnTo>
                    <a:pt x="215900" y="73025"/>
                  </a:lnTo>
                  <a:lnTo>
                    <a:pt x="209550" y="76200"/>
                  </a:lnTo>
                  <a:lnTo>
                    <a:pt x="206375" y="76200"/>
                  </a:lnTo>
                  <a:lnTo>
                    <a:pt x="193675" y="73025"/>
                  </a:lnTo>
                  <a:lnTo>
                    <a:pt x="180975" y="73025"/>
                  </a:lnTo>
                  <a:lnTo>
                    <a:pt x="152400" y="76200"/>
                  </a:lnTo>
                  <a:lnTo>
                    <a:pt x="165100" y="66675"/>
                  </a:lnTo>
                  <a:lnTo>
                    <a:pt x="165100" y="60325"/>
                  </a:lnTo>
                  <a:lnTo>
                    <a:pt x="158750" y="57150"/>
                  </a:lnTo>
                  <a:lnTo>
                    <a:pt x="152400" y="57150"/>
                  </a:lnTo>
                  <a:lnTo>
                    <a:pt x="146050" y="57150"/>
                  </a:lnTo>
                  <a:lnTo>
                    <a:pt x="139700" y="50800"/>
                  </a:lnTo>
                  <a:lnTo>
                    <a:pt x="136525" y="47625"/>
                  </a:lnTo>
                  <a:lnTo>
                    <a:pt x="133350" y="41275"/>
                  </a:lnTo>
                  <a:lnTo>
                    <a:pt x="130175" y="38100"/>
                  </a:lnTo>
                  <a:lnTo>
                    <a:pt x="123825" y="38100"/>
                  </a:lnTo>
                  <a:lnTo>
                    <a:pt x="107950" y="34925"/>
                  </a:lnTo>
                  <a:lnTo>
                    <a:pt x="95250" y="25400"/>
                  </a:lnTo>
                  <a:lnTo>
                    <a:pt x="88900" y="25400"/>
                  </a:lnTo>
                  <a:lnTo>
                    <a:pt x="82550" y="25400"/>
                  </a:lnTo>
                  <a:lnTo>
                    <a:pt x="79375" y="22225"/>
                  </a:lnTo>
                  <a:lnTo>
                    <a:pt x="69850" y="22225"/>
                  </a:lnTo>
                  <a:lnTo>
                    <a:pt x="63500" y="22225"/>
                  </a:lnTo>
                  <a:lnTo>
                    <a:pt x="60325" y="15875"/>
                  </a:lnTo>
                  <a:lnTo>
                    <a:pt x="66675" y="15875"/>
                  </a:lnTo>
                  <a:lnTo>
                    <a:pt x="63500" y="12700"/>
                  </a:lnTo>
                  <a:lnTo>
                    <a:pt x="60325" y="12700"/>
                  </a:lnTo>
                  <a:lnTo>
                    <a:pt x="53975" y="9525"/>
                  </a:lnTo>
                  <a:lnTo>
                    <a:pt x="41275" y="12700"/>
                  </a:lnTo>
                  <a:lnTo>
                    <a:pt x="38100" y="19050"/>
                  </a:lnTo>
                  <a:lnTo>
                    <a:pt x="31750" y="22225"/>
                  </a:lnTo>
                  <a:lnTo>
                    <a:pt x="22225" y="25400"/>
                  </a:lnTo>
                  <a:lnTo>
                    <a:pt x="15875" y="28575"/>
                  </a:lnTo>
                  <a:lnTo>
                    <a:pt x="12700" y="28575"/>
                  </a:lnTo>
                  <a:lnTo>
                    <a:pt x="6350" y="28575"/>
                  </a:lnTo>
                  <a:lnTo>
                    <a:pt x="0" y="28575"/>
                  </a:lnTo>
                  <a:lnTo>
                    <a:pt x="9525" y="25400"/>
                  </a:lnTo>
                  <a:lnTo>
                    <a:pt x="9525" y="19050"/>
                  </a:lnTo>
                  <a:lnTo>
                    <a:pt x="15875" y="12700"/>
                  </a:lnTo>
                  <a:lnTo>
                    <a:pt x="28575" y="6350"/>
                  </a:lnTo>
                  <a:lnTo>
                    <a:pt x="34925" y="3175"/>
                  </a:lnTo>
                  <a:lnTo>
                    <a:pt x="41275" y="3175"/>
                  </a:lnTo>
                  <a:lnTo>
                    <a:pt x="47625" y="317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0" name="Freeform 985">
              <a:extLst>
                <a:ext uri="{FF2B5EF4-FFF2-40B4-BE49-F238E27FC236}">
                  <a16:creationId xmlns:a16="http://schemas.microsoft.com/office/drawing/2014/main" id="{40020943-29DF-47A1-B3BF-6A1BC61006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9725" y="3922713"/>
              <a:ext cx="34925" cy="15875"/>
            </a:xfrm>
            <a:custGeom>
              <a:avLst/>
              <a:gdLst/>
              <a:ahLst/>
              <a:cxnLst>
                <a:cxn ang="0">
                  <a:pos x="12" y="2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2" y="10"/>
                </a:cxn>
                <a:cxn ang="0">
                  <a:pos x="12" y="10"/>
                </a:cxn>
                <a:cxn ang="0">
                  <a:pos x="18" y="8"/>
                </a:cxn>
                <a:cxn ang="0">
                  <a:pos x="22" y="4"/>
                </a:cxn>
                <a:cxn ang="0">
                  <a:pos x="20" y="2"/>
                </a:cxn>
                <a:cxn ang="0">
                  <a:pos x="12" y="2"/>
                </a:cxn>
              </a:cxnLst>
              <a:rect l="0" t="0" r="r" b="b"/>
              <a:pathLst>
                <a:path w="22" h="10">
                  <a:moveTo>
                    <a:pt x="12" y="2"/>
                  </a:moveTo>
                  <a:lnTo>
                    <a:pt x="6" y="2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2" y="10"/>
                  </a:lnTo>
                  <a:lnTo>
                    <a:pt x="12" y="10"/>
                  </a:lnTo>
                  <a:lnTo>
                    <a:pt x="18" y="8"/>
                  </a:lnTo>
                  <a:lnTo>
                    <a:pt x="22" y="4"/>
                  </a:lnTo>
                  <a:lnTo>
                    <a:pt x="20" y="2"/>
                  </a:lnTo>
                  <a:lnTo>
                    <a:pt x="12" y="2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1" name="Freeform 867">
              <a:extLst>
                <a:ext uri="{FF2B5EF4-FFF2-40B4-BE49-F238E27FC236}">
                  <a16:creationId xmlns:a16="http://schemas.microsoft.com/office/drawing/2014/main" id="{48077665-1638-4DE4-8F25-976B6BE35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9975" y="3941763"/>
              <a:ext cx="85725" cy="88900"/>
            </a:xfrm>
            <a:custGeom>
              <a:avLst/>
              <a:gdLst/>
              <a:ahLst/>
              <a:cxnLst>
                <a:cxn ang="0">
                  <a:pos x="38" y="46"/>
                </a:cxn>
                <a:cxn ang="0">
                  <a:pos x="38" y="46"/>
                </a:cxn>
                <a:cxn ang="0">
                  <a:pos x="40" y="44"/>
                </a:cxn>
                <a:cxn ang="0">
                  <a:pos x="42" y="40"/>
                </a:cxn>
                <a:cxn ang="0">
                  <a:pos x="44" y="36"/>
                </a:cxn>
                <a:cxn ang="0">
                  <a:pos x="46" y="34"/>
                </a:cxn>
                <a:cxn ang="0">
                  <a:pos x="52" y="30"/>
                </a:cxn>
                <a:cxn ang="0">
                  <a:pos x="54" y="28"/>
                </a:cxn>
                <a:cxn ang="0">
                  <a:pos x="50" y="28"/>
                </a:cxn>
                <a:cxn ang="0">
                  <a:pos x="44" y="26"/>
                </a:cxn>
                <a:cxn ang="0">
                  <a:pos x="40" y="26"/>
                </a:cxn>
                <a:cxn ang="0">
                  <a:pos x="42" y="0"/>
                </a:cxn>
                <a:cxn ang="0">
                  <a:pos x="24" y="0"/>
                </a:cxn>
                <a:cxn ang="0">
                  <a:pos x="16" y="0"/>
                </a:cxn>
                <a:cxn ang="0">
                  <a:pos x="16" y="8"/>
                </a:cxn>
                <a:cxn ang="0">
                  <a:pos x="10" y="8"/>
                </a:cxn>
                <a:cxn ang="0">
                  <a:pos x="16" y="12"/>
                </a:cxn>
                <a:cxn ang="0">
                  <a:pos x="20" y="14"/>
                </a:cxn>
                <a:cxn ang="0">
                  <a:pos x="24" y="24"/>
                </a:cxn>
                <a:cxn ang="0">
                  <a:pos x="12" y="24"/>
                </a:cxn>
                <a:cxn ang="0">
                  <a:pos x="6" y="24"/>
                </a:cxn>
                <a:cxn ang="0">
                  <a:pos x="4" y="26"/>
                </a:cxn>
                <a:cxn ang="0">
                  <a:pos x="0" y="36"/>
                </a:cxn>
                <a:cxn ang="0">
                  <a:pos x="2" y="40"/>
                </a:cxn>
                <a:cxn ang="0">
                  <a:pos x="0" y="46"/>
                </a:cxn>
                <a:cxn ang="0">
                  <a:pos x="6" y="50"/>
                </a:cxn>
                <a:cxn ang="0">
                  <a:pos x="10" y="52"/>
                </a:cxn>
                <a:cxn ang="0">
                  <a:pos x="18" y="54"/>
                </a:cxn>
                <a:cxn ang="0">
                  <a:pos x="28" y="56"/>
                </a:cxn>
                <a:cxn ang="0">
                  <a:pos x="32" y="52"/>
                </a:cxn>
                <a:cxn ang="0">
                  <a:pos x="38" y="46"/>
                </a:cxn>
              </a:cxnLst>
              <a:rect l="0" t="0" r="r" b="b"/>
              <a:pathLst>
                <a:path w="54" h="56">
                  <a:moveTo>
                    <a:pt x="38" y="46"/>
                  </a:moveTo>
                  <a:lnTo>
                    <a:pt x="38" y="46"/>
                  </a:lnTo>
                  <a:lnTo>
                    <a:pt x="40" y="44"/>
                  </a:lnTo>
                  <a:lnTo>
                    <a:pt x="42" y="40"/>
                  </a:lnTo>
                  <a:lnTo>
                    <a:pt x="44" y="36"/>
                  </a:lnTo>
                  <a:lnTo>
                    <a:pt x="46" y="34"/>
                  </a:lnTo>
                  <a:lnTo>
                    <a:pt x="52" y="30"/>
                  </a:lnTo>
                  <a:lnTo>
                    <a:pt x="54" y="28"/>
                  </a:lnTo>
                  <a:lnTo>
                    <a:pt x="50" y="28"/>
                  </a:lnTo>
                  <a:lnTo>
                    <a:pt x="44" y="26"/>
                  </a:lnTo>
                  <a:lnTo>
                    <a:pt x="40" y="2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16" y="8"/>
                  </a:lnTo>
                  <a:lnTo>
                    <a:pt x="10" y="8"/>
                  </a:lnTo>
                  <a:lnTo>
                    <a:pt x="16" y="12"/>
                  </a:lnTo>
                  <a:lnTo>
                    <a:pt x="20" y="14"/>
                  </a:lnTo>
                  <a:lnTo>
                    <a:pt x="24" y="24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4" y="26"/>
                  </a:lnTo>
                  <a:lnTo>
                    <a:pt x="0" y="36"/>
                  </a:lnTo>
                  <a:lnTo>
                    <a:pt x="2" y="40"/>
                  </a:lnTo>
                  <a:lnTo>
                    <a:pt x="0" y="46"/>
                  </a:lnTo>
                  <a:lnTo>
                    <a:pt x="6" y="50"/>
                  </a:lnTo>
                  <a:lnTo>
                    <a:pt x="10" y="52"/>
                  </a:lnTo>
                  <a:lnTo>
                    <a:pt x="18" y="54"/>
                  </a:lnTo>
                  <a:lnTo>
                    <a:pt x="28" y="56"/>
                  </a:lnTo>
                  <a:lnTo>
                    <a:pt x="32" y="52"/>
                  </a:lnTo>
                  <a:lnTo>
                    <a:pt x="38" y="46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2" name="Freeform 875">
              <a:extLst>
                <a:ext uri="{FF2B5EF4-FFF2-40B4-BE49-F238E27FC236}">
                  <a16:creationId xmlns:a16="http://schemas.microsoft.com/office/drawing/2014/main" id="{4DFD236A-543D-4A83-9FA1-B2DFA779581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3475" y="3925888"/>
              <a:ext cx="25400" cy="57150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4" y="6"/>
                </a:cxn>
                <a:cxn ang="0">
                  <a:pos x="2" y="8"/>
                </a:cxn>
                <a:cxn ang="0">
                  <a:pos x="2" y="10"/>
                </a:cxn>
                <a:cxn ang="0">
                  <a:pos x="0" y="36"/>
                </a:cxn>
                <a:cxn ang="0">
                  <a:pos x="4" y="36"/>
                </a:cxn>
                <a:cxn ang="0">
                  <a:pos x="6" y="34"/>
                </a:cxn>
                <a:cxn ang="0">
                  <a:pos x="6" y="32"/>
                </a:cxn>
                <a:cxn ang="0">
                  <a:pos x="10" y="30"/>
                </a:cxn>
                <a:cxn ang="0">
                  <a:pos x="12" y="26"/>
                </a:cxn>
                <a:cxn ang="0">
                  <a:pos x="14" y="20"/>
                </a:cxn>
                <a:cxn ang="0">
                  <a:pos x="14" y="14"/>
                </a:cxn>
                <a:cxn ang="0">
                  <a:pos x="14" y="14"/>
                </a:cxn>
                <a:cxn ang="0">
                  <a:pos x="14" y="10"/>
                </a:cxn>
                <a:cxn ang="0">
                  <a:pos x="16" y="4"/>
                </a:cxn>
                <a:cxn ang="0">
                  <a:pos x="16" y="2"/>
                </a:cxn>
                <a:cxn ang="0">
                  <a:pos x="14" y="0"/>
                </a:cxn>
                <a:cxn ang="0">
                  <a:pos x="10" y="0"/>
                </a:cxn>
                <a:cxn ang="0">
                  <a:pos x="8" y="4"/>
                </a:cxn>
              </a:cxnLst>
              <a:rect l="0" t="0" r="r" b="b"/>
              <a:pathLst>
                <a:path w="16" h="36">
                  <a:moveTo>
                    <a:pt x="8" y="4"/>
                  </a:moveTo>
                  <a:lnTo>
                    <a:pt x="4" y="6"/>
                  </a:lnTo>
                  <a:lnTo>
                    <a:pt x="2" y="8"/>
                  </a:lnTo>
                  <a:lnTo>
                    <a:pt x="2" y="10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6" y="34"/>
                  </a:lnTo>
                  <a:lnTo>
                    <a:pt x="6" y="32"/>
                  </a:lnTo>
                  <a:lnTo>
                    <a:pt x="10" y="30"/>
                  </a:lnTo>
                  <a:lnTo>
                    <a:pt x="12" y="26"/>
                  </a:lnTo>
                  <a:lnTo>
                    <a:pt x="14" y="20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0"/>
                  </a:lnTo>
                  <a:lnTo>
                    <a:pt x="16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8" y="4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3" name="Freeform 890">
              <a:extLst>
                <a:ext uri="{FF2B5EF4-FFF2-40B4-BE49-F238E27FC236}">
                  <a16:creationId xmlns:a16="http://schemas.microsoft.com/office/drawing/2014/main" id="{238E97BE-5D6D-4D8C-819A-11BA280D0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8400" y="4002088"/>
              <a:ext cx="98425" cy="95250"/>
            </a:xfrm>
            <a:custGeom>
              <a:avLst/>
              <a:gdLst/>
              <a:ahLst/>
              <a:cxnLst>
                <a:cxn ang="0">
                  <a:pos x="34" y="56"/>
                </a:cxn>
                <a:cxn ang="0">
                  <a:pos x="38" y="58"/>
                </a:cxn>
                <a:cxn ang="0">
                  <a:pos x="42" y="56"/>
                </a:cxn>
                <a:cxn ang="0">
                  <a:pos x="44" y="56"/>
                </a:cxn>
                <a:cxn ang="0">
                  <a:pos x="46" y="58"/>
                </a:cxn>
                <a:cxn ang="0">
                  <a:pos x="48" y="60"/>
                </a:cxn>
                <a:cxn ang="0">
                  <a:pos x="52" y="60"/>
                </a:cxn>
                <a:cxn ang="0">
                  <a:pos x="54" y="58"/>
                </a:cxn>
                <a:cxn ang="0">
                  <a:pos x="52" y="50"/>
                </a:cxn>
                <a:cxn ang="0">
                  <a:pos x="54" y="48"/>
                </a:cxn>
                <a:cxn ang="0">
                  <a:pos x="54" y="46"/>
                </a:cxn>
                <a:cxn ang="0">
                  <a:pos x="54" y="42"/>
                </a:cxn>
                <a:cxn ang="0">
                  <a:pos x="56" y="34"/>
                </a:cxn>
                <a:cxn ang="0">
                  <a:pos x="56" y="28"/>
                </a:cxn>
                <a:cxn ang="0">
                  <a:pos x="56" y="22"/>
                </a:cxn>
                <a:cxn ang="0">
                  <a:pos x="56" y="20"/>
                </a:cxn>
                <a:cxn ang="0">
                  <a:pos x="58" y="16"/>
                </a:cxn>
                <a:cxn ang="0">
                  <a:pos x="60" y="12"/>
                </a:cxn>
                <a:cxn ang="0">
                  <a:pos x="60" y="6"/>
                </a:cxn>
                <a:cxn ang="0">
                  <a:pos x="58" y="2"/>
                </a:cxn>
                <a:cxn ang="0">
                  <a:pos x="62" y="0"/>
                </a:cxn>
                <a:cxn ang="0">
                  <a:pos x="58" y="2"/>
                </a:cxn>
                <a:cxn ang="0">
                  <a:pos x="54" y="2"/>
                </a:cxn>
                <a:cxn ang="0">
                  <a:pos x="52" y="4"/>
                </a:cxn>
                <a:cxn ang="0">
                  <a:pos x="46" y="6"/>
                </a:cxn>
                <a:cxn ang="0">
                  <a:pos x="42" y="6"/>
                </a:cxn>
                <a:cxn ang="0">
                  <a:pos x="38" y="6"/>
                </a:cxn>
                <a:cxn ang="0">
                  <a:pos x="34" y="8"/>
                </a:cxn>
                <a:cxn ang="0">
                  <a:pos x="28" y="16"/>
                </a:cxn>
                <a:cxn ang="0">
                  <a:pos x="26" y="16"/>
                </a:cxn>
                <a:cxn ang="0">
                  <a:pos x="22" y="14"/>
                </a:cxn>
                <a:cxn ang="0">
                  <a:pos x="18" y="18"/>
                </a:cxn>
                <a:cxn ang="0">
                  <a:pos x="14" y="18"/>
                </a:cxn>
                <a:cxn ang="0">
                  <a:pos x="12" y="20"/>
                </a:cxn>
                <a:cxn ang="0">
                  <a:pos x="10" y="24"/>
                </a:cxn>
                <a:cxn ang="0">
                  <a:pos x="8" y="28"/>
                </a:cxn>
                <a:cxn ang="0">
                  <a:pos x="4" y="28"/>
                </a:cxn>
                <a:cxn ang="0">
                  <a:pos x="4" y="30"/>
                </a:cxn>
                <a:cxn ang="0">
                  <a:pos x="0" y="28"/>
                </a:cxn>
                <a:cxn ang="0">
                  <a:pos x="0" y="30"/>
                </a:cxn>
                <a:cxn ang="0">
                  <a:pos x="8" y="36"/>
                </a:cxn>
                <a:cxn ang="0">
                  <a:pos x="18" y="46"/>
                </a:cxn>
                <a:cxn ang="0">
                  <a:pos x="26" y="56"/>
                </a:cxn>
                <a:cxn ang="0">
                  <a:pos x="28" y="54"/>
                </a:cxn>
                <a:cxn ang="0">
                  <a:pos x="34" y="56"/>
                </a:cxn>
              </a:cxnLst>
              <a:rect l="0" t="0" r="r" b="b"/>
              <a:pathLst>
                <a:path w="62" h="60">
                  <a:moveTo>
                    <a:pt x="34" y="56"/>
                  </a:moveTo>
                  <a:lnTo>
                    <a:pt x="38" y="58"/>
                  </a:lnTo>
                  <a:lnTo>
                    <a:pt x="42" y="56"/>
                  </a:lnTo>
                  <a:lnTo>
                    <a:pt x="44" y="56"/>
                  </a:lnTo>
                  <a:lnTo>
                    <a:pt x="46" y="58"/>
                  </a:lnTo>
                  <a:lnTo>
                    <a:pt x="48" y="60"/>
                  </a:lnTo>
                  <a:lnTo>
                    <a:pt x="52" y="60"/>
                  </a:lnTo>
                  <a:lnTo>
                    <a:pt x="54" y="58"/>
                  </a:lnTo>
                  <a:lnTo>
                    <a:pt x="52" y="50"/>
                  </a:lnTo>
                  <a:lnTo>
                    <a:pt x="54" y="48"/>
                  </a:lnTo>
                  <a:lnTo>
                    <a:pt x="54" y="46"/>
                  </a:lnTo>
                  <a:lnTo>
                    <a:pt x="54" y="42"/>
                  </a:lnTo>
                  <a:lnTo>
                    <a:pt x="56" y="34"/>
                  </a:lnTo>
                  <a:lnTo>
                    <a:pt x="56" y="28"/>
                  </a:lnTo>
                  <a:lnTo>
                    <a:pt x="56" y="22"/>
                  </a:lnTo>
                  <a:lnTo>
                    <a:pt x="56" y="20"/>
                  </a:lnTo>
                  <a:lnTo>
                    <a:pt x="58" y="16"/>
                  </a:lnTo>
                  <a:lnTo>
                    <a:pt x="60" y="12"/>
                  </a:lnTo>
                  <a:lnTo>
                    <a:pt x="60" y="6"/>
                  </a:lnTo>
                  <a:lnTo>
                    <a:pt x="58" y="2"/>
                  </a:lnTo>
                  <a:lnTo>
                    <a:pt x="62" y="0"/>
                  </a:lnTo>
                  <a:lnTo>
                    <a:pt x="58" y="2"/>
                  </a:lnTo>
                  <a:lnTo>
                    <a:pt x="54" y="2"/>
                  </a:lnTo>
                  <a:lnTo>
                    <a:pt x="52" y="4"/>
                  </a:lnTo>
                  <a:lnTo>
                    <a:pt x="46" y="6"/>
                  </a:lnTo>
                  <a:lnTo>
                    <a:pt x="42" y="6"/>
                  </a:lnTo>
                  <a:lnTo>
                    <a:pt x="38" y="6"/>
                  </a:lnTo>
                  <a:lnTo>
                    <a:pt x="34" y="8"/>
                  </a:lnTo>
                  <a:lnTo>
                    <a:pt x="28" y="16"/>
                  </a:lnTo>
                  <a:lnTo>
                    <a:pt x="26" y="16"/>
                  </a:lnTo>
                  <a:lnTo>
                    <a:pt x="22" y="14"/>
                  </a:lnTo>
                  <a:lnTo>
                    <a:pt x="18" y="18"/>
                  </a:lnTo>
                  <a:lnTo>
                    <a:pt x="14" y="18"/>
                  </a:lnTo>
                  <a:lnTo>
                    <a:pt x="12" y="20"/>
                  </a:lnTo>
                  <a:lnTo>
                    <a:pt x="10" y="24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30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8" y="36"/>
                  </a:lnTo>
                  <a:lnTo>
                    <a:pt x="18" y="46"/>
                  </a:lnTo>
                  <a:lnTo>
                    <a:pt x="26" y="56"/>
                  </a:lnTo>
                  <a:lnTo>
                    <a:pt x="28" y="54"/>
                  </a:lnTo>
                  <a:lnTo>
                    <a:pt x="34" y="56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4" name="Freeform 893">
              <a:extLst>
                <a:ext uri="{FF2B5EF4-FFF2-40B4-BE49-F238E27FC236}">
                  <a16:creationId xmlns:a16="http://schemas.microsoft.com/office/drawing/2014/main" id="{177251CC-EBD7-495F-ACAE-C79544E4C7F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0300" y="3983038"/>
              <a:ext cx="136525" cy="63500"/>
            </a:xfrm>
            <a:custGeom>
              <a:avLst/>
              <a:gdLst/>
              <a:ahLst/>
              <a:cxnLst>
                <a:cxn ang="0">
                  <a:pos x="34" y="36"/>
                </a:cxn>
                <a:cxn ang="0">
                  <a:pos x="36" y="32"/>
                </a:cxn>
                <a:cxn ang="0">
                  <a:pos x="38" y="30"/>
                </a:cxn>
                <a:cxn ang="0">
                  <a:pos x="42" y="30"/>
                </a:cxn>
                <a:cxn ang="0">
                  <a:pos x="46" y="26"/>
                </a:cxn>
                <a:cxn ang="0">
                  <a:pos x="50" y="28"/>
                </a:cxn>
                <a:cxn ang="0">
                  <a:pos x="52" y="28"/>
                </a:cxn>
                <a:cxn ang="0">
                  <a:pos x="58" y="20"/>
                </a:cxn>
                <a:cxn ang="0">
                  <a:pos x="62" y="18"/>
                </a:cxn>
                <a:cxn ang="0">
                  <a:pos x="66" y="18"/>
                </a:cxn>
                <a:cxn ang="0">
                  <a:pos x="70" y="18"/>
                </a:cxn>
                <a:cxn ang="0">
                  <a:pos x="76" y="16"/>
                </a:cxn>
                <a:cxn ang="0">
                  <a:pos x="78" y="14"/>
                </a:cxn>
                <a:cxn ang="0">
                  <a:pos x="82" y="14"/>
                </a:cxn>
                <a:cxn ang="0">
                  <a:pos x="86" y="12"/>
                </a:cxn>
                <a:cxn ang="0">
                  <a:pos x="80" y="8"/>
                </a:cxn>
                <a:cxn ang="0">
                  <a:pos x="78" y="8"/>
                </a:cxn>
                <a:cxn ang="0">
                  <a:pos x="76" y="10"/>
                </a:cxn>
                <a:cxn ang="0">
                  <a:pos x="74" y="8"/>
                </a:cxn>
                <a:cxn ang="0">
                  <a:pos x="72" y="6"/>
                </a:cxn>
                <a:cxn ang="0">
                  <a:pos x="74" y="6"/>
                </a:cxn>
                <a:cxn ang="0">
                  <a:pos x="70" y="2"/>
                </a:cxn>
                <a:cxn ang="0">
                  <a:pos x="62" y="0"/>
                </a:cxn>
                <a:cxn ang="0">
                  <a:pos x="46" y="0"/>
                </a:cxn>
                <a:cxn ang="0">
                  <a:pos x="38" y="2"/>
                </a:cxn>
                <a:cxn ang="0">
                  <a:pos x="30" y="2"/>
                </a:cxn>
                <a:cxn ang="0">
                  <a:pos x="26" y="2"/>
                </a:cxn>
                <a:cxn ang="0">
                  <a:pos x="22" y="0"/>
                </a:cxn>
                <a:cxn ang="0">
                  <a:pos x="16" y="2"/>
                </a:cxn>
                <a:cxn ang="0">
                  <a:pos x="14" y="4"/>
                </a:cxn>
                <a:cxn ang="0">
                  <a:pos x="8" y="8"/>
                </a:cxn>
                <a:cxn ang="0">
                  <a:pos x="6" y="10"/>
                </a:cxn>
                <a:cxn ang="0">
                  <a:pos x="4" y="14"/>
                </a:cxn>
                <a:cxn ang="0">
                  <a:pos x="2" y="18"/>
                </a:cxn>
                <a:cxn ang="0">
                  <a:pos x="0" y="20"/>
                </a:cxn>
                <a:cxn ang="0">
                  <a:pos x="8" y="26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4" y="28"/>
                </a:cxn>
                <a:cxn ang="0">
                  <a:pos x="18" y="28"/>
                </a:cxn>
                <a:cxn ang="0">
                  <a:pos x="20" y="28"/>
                </a:cxn>
                <a:cxn ang="0">
                  <a:pos x="22" y="28"/>
                </a:cxn>
                <a:cxn ang="0">
                  <a:pos x="22" y="30"/>
                </a:cxn>
                <a:cxn ang="0">
                  <a:pos x="22" y="34"/>
                </a:cxn>
                <a:cxn ang="0">
                  <a:pos x="26" y="38"/>
                </a:cxn>
                <a:cxn ang="0">
                  <a:pos x="28" y="40"/>
                </a:cxn>
                <a:cxn ang="0">
                  <a:pos x="32" y="40"/>
                </a:cxn>
                <a:cxn ang="0">
                  <a:pos x="34" y="36"/>
                </a:cxn>
              </a:cxnLst>
              <a:rect l="0" t="0" r="r" b="b"/>
              <a:pathLst>
                <a:path w="86" h="40">
                  <a:moveTo>
                    <a:pt x="34" y="36"/>
                  </a:moveTo>
                  <a:lnTo>
                    <a:pt x="36" y="32"/>
                  </a:lnTo>
                  <a:lnTo>
                    <a:pt x="38" y="30"/>
                  </a:lnTo>
                  <a:lnTo>
                    <a:pt x="42" y="30"/>
                  </a:lnTo>
                  <a:lnTo>
                    <a:pt x="46" y="26"/>
                  </a:lnTo>
                  <a:lnTo>
                    <a:pt x="50" y="28"/>
                  </a:lnTo>
                  <a:lnTo>
                    <a:pt x="52" y="28"/>
                  </a:lnTo>
                  <a:lnTo>
                    <a:pt x="58" y="20"/>
                  </a:lnTo>
                  <a:lnTo>
                    <a:pt x="62" y="18"/>
                  </a:lnTo>
                  <a:lnTo>
                    <a:pt x="66" y="18"/>
                  </a:lnTo>
                  <a:lnTo>
                    <a:pt x="70" y="18"/>
                  </a:lnTo>
                  <a:lnTo>
                    <a:pt x="76" y="16"/>
                  </a:lnTo>
                  <a:lnTo>
                    <a:pt x="78" y="14"/>
                  </a:lnTo>
                  <a:lnTo>
                    <a:pt x="82" y="14"/>
                  </a:lnTo>
                  <a:lnTo>
                    <a:pt x="86" y="12"/>
                  </a:lnTo>
                  <a:lnTo>
                    <a:pt x="80" y="8"/>
                  </a:lnTo>
                  <a:lnTo>
                    <a:pt x="78" y="8"/>
                  </a:lnTo>
                  <a:lnTo>
                    <a:pt x="76" y="10"/>
                  </a:lnTo>
                  <a:lnTo>
                    <a:pt x="74" y="8"/>
                  </a:lnTo>
                  <a:lnTo>
                    <a:pt x="72" y="6"/>
                  </a:lnTo>
                  <a:lnTo>
                    <a:pt x="74" y="6"/>
                  </a:lnTo>
                  <a:lnTo>
                    <a:pt x="70" y="2"/>
                  </a:lnTo>
                  <a:lnTo>
                    <a:pt x="62" y="0"/>
                  </a:lnTo>
                  <a:lnTo>
                    <a:pt x="46" y="0"/>
                  </a:lnTo>
                  <a:lnTo>
                    <a:pt x="38" y="2"/>
                  </a:lnTo>
                  <a:lnTo>
                    <a:pt x="30" y="2"/>
                  </a:lnTo>
                  <a:lnTo>
                    <a:pt x="26" y="2"/>
                  </a:lnTo>
                  <a:lnTo>
                    <a:pt x="22" y="0"/>
                  </a:lnTo>
                  <a:lnTo>
                    <a:pt x="16" y="2"/>
                  </a:lnTo>
                  <a:lnTo>
                    <a:pt x="14" y="4"/>
                  </a:lnTo>
                  <a:lnTo>
                    <a:pt x="8" y="8"/>
                  </a:lnTo>
                  <a:lnTo>
                    <a:pt x="6" y="10"/>
                  </a:lnTo>
                  <a:lnTo>
                    <a:pt x="4" y="14"/>
                  </a:lnTo>
                  <a:lnTo>
                    <a:pt x="2" y="18"/>
                  </a:lnTo>
                  <a:lnTo>
                    <a:pt x="0" y="20"/>
                  </a:lnTo>
                  <a:lnTo>
                    <a:pt x="8" y="26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4" y="28"/>
                  </a:lnTo>
                  <a:lnTo>
                    <a:pt x="18" y="28"/>
                  </a:lnTo>
                  <a:lnTo>
                    <a:pt x="20" y="28"/>
                  </a:lnTo>
                  <a:lnTo>
                    <a:pt x="22" y="28"/>
                  </a:lnTo>
                  <a:lnTo>
                    <a:pt x="22" y="30"/>
                  </a:lnTo>
                  <a:lnTo>
                    <a:pt x="22" y="34"/>
                  </a:lnTo>
                  <a:lnTo>
                    <a:pt x="26" y="38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4" y="36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5" name="Freeform 868">
              <a:extLst>
                <a:ext uri="{FF2B5EF4-FFF2-40B4-BE49-F238E27FC236}">
                  <a16:creationId xmlns:a16="http://schemas.microsoft.com/office/drawing/2014/main" id="{5D910D90-97BC-4AB7-B75A-E2429FEBE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4425" y="4014788"/>
              <a:ext cx="50800" cy="28575"/>
            </a:xfrm>
            <a:custGeom>
              <a:avLst/>
              <a:gdLst/>
              <a:ahLst/>
              <a:cxnLst>
                <a:cxn ang="0">
                  <a:pos x="32" y="8"/>
                </a:cxn>
                <a:cxn ang="0">
                  <a:pos x="30" y="8"/>
                </a:cxn>
                <a:cxn ang="0">
                  <a:pos x="28" y="8"/>
                </a:cxn>
                <a:cxn ang="0">
                  <a:pos x="24" y="8"/>
                </a:cxn>
                <a:cxn ang="0">
                  <a:pos x="22" y="8"/>
                </a:cxn>
                <a:cxn ang="0">
                  <a:pos x="22" y="8"/>
                </a:cxn>
                <a:cxn ang="0">
                  <a:pos x="18" y="6"/>
                </a:cxn>
                <a:cxn ang="0">
                  <a:pos x="10" y="0"/>
                </a:cxn>
                <a:cxn ang="0">
                  <a:pos x="10" y="0"/>
                </a:cxn>
                <a:cxn ang="0">
                  <a:pos x="4" y="6"/>
                </a:cxn>
                <a:cxn ang="0">
                  <a:pos x="0" y="10"/>
                </a:cxn>
                <a:cxn ang="0">
                  <a:pos x="10" y="14"/>
                </a:cxn>
                <a:cxn ang="0">
                  <a:pos x="18" y="18"/>
                </a:cxn>
                <a:cxn ang="0">
                  <a:pos x="24" y="18"/>
                </a:cxn>
                <a:cxn ang="0">
                  <a:pos x="26" y="18"/>
                </a:cxn>
                <a:cxn ang="0">
                  <a:pos x="30" y="18"/>
                </a:cxn>
                <a:cxn ang="0">
                  <a:pos x="32" y="14"/>
                </a:cxn>
                <a:cxn ang="0">
                  <a:pos x="32" y="10"/>
                </a:cxn>
                <a:cxn ang="0">
                  <a:pos x="32" y="8"/>
                </a:cxn>
              </a:cxnLst>
              <a:rect l="0" t="0" r="r" b="b"/>
              <a:pathLst>
                <a:path w="32" h="18">
                  <a:moveTo>
                    <a:pt x="32" y="8"/>
                  </a:moveTo>
                  <a:lnTo>
                    <a:pt x="30" y="8"/>
                  </a:lnTo>
                  <a:lnTo>
                    <a:pt x="28" y="8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18" y="6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4" y="6"/>
                  </a:lnTo>
                  <a:lnTo>
                    <a:pt x="0" y="10"/>
                  </a:lnTo>
                  <a:lnTo>
                    <a:pt x="10" y="14"/>
                  </a:lnTo>
                  <a:lnTo>
                    <a:pt x="18" y="18"/>
                  </a:lnTo>
                  <a:lnTo>
                    <a:pt x="24" y="18"/>
                  </a:lnTo>
                  <a:lnTo>
                    <a:pt x="26" y="18"/>
                  </a:lnTo>
                  <a:lnTo>
                    <a:pt x="30" y="18"/>
                  </a:lnTo>
                  <a:lnTo>
                    <a:pt x="32" y="14"/>
                  </a:lnTo>
                  <a:lnTo>
                    <a:pt x="32" y="10"/>
                  </a:lnTo>
                  <a:lnTo>
                    <a:pt x="32" y="8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6" name="Freeform 889">
              <a:extLst>
                <a:ext uri="{FF2B5EF4-FFF2-40B4-BE49-F238E27FC236}">
                  <a16:creationId xmlns:a16="http://schemas.microsoft.com/office/drawing/2014/main" id="{E666C890-803C-4EF1-AC1B-F490A48683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6500" y="4087813"/>
              <a:ext cx="69850" cy="69850"/>
            </a:xfrm>
            <a:custGeom>
              <a:avLst/>
              <a:gdLst/>
              <a:ahLst/>
              <a:cxnLst>
                <a:cxn ang="0">
                  <a:pos x="44" y="30"/>
                </a:cxn>
                <a:cxn ang="0">
                  <a:pos x="40" y="28"/>
                </a:cxn>
                <a:cxn ang="0">
                  <a:pos x="40" y="26"/>
                </a:cxn>
                <a:cxn ang="0">
                  <a:pos x="40" y="22"/>
                </a:cxn>
                <a:cxn ang="0">
                  <a:pos x="44" y="22"/>
                </a:cxn>
                <a:cxn ang="0">
                  <a:pos x="36" y="14"/>
                </a:cxn>
                <a:cxn ang="0">
                  <a:pos x="32" y="8"/>
                </a:cxn>
                <a:cxn ang="0">
                  <a:pos x="30" y="6"/>
                </a:cxn>
                <a:cxn ang="0">
                  <a:pos x="30" y="4"/>
                </a:cxn>
                <a:cxn ang="0">
                  <a:pos x="28" y="6"/>
                </a:cxn>
                <a:cxn ang="0">
                  <a:pos x="24" y="6"/>
                </a:cxn>
                <a:cxn ang="0">
                  <a:pos x="22" y="4"/>
                </a:cxn>
                <a:cxn ang="0">
                  <a:pos x="20" y="2"/>
                </a:cxn>
                <a:cxn ang="0">
                  <a:pos x="18" y="2"/>
                </a:cxn>
                <a:cxn ang="0">
                  <a:pos x="14" y="4"/>
                </a:cxn>
                <a:cxn ang="0">
                  <a:pos x="10" y="2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2" y="4"/>
                </a:cxn>
                <a:cxn ang="0">
                  <a:pos x="2" y="6"/>
                </a:cxn>
                <a:cxn ang="0">
                  <a:pos x="4" y="8"/>
                </a:cxn>
                <a:cxn ang="0">
                  <a:pos x="2" y="8"/>
                </a:cxn>
                <a:cxn ang="0">
                  <a:pos x="0" y="10"/>
                </a:cxn>
                <a:cxn ang="0">
                  <a:pos x="0" y="12"/>
                </a:cxn>
                <a:cxn ang="0">
                  <a:pos x="8" y="20"/>
                </a:cxn>
                <a:cxn ang="0">
                  <a:pos x="10" y="22"/>
                </a:cxn>
                <a:cxn ang="0">
                  <a:pos x="14" y="18"/>
                </a:cxn>
                <a:cxn ang="0">
                  <a:pos x="18" y="20"/>
                </a:cxn>
                <a:cxn ang="0">
                  <a:pos x="20" y="22"/>
                </a:cxn>
                <a:cxn ang="0">
                  <a:pos x="26" y="26"/>
                </a:cxn>
                <a:cxn ang="0">
                  <a:pos x="30" y="32"/>
                </a:cxn>
                <a:cxn ang="0">
                  <a:pos x="30" y="36"/>
                </a:cxn>
                <a:cxn ang="0">
                  <a:pos x="30" y="36"/>
                </a:cxn>
                <a:cxn ang="0">
                  <a:pos x="36" y="38"/>
                </a:cxn>
                <a:cxn ang="0">
                  <a:pos x="34" y="36"/>
                </a:cxn>
                <a:cxn ang="0">
                  <a:pos x="32" y="34"/>
                </a:cxn>
                <a:cxn ang="0">
                  <a:pos x="36" y="36"/>
                </a:cxn>
                <a:cxn ang="0">
                  <a:pos x="40" y="44"/>
                </a:cxn>
                <a:cxn ang="0">
                  <a:pos x="40" y="34"/>
                </a:cxn>
                <a:cxn ang="0">
                  <a:pos x="44" y="30"/>
                </a:cxn>
              </a:cxnLst>
              <a:rect l="0" t="0" r="r" b="b"/>
              <a:pathLst>
                <a:path w="44" h="44">
                  <a:moveTo>
                    <a:pt x="44" y="30"/>
                  </a:moveTo>
                  <a:lnTo>
                    <a:pt x="40" y="28"/>
                  </a:lnTo>
                  <a:lnTo>
                    <a:pt x="40" y="26"/>
                  </a:lnTo>
                  <a:lnTo>
                    <a:pt x="40" y="22"/>
                  </a:lnTo>
                  <a:lnTo>
                    <a:pt x="44" y="22"/>
                  </a:lnTo>
                  <a:lnTo>
                    <a:pt x="36" y="14"/>
                  </a:lnTo>
                  <a:lnTo>
                    <a:pt x="32" y="8"/>
                  </a:lnTo>
                  <a:lnTo>
                    <a:pt x="30" y="6"/>
                  </a:lnTo>
                  <a:lnTo>
                    <a:pt x="30" y="4"/>
                  </a:lnTo>
                  <a:lnTo>
                    <a:pt x="28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4" y="4"/>
                  </a:lnTo>
                  <a:lnTo>
                    <a:pt x="10" y="2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6"/>
                  </a:lnTo>
                  <a:lnTo>
                    <a:pt x="4" y="8"/>
                  </a:lnTo>
                  <a:lnTo>
                    <a:pt x="2" y="8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8" y="20"/>
                  </a:lnTo>
                  <a:lnTo>
                    <a:pt x="10" y="22"/>
                  </a:lnTo>
                  <a:lnTo>
                    <a:pt x="14" y="18"/>
                  </a:lnTo>
                  <a:lnTo>
                    <a:pt x="18" y="20"/>
                  </a:lnTo>
                  <a:lnTo>
                    <a:pt x="20" y="22"/>
                  </a:lnTo>
                  <a:lnTo>
                    <a:pt x="26" y="26"/>
                  </a:lnTo>
                  <a:lnTo>
                    <a:pt x="30" y="32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6" y="38"/>
                  </a:lnTo>
                  <a:lnTo>
                    <a:pt x="34" y="36"/>
                  </a:lnTo>
                  <a:lnTo>
                    <a:pt x="32" y="34"/>
                  </a:lnTo>
                  <a:lnTo>
                    <a:pt x="36" y="36"/>
                  </a:lnTo>
                  <a:lnTo>
                    <a:pt x="40" y="44"/>
                  </a:lnTo>
                  <a:lnTo>
                    <a:pt x="40" y="34"/>
                  </a:lnTo>
                  <a:lnTo>
                    <a:pt x="44" y="3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7" name="Freeform 884">
              <a:extLst>
                <a:ext uri="{FF2B5EF4-FFF2-40B4-BE49-F238E27FC236}">
                  <a16:creationId xmlns:a16="http://schemas.microsoft.com/office/drawing/2014/main" id="{C39AD2E0-45DE-470F-BA15-2986C63F58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2550" y="4062413"/>
              <a:ext cx="263525" cy="355600"/>
            </a:xfrm>
            <a:custGeom>
              <a:avLst/>
              <a:gdLst/>
              <a:ahLst/>
              <a:cxnLst>
                <a:cxn ang="0">
                  <a:pos x="20" y="156"/>
                </a:cxn>
                <a:cxn ang="0">
                  <a:pos x="36" y="164"/>
                </a:cxn>
                <a:cxn ang="0">
                  <a:pos x="46" y="166"/>
                </a:cxn>
                <a:cxn ang="0">
                  <a:pos x="58" y="170"/>
                </a:cxn>
                <a:cxn ang="0">
                  <a:pos x="68" y="182"/>
                </a:cxn>
                <a:cxn ang="0">
                  <a:pos x="82" y="196"/>
                </a:cxn>
                <a:cxn ang="0">
                  <a:pos x="86" y="200"/>
                </a:cxn>
                <a:cxn ang="0">
                  <a:pos x="98" y="200"/>
                </a:cxn>
                <a:cxn ang="0">
                  <a:pos x="120" y="202"/>
                </a:cxn>
                <a:cxn ang="0">
                  <a:pos x="114" y="218"/>
                </a:cxn>
                <a:cxn ang="0">
                  <a:pos x="124" y="224"/>
                </a:cxn>
                <a:cxn ang="0">
                  <a:pos x="130" y="180"/>
                </a:cxn>
                <a:cxn ang="0">
                  <a:pos x="124" y="162"/>
                </a:cxn>
                <a:cxn ang="0">
                  <a:pos x="132" y="158"/>
                </a:cxn>
                <a:cxn ang="0">
                  <a:pos x="134" y="154"/>
                </a:cxn>
                <a:cxn ang="0">
                  <a:pos x="132" y="144"/>
                </a:cxn>
                <a:cxn ang="0">
                  <a:pos x="150" y="142"/>
                </a:cxn>
                <a:cxn ang="0">
                  <a:pos x="160" y="140"/>
                </a:cxn>
                <a:cxn ang="0">
                  <a:pos x="164" y="152"/>
                </a:cxn>
                <a:cxn ang="0">
                  <a:pos x="164" y="140"/>
                </a:cxn>
                <a:cxn ang="0">
                  <a:pos x="154" y="130"/>
                </a:cxn>
                <a:cxn ang="0">
                  <a:pos x="158" y="118"/>
                </a:cxn>
                <a:cxn ang="0">
                  <a:pos x="154" y="110"/>
                </a:cxn>
                <a:cxn ang="0">
                  <a:pos x="154" y="98"/>
                </a:cxn>
                <a:cxn ang="0">
                  <a:pos x="158" y="82"/>
                </a:cxn>
                <a:cxn ang="0">
                  <a:pos x="132" y="86"/>
                </a:cxn>
                <a:cxn ang="0">
                  <a:pos x="122" y="74"/>
                </a:cxn>
                <a:cxn ang="0">
                  <a:pos x="112" y="72"/>
                </a:cxn>
                <a:cxn ang="0">
                  <a:pos x="100" y="74"/>
                </a:cxn>
                <a:cxn ang="0">
                  <a:pos x="92" y="66"/>
                </a:cxn>
                <a:cxn ang="0">
                  <a:pos x="82" y="42"/>
                </a:cxn>
                <a:cxn ang="0">
                  <a:pos x="84" y="26"/>
                </a:cxn>
                <a:cxn ang="0">
                  <a:pos x="100" y="8"/>
                </a:cxn>
                <a:cxn ang="0">
                  <a:pos x="106" y="0"/>
                </a:cxn>
                <a:cxn ang="0">
                  <a:pos x="88" y="8"/>
                </a:cxn>
                <a:cxn ang="0">
                  <a:pos x="74" y="14"/>
                </a:cxn>
                <a:cxn ang="0">
                  <a:pos x="58" y="16"/>
                </a:cxn>
                <a:cxn ang="0">
                  <a:pos x="48" y="38"/>
                </a:cxn>
                <a:cxn ang="0">
                  <a:pos x="38" y="46"/>
                </a:cxn>
                <a:cxn ang="0">
                  <a:pos x="24" y="50"/>
                </a:cxn>
                <a:cxn ang="0">
                  <a:pos x="26" y="60"/>
                </a:cxn>
                <a:cxn ang="0">
                  <a:pos x="20" y="64"/>
                </a:cxn>
                <a:cxn ang="0">
                  <a:pos x="20" y="72"/>
                </a:cxn>
                <a:cxn ang="0">
                  <a:pos x="24" y="80"/>
                </a:cxn>
                <a:cxn ang="0">
                  <a:pos x="24" y="98"/>
                </a:cxn>
                <a:cxn ang="0">
                  <a:pos x="22" y="112"/>
                </a:cxn>
                <a:cxn ang="0">
                  <a:pos x="18" y="132"/>
                </a:cxn>
                <a:cxn ang="0">
                  <a:pos x="8" y="142"/>
                </a:cxn>
                <a:cxn ang="0">
                  <a:pos x="4" y="148"/>
                </a:cxn>
              </a:cxnLst>
              <a:rect l="0" t="0" r="r" b="b"/>
              <a:pathLst>
                <a:path w="166" h="224">
                  <a:moveTo>
                    <a:pt x="16" y="156"/>
                  </a:moveTo>
                  <a:lnTo>
                    <a:pt x="18" y="156"/>
                  </a:lnTo>
                  <a:lnTo>
                    <a:pt x="20" y="156"/>
                  </a:lnTo>
                  <a:lnTo>
                    <a:pt x="22" y="162"/>
                  </a:lnTo>
                  <a:lnTo>
                    <a:pt x="28" y="164"/>
                  </a:lnTo>
                  <a:lnTo>
                    <a:pt x="36" y="164"/>
                  </a:lnTo>
                  <a:lnTo>
                    <a:pt x="36" y="162"/>
                  </a:lnTo>
                  <a:lnTo>
                    <a:pt x="40" y="162"/>
                  </a:lnTo>
                  <a:lnTo>
                    <a:pt x="46" y="166"/>
                  </a:lnTo>
                  <a:lnTo>
                    <a:pt x="52" y="170"/>
                  </a:lnTo>
                  <a:lnTo>
                    <a:pt x="54" y="168"/>
                  </a:lnTo>
                  <a:lnTo>
                    <a:pt x="58" y="170"/>
                  </a:lnTo>
                  <a:lnTo>
                    <a:pt x="64" y="176"/>
                  </a:lnTo>
                  <a:lnTo>
                    <a:pt x="66" y="180"/>
                  </a:lnTo>
                  <a:lnTo>
                    <a:pt x="68" y="182"/>
                  </a:lnTo>
                  <a:lnTo>
                    <a:pt x="74" y="184"/>
                  </a:lnTo>
                  <a:lnTo>
                    <a:pt x="80" y="190"/>
                  </a:lnTo>
                  <a:lnTo>
                    <a:pt x="82" y="196"/>
                  </a:lnTo>
                  <a:lnTo>
                    <a:pt x="80" y="198"/>
                  </a:lnTo>
                  <a:lnTo>
                    <a:pt x="82" y="200"/>
                  </a:lnTo>
                  <a:lnTo>
                    <a:pt x="86" y="200"/>
                  </a:lnTo>
                  <a:lnTo>
                    <a:pt x="88" y="200"/>
                  </a:lnTo>
                  <a:lnTo>
                    <a:pt x="94" y="200"/>
                  </a:lnTo>
                  <a:lnTo>
                    <a:pt x="98" y="200"/>
                  </a:lnTo>
                  <a:lnTo>
                    <a:pt x="100" y="198"/>
                  </a:lnTo>
                  <a:lnTo>
                    <a:pt x="114" y="198"/>
                  </a:lnTo>
                  <a:lnTo>
                    <a:pt x="120" y="202"/>
                  </a:lnTo>
                  <a:lnTo>
                    <a:pt x="124" y="204"/>
                  </a:lnTo>
                  <a:lnTo>
                    <a:pt x="122" y="208"/>
                  </a:lnTo>
                  <a:lnTo>
                    <a:pt x="114" y="218"/>
                  </a:lnTo>
                  <a:lnTo>
                    <a:pt x="118" y="220"/>
                  </a:lnTo>
                  <a:lnTo>
                    <a:pt x="120" y="220"/>
                  </a:lnTo>
                  <a:lnTo>
                    <a:pt x="124" y="224"/>
                  </a:lnTo>
                  <a:lnTo>
                    <a:pt x="132" y="190"/>
                  </a:lnTo>
                  <a:lnTo>
                    <a:pt x="132" y="182"/>
                  </a:lnTo>
                  <a:lnTo>
                    <a:pt x="130" y="180"/>
                  </a:lnTo>
                  <a:lnTo>
                    <a:pt x="130" y="174"/>
                  </a:lnTo>
                  <a:lnTo>
                    <a:pt x="124" y="172"/>
                  </a:lnTo>
                  <a:lnTo>
                    <a:pt x="124" y="162"/>
                  </a:lnTo>
                  <a:lnTo>
                    <a:pt x="124" y="160"/>
                  </a:lnTo>
                  <a:lnTo>
                    <a:pt x="128" y="158"/>
                  </a:lnTo>
                  <a:lnTo>
                    <a:pt x="132" y="158"/>
                  </a:lnTo>
                  <a:lnTo>
                    <a:pt x="134" y="160"/>
                  </a:lnTo>
                  <a:lnTo>
                    <a:pt x="136" y="156"/>
                  </a:lnTo>
                  <a:lnTo>
                    <a:pt x="134" y="154"/>
                  </a:lnTo>
                  <a:lnTo>
                    <a:pt x="126" y="154"/>
                  </a:lnTo>
                  <a:lnTo>
                    <a:pt x="126" y="144"/>
                  </a:lnTo>
                  <a:lnTo>
                    <a:pt x="132" y="144"/>
                  </a:lnTo>
                  <a:lnTo>
                    <a:pt x="150" y="144"/>
                  </a:lnTo>
                  <a:lnTo>
                    <a:pt x="148" y="142"/>
                  </a:lnTo>
                  <a:lnTo>
                    <a:pt x="150" y="142"/>
                  </a:lnTo>
                  <a:lnTo>
                    <a:pt x="150" y="144"/>
                  </a:lnTo>
                  <a:lnTo>
                    <a:pt x="156" y="140"/>
                  </a:lnTo>
                  <a:lnTo>
                    <a:pt x="160" y="140"/>
                  </a:lnTo>
                  <a:lnTo>
                    <a:pt x="164" y="144"/>
                  </a:lnTo>
                  <a:lnTo>
                    <a:pt x="164" y="150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44"/>
                  </a:lnTo>
                  <a:lnTo>
                    <a:pt x="164" y="140"/>
                  </a:lnTo>
                  <a:lnTo>
                    <a:pt x="164" y="140"/>
                  </a:lnTo>
                  <a:lnTo>
                    <a:pt x="160" y="134"/>
                  </a:lnTo>
                  <a:lnTo>
                    <a:pt x="154" y="130"/>
                  </a:lnTo>
                  <a:lnTo>
                    <a:pt x="160" y="122"/>
                  </a:lnTo>
                  <a:lnTo>
                    <a:pt x="160" y="120"/>
                  </a:lnTo>
                  <a:lnTo>
                    <a:pt x="158" y="118"/>
                  </a:lnTo>
                  <a:lnTo>
                    <a:pt x="156" y="118"/>
                  </a:lnTo>
                  <a:lnTo>
                    <a:pt x="156" y="114"/>
                  </a:lnTo>
                  <a:lnTo>
                    <a:pt x="154" y="110"/>
                  </a:lnTo>
                  <a:lnTo>
                    <a:pt x="154" y="106"/>
                  </a:lnTo>
                  <a:lnTo>
                    <a:pt x="154" y="102"/>
                  </a:lnTo>
                  <a:lnTo>
                    <a:pt x="154" y="98"/>
                  </a:lnTo>
                  <a:lnTo>
                    <a:pt x="156" y="90"/>
                  </a:lnTo>
                  <a:lnTo>
                    <a:pt x="158" y="86"/>
                  </a:lnTo>
                  <a:lnTo>
                    <a:pt x="158" y="82"/>
                  </a:lnTo>
                  <a:lnTo>
                    <a:pt x="150" y="84"/>
                  </a:lnTo>
                  <a:lnTo>
                    <a:pt x="142" y="84"/>
                  </a:lnTo>
                  <a:lnTo>
                    <a:pt x="132" y="86"/>
                  </a:lnTo>
                  <a:lnTo>
                    <a:pt x="130" y="84"/>
                  </a:lnTo>
                  <a:lnTo>
                    <a:pt x="126" y="78"/>
                  </a:lnTo>
                  <a:lnTo>
                    <a:pt x="122" y="74"/>
                  </a:lnTo>
                  <a:lnTo>
                    <a:pt x="120" y="74"/>
                  </a:lnTo>
                  <a:lnTo>
                    <a:pt x="114" y="72"/>
                  </a:lnTo>
                  <a:lnTo>
                    <a:pt x="112" y="72"/>
                  </a:lnTo>
                  <a:lnTo>
                    <a:pt x="108" y="74"/>
                  </a:lnTo>
                  <a:lnTo>
                    <a:pt x="102" y="72"/>
                  </a:lnTo>
                  <a:lnTo>
                    <a:pt x="100" y="74"/>
                  </a:lnTo>
                  <a:lnTo>
                    <a:pt x="96" y="72"/>
                  </a:lnTo>
                  <a:lnTo>
                    <a:pt x="94" y="68"/>
                  </a:lnTo>
                  <a:lnTo>
                    <a:pt x="92" y="66"/>
                  </a:lnTo>
                  <a:lnTo>
                    <a:pt x="90" y="58"/>
                  </a:lnTo>
                  <a:lnTo>
                    <a:pt x="86" y="46"/>
                  </a:lnTo>
                  <a:lnTo>
                    <a:pt x="82" y="42"/>
                  </a:lnTo>
                  <a:lnTo>
                    <a:pt x="78" y="42"/>
                  </a:lnTo>
                  <a:lnTo>
                    <a:pt x="82" y="34"/>
                  </a:lnTo>
                  <a:lnTo>
                    <a:pt x="84" y="26"/>
                  </a:lnTo>
                  <a:lnTo>
                    <a:pt x="90" y="18"/>
                  </a:lnTo>
                  <a:lnTo>
                    <a:pt x="96" y="10"/>
                  </a:lnTo>
                  <a:lnTo>
                    <a:pt x="100" y="8"/>
                  </a:lnTo>
                  <a:lnTo>
                    <a:pt x="106" y="6"/>
                  </a:lnTo>
                  <a:lnTo>
                    <a:pt x="108" y="4"/>
                  </a:lnTo>
                  <a:lnTo>
                    <a:pt x="106" y="0"/>
                  </a:lnTo>
                  <a:lnTo>
                    <a:pt x="102" y="0"/>
                  </a:lnTo>
                  <a:lnTo>
                    <a:pt x="94" y="6"/>
                  </a:lnTo>
                  <a:lnTo>
                    <a:pt x="88" y="8"/>
                  </a:lnTo>
                  <a:lnTo>
                    <a:pt x="84" y="12"/>
                  </a:lnTo>
                  <a:lnTo>
                    <a:pt x="78" y="14"/>
                  </a:lnTo>
                  <a:lnTo>
                    <a:pt x="74" y="14"/>
                  </a:lnTo>
                  <a:lnTo>
                    <a:pt x="68" y="14"/>
                  </a:lnTo>
                  <a:lnTo>
                    <a:pt x="64" y="18"/>
                  </a:lnTo>
                  <a:lnTo>
                    <a:pt x="58" y="16"/>
                  </a:lnTo>
                  <a:lnTo>
                    <a:pt x="50" y="22"/>
                  </a:lnTo>
                  <a:lnTo>
                    <a:pt x="48" y="28"/>
                  </a:lnTo>
                  <a:lnTo>
                    <a:pt x="48" y="38"/>
                  </a:lnTo>
                  <a:lnTo>
                    <a:pt x="44" y="40"/>
                  </a:lnTo>
                  <a:lnTo>
                    <a:pt x="38" y="44"/>
                  </a:lnTo>
                  <a:lnTo>
                    <a:pt x="38" y="46"/>
                  </a:lnTo>
                  <a:lnTo>
                    <a:pt x="34" y="50"/>
                  </a:lnTo>
                  <a:lnTo>
                    <a:pt x="30" y="58"/>
                  </a:lnTo>
                  <a:lnTo>
                    <a:pt x="24" y="50"/>
                  </a:lnTo>
                  <a:lnTo>
                    <a:pt x="24" y="54"/>
                  </a:lnTo>
                  <a:lnTo>
                    <a:pt x="26" y="56"/>
                  </a:lnTo>
                  <a:lnTo>
                    <a:pt x="26" y="60"/>
                  </a:lnTo>
                  <a:lnTo>
                    <a:pt x="24" y="64"/>
                  </a:lnTo>
                  <a:lnTo>
                    <a:pt x="22" y="64"/>
                  </a:lnTo>
                  <a:lnTo>
                    <a:pt x="20" y="64"/>
                  </a:lnTo>
                  <a:lnTo>
                    <a:pt x="18" y="66"/>
                  </a:lnTo>
                  <a:lnTo>
                    <a:pt x="16" y="70"/>
                  </a:lnTo>
                  <a:lnTo>
                    <a:pt x="20" y="72"/>
                  </a:lnTo>
                  <a:lnTo>
                    <a:pt x="20" y="74"/>
                  </a:lnTo>
                  <a:lnTo>
                    <a:pt x="24" y="78"/>
                  </a:lnTo>
                  <a:lnTo>
                    <a:pt x="24" y="80"/>
                  </a:lnTo>
                  <a:lnTo>
                    <a:pt x="22" y="84"/>
                  </a:lnTo>
                  <a:lnTo>
                    <a:pt x="22" y="90"/>
                  </a:lnTo>
                  <a:lnTo>
                    <a:pt x="24" y="98"/>
                  </a:lnTo>
                  <a:lnTo>
                    <a:pt x="24" y="106"/>
                  </a:lnTo>
                  <a:lnTo>
                    <a:pt x="26" y="110"/>
                  </a:lnTo>
                  <a:lnTo>
                    <a:pt x="22" y="112"/>
                  </a:lnTo>
                  <a:lnTo>
                    <a:pt x="24" y="116"/>
                  </a:lnTo>
                  <a:lnTo>
                    <a:pt x="22" y="126"/>
                  </a:lnTo>
                  <a:lnTo>
                    <a:pt x="18" y="132"/>
                  </a:lnTo>
                  <a:lnTo>
                    <a:pt x="12" y="134"/>
                  </a:lnTo>
                  <a:lnTo>
                    <a:pt x="6" y="138"/>
                  </a:lnTo>
                  <a:lnTo>
                    <a:pt x="8" y="142"/>
                  </a:lnTo>
                  <a:lnTo>
                    <a:pt x="4" y="144"/>
                  </a:lnTo>
                  <a:lnTo>
                    <a:pt x="0" y="146"/>
                  </a:lnTo>
                  <a:lnTo>
                    <a:pt x="4" y="148"/>
                  </a:lnTo>
                  <a:lnTo>
                    <a:pt x="10" y="152"/>
                  </a:lnTo>
                  <a:lnTo>
                    <a:pt x="16" y="156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8" name="Freeform 907">
              <a:extLst>
                <a:ext uri="{FF2B5EF4-FFF2-40B4-BE49-F238E27FC236}">
                  <a16:creationId xmlns:a16="http://schemas.microsoft.com/office/drawing/2014/main" id="{0093F35D-B06B-4E7D-B3B5-722B5F942A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000" y="4122738"/>
              <a:ext cx="123825" cy="50800"/>
            </a:xfrm>
            <a:custGeom>
              <a:avLst/>
              <a:gdLst/>
              <a:ahLst/>
              <a:cxnLst/>
              <a:rect l="l" t="t" r="r" b="b"/>
              <a:pathLst>
                <a:path w="123825" h="50800">
                  <a:moveTo>
                    <a:pt x="25400" y="41275"/>
                  </a:moveTo>
                  <a:lnTo>
                    <a:pt x="28575" y="47625"/>
                  </a:lnTo>
                  <a:lnTo>
                    <a:pt x="25400" y="47625"/>
                  </a:lnTo>
                  <a:close/>
                  <a:moveTo>
                    <a:pt x="0" y="0"/>
                  </a:moveTo>
                  <a:lnTo>
                    <a:pt x="6350" y="0"/>
                  </a:lnTo>
                  <a:lnTo>
                    <a:pt x="9525" y="0"/>
                  </a:lnTo>
                  <a:lnTo>
                    <a:pt x="12700" y="6350"/>
                  </a:lnTo>
                  <a:lnTo>
                    <a:pt x="19050" y="12700"/>
                  </a:lnTo>
                  <a:lnTo>
                    <a:pt x="31750" y="15875"/>
                  </a:lnTo>
                  <a:lnTo>
                    <a:pt x="47625" y="12700"/>
                  </a:lnTo>
                  <a:lnTo>
                    <a:pt x="63500" y="6350"/>
                  </a:lnTo>
                  <a:lnTo>
                    <a:pt x="66675" y="3175"/>
                  </a:lnTo>
                  <a:lnTo>
                    <a:pt x="82550" y="0"/>
                  </a:lnTo>
                  <a:lnTo>
                    <a:pt x="95250" y="3175"/>
                  </a:lnTo>
                  <a:lnTo>
                    <a:pt x="104775" y="6350"/>
                  </a:lnTo>
                  <a:lnTo>
                    <a:pt x="111125" y="12700"/>
                  </a:lnTo>
                  <a:lnTo>
                    <a:pt x="120650" y="19050"/>
                  </a:lnTo>
                  <a:lnTo>
                    <a:pt x="120650" y="25400"/>
                  </a:lnTo>
                  <a:lnTo>
                    <a:pt x="123825" y="28575"/>
                  </a:lnTo>
                  <a:lnTo>
                    <a:pt x="123825" y="34925"/>
                  </a:lnTo>
                  <a:lnTo>
                    <a:pt x="120650" y="41275"/>
                  </a:lnTo>
                  <a:lnTo>
                    <a:pt x="117475" y="41275"/>
                  </a:lnTo>
                  <a:lnTo>
                    <a:pt x="114300" y="41275"/>
                  </a:lnTo>
                  <a:lnTo>
                    <a:pt x="111125" y="44450"/>
                  </a:lnTo>
                  <a:lnTo>
                    <a:pt x="107950" y="50800"/>
                  </a:lnTo>
                  <a:lnTo>
                    <a:pt x="104775" y="44450"/>
                  </a:lnTo>
                  <a:lnTo>
                    <a:pt x="101600" y="38100"/>
                  </a:lnTo>
                  <a:lnTo>
                    <a:pt x="101600" y="31750"/>
                  </a:lnTo>
                  <a:lnTo>
                    <a:pt x="107950" y="28575"/>
                  </a:lnTo>
                  <a:lnTo>
                    <a:pt x="104775" y="22225"/>
                  </a:lnTo>
                  <a:lnTo>
                    <a:pt x="98425" y="22225"/>
                  </a:lnTo>
                  <a:lnTo>
                    <a:pt x="95250" y="19050"/>
                  </a:lnTo>
                  <a:lnTo>
                    <a:pt x="88900" y="15875"/>
                  </a:lnTo>
                  <a:lnTo>
                    <a:pt x="85725" y="9525"/>
                  </a:lnTo>
                  <a:lnTo>
                    <a:pt x="79375" y="9525"/>
                  </a:lnTo>
                  <a:lnTo>
                    <a:pt x="73025" y="12700"/>
                  </a:lnTo>
                  <a:lnTo>
                    <a:pt x="69850" y="15875"/>
                  </a:lnTo>
                  <a:lnTo>
                    <a:pt x="66675" y="22225"/>
                  </a:lnTo>
                  <a:lnTo>
                    <a:pt x="60325" y="25400"/>
                  </a:lnTo>
                  <a:lnTo>
                    <a:pt x="53975" y="28575"/>
                  </a:lnTo>
                  <a:lnTo>
                    <a:pt x="53975" y="34925"/>
                  </a:lnTo>
                  <a:lnTo>
                    <a:pt x="63500" y="44450"/>
                  </a:lnTo>
                  <a:lnTo>
                    <a:pt x="53975" y="47625"/>
                  </a:lnTo>
                  <a:lnTo>
                    <a:pt x="44450" y="47625"/>
                  </a:lnTo>
                  <a:lnTo>
                    <a:pt x="41275" y="44450"/>
                  </a:lnTo>
                  <a:lnTo>
                    <a:pt x="41275" y="41275"/>
                  </a:lnTo>
                  <a:lnTo>
                    <a:pt x="38100" y="41275"/>
                  </a:lnTo>
                  <a:lnTo>
                    <a:pt x="31750" y="41275"/>
                  </a:lnTo>
                  <a:lnTo>
                    <a:pt x="28575" y="34925"/>
                  </a:lnTo>
                  <a:lnTo>
                    <a:pt x="15875" y="28575"/>
                  </a:lnTo>
                  <a:lnTo>
                    <a:pt x="6350" y="28575"/>
                  </a:lnTo>
                  <a:lnTo>
                    <a:pt x="3175" y="28575"/>
                  </a:lnTo>
                  <a:lnTo>
                    <a:pt x="0" y="34925"/>
                  </a:lnTo>
                  <a:lnTo>
                    <a:pt x="0" y="19050"/>
                  </a:lnTo>
                  <a:lnTo>
                    <a:pt x="6350" y="12700"/>
                  </a:lnTo>
                  <a:lnTo>
                    <a:pt x="0" y="9525"/>
                  </a:lnTo>
                  <a:lnTo>
                    <a:pt x="0" y="635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9" name="Freeform 962">
              <a:extLst>
                <a:ext uri="{FF2B5EF4-FFF2-40B4-BE49-F238E27FC236}">
                  <a16:creationId xmlns:a16="http://schemas.microsoft.com/office/drawing/2014/main" id="{9F47FE89-79CF-4773-9A5A-5FD9B1331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7200" y="4094163"/>
              <a:ext cx="19050" cy="19050"/>
            </a:xfrm>
            <a:custGeom>
              <a:avLst/>
              <a:gdLst/>
              <a:ahLst/>
              <a:cxnLst>
                <a:cxn ang="0">
                  <a:pos x="4" y="12"/>
                </a:cxn>
                <a:cxn ang="0">
                  <a:pos x="10" y="10"/>
                </a:cxn>
                <a:cxn ang="0">
                  <a:pos x="10" y="4"/>
                </a:cxn>
                <a:cxn ang="0">
                  <a:pos x="12" y="2"/>
                </a:cxn>
                <a:cxn ang="0">
                  <a:pos x="10" y="0"/>
                </a:cxn>
                <a:cxn ang="0">
                  <a:pos x="6" y="2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4" y="6"/>
                </a:cxn>
                <a:cxn ang="0">
                  <a:pos x="4" y="8"/>
                </a:cxn>
                <a:cxn ang="0">
                  <a:pos x="0" y="10"/>
                </a:cxn>
                <a:cxn ang="0">
                  <a:pos x="4" y="12"/>
                </a:cxn>
              </a:cxnLst>
              <a:rect l="0" t="0" r="r" b="b"/>
              <a:pathLst>
                <a:path w="12" h="12">
                  <a:moveTo>
                    <a:pt x="4" y="12"/>
                  </a:moveTo>
                  <a:lnTo>
                    <a:pt x="10" y="10"/>
                  </a:lnTo>
                  <a:lnTo>
                    <a:pt x="10" y="4"/>
                  </a:lnTo>
                  <a:lnTo>
                    <a:pt x="12" y="2"/>
                  </a:lnTo>
                  <a:lnTo>
                    <a:pt x="10" y="0"/>
                  </a:lnTo>
                  <a:lnTo>
                    <a:pt x="6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6"/>
                  </a:lnTo>
                  <a:lnTo>
                    <a:pt x="4" y="8"/>
                  </a:lnTo>
                  <a:lnTo>
                    <a:pt x="0" y="10"/>
                  </a:lnTo>
                  <a:lnTo>
                    <a:pt x="4" y="12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0" name="Freeform 987">
              <a:extLst>
                <a:ext uri="{FF2B5EF4-FFF2-40B4-BE49-F238E27FC236}">
                  <a16:creationId xmlns:a16="http://schemas.microsoft.com/office/drawing/2014/main" id="{7B5E8ED0-5FF2-42F0-B578-F824499B40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6375" y="4065588"/>
              <a:ext cx="288925" cy="247650"/>
            </a:xfrm>
            <a:custGeom>
              <a:avLst/>
              <a:gdLst/>
              <a:ahLst/>
              <a:cxnLst/>
              <a:rect l="l" t="t" r="r" b="b"/>
              <a:pathLst>
                <a:path w="288925" h="247650">
                  <a:moveTo>
                    <a:pt x="203200" y="22225"/>
                  </a:moveTo>
                  <a:lnTo>
                    <a:pt x="206375" y="25400"/>
                  </a:lnTo>
                  <a:lnTo>
                    <a:pt x="203200" y="28575"/>
                  </a:lnTo>
                  <a:lnTo>
                    <a:pt x="200025" y="28575"/>
                  </a:lnTo>
                  <a:lnTo>
                    <a:pt x="193675" y="25400"/>
                  </a:lnTo>
                  <a:lnTo>
                    <a:pt x="196850" y="25400"/>
                  </a:lnTo>
                  <a:close/>
                  <a:moveTo>
                    <a:pt x="73025" y="0"/>
                  </a:moveTo>
                  <a:lnTo>
                    <a:pt x="79375" y="6350"/>
                  </a:lnTo>
                  <a:lnTo>
                    <a:pt x="82550" y="15875"/>
                  </a:lnTo>
                  <a:lnTo>
                    <a:pt x="88900" y="15875"/>
                  </a:lnTo>
                  <a:lnTo>
                    <a:pt x="101600" y="19050"/>
                  </a:lnTo>
                  <a:lnTo>
                    <a:pt x="107950" y="28575"/>
                  </a:lnTo>
                  <a:lnTo>
                    <a:pt x="114300" y="38100"/>
                  </a:lnTo>
                  <a:lnTo>
                    <a:pt x="123825" y="38100"/>
                  </a:lnTo>
                  <a:lnTo>
                    <a:pt x="139700" y="34925"/>
                  </a:lnTo>
                  <a:lnTo>
                    <a:pt x="146050" y="34925"/>
                  </a:lnTo>
                  <a:lnTo>
                    <a:pt x="152400" y="34925"/>
                  </a:lnTo>
                  <a:lnTo>
                    <a:pt x="158750" y="38100"/>
                  </a:lnTo>
                  <a:lnTo>
                    <a:pt x="161925" y="41275"/>
                  </a:lnTo>
                  <a:lnTo>
                    <a:pt x="174625" y="44450"/>
                  </a:lnTo>
                  <a:lnTo>
                    <a:pt x="187325" y="44450"/>
                  </a:lnTo>
                  <a:lnTo>
                    <a:pt x="200025" y="38100"/>
                  </a:lnTo>
                  <a:lnTo>
                    <a:pt x="209550" y="38100"/>
                  </a:lnTo>
                  <a:lnTo>
                    <a:pt x="196850" y="34925"/>
                  </a:lnTo>
                  <a:lnTo>
                    <a:pt x="219075" y="31750"/>
                  </a:lnTo>
                  <a:lnTo>
                    <a:pt x="231775" y="31750"/>
                  </a:lnTo>
                  <a:lnTo>
                    <a:pt x="241300" y="34925"/>
                  </a:lnTo>
                  <a:lnTo>
                    <a:pt x="238125" y="34925"/>
                  </a:lnTo>
                  <a:lnTo>
                    <a:pt x="234950" y="34925"/>
                  </a:lnTo>
                  <a:lnTo>
                    <a:pt x="228600" y="34925"/>
                  </a:lnTo>
                  <a:lnTo>
                    <a:pt x="228600" y="38100"/>
                  </a:lnTo>
                  <a:lnTo>
                    <a:pt x="234950" y="47625"/>
                  </a:lnTo>
                  <a:lnTo>
                    <a:pt x="234950" y="50800"/>
                  </a:lnTo>
                  <a:lnTo>
                    <a:pt x="238125" y="53975"/>
                  </a:lnTo>
                  <a:lnTo>
                    <a:pt x="241300" y="57150"/>
                  </a:lnTo>
                  <a:lnTo>
                    <a:pt x="244475" y="50800"/>
                  </a:lnTo>
                  <a:lnTo>
                    <a:pt x="247650" y="50800"/>
                  </a:lnTo>
                  <a:lnTo>
                    <a:pt x="250825" y="53975"/>
                  </a:lnTo>
                  <a:lnTo>
                    <a:pt x="250825" y="57150"/>
                  </a:lnTo>
                  <a:lnTo>
                    <a:pt x="254000" y="53975"/>
                  </a:lnTo>
                  <a:lnTo>
                    <a:pt x="257175" y="53975"/>
                  </a:lnTo>
                  <a:lnTo>
                    <a:pt x="263525" y="57150"/>
                  </a:lnTo>
                  <a:lnTo>
                    <a:pt x="273050" y="63500"/>
                  </a:lnTo>
                  <a:lnTo>
                    <a:pt x="266700" y="66675"/>
                  </a:lnTo>
                  <a:lnTo>
                    <a:pt x="263525" y="73025"/>
                  </a:lnTo>
                  <a:lnTo>
                    <a:pt x="257175" y="76200"/>
                  </a:lnTo>
                  <a:lnTo>
                    <a:pt x="254000" y="79375"/>
                  </a:lnTo>
                  <a:lnTo>
                    <a:pt x="260350" y="82550"/>
                  </a:lnTo>
                  <a:lnTo>
                    <a:pt x="263525" y="82550"/>
                  </a:lnTo>
                  <a:lnTo>
                    <a:pt x="269875" y="79375"/>
                  </a:lnTo>
                  <a:lnTo>
                    <a:pt x="276225" y="79375"/>
                  </a:lnTo>
                  <a:lnTo>
                    <a:pt x="282575" y="79375"/>
                  </a:lnTo>
                  <a:lnTo>
                    <a:pt x="288925" y="79375"/>
                  </a:lnTo>
                  <a:lnTo>
                    <a:pt x="288925" y="88900"/>
                  </a:lnTo>
                  <a:lnTo>
                    <a:pt x="282575" y="95250"/>
                  </a:lnTo>
                  <a:lnTo>
                    <a:pt x="279400" y="95250"/>
                  </a:lnTo>
                  <a:lnTo>
                    <a:pt x="276225" y="104775"/>
                  </a:lnTo>
                  <a:lnTo>
                    <a:pt x="279400" y="107950"/>
                  </a:lnTo>
                  <a:lnTo>
                    <a:pt x="279400" y="114300"/>
                  </a:lnTo>
                  <a:lnTo>
                    <a:pt x="269875" y="117475"/>
                  </a:lnTo>
                  <a:lnTo>
                    <a:pt x="263525" y="120650"/>
                  </a:lnTo>
                  <a:lnTo>
                    <a:pt x="263525" y="130175"/>
                  </a:lnTo>
                  <a:lnTo>
                    <a:pt x="260350" y="136525"/>
                  </a:lnTo>
                  <a:lnTo>
                    <a:pt x="263525" y="139700"/>
                  </a:lnTo>
                  <a:lnTo>
                    <a:pt x="273050" y="152400"/>
                  </a:lnTo>
                  <a:lnTo>
                    <a:pt x="276225" y="158750"/>
                  </a:lnTo>
                  <a:lnTo>
                    <a:pt x="266700" y="168275"/>
                  </a:lnTo>
                  <a:lnTo>
                    <a:pt x="254000" y="171450"/>
                  </a:lnTo>
                  <a:lnTo>
                    <a:pt x="244475" y="174625"/>
                  </a:lnTo>
                  <a:lnTo>
                    <a:pt x="241300" y="174625"/>
                  </a:lnTo>
                  <a:lnTo>
                    <a:pt x="238125" y="174625"/>
                  </a:lnTo>
                  <a:lnTo>
                    <a:pt x="231775" y="177800"/>
                  </a:lnTo>
                  <a:lnTo>
                    <a:pt x="228600" y="184150"/>
                  </a:lnTo>
                  <a:lnTo>
                    <a:pt x="225425" y="184150"/>
                  </a:lnTo>
                  <a:lnTo>
                    <a:pt x="215900" y="177800"/>
                  </a:lnTo>
                  <a:lnTo>
                    <a:pt x="203200" y="177800"/>
                  </a:lnTo>
                  <a:lnTo>
                    <a:pt x="200025" y="177800"/>
                  </a:lnTo>
                  <a:lnTo>
                    <a:pt x="193675" y="174625"/>
                  </a:lnTo>
                  <a:lnTo>
                    <a:pt x="184150" y="171450"/>
                  </a:lnTo>
                  <a:lnTo>
                    <a:pt x="190500" y="177800"/>
                  </a:lnTo>
                  <a:lnTo>
                    <a:pt x="193675" y="187325"/>
                  </a:lnTo>
                  <a:lnTo>
                    <a:pt x="196850" y="190500"/>
                  </a:lnTo>
                  <a:lnTo>
                    <a:pt x="203200" y="206375"/>
                  </a:lnTo>
                  <a:lnTo>
                    <a:pt x="206375" y="209550"/>
                  </a:lnTo>
                  <a:lnTo>
                    <a:pt x="212725" y="209550"/>
                  </a:lnTo>
                  <a:lnTo>
                    <a:pt x="215900" y="212725"/>
                  </a:lnTo>
                  <a:lnTo>
                    <a:pt x="215900" y="215900"/>
                  </a:lnTo>
                  <a:lnTo>
                    <a:pt x="203200" y="222250"/>
                  </a:lnTo>
                  <a:lnTo>
                    <a:pt x="193675" y="231775"/>
                  </a:lnTo>
                  <a:lnTo>
                    <a:pt x="190500" y="231775"/>
                  </a:lnTo>
                  <a:lnTo>
                    <a:pt x="184150" y="234950"/>
                  </a:lnTo>
                  <a:lnTo>
                    <a:pt x="177800" y="241300"/>
                  </a:lnTo>
                  <a:lnTo>
                    <a:pt x="171450" y="247650"/>
                  </a:lnTo>
                  <a:lnTo>
                    <a:pt x="158750" y="247650"/>
                  </a:lnTo>
                  <a:lnTo>
                    <a:pt x="149225" y="244475"/>
                  </a:lnTo>
                  <a:lnTo>
                    <a:pt x="139700" y="238125"/>
                  </a:lnTo>
                  <a:lnTo>
                    <a:pt x="136525" y="225425"/>
                  </a:lnTo>
                  <a:lnTo>
                    <a:pt x="136525" y="219075"/>
                  </a:lnTo>
                  <a:lnTo>
                    <a:pt x="130175" y="209550"/>
                  </a:lnTo>
                  <a:lnTo>
                    <a:pt x="120650" y="203200"/>
                  </a:lnTo>
                  <a:lnTo>
                    <a:pt x="130175" y="190500"/>
                  </a:lnTo>
                  <a:lnTo>
                    <a:pt x="130175" y="187325"/>
                  </a:lnTo>
                  <a:lnTo>
                    <a:pt x="127000" y="184150"/>
                  </a:lnTo>
                  <a:lnTo>
                    <a:pt x="123825" y="184150"/>
                  </a:lnTo>
                  <a:lnTo>
                    <a:pt x="123825" y="177800"/>
                  </a:lnTo>
                  <a:lnTo>
                    <a:pt x="120650" y="171450"/>
                  </a:lnTo>
                  <a:lnTo>
                    <a:pt x="120650" y="165100"/>
                  </a:lnTo>
                  <a:lnTo>
                    <a:pt x="120650" y="158750"/>
                  </a:lnTo>
                  <a:lnTo>
                    <a:pt x="120650" y="152400"/>
                  </a:lnTo>
                  <a:lnTo>
                    <a:pt x="123825" y="139700"/>
                  </a:lnTo>
                  <a:lnTo>
                    <a:pt x="127000" y="133350"/>
                  </a:lnTo>
                  <a:lnTo>
                    <a:pt x="127000" y="127000"/>
                  </a:lnTo>
                  <a:lnTo>
                    <a:pt x="114300" y="130175"/>
                  </a:lnTo>
                  <a:lnTo>
                    <a:pt x="101600" y="130175"/>
                  </a:lnTo>
                  <a:lnTo>
                    <a:pt x="85725" y="133350"/>
                  </a:lnTo>
                  <a:lnTo>
                    <a:pt x="82550" y="130175"/>
                  </a:lnTo>
                  <a:lnTo>
                    <a:pt x="76200" y="120650"/>
                  </a:lnTo>
                  <a:lnTo>
                    <a:pt x="69850" y="114300"/>
                  </a:lnTo>
                  <a:lnTo>
                    <a:pt x="66675" y="114300"/>
                  </a:lnTo>
                  <a:lnTo>
                    <a:pt x="57150" y="111125"/>
                  </a:lnTo>
                  <a:lnTo>
                    <a:pt x="53975" y="111125"/>
                  </a:lnTo>
                  <a:lnTo>
                    <a:pt x="47625" y="114300"/>
                  </a:lnTo>
                  <a:lnTo>
                    <a:pt x="38100" y="111125"/>
                  </a:lnTo>
                  <a:lnTo>
                    <a:pt x="34925" y="114300"/>
                  </a:lnTo>
                  <a:lnTo>
                    <a:pt x="28575" y="111125"/>
                  </a:lnTo>
                  <a:lnTo>
                    <a:pt x="25400" y="104775"/>
                  </a:lnTo>
                  <a:lnTo>
                    <a:pt x="22225" y="101600"/>
                  </a:lnTo>
                  <a:lnTo>
                    <a:pt x="19050" y="88900"/>
                  </a:lnTo>
                  <a:lnTo>
                    <a:pt x="12700" y="69850"/>
                  </a:lnTo>
                  <a:lnTo>
                    <a:pt x="6350" y="63500"/>
                  </a:lnTo>
                  <a:lnTo>
                    <a:pt x="0" y="63500"/>
                  </a:lnTo>
                  <a:lnTo>
                    <a:pt x="6350" y="50800"/>
                  </a:lnTo>
                  <a:lnTo>
                    <a:pt x="9525" y="38100"/>
                  </a:lnTo>
                  <a:lnTo>
                    <a:pt x="19050" y="25400"/>
                  </a:lnTo>
                  <a:lnTo>
                    <a:pt x="28575" y="12700"/>
                  </a:lnTo>
                  <a:lnTo>
                    <a:pt x="34925" y="9525"/>
                  </a:lnTo>
                  <a:lnTo>
                    <a:pt x="44450" y="6350"/>
                  </a:lnTo>
                  <a:lnTo>
                    <a:pt x="31750" y="12700"/>
                  </a:lnTo>
                  <a:lnTo>
                    <a:pt x="31750" y="22225"/>
                  </a:lnTo>
                  <a:lnTo>
                    <a:pt x="38100" y="31750"/>
                  </a:lnTo>
                  <a:lnTo>
                    <a:pt x="34925" y="41275"/>
                  </a:lnTo>
                  <a:lnTo>
                    <a:pt x="28575" y="50800"/>
                  </a:lnTo>
                  <a:lnTo>
                    <a:pt x="28575" y="57150"/>
                  </a:lnTo>
                  <a:lnTo>
                    <a:pt x="31750" y="60325"/>
                  </a:lnTo>
                  <a:lnTo>
                    <a:pt x="34925" y="63500"/>
                  </a:lnTo>
                  <a:lnTo>
                    <a:pt x="34925" y="66675"/>
                  </a:lnTo>
                  <a:lnTo>
                    <a:pt x="44450" y="66675"/>
                  </a:lnTo>
                  <a:lnTo>
                    <a:pt x="50800" y="57150"/>
                  </a:lnTo>
                  <a:lnTo>
                    <a:pt x="41275" y="34925"/>
                  </a:lnTo>
                  <a:lnTo>
                    <a:pt x="44450" y="25400"/>
                  </a:lnTo>
                  <a:lnTo>
                    <a:pt x="53975" y="22225"/>
                  </a:lnTo>
                  <a:lnTo>
                    <a:pt x="66675" y="15875"/>
                  </a:lnTo>
                  <a:lnTo>
                    <a:pt x="73025" y="15875"/>
                  </a:lnTo>
                  <a:lnTo>
                    <a:pt x="76200" y="15875"/>
                  </a:lnTo>
                  <a:lnTo>
                    <a:pt x="76200" y="12700"/>
                  </a:lnTo>
                  <a:lnTo>
                    <a:pt x="73025" y="12700"/>
                  </a:lnTo>
                  <a:lnTo>
                    <a:pt x="66675" y="952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1" name="Freeform 870">
              <a:extLst>
                <a:ext uri="{FF2B5EF4-FFF2-40B4-BE49-F238E27FC236}">
                  <a16:creationId xmlns:a16="http://schemas.microsoft.com/office/drawing/2014/main" id="{63D9B552-3C18-4A4C-A29B-722782034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2775" y="4205288"/>
              <a:ext cx="63500" cy="76200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4" y="26"/>
                </a:cxn>
                <a:cxn ang="0">
                  <a:pos x="8" y="30"/>
                </a:cxn>
                <a:cxn ang="0">
                  <a:pos x="6" y="36"/>
                </a:cxn>
                <a:cxn ang="0">
                  <a:pos x="4" y="42"/>
                </a:cxn>
                <a:cxn ang="0">
                  <a:pos x="0" y="46"/>
                </a:cxn>
                <a:cxn ang="0">
                  <a:pos x="4" y="48"/>
                </a:cxn>
                <a:cxn ang="0">
                  <a:pos x="8" y="48"/>
                </a:cxn>
                <a:cxn ang="0">
                  <a:pos x="16" y="46"/>
                </a:cxn>
                <a:cxn ang="0">
                  <a:pos x="18" y="48"/>
                </a:cxn>
                <a:cxn ang="0">
                  <a:pos x="22" y="48"/>
                </a:cxn>
                <a:cxn ang="0">
                  <a:pos x="26" y="46"/>
                </a:cxn>
                <a:cxn ang="0">
                  <a:pos x="28" y="42"/>
                </a:cxn>
                <a:cxn ang="0">
                  <a:pos x="26" y="42"/>
                </a:cxn>
                <a:cxn ang="0">
                  <a:pos x="28" y="40"/>
                </a:cxn>
                <a:cxn ang="0">
                  <a:pos x="34" y="30"/>
                </a:cxn>
                <a:cxn ang="0">
                  <a:pos x="38" y="24"/>
                </a:cxn>
                <a:cxn ang="0">
                  <a:pos x="40" y="24"/>
                </a:cxn>
                <a:cxn ang="0">
                  <a:pos x="38" y="18"/>
                </a:cxn>
                <a:cxn ang="0">
                  <a:pos x="36" y="14"/>
                </a:cxn>
                <a:cxn ang="0">
                  <a:pos x="34" y="14"/>
                </a:cxn>
                <a:cxn ang="0">
                  <a:pos x="22" y="4"/>
                </a:cxn>
                <a:cxn ang="0">
                  <a:pos x="8" y="0"/>
                </a:cxn>
                <a:cxn ang="0">
                  <a:pos x="4" y="6"/>
                </a:cxn>
                <a:cxn ang="0">
                  <a:pos x="0" y="12"/>
                </a:cxn>
              </a:cxnLst>
              <a:rect l="0" t="0" r="r" b="b"/>
              <a:pathLst>
                <a:path w="40" h="48">
                  <a:moveTo>
                    <a:pt x="0" y="12"/>
                  </a:moveTo>
                  <a:lnTo>
                    <a:pt x="4" y="26"/>
                  </a:lnTo>
                  <a:lnTo>
                    <a:pt x="8" y="30"/>
                  </a:lnTo>
                  <a:lnTo>
                    <a:pt x="6" y="36"/>
                  </a:lnTo>
                  <a:lnTo>
                    <a:pt x="4" y="42"/>
                  </a:lnTo>
                  <a:lnTo>
                    <a:pt x="0" y="46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16" y="46"/>
                  </a:lnTo>
                  <a:lnTo>
                    <a:pt x="18" y="48"/>
                  </a:lnTo>
                  <a:lnTo>
                    <a:pt x="22" y="48"/>
                  </a:lnTo>
                  <a:lnTo>
                    <a:pt x="26" y="46"/>
                  </a:lnTo>
                  <a:lnTo>
                    <a:pt x="28" y="42"/>
                  </a:lnTo>
                  <a:lnTo>
                    <a:pt x="26" y="42"/>
                  </a:lnTo>
                  <a:lnTo>
                    <a:pt x="28" y="40"/>
                  </a:lnTo>
                  <a:lnTo>
                    <a:pt x="34" y="30"/>
                  </a:lnTo>
                  <a:lnTo>
                    <a:pt x="38" y="24"/>
                  </a:lnTo>
                  <a:lnTo>
                    <a:pt x="40" y="24"/>
                  </a:lnTo>
                  <a:lnTo>
                    <a:pt x="38" y="18"/>
                  </a:lnTo>
                  <a:lnTo>
                    <a:pt x="36" y="14"/>
                  </a:lnTo>
                  <a:lnTo>
                    <a:pt x="34" y="14"/>
                  </a:lnTo>
                  <a:lnTo>
                    <a:pt x="22" y="4"/>
                  </a:lnTo>
                  <a:lnTo>
                    <a:pt x="8" y="0"/>
                  </a:lnTo>
                  <a:lnTo>
                    <a:pt x="4" y="6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2" name="Freeform 871">
              <a:extLst>
                <a:ext uri="{FF2B5EF4-FFF2-40B4-BE49-F238E27FC236}">
                  <a16:creationId xmlns:a16="http://schemas.microsoft.com/office/drawing/2014/main" id="{F603DDD4-CE58-46AE-8405-910C84BC3F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4144963"/>
              <a:ext cx="104775" cy="158750"/>
            </a:xfrm>
            <a:custGeom>
              <a:avLst/>
              <a:gdLst/>
              <a:ahLst/>
              <a:cxnLst>
                <a:cxn ang="0">
                  <a:pos x="14" y="10"/>
                </a:cxn>
                <a:cxn ang="0">
                  <a:pos x="12" y="10"/>
                </a:cxn>
                <a:cxn ang="0">
                  <a:pos x="10" y="16"/>
                </a:cxn>
                <a:cxn ang="0">
                  <a:pos x="12" y="18"/>
                </a:cxn>
                <a:cxn ang="0">
                  <a:pos x="12" y="18"/>
                </a:cxn>
                <a:cxn ang="0">
                  <a:pos x="12" y="18"/>
                </a:cxn>
                <a:cxn ang="0">
                  <a:pos x="12" y="22"/>
                </a:cxn>
                <a:cxn ang="0">
                  <a:pos x="6" y="24"/>
                </a:cxn>
                <a:cxn ang="0">
                  <a:pos x="2" y="26"/>
                </a:cxn>
                <a:cxn ang="0">
                  <a:pos x="2" y="32"/>
                </a:cxn>
                <a:cxn ang="0">
                  <a:pos x="0" y="36"/>
                </a:cxn>
                <a:cxn ang="0">
                  <a:pos x="2" y="38"/>
                </a:cxn>
                <a:cxn ang="0">
                  <a:pos x="8" y="46"/>
                </a:cxn>
                <a:cxn ang="0">
                  <a:pos x="14" y="44"/>
                </a:cxn>
                <a:cxn ang="0">
                  <a:pos x="18" y="48"/>
                </a:cxn>
                <a:cxn ang="0">
                  <a:pos x="18" y="52"/>
                </a:cxn>
                <a:cxn ang="0">
                  <a:pos x="22" y="58"/>
                </a:cxn>
                <a:cxn ang="0">
                  <a:pos x="24" y="62"/>
                </a:cxn>
                <a:cxn ang="0">
                  <a:pos x="22" y="66"/>
                </a:cxn>
                <a:cxn ang="0">
                  <a:pos x="20" y="68"/>
                </a:cxn>
                <a:cxn ang="0">
                  <a:pos x="20" y="70"/>
                </a:cxn>
                <a:cxn ang="0">
                  <a:pos x="18" y="76"/>
                </a:cxn>
                <a:cxn ang="0">
                  <a:pos x="18" y="82"/>
                </a:cxn>
                <a:cxn ang="0">
                  <a:pos x="22" y="88"/>
                </a:cxn>
                <a:cxn ang="0">
                  <a:pos x="22" y="90"/>
                </a:cxn>
                <a:cxn ang="0">
                  <a:pos x="24" y="92"/>
                </a:cxn>
                <a:cxn ang="0">
                  <a:pos x="26" y="94"/>
                </a:cxn>
                <a:cxn ang="0">
                  <a:pos x="28" y="98"/>
                </a:cxn>
                <a:cxn ang="0">
                  <a:pos x="32" y="98"/>
                </a:cxn>
                <a:cxn ang="0">
                  <a:pos x="34" y="100"/>
                </a:cxn>
                <a:cxn ang="0">
                  <a:pos x="42" y="98"/>
                </a:cxn>
                <a:cxn ang="0">
                  <a:pos x="48" y="94"/>
                </a:cxn>
                <a:cxn ang="0">
                  <a:pos x="58" y="90"/>
                </a:cxn>
                <a:cxn ang="0">
                  <a:pos x="62" y="90"/>
                </a:cxn>
                <a:cxn ang="0">
                  <a:pos x="66" y="90"/>
                </a:cxn>
                <a:cxn ang="0">
                  <a:pos x="62" y="88"/>
                </a:cxn>
                <a:cxn ang="0">
                  <a:pos x="60" y="84"/>
                </a:cxn>
                <a:cxn ang="0">
                  <a:pos x="56" y="76"/>
                </a:cxn>
                <a:cxn ang="0">
                  <a:pos x="56" y="72"/>
                </a:cxn>
                <a:cxn ang="0">
                  <a:pos x="54" y="70"/>
                </a:cxn>
                <a:cxn ang="0">
                  <a:pos x="52" y="70"/>
                </a:cxn>
                <a:cxn ang="0">
                  <a:pos x="50" y="70"/>
                </a:cxn>
                <a:cxn ang="0">
                  <a:pos x="48" y="66"/>
                </a:cxn>
                <a:cxn ang="0">
                  <a:pos x="46" y="58"/>
                </a:cxn>
                <a:cxn ang="0">
                  <a:pos x="46" y="54"/>
                </a:cxn>
                <a:cxn ang="0">
                  <a:pos x="48" y="50"/>
                </a:cxn>
                <a:cxn ang="0">
                  <a:pos x="52" y="48"/>
                </a:cxn>
                <a:cxn ang="0">
                  <a:pos x="54" y="48"/>
                </a:cxn>
                <a:cxn ang="0">
                  <a:pos x="56" y="46"/>
                </a:cxn>
                <a:cxn ang="0">
                  <a:pos x="56" y="42"/>
                </a:cxn>
                <a:cxn ang="0">
                  <a:pos x="58" y="36"/>
                </a:cxn>
                <a:cxn ang="0">
                  <a:pos x="52" y="30"/>
                </a:cxn>
                <a:cxn ang="0">
                  <a:pos x="50" y="28"/>
                </a:cxn>
                <a:cxn ang="0">
                  <a:pos x="46" y="26"/>
                </a:cxn>
                <a:cxn ang="0">
                  <a:pos x="44" y="24"/>
                </a:cxn>
                <a:cxn ang="0">
                  <a:pos x="42" y="24"/>
                </a:cxn>
                <a:cxn ang="0">
                  <a:pos x="40" y="22"/>
                </a:cxn>
                <a:cxn ang="0">
                  <a:pos x="38" y="20"/>
                </a:cxn>
                <a:cxn ang="0">
                  <a:pos x="38" y="14"/>
                </a:cxn>
                <a:cxn ang="0">
                  <a:pos x="32" y="8"/>
                </a:cxn>
                <a:cxn ang="0">
                  <a:pos x="18" y="0"/>
                </a:cxn>
                <a:cxn ang="0">
                  <a:pos x="18" y="6"/>
                </a:cxn>
                <a:cxn ang="0">
                  <a:pos x="14" y="10"/>
                </a:cxn>
              </a:cxnLst>
              <a:rect l="0" t="0" r="r" b="b"/>
              <a:pathLst>
                <a:path w="66" h="100">
                  <a:moveTo>
                    <a:pt x="14" y="10"/>
                  </a:moveTo>
                  <a:lnTo>
                    <a:pt x="12" y="10"/>
                  </a:lnTo>
                  <a:lnTo>
                    <a:pt x="10" y="16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22"/>
                  </a:lnTo>
                  <a:lnTo>
                    <a:pt x="6" y="24"/>
                  </a:lnTo>
                  <a:lnTo>
                    <a:pt x="2" y="26"/>
                  </a:lnTo>
                  <a:lnTo>
                    <a:pt x="2" y="32"/>
                  </a:lnTo>
                  <a:lnTo>
                    <a:pt x="0" y="36"/>
                  </a:lnTo>
                  <a:lnTo>
                    <a:pt x="2" y="38"/>
                  </a:lnTo>
                  <a:lnTo>
                    <a:pt x="8" y="46"/>
                  </a:lnTo>
                  <a:lnTo>
                    <a:pt x="14" y="44"/>
                  </a:lnTo>
                  <a:lnTo>
                    <a:pt x="18" y="48"/>
                  </a:lnTo>
                  <a:lnTo>
                    <a:pt x="18" y="52"/>
                  </a:lnTo>
                  <a:lnTo>
                    <a:pt x="22" y="58"/>
                  </a:lnTo>
                  <a:lnTo>
                    <a:pt x="24" y="62"/>
                  </a:lnTo>
                  <a:lnTo>
                    <a:pt x="22" y="66"/>
                  </a:lnTo>
                  <a:lnTo>
                    <a:pt x="20" y="68"/>
                  </a:lnTo>
                  <a:lnTo>
                    <a:pt x="20" y="70"/>
                  </a:lnTo>
                  <a:lnTo>
                    <a:pt x="18" y="76"/>
                  </a:lnTo>
                  <a:lnTo>
                    <a:pt x="18" y="82"/>
                  </a:lnTo>
                  <a:lnTo>
                    <a:pt x="22" y="88"/>
                  </a:lnTo>
                  <a:lnTo>
                    <a:pt x="22" y="90"/>
                  </a:lnTo>
                  <a:lnTo>
                    <a:pt x="24" y="92"/>
                  </a:lnTo>
                  <a:lnTo>
                    <a:pt x="26" y="94"/>
                  </a:lnTo>
                  <a:lnTo>
                    <a:pt x="28" y="98"/>
                  </a:lnTo>
                  <a:lnTo>
                    <a:pt x="32" y="98"/>
                  </a:lnTo>
                  <a:lnTo>
                    <a:pt x="34" y="100"/>
                  </a:lnTo>
                  <a:lnTo>
                    <a:pt x="42" y="98"/>
                  </a:lnTo>
                  <a:lnTo>
                    <a:pt x="48" y="94"/>
                  </a:lnTo>
                  <a:lnTo>
                    <a:pt x="58" y="90"/>
                  </a:lnTo>
                  <a:lnTo>
                    <a:pt x="62" y="90"/>
                  </a:lnTo>
                  <a:lnTo>
                    <a:pt x="66" y="90"/>
                  </a:lnTo>
                  <a:lnTo>
                    <a:pt x="62" y="88"/>
                  </a:lnTo>
                  <a:lnTo>
                    <a:pt x="60" y="84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4" y="70"/>
                  </a:lnTo>
                  <a:lnTo>
                    <a:pt x="52" y="70"/>
                  </a:lnTo>
                  <a:lnTo>
                    <a:pt x="50" y="70"/>
                  </a:lnTo>
                  <a:lnTo>
                    <a:pt x="48" y="66"/>
                  </a:lnTo>
                  <a:lnTo>
                    <a:pt x="46" y="58"/>
                  </a:lnTo>
                  <a:lnTo>
                    <a:pt x="46" y="54"/>
                  </a:lnTo>
                  <a:lnTo>
                    <a:pt x="48" y="50"/>
                  </a:lnTo>
                  <a:lnTo>
                    <a:pt x="52" y="48"/>
                  </a:lnTo>
                  <a:lnTo>
                    <a:pt x="54" y="48"/>
                  </a:lnTo>
                  <a:lnTo>
                    <a:pt x="56" y="46"/>
                  </a:lnTo>
                  <a:lnTo>
                    <a:pt x="56" y="42"/>
                  </a:lnTo>
                  <a:lnTo>
                    <a:pt x="58" y="36"/>
                  </a:lnTo>
                  <a:lnTo>
                    <a:pt x="52" y="30"/>
                  </a:lnTo>
                  <a:lnTo>
                    <a:pt x="50" y="28"/>
                  </a:lnTo>
                  <a:lnTo>
                    <a:pt x="46" y="26"/>
                  </a:lnTo>
                  <a:lnTo>
                    <a:pt x="44" y="24"/>
                  </a:lnTo>
                  <a:lnTo>
                    <a:pt x="42" y="24"/>
                  </a:lnTo>
                  <a:lnTo>
                    <a:pt x="40" y="22"/>
                  </a:lnTo>
                  <a:lnTo>
                    <a:pt x="38" y="20"/>
                  </a:lnTo>
                  <a:lnTo>
                    <a:pt x="38" y="14"/>
                  </a:lnTo>
                  <a:lnTo>
                    <a:pt x="32" y="8"/>
                  </a:lnTo>
                  <a:lnTo>
                    <a:pt x="18" y="0"/>
                  </a:lnTo>
                  <a:lnTo>
                    <a:pt x="18" y="6"/>
                  </a:lnTo>
                  <a:lnTo>
                    <a:pt x="14" y="1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3" name="Freeform 872">
              <a:extLst>
                <a:ext uri="{FF2B5EF4-FFF2-40B4-BE49-F238E27FC236}">
                  <a16:creationId xmlns:a16="http://schemas.microsoft.com/office/drawing/2014/main" id="{7C7C1FC2-B447-4DB4-87D8-7830D418D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9750" y="4198938"/>
              <a:ext cx="85725" cy="88900"/>
            </a:xfrm>
            <a:custGeom>
              <a:avLst/>
              <a:gdLst/>
              <a:ahLst/>
              <a:cxnLst>
                <a:cxn ang="0">
                  <a:pos x="10" y="12"/>
                </a:cxn>
                <a:cxn ang="0">
                  <a:pos x="8" y="14"/>
                </a:cxn>
                <a:cxn ang="0">
                  <a:pos x="6" y="14"/>
                </a:cxn>
                <a:cxn ang="0">
                  <a:pos x="2" y="16"/>
                </a:cxn>
                <a:cxn ang="0">
                  <a:pos x="0" y="20"/>
                </a:cxn>
                <a:cxn ang="0">
                  <a:pos x="0" y="24"/>
                </a:cxn>
                <a:cxn ang="0">
                  <a:pos x="2" y="32"/>
                </a:cxn>
                <a:cxn ang="0">
                  <a:pos x="4" y="36"/>
                </a:cxn>
                <a:cxn ang="0">
                  <a:pos x="6" y="36"/>
                </a:cxn>
                <a:cxn ang="0">
                  <a:pos x="8" y="36"/>
                </a:cxn>
                <a:cxn ang="0">
                  <a:pos x="10" y="38"/>
                </a:cxn>
                <a:cxn ang="0">
                  <a:pos x="10" y="42"/>
                </a:cxn>
                <a:cxn ang="0">
                  <a:pos x="14" y="50"/>
                </a:cxn>
                <a:cxn ang="0">
                  <a:pos x="16" y="54"/>
                </a:cxn>
                <a:cxn ang="0">
                  <a:pos x="20" y="56"/>
                </a:cxn>
                <a:cxn ang="0">
                  <a:pos x="26" y="56"/>
                </a:cxn>
                <a:cxn ang="0">
                  <a:pos x="26" y="52"/>
                </a:cxn>
                <a:cxn ang="0">
                  <a:pos x="24" y="50"/>
                </a:cxn>
                <a:cxn ang="0">
                  <a:pos x="28" y="48"/>
                </a:cxn>
                <a:cxn ang="0">
                  <a:pos x="30" y="50"/>
                </a:cxn>
                <a:cxn ang="0">
                  <a:pos x="36" y="48"/>
                </a:cxn>
                <a:cxn ang="0">
                  <a:pos x="40" y="48"/>
                </a:cxn>
                <a:cxn ang="0">
                  <a:pos x="42" y="50"/>
                </a:cxn>
                <a:cxn ang="0">
                  <a:pos x="46" y="50"/>
                </a:cxn>
                <a:cxn ang="0">
                  <a:pos x="50" y="46"/>
                </a:cxn>
                <a:cxn ang="0">
                  <a:pos x="52" y="40"/>
                </a:cxn>
                <a:cxn ang="0">
                  <a:pos x="54" y="34"/>
                </a:cxn>
                <a:cxn ang="0">
                  <a:pos x="50" y="30"/>
                </a:cxn>
                <a:cxn ang="0">
                  <a:pos x="46" y="16"/>
                </a:cxn>
                <a:cxn ang="0">
                  <a:pos x="50" y="10"/>
                </a:cxn>
                <a:cxn ang="0">
                  <a:pos x="54" y="4"/>
                </a:cxn>
                <a:cxn ang="0">
                  <a:pos x="42" y="0"/>
                </a:cxn>
                <a:cxn ang="0">
                  <a:pos x="40" y="0"/>
                </a:cxn>
                <a:cxn ang="0">
                  <a:pos x="38" y="2"/>
                </a:cxn>
                <a:cxn ang="0">
                  <a:pos x="32" y="0"/>
                </a:cxn>
                <a:cxn ang="0">
                  <a:pos x="28" y="2"/>
                </a:cxn>
                <a:cxn ang="0">
                  <a:pos x="28" y="2"/>
                </a:cxn>
                <a:cxn ang="0">
                  <a:pos x="22" y="2"/>
                </a:cxn>
                <a:cxn ang="0">
                  <a:pos x="16" y="0"/>
                </a:cxn>
                <a:cxn ang="0">
                  <a:pos x="14" y="0"/>
                </a:cxn>
                <a:cxn ang="0">
                  <a:pos x="12" y="2"/>
                </a:cxn>
                <a:cxn ang="0">
                  <a:pos x="10" y="8"/>
                </a:cxn>
                <a:cxn ang="0">
                  <a:pos x="10" y="12"/>
                </a:cxn>
              </a:cxnLst>
              <a:rect l="0" t="0" r="r" b="b"/>
              <a:pathLst>
                <a:path w="54" h="56">
                  <a:moveTo>
                    <a:pt x="10" y="12"/>
                  </a:moveTo>
                  <a:lnTo>
                    <a:pt x="8" y="14"/>
                  </a:lnTo>
                  <a:lnTo>
                    <a:pt x="6" y="14"/>
                  </a:lnTo>
                  <a:lnTo>
                    <a:pt x="2" y="16"/>
                  </a:lnTo>
                  <a:lnTo>
                    <a:pt x="0" y="20"/>
                  </a:lnTo>
                  <a:lnTo>
                    <a:pt x="0" y="24"/>
                  </a:lnTo>
                  <a:lnTo>
                    <a:pt x="2" y="32"/>
                  </a:lnTo>
                  <a:lnTo>
                    <a:pt x="4" y="36"/>
                  </a:lnTo>
                  <a:lnTo>
                    <a:pt x="6" y="36"/>
                  </a:lnTo>
                  <a:lnTo>
                    <a:pt x="8" y="36"/>
                  </a:lnTo>
                  <a:lnTo>
                    <a:pt x="10" y="38"/>
                  </a:lnTo>
                  <a:lnTo>
                    <a:pt x="10" y="42"/>
                  </a:lnTo>
                  <a:lnTo>
                    <a:pt x="14" y="50"/>
                  </a:lnTo>
                  <a:lnTo>
                    <a:pt x="16" y="54"/>
                  </a:lnTo>
                  <a:lnTo>
                    <a:pt x="20" y="56"/>
                  </a:lnTo>
                  <a:lnTo>
                    <a:pt x="26" y="56"/>
                  </a:lnTo>
                  <a:lnTo>
                    <a:pt x="26" y="52"/>
                  </a:lnTo>
                  <a:lnTo>
                    <a:pt x="24" y="50"/>
                  </a:lnTo>
                  <a:lnTo>
                    <a:pt x="28" y="48"/>
                  </a:lnTo>
                  <a:lnTo>
                    <a:pt x="30" y="50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2" y="50"/>
                  </a:lnTo>
                  <a:lnTo>
                    <a:pt x="46" y="50"/>
                  </a:lnTo>
                  <a:lnTo>
                    <a:pt x="50" y="46"/>
                  </a:lnTo>
                  <a:lnTo>
                    <a:pt x="52" y="40"/>
                  </a:lnTo>
                  <a:lnTo>
                    <a:pt x="54" y="34"/>
                  </a:lnTo>
                  <a:lnTo>
                    <a:pt x="50" y="30"/>
                  </a:lnTo>
                  <a:lnTo>
                    <a:pt x="46" y="16"/>
                  </a:lnTo>
                  <a:lnTo>
                    <a:pt x="50" y="10"/>
                  </a:lnTo>
                  <a:lnTo>
                    <a:pt x="54" y="4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38" y="2"/>
                  </a:lnTo>
                  <a:lnTo>
                    <a:pt x="32" y="0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2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10" y="8"/>
                  </a:lnTo>
                  <a:lnTo>
                    <a:pt x="10" y="12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4" name="Freeform 927">
              <a:extLst>
                <a:ext uri="{FF2B5EF4-FFF2-40B4-BE49-F238E27FC236}">
                  <a16:creationId xmlns:a16="http://schemas.microsoft.com/office/drawing/2014/main" id="{EFFBD74F-5EE4-4F2E-9957-FD06426D7C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3674" y="4214812"/>
              <a:ext cx="844550" cy="882650"/>
            </a:xfrm>
            <a:custGeom>
              <a:avLst/>
              <a:gdLst/>
              <a:ahLst/>
              <a:cxnLst/>
              <a:rect l="l" t="t" r="r" b="b"/>
              <a:pathLst>
                <a:path w="844550" h="882650">
                  <a:moveTo>
                    <a:pt x="488950" y="123825"/>
                  </a:moveTo>
                  <a:lnTo>
                    <a:pt x="492125" y="127000"/>
                  </a:lnTo>
                  <a:lnTo>
                    <a:pt x="488950" y="136525"/>
                  </a:lnTo>
                  <a:lnTo>
                    <a:pt x="476250" y="146050"/>
                  </a:lnTo>
                  <a:lnTo>
                    <a:pt x="476250" y="142875"/>
                  </a:lnTo>
                  <a:lnTo>
                    <a:pt x="482600" y="136525"/>
                  </a:lnTo>
                  <a:close/>
                  <a:moveTo>
                    <a:pt x="511175" y="107950"/>
                  </a:moveTo>
                  <a:lnTo>
                    <a:pt x="520700" y="107950"/>
                  </a:lnTo>
                  <a:lnTo>
                    <a:pt x="523875" y="107950"/>
                  </a:lnTo>
                  <a:lnTo>
                    <a:pt x="520700" y="114300"/>
                  </a:lnTo>
                  <a:lnTo>
                    <a:pt x="511175" y="114300"/>
                  </a:lnTo>
                  <a:lnTo>
                    <a:pt x="508000" y="111125"/>
                  </a:lnTo>
                  <a:close/>
                  <a:moveTo>
                    <a:pt x="123825" y="73025"/>
                  </a:moveTo>
                  <a:lnTo>
                    <a:pt x="127000" y="73025"/>
                  </a:lnTo>
                  <a:lnTo>
                    <a:pt x="127000" y="76200"/>
                  </a:lnTo>
                  <a:close/>
                  <a:moveTo>
                    <a:pt x="295275" y="0"/>
                  </a:moveTo>
                  <a:lnTo>
                    <a:pt x="301625" y="6350"/>
                  </a:lnTo>
                  <a:lnTo>
                    <a:pt x="301625" y="12700"/>
                  </a:lnTo>
                  <a:lnTo>
                    <a:pt x="307975" y="22225"/>
                  </a:lnTo>
                  <a:lnTo>
                    <a:pt x="311150" y="28575"/>
                  </a:lnTo>
                  <a:lnTo>
                    <a:pt x="307975" y="34925"/>
                  </a:lnTo>
                  <a:lnTo>
                    <a:pt x="304800" y="38100"/>
                  </a:lnTo>
                  <a:lnTo>
                    <a:pt x="304800" y="41275"/>
                  </a:lnTo>
                  <a:lnTo>
                    <a:pt x="301625" y="50800"/>
                  </a:lnTo>
                  <a:lnTo>
                    <a:pt x="301625" y="60325"/>
                  </a:lnTo>
                  <a:lnTo>
                    <a:pt x="307975" y="69850"/>
                  </a:lnTo>
                  <a:lnTo>
                    <a:pt x="307975" y="73025"/>
                  </a:lnTo>
                  <a:lnTo>
                    <a:pt x="311150" y="76200"/>
                  </a:lnTo>
                  <a:lnTo>
                    <a:pt x="314325" y="79375"/>
                  </a:lnTo>
                  <a:lnTo>
                    <a:pt x="317500" y="85725"/>
                  </a:lnTo>
                  <a:lnTo>
                    <a:pt x="323850" y="85725"/>
                  </a:lnTo>
                  <a:lnTo>
                    <a:pt x="327025" y="88900"/>
                  </a:lnTo>
                  <a:lnTo>
                    <a:pt x="339725" y="85725"/>
                  </a:lnTo>
                  <a:lnTo>
                    <a:pt x="349250" y="79375"/>
                  </a:lnTo>
                  <a:lnTo>
                    <a:pt x="365125" y="73025"/>
                  </a:lnTo>
                  <a:lnTo>
                    <a:pt x="371475" y="73025"/>
                  </a:lnTo>
                  <a:lnTo>
                    <a:pt x="377825" y="73025"/>
                  </a:lnTo>
                  <a:lnTo>
                    <a:pt x="387350" y="73025"/>
                  </a:lnTo>
                  <a:lnTo>
                    <a:pt x="387350" y="66675"/>
                  </a:lnTo>
                  <a:lnTo>
                    <a:pt x="384175" y="63500"/>
                  </a:lnTo>
                  <a:lnTo>
                    <a:pt x="390525" y="60325"/>
                  </a:lnTo>
                  <a:lnTo>
                    <a:pt x="393700" y="63500"/>
                  </a:lnTo>
                  <a:lnTo>
                    <a:pt x="403225" y="60325"/>
                  </a:lnTo>
                  <a:lnTo>
                    <a:pt x="409575" y="60325"/>
                  </a:lnTo>
                  <a:lnTo>
                    <a:pt x="412750" y="63500"/>
                  </a:lnTo>
                  <a:lnTo>
                    <a:pt x="419100" y="63500"/>
                  </a:lnTo>
                  <a:lnTo>
                    <a:pt x="425450" y="66675"/>
                  </a:lnTo>
                  <a:lnTo>
                    <a:pt x="431800" y="66675"/>
                  </a:lnTo>
                  <a:lnTo>
                    <a:pt x="444500" y="63500"/>
                  </a:lnTo>
                  <a:lnTo>
                    <a:pt x="447675" y="66675"/>
                  </a:lnTo>
                  <a:lnTo>
                    <a:pt x="454025" y="66675"/>
                  </a:lnTo>
                  <a:lnTo>
                    <a:pt x="460375" y="63500"/>
                  </a:lnTo>
                  <a:lnTo>
                    <a:pt x="463550" y="57150"/>
                  </a:lnTo>
                  <a:lnTo>
                    <a:pt x="460375" y="57150"/>
                  </a:lnTo>
                  <a:lnTo>
                    <a:pt x="463550" y="53975"/>
                  </a:lnTo>
                  <a:lnTo>
                    <a:pt x="473075" y="38100"/>
                  </a:lnTo>
                  <a:lnTo>
                    <a:pt x="479425" y="28575"/>
                  </a:lnTo>
                  <a:lnTo>
                    <a:pt x="482600" y="28575"/>
                  </a:lnTo>
                  <a:lnTo>
                    <a:pt x="485775" y="22225"/>
                  </a:lnTo>
                  <a:lnTo>
                    <a:pt x="488950" y="25400"/>
                  </a:lnTo>
                  <a:lnTo>
                    <a:pt x="495300" y="34925"/>
                  </a:lnTo>
                  <a:lnTo>
                    <a:pt x="498475" y="57150"/>
                  </a:lnTo>
                  <a:lnTo>
                    <a:pt x="501650" y="66675"/>
                  </a:lnTo>
                  <a:lnTo>
                    <a:pt x="504825" y="69850"/>
                  </a:lnTo>
                  <a:lnTo>
                    <a:pt x="504825" y="73025"/>
                  </a:lnTo>
                  <a:lnTo>
                    <a:pt x="508000" y="76200"/>
                  </a:lnTo>
                  <a:lnTo>
                    <a:pt x="511175" y="76200"/>
                  </a:lnTo>
                  <a:lnTo>
                    <a:pt x="517525" y="76200"/>
                  </a:lnTo>
                  <a:lnTo>
                    <a:pt x="520700" y="85725"/>
                  </a:lnTo>
                  <a:lnTo>
                    <a:pt x="517525" y="88900"/>
                  </a:lnTo>
                  <a:lnTo>
                    <a:pt x="520700" y="88900"/>
                  </a:lnTo>
                  <a:lnTo>
                    <a:pt x="517525" y="92075"/>
                  </a:lnTo>
                  <a:lnTo>
                    <a:pt x="504825" y="104775"/>
                  </a:lnTo>
                  <a:lnTo>
                    <a:pt x="495300" y="111125"/>
                  </a:lnTo>
                  <a:lnTo>
                    <a:pt x="485775" y="120650"/>
                  </a:lnTo>
                  <a:lnTo>
                    <a:pt x="479425" y="133350"/>
                  </a:lnTo>
                  <a:lnTo>
                    <a:pt x="479425" y="136525"/>
                  </a:lnTo>
                  <a:lnTo>
                    <a:pt x="473075" y="139700"/>
                  </a:lnTo>
                  <a:lnTo>
                    <a:pt x="469900" y="146050"/>
                  </a:lnTo>
                  <a:lnTo>
                    <a:pt x="460375" y="146050"/>
                  </a:lnTo>
                  <a:lnTo>
                    <a:pt x="460375" y="149225"/>
                  </a:lnTo>
                  <a:lnTo>
                    <a:pt x="469900" y="149225"/>
                  </a:lnTo>
                  <a:lnTo>
                    <a:pt x="495300" y="136525"/>
                  </a:lnTo>
                  <a:lnTo>
                    <a:pt x="504825" y="155575"/>
                  </a:lnTo>
                  <a:lnTo>
                    <a:pt x="514350" y="152400"/>
                  </a:lnTo>
                  <a:lnTo>
                    <a:pt x="511175" y="152400"/>
                  </a:lnTo>
                  <a:lnTo>
                    <a:pt x="504825" y="152400"/>
                  </a:lnTo>
                  <a:lnTo>
                    <a:pt x="501650" y="149225"/>
                  </a:lnTo>
                  <a:lnTo>
                    <a:pt x="501650" y="142875"/>
                  </a:lnTo>
                  <a:lnTo>
                    <a:pt x="504825" y="139700"/>
                  </a:lnTo>
                  <a:lnTo>
                    <a:pt x="501650" y="136525"/>
                  </a:lnTo>
                  <a:lnTo>
                    <a:pt x="501650" y="133350"/>
                  </a:lnTo>
                  <a:lnTo>
                    <a:pt x="501650" y="127000"/>
                  </a:lnTo>
                  <a:lnTo>
                    <a:pt x="504825" y="117475"/>
                  </a:lnTo>
                  <a:lnTo>
                    <a:pt x="520700" y="117475"/>
                  </a:lnTo>
                  <a:lnTo>
                    <a:pt x="523875" y="114300"/>
                  </a:lnTo>
                  <a:lnTo>
                    <a:pt x="530225" y="111125"/>
                  </a:lnTo>
                  <a:lnTo>
                    <a:pt x="530225" y="117475"/>
                  </a:lnTo>
                  <a:lnTo>
                    <a:pt x="542925" y="117475"/>
                  </a:lnTo>
                  <a:lnTo>
                    <a:pt x="546100" y="120650"/>
                  </a:lnTo>
                  <a:lnTo>
                    <a:pt x="549275" y="123825"/>
                  </a:lnTo>
                  <a:lnTo>
                    <a:pt x="546100" y="133350"/>
                  </a:lnTo>
                  <a:lnTo>
                    <a:pt x="542925" y="139700"/>
                  </a:lnTo>
                  <a:lnTo>
                    <a:pt x="542925" y="142875"/>
                  </a:lnTo>
                  <a:lnTo>
                    <a:pt x="539750" y="142875"/>
                  </a:lnTo>
                  <a:lnTo>
                    <a:pt x="533400" y="142875"/>
                  </a:lnTo>
                  <a:lnTo>
                    <a:pt x="523875" y="152400"/>
                  </a:lnTo>
                  <a:lnTo>
                    <a:pt x="530225" y="152400"/>
                  </a:lnTo>
                  <a:lnTo>
                    <a:pt x="542925" y="146050"/>
                  </a:lnTo>
                  <a:lnTo>
                    <a:pt x="546100" y="146050"/>
                  </a:lnTo>
                  <a:lnTo>
                    <a:pt x="549275" y="146050"/>
                  </a:lnTo>
                  <a:lnTo>
                    <a:pt x="549275" y="142875"/>
                  </a:lnTo>
                  <a:lnTo>
                    <a:pt x="552450" y="139700"/>
                  </a:lnTo>
                  <a:lnTo>
                    <a:pt x="555625" y="133350"/>
                  </a:lnTo>
                  <a:lnTo>
                    <a:pt x="555625" y="130175"/>
                  </a:lnTo>
                  <a:lnTo>
                    <a:pt x="565150" y="127000"/>
                  </a:lnTo>
                  <a:lnTo>
                    <a:pt x="568325" y="130175"/>
                  </a:lnTo>
                  <a:lnTo>
                    <a:pt x="577850" y="130175"/>
                  </a:lnTo>
                  <a:lnTo>
                    <a:pt x="590550" y="133350"/>
                  </a:lnTo>
                  <a:lnTo>
                    <a:pt x="603250" y="136525"/>
                  </a:lnTo>
                  <a:lnTo>
                    <a:pt x="615950" y="142875"/>
                  </a:lnTo>
                  <a:lnTo>
                    <a:pt x="619125" y="146050"/>
                  </a:lnTo>
                  <a:lnTo>
                    <a:pt x="622300" y="146050"/>
                  </a:lnTo>
                  <a:lnTo>
                    <a:pt x="625475" y="146050"/>
                  </a:lnTo>
                  <a:lnTo>
                    <a:pt x="631825" y="152400"/>
                  </a:lnTo>
                  <a:lnTo>
                    <a:pt x="635000" y="152400"/>
                  </a:lnTo>
                  <a:lnTo>
                    <a:pt x="635000" y="158750"/>
                  </a:lnTo>
                  <a:lnTo>
                    <a:pt x="638175" y="161925"/>
                  </a:lnTo>
                  <a:lnTo>
                    <a:pt x="635000" y="168275"/>
                  </a:lnTo>
                  <a:lnTo>
                    <a:pt x="631825" y="174625"/>
                  </a:lnTo>
                  <a:lnTo>
                    <a:pt x="628650" y="184150"/>
                  </a:lnTo>
                  <a:lnTo>
                    <a:pt x="635000" y="177800"/>
                  </a:lnTo>
                  <a:lnTo>
                    <a:pt x="638175" y="168275"/>
                  </a:lnTo>
                  <a:lnTo>
                    <a:pt x="647700" y="168275"/>
                  </a:lnTo>
                  <a:lnTo>
                    <a:pt x="650875" y="168275"/>
                  </a:lnTo>
                  <a:lnTo>
                    <a:pt x="660400" y="165100"/>
                  </a:lnTo>
                  <a:lnTo>
                    <a:pt x="673100" y="168275"/>
                  </a:lnTo>
                  <a:lnTo>
                    <a:pt x="692150" y="174625"/>
                  </a:lnTo>
                  <a:lnTo>
                    <a:pt x="711200" y="174625"/>
                  </a:lnTo>
                  <a:lnTo>
                    <a:pt x="717550" y="174625"/>
                  </a:lnTo>
                  <a:lnTo>
                    <a:pt x="730250" y="174625"/>
                  </a:lnTo>
                  <a:lnTo>
                    <a:pt x="752475" y="187325"/>
                  </a:lnTo>
                  <a:lnTo>
                    <a:pt x="765175" y="193675"/>
                  </a:lnTo>
                  <a:lnTo>
                    <a:pt x="774700" y="203200"/>
                  </a:lnTo>
                  <a:lnTo>
                    <a:pt x="819150" y="222250"/>
                  </a:lnTo>
                  <a:lnTo>
                    <a:pt x="828675" y="222250"/>
                  </a:lnTo>
                  <a:lnTo>
                    <a:pt x="841375" y="247650"/>
                  </a:lnTo>
                  <a:lnTo>
                    <a:pt x="844550" y="260350"/>
                  </a:lnTo>
                  <a:lnTo>
                    <a:pt x="844550" y="269875"/>
                  </a:lnTo>
                  <a:lnTo>
                    <a:pt x="844550" y="282575"/>
                  </a:lnTo>
                  <a:lnTo>
                    <a:pt x="844550" y="288925"/>
                  </a:lnTo>
                  <a:lnTo>
                    <a:pt x="841375" y="295275"/>
                  </a:lnTo>
                  <a:lnTo>
                    <a:pt x="841375" y="298450"/>
                  </a:lnTo>
                  <a:lnTo>
                    <a:pt x="838200" y="304800"/>
                  </a:lnTo>
                  <a:lnTo>
                    <a:pt x="831850" y="314325"/>
                  </a:lnTo>
                  <a:lnTo>
                    <a:pt x="822325" y="323850"/>
                  </a:lnTo>
                  <a:lnTo>
                    <a:pt x="815975" y="333375"/>
                  </a:lnTo>
                  <a:lnTo>
                    <a:pt x="809625" y="339725"/>
                  </a:lnTo>
                  <a:lnTo>
                    <a:pt x="806450" y="342900"/>
                  </a:lnTo>
                  <a:lnTo>
                    <a:pt x="796925" y="349250"/>
                  </a:lnTo>
                  <a:lnTo>
                    <a:pt x="793750" y="352425"/>
                  </a:lnTo>
                  <a:lnTo>
                    <a:pt x="793750" y="355600"/>
                  </a:lnTo>
                  <a:lnTo>
                    <a:pt x="790575" y="361950"/>
                  </a:lnTo>
                  <a:lnTo>
                    <a:pt x="784225" y="374650"/>
                  </a:lnTo>
                  <a:lnTo>
                    <a:pt x="768350" y="393700"/>
                  </a:lnTo>
                  <a:lnTo>
                    <a:pt x="765175" y="396875"/>
                  </a:lnTo>
                  <a:lnTo>
                    <a:pt x="758825" y="396875"/>
                  </a:lnTo>
                  <a:lnTo>
                    <a:pt x="755650" y="403225"/>
                  </a:lnTo>
                  <a:lnTo>
                    <a:pt x="755650" y="406400"/>
                  </a:lnTo>
                  <a:lnTo>
                    <a:pt x="755650" y="415925"/>
                  </a:lnTo>
                  <a:lnTo>
                    <a:pt x="755650" y="428625"/>
                  </a:lnTo>
                  <a:lnTo>
                    <a:pt x="755650" y="441325"/>
                  </a:lnTo>
                  <a:lnTo>
                    <a:pt x="755650" y="454025"/>
                  </a:lnTo>
                  <a:lnTo>
                    <a:pt x="755650" y="463550"/>
                  </a:lnTo>
                  <a:lnTo>
                    <a:pt x="755650" y="466725"/>
                  </a:lnTo>
                  <a:lnTo>
                    <a:pt x="752475" y="482600"/>
                  </a:lnTo>
                  <a:lnTo>
                    <a:pt x="749300" y="495300"/>
                  </a:lnTo>
                  <a:lnTo>
                    <a:pt x="749300" y="498475"/>
                  </a:lnTo>
                  <a:lnTo>
                    <a:pt x="746125" y="508000"/>
                  </a:lnTo>
                  <a:lnTo>
                    <a:pt x="739775" y="527050"/>
                  </a:lnTo>
                  <a:lnTo>
                    <a:pt x="739775" y="539750"/>
                  </a:lnTo>
                  <a:lnTo>
                    <a:pt x="736600" y="542925"/>
                  </a:lnTo>
                  <a:lnTo>
                    <a:pt x="733425" y="546100"/>
                  </a:lnTo>
                  <a:lnTo>
                    <a:pt x="730250" y="552450"/>
                  </a:lnTo>
                  <a:lnTo>
                    <a:pt x="727075" y="558800"/>
                  </a:lnTo>
                  <a:lnTo>
                    <a:pt x="720725" y="568325"/>
                  </a:lnTo>
                  <a:lnTo>
                    <a:pt x="717550" y="571500"/>
                  </a:lnTo>
                  <a:lnTo>
                    <a:pt x="714375" y="574675"/>
                  </a:lnTo>
                  <a:lnTo>
                    <a:pt x="711200" y="590550"/>
                  </a:lnTo>
                  <a:lnTo>
                    <a:pt x="711200" y="600075"/>
                  </a:lnTo>
                  <a:lnTo>
                    <a:pt x="698500" y="603250"/>
                  </a:lnTo>
                  <a:lnTo>
                    <a:pt x="688975" y="612775"/>
                  </a:lnTo>
                  <a:lnTo>
                    <a:pt x="688975" y="615950"/>
                  </a:lnTo>
                  <a:lnTo>
                    <a:pt x="685800" y="619125"/>
                  </a:lnTo>
                  <a:lnTo>
                    <a:pt x="657225" y="622300"/>
                  </a:lnTo>
                  <a:lnTo>
                    <a:pt x="647700" y="619125"/>
                  </a:lnTo>
                  <a:lnTo>
                    <a:pt x="641350" y="619125"/>
                  </a:lnTo>
                  <a:lnTo>
                    <a:pt x="635000" y="619125"/>
                  </a:lnTo>
                  <a:lnTo>
                    <a:pt x="631825" y="622300"/>
                  </a:lnTo>
                  <a:lnTo>
                    <a:pt x="631825" y="628650"/>
                  </a:lnTo>
                  <a:lnTo>
                    <a:pt x="619125" y="635000"/>
                  </a:lnTo>
                  <a:lnTo>
                    <a:pt x="606425" y="638175"/>
                  </a:lnTo>
                  <a:lnTo>
                    <a:pt x="593725" y="644525"/>
                  </a:lnTo>
                  <a:lnTo>
                    <a:pt x="581025" y="650875"/>
                  </a:lnTo>
                  <a:lnTo>
                    <a:pt x="581025" y="654050"/>
                  </a:lnTo>
                  <a:lnTo>
                    <a:pt x="577850" y="657225"/>
                  </a:lnTo>
                  <a:lnTo>
                    <a:pt x="574675" y="660400"/>
                  </a:lnTo>
                  <a:lnTo>
                    <a:pt x="561975" y="669925"/>
                  </a:lnTo>
                  <a:lnTo>
                    <a:pt x="552450" y="676275"/>
                  </a:lnTo>
                  <a:lnTo>
                    <a:pt x="549275" y="682625"/>
                  </a:lnTo>
                  <a:lnTo>
                    <a:pt x="549275" y="688975"/>
                  </a:lnTo>
                  <a:lnTo>
                    <a:pt x="546100" y="698500"/>
                  </a:lnTo>
                  <a:lnTo>
                    <a:pt x="546100" y="701675"/>
                  </a:lnTo>
                  <a:lnTo>
                    <a:pt x="546100" y="717550"/>
                  </a:lnTo>
                  <a:lnTo>
                    <a:pt x="546100" y="730250"/>
                  </a:lnTo>
                  <a:lnTo>
                    <a:pt x="546100" y="742950"/>
                  </a:lnTo>
                  <a:lnTo>
                    <a:pt x="546100" y="749300"/>
                  </a:lnTo>
                  <a:lnTo>
                    <a:pt x="542925" y="755650"/>
                  </a:lnTo>
                  <a:lnTo>
                    <a:pt x="523875" y="774700"/>
                  </a:lnTo>
                  <a:lnTo>
                    <a:pt x="514350" y="787400"/>
                  </a:lnTo>
                  <a:lnTo>
                    <a:pt x="511175" y="796925"/>
                  </a:lnTo>
                  <a:lnTo>
                    <a:pt x="495300" y="822325"/>
                  </a:lnTo>
                  <a:lnTo>
                    <a:pt x="473075" y="841375"/>
                  </a:lnTo>
                  <a:lnTo>
                    <a:pt x="473075" y="835025"/>
                  </a:lnTo>
                  <a:lnTo>
                    <a:pt x="476250" y="835025"/>
                  </a:lnTo>
                  <a:lnTo>
                    <a:pt x="482600" y="831850"/>
                  </a:lnTo>
                  <a:lnTo>
                    <a:pt x="492125" y="822325"/>
                  </a:lnTo>
                  <a:lnTo>
                    <a:pt x="495300" y="815975"/>
                  </a:lnTo>
                  <a:lnTo>
                    <a:pt x="501650" y="806450"/>
                  </a:lnTo>
                  <a:lnTo>
                    <a:pt x="504825" y="796925"/>
                  </a:lnTo>
                  <a:lnTo>
                    <a:pt x="501650" y="793750"/>
                  </a:lnTo>
                  <a:lnTo>
                    <a:pt x="498475" y="796925"/>
                  </a:lnTo>
                  <a:lnTo>
                    <a:pt x="488950" y="790575"/>
                  </a:lnTo>
                  <a:lnTo>
                    <a:pt x="482600" y="819150"/>
                  </a:lnTo>
                  <a:lnTo>
                    <a:pt x="473075" y="822325"/>
                  </a:lnTo>
                  <a:lnTo>
                    <a:pt x="469900" y="831850"/>
                  </a:lnTo>
                  <a:lnTo>
                    <a:pt x="469900" y="838200"/>
                  </a:lnTo>
                  <a:lnTo>
                    <a:pt x="469900" y="844550"/>
                  </a:lnTo>
                  <a:lnTo>
                    <a:pt x="466725" y="850900"/>
                  </a:lnTo>
                  <a:lnTo>
                    <a:pt x="460375" y="866775"/>
                  </a:lnTo>
                  <a:lnTo>
                    <a:pt x="454025" y="873125"/>
                  </a:lnTo>
                  <a:lnTo>
                    <a:pt x="444500" y="882650"/>
                  </a:lnTo>
                  <a:lnTo>
                    <a:pt x="441325" y="879475"/>
                  </a:lnTo>
                  <a:lnTo>
                    <a:pt x="441325" y="869950"/>
                  </a:lnTo>
                  <a:lnTo>
                    <a:pt x="444500" y="863600"/>
                  </a:lnTo>
                  <a:lnTo>
                    <a:pt x="447675" y="857250"/>
                  </a:lnTo>
                  <a:lnTo>
                    <a:pt x="441325" y="847725"/>
                  </a:lnTo>
                  <a:lnTo>
                    <a:pt x="434975" y="841375"/>
                  </a:lnTo>
                  <a:lnTo>
                    <a:pt x="425450" y="835025"/>
                  </a:lnTo>
                  <a:lnTo>
                    <a:pt x="409575" y="822325"/>
                  </a:lnTo>
                  <a:lnTo>
                    <a:pt x="403225" y="819150"/>
                  </a:lnTo>
                  <a:lnTo>
                    <a:pt x="400050" y="812800"/>
                  </a:lnTo>
                  <a:lnTo>
                    <a:pt x="396875" y="812800"/>
                  </a:lnTo>
                  <a:lnTo>
                    <a:pt x="390525" y="815975"/>
                  </a:lnTo>
                  <a:lnTo>
                    <a:pt x="387350" y="809625"/>
                  </a:lnTo>
                  <a:lnTo>
                    <a:pt x="381000" y="800100"/>
                  </a:lnTo>
                  <a:lnTo>
                    <a:pt x="371475" y="790575"/>
                  </a:lnTo>
                  <a:lnTo>
                    <a:pt x="365125" y="790575"/>
                  </a:lnTo>
                  <a:lnTo>
                    <a:pt x="361950" y="793750"/>
                  </a:lnTo>
                  <a:lnTo>
                    <a:pt x="352425" y="793750"/>
                  </a:lnTo>
                  <a:lnTo>
                    <a:pt x="390525" y="749300"/>
                  </a:lnTo>
                  <a:lnTo>
                    <a:pt x="396875" y="742950"/>
                  </a:lnTo>
                  <a:lnTo>
                    <a:pt x="412750" y="730250"/>
                  </a:lnTo>
                  <a:lnTo>
                    <a:pt x="425450" y="727075"/>
                  </a:lnTo>
                  <a:lnTo>
                    <a:pt x="428625" y="723900"/>
                  </a:lnTo>
                  <a:lnTo>
                    <a:pt x="431800" y="720725"/>
                  </a:lnTo>
                  <a:lnTo>
                    <a:pt x="434975" y="720725"/>
                  </a:lnTo>
                  <a:lnTo>
                    <a:pt x="438150" y="714375"/>
                  </a:lnTo>
                  <a:lnTo>
                    <a:pt x="438150" y="708025"/>
                  </a:lnTo>
                  <a:lnTo>
                    <a:pt x="434975" y="692150"/>
                  </a:lnTo>
                  <a:lnTo>
                    <a:pt x="431800" y="682625"/>
                  </a:lnTo>
                  <a:lnTo>
                    <a:pt x="425450" y="682625"/>
                  </a:lnTo>
                  <a:lnTo>
                    <a:pt x="419100" y="682625"/>
                  </a:lnTo>
                  <a:lnTo>
                    <a:pt x="422275" y="669925"/>
                  </a:lnTo>
                  <a:lnTo>
                    <a:pt x="425450" y="654050"/>
                  </a:lnTo>
                  <a:lnTo>
                    <a:pt x="425450" y="644525"/>
                  </a:lnTo>
                  <a:lnTo>
                    <a:pt x="419100" y="641350"/>
                  </a:lnTo>
                  <a:lnTo>
                    <a:pt x="415925" y="641350"/>
                  </a:lnTo>
                  <a:lnTo>
                    <a:pt x="412750" y="644525"/>
                  </a:lnTo>
                  <a:lnTo>
                    <a:pt x="403225" y="644525"/>
                  </a:lnTo>
                  <a:lnTo>
                    <a:pt x="396875" y="631825"/>
                  </a:lnTo>
                  <a:lnTo>
                    <a:pt x="396875" y="619125"/>
                  </a:lnTo>
                  <a:lnTo>
                    <a:pt x="393700" y="606425"/>
                  </a:lnTo>
                  <a:lnTo>
                    <a:pt x="377825" y="600075"/>
                  </a:lnTo>
                  <a:lnTo>
                    <a:pt x="365125" y="603250"/>
                  </a:lnTo>
                  <a:lnTo>
                    <a:pt x="361950" y="603250"/>
                  </a:lnTo>
                  <a:lnTo>
                    <a:pt x="352425" y="603250"/>
                  </a:lnTo>
                  <a:lnTo>
                    <a:pt x="349250" y="600075"/>
                  </a:lnTo>
                  <a:lnTo>
                    <a:pt x="346075" y="600075"/>
                  </a:lnTo>
                  <a:lnTo>
                    <a:pt x="346075" y="587375"/>
                  </a:lnTo>
                  <a:lnTo>
                    <a:pt x="349250" y="574675"/>
                  </a:lnTo>
                  <a:lnTo>
                    <a:pt x="346075" y="568325"/>
                  </a:lnTo>
                  <a:lnTo>
                    <a:pt x="339725" y="555625"/>
                  </a:lnTo>
                  <a:lnTo>
                    <a:pt x="349250" y="552450"/>
                  </a:lnTo>
                  <a:lnTo>
                    <a:pt x="342900" y="546100"/>
                  </a:lnTo>
                  <a:lnTo>
                    <a:pt x="352425" y="520700"/>
                  </a:lnTo>
                  <a:lnTo>
                    <a:pt x="352425" y="508000"/>
                  </a:lnTo>
                  <a:lnTo>
                    <a:pt x="349250" y="501650"/>
                  </a:lnTo>
                  <a:lnTo>
                    <a:pt x="346075" y="495300"/>
                  </a:lnTo>
                  <a:lnTo>
                    <a:pt x="336550" y="488950"/>
                  </a:lnTo>
                  <a:lnTo>
                    <a:pt x="333375" y="479425"/>
                  </a:lnTo>
                  <a:lnTo>
                    <a:pt x="333375" y="469900"/>
                  </a:lnTo>
                  <a:lnTo>
                    <a:pt x="320675" y="469900"/>
                  </a:lnTo>
                  <a:lnTo>
                    <a:pt x="304800" y="466725"/>
                  </a:lnTo>
                  <a:lnTo>
                    <a:pt x="298450" y="466725"/>
                  </a:lnTo>
                  <a:lnTo>
                    <a:pt x="298450" y="463550"/>
                  </a:lnTo>
                  <a:lnTo>
                    <a:pt x="295275" y="447675"/>
                  </a:lnTo>
                  <a:lnTo>
                    <a:pt x="288925" y="441325"/>
                  </a:lnTo>
                  <a:lnTo>
                    <a:pt x="292100" y="434975"/>
                  </a:lnTo>
                  <a:lnTo>
                    <a:pt x="292100" y="425450"/>
                  </a:lnTo>
                  <a:lnTo>
                    <a:pt x="292100" y="422275"/>
                  </a:lnTo>
                  <a:lnTo>
                    <a:pt x="292100" y="415925"/>
                  </a:lnTo>
                  <a:lnTo>
                    <a:pt x="288925" y="412750"/>
                  </a:lnTo>
                  <a:lnTo>
                    <a:pt x="282575" y="409575"/>
                  </a:lnTo>
                  <a:lnTo>
                    <a:pt x="269875" y="406400"/>
                  </a:lnTo>
                  <a:lnTo>
                    <a:pt x="260350" y="406400"/>
                  </a:lnTo>
                  <a:lnTo>
                    <a:pt x="247650" y="396875"/>
                  </a:lnTo>
                  <a:lnTo>
                    <a:pt x="231775" y="387350"/>
                  </a:lnTo>
                  <a:lnTo>
                    <a:pt x="222250" y="384175"/>
                  </a:lnTo>
                  <a:lnTo>
                    <a:pt x="215900" y="384175"/>
                  </a:lnTo>
                  <a:lnTo>
                    <a:pt x="209550" y="384175"/>
                  </a:lnTo>
                  <a:lnTo>
                    <a:pt x="200025" y="377825"/>
                  </a:lnTo>
                  <a:lnTo>
                    <a:pt x="193675" y="371475"/>
                  </a:lnTo>
                  <a:lnTo>
                    <a:pt x="190500" y="368300"/>
                  </a:lnTo>
                  <a:lnTo>
                    <a:pt x="187325" y="361950"/>
                  </a:lnTo>
                  <a:lnTo>
                    <a:pt x="184150" y="349250"/>
                  </a:lnTo>
                  <a:lnTo>
                    <a:pt x="184150" y="339725"/>
                  </a:lnTo>
                  <a:lnTo>
                    <a:pt x="187325" y="336550"/>
                  </a:lnTo>
                  <a:lnTo>
                    <a:pt x="187325" y="323850"/>
                  </a:lnTo>
                  <a:lnTo>
                    <a:pt x="177800" y="323850"/>
                  </a:lnTo>
                  <a:lnTo>
                    <a:pt x="171450" y="323850"/>
                  </a:lnTo>
                  <a:lnTo>
                    <a:pt x="165100" y="327025"/>
                  </a:lnTo>
                  <a:lnTo>
                    <a:pt x="158750" y="327025"/>
                  </a:lnTo>
                  <a:lnTo>
                    <a:pt x="152400" y="330200"/>
                  </a:lnTo>
                  <a:lnTo>
                    <a:pt x="142875" y="339725"/>
                  </a:lnTo>
                  <a:lnTo>
                    <a:pt x="136525" y="342900"/>
                  </a:lnTo>
                  <a:lnTo>
                    <a:pt x="133350" y="342900"/>
                  </a:lnTo>
                  <a:lnTo>
                    <a:pt x="123825" y="349250"/>
                  </a:lnTo>
                  <a:lnTo>
                    <a:pt x="111125" y="352425"/>
                  </a:lnTo>
                  <a:lnTo>
                    <a:pt x="107950" y="349250"/>
                  </a:lnTo>
                  <a:lnTo>
                    <a:pt x="95250" y="349250"/>
                  </a:lnTo>
                  <a:lnTo>
                    <a:pt x="85725" y="349250"/>
                  </a:lnTo>
                  <a:lnTo>
                    <a:pt x="82550" y="352425"/>
                  </a:lnTo>
                  <a:lnTo>
                    <a:pt x="76200" y="352425"/>
                  </a:lnTo>
                  <a:lnTo>
                    <a:pt x="73025" y="349250"/>
                  </a:lnTo>
                  <a:lnTo>
                    <a:pt x="73025" y="333375"/>
                  </a:lnTo>
                  <a:lnTo>
                    <a:pt x="73025" y="327025"/>
                  </a:lnTo>
                  <a:lnTo>
                    <a:pt x="73025" y="317500"/>
                  </a:lnTo>
                  <a:lnTo>
                    <a:pt x="66675" y="320675"/>
                  </a:lnTo>
                  <a:lnTo>
                    <a:pt x="60325" y="327025"/>
                  </a:lnTo>
                  <a:lnTo>
                    <a:pt x="50800" y="330200"/>
                  </a:lnTo>
                  <a:lnTo>
                    <a:pt x="38100" y="330200"/>
                  </a:lnTo>
                  <a:lnTo>
                    <a:pt x="38100" y="323850"/>
                  </a:lnTo>
                  <a:lnTo>
                    <a:pt x="31750" y="317500"/>
                  </a:lnTo>
                  <a:lnTo>
                    <a:pt x="25400" y="317500"/>
                  </a:lnTo>
                  <a:lnTo>
                    <a:pt x="15875" y="317500"/>
                  </a:lnTo>
                  <a:lnTo>
                    <a:pt x="22225" y="307975"/>
                  </a:lnTo>
                  <a:lnTo>
                    <a:pt x="15875" y="301625"/>
                  </a:lnTo>
                  <a:lnTo>
                    <a:pt x="6350" y="285750"/>
                  </a:lnTo>
                  <a:lnTo>
                    <a:pt x="0" y="276225"/>
                  </a:lnTo>
                  <a:lnTo>
                    <a:pt x="3175" y="273050"/>
                  </a:lnTo>
                  <a:lnTo>
                    <a:pt x="6350" y="269875"/>
                  </a:lnTo>
                  <a:lnTo>
                    <a:pt x="3175" y="266700"/>
                  </a:lnTo>
                  <a:lnTo>
                    <a:pt x="9525" y="257175"/>
                  </a:lnTo>
                  <a:lnTo>
                    <a:pt x="12700" y="254000"/>
                  </a:lnTo>
                  <a:lnTo>
                    <a:pt x="15875" y="247650"/>
                  </a:lnTo>
                  <a:lnTo>
                    <a:pt x="19050" y="234950"/>
                  </a:lnTo>
                  <a:lnTo>
                    <a:pt x="22225" y="225425"/>
                  </a:lnTo>
                  <a:lnTo>
                    <a:pt x="25400" y="222250"/>
                  </a:lnTo>
                  <a:lnTo>
                    <a:pt x="38100" y="215900"/>
                  </a:lnTo>
                  <a:lnTo>
                    <a:pt x="47625" y="209550"/>
                  </a:lnTo>
                  <a:lnTo>
                    <a:pt x="63500" y="206375"/>
                  </a:lnTo>
                  <a:lnTo>
                    <a:pt x="76200" y="203200"/>
                  </a:lnTo>
                  <a:lnTo>
                    <a:pt x="85725" y="203200"/>
                  </a:lnTo>
                  <a:lnTo>
                    <a:pt x="98425" y="149225"/>
                  </a:lnTo>
                  <a:lnTo>
                    <a:pt x="98425" y="136525"/>
                  </a:lnTo>
                  <a:lnTo>
                    <a:pt x="95250" y="133350"/>
                  </a:lnTo>
                  <a:lnTo>
                    <a:pt x="95250" y="123825"/>
                  </a:lnTo>
                  <a:lnTo>
                    <a:pt x="85725" y="120650"/>
                  </a:lnTo>
                  <a:lnTo>
                    <a:pt x="85725" y="104775"/>
                  </a:lnTo>
                  <a:lnTo>
                    <a:pt x="85725" y="101600"/>
                  </a:lnTo>
                  <a:lnTo>
                    <a:pt x="92075" y="98425"/>
                  </a:lnTo>
                  <a:lnTo>
                    <a:pt x="98425" y="98425"/>
                  </a:lnTo>
                  <a:lnTo>
                    <a:pt x="101600" y="101600"/>
                  </a:lnTo>
                  <a:lnTo>
                    <a:pt x="104775" y="95250"/>
                  </a:lnTo>
                  <a:lnTo>
                    <a:pt x="101600" y="92075"/>
                  </a:lnTo>
                  <a:lnTo>
                    <a:pt x="88900" y="92075"/>
                  </a:lnTo>
                  <a:lnTo>
                    <a:pt x="88900" y="76200"/>
                  </a:lnTo>
                  <a:lnTo>
                    <a:pt x="98425" y="76200"/>
                  </a:lnTo>
                  <a:lnTo>
                    <a:pt x="127000" y="76200"/>
                  </a:lnTo>
                  <a:lnTo>
                    <a:pt x="136525" y="69850"/>
                  </a:lnTo>
                  <a:lnTo>
                    <a:pt x="142875" y="69850"/>
                  </a:lnTo>
                  <a:lnTo>
                    <a:pt x="149225" y="76200"/>
                  </a:lnTo>
                  <a:lnTo>
                    <a:pt x="149225" y="85725"/>
                  </a:lnTo>
                  <a:lnTo>
                    <a:pt x="149225" y="88900"/>
                  </a:lnTo>
                  <a:lnTo>
                    <a:pt x="152400" y="88900"/>
                  </a:lnTo>
                  <a:lnTo>
                    <a:pt x="161925" y="95250"/>
                  </a:lnTo>
                  <a:lnTo>
                    <a:pt x="171450" y="98425"/>
                  </a:lnTo>
                  <a:lnTo>
                    <a:pt x="184150" y="98425"/>
                  </a:lnTo>
                  <a:lnTo>
                    <a:pt x="190500" y="92075"/>
                  </a:lnTo>
                  <a:lnTo>
                    <a:pt x="196850" y="85725"/>
                  </a:lnTo>
                  <a:lnTo>
                    <a:pt x="203200" y="82550"/>
                  </a:lnTo>
                  <a:lnTo>
                    <a:pt x="206375" y="82550"/>
                  </a:lnTo>
                  <a:lnTo>
                    <a:pt x="215900" y="73025"/>
                  </a:lnTo>
                  <a:lnTo>
                    <a:pt x="228600" y="66675"/>
                  </a:lnTo>
                  <a:lnTo>
                    <a:pt x="228600" y="63500"/>
                  </a:lnTo>
                  <a:lnTo>
                    <a:pt x="225425" y="60325"/>
                  </a:lnTo>
                  <a:lnTo>
                    <a:pt x="219075" y="60325"/>
                  </a:lnTo>
                  <a:lnTo>
                    <a:pt x="215900" y="57150"/>
                  </a:lnTo>
                  <a:lnTo>
                    <a:pt x="209550" y="41275"/>
                  </a:lnTo>
                  <a:lnTo>
                    <a:pt x="206375" y="38100"/>
                  </a:lnTo>
                  <a:lnTo>
                    <a:pt x="203200" y="28575"/>
                  </a:lnTo>
                  <a:lnTo>
                    <a:pt x="196850" y="22225"/>
                  </a:lnTo>
                  <a:lnTo>
                    <a:pt x="206375" y="25400"/>
                  </a:lnTo>
                  <a:lnTo>
                    <a:pt x="212725" y="28575"/>
                  </a:lnTo>
                  <a:lnTo>
                    <a:pt x="215900" y="28575"/>
                  </a:lnTo>
                  <a:lnTo>
                    <a:pt x="228600" y="28575"/>
                  </a:lnTo>
                  <a:lnTo>
                    <a:pt x="238125" y="34925"/>
                  </a:lnTo>
                  <a:lnTo>
                    <a:pt x="241300" y="34925"/>
                  </a:lnTo>
                  <a:lnTo>
                    <a:pt x="244475" y="28575"/>
                  </a:lnTo>
                  <a:lnTo>
                    <a:pt x="250825" y="25400"/>
                  </a:lnTo>
                  <a:lnTo>
                    <a:pt x="254000" y="25400"/>
                  </a:lnTo>
                  <a:lnTo>
                    <a:pt x="257175" y="25400"/>
                  </a:lnTo>
                  <a:lnTo>
                    <a:pt x="266700" y="22225"/>
                  </a:lnTo>
                  <a:lnTo>
                    <a:pt x="279400" y="19050"/>
                  </a:lnTo>
                  <a:lnTo>
                    <a:pt x="288925" y="9525"/>
                  </a:lnTo>
                  <a:lnTo>
                    <a:pt x="285750" y="317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5" name="Freeform 877">
              <a:extLst>
                <a:ext uri="{FF2B5EF4-FFF2-40B4-BE49-F238E27FC236}">
                  <a16:creationId xmlns:a16="http://schemas.microsoft.com/office/drawing/2014/main" id="{34B6B104-62A2-4CC4-A686-6C59FEFDE4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8925" y="4538663"/>
              <a:ext cx="257175" cy="295275"/>
            </a:xfrm>
            <a:custGeom>
              <a:avLst/>
              <a:gdLst/>
              <a:ahLst/>
              <a:cxnLst>
                <a:cxn ang="0">
                  <a:pos x="10" y="42"/>
                </a:cxn>
                <a:cxn ang="0">
                  <a:pos x="8" y="62"/>
                </a:cxn>
                <a:cxn ang="0">
                  <a:pos x="4" y="68"/>
                </a:cxn>
                <a:cxn ang="0">
                  <a:pos x="2" y="76"/>
                </a:cxn>
                <a:cxn ang="0">
                  <a:pos x="2" y="84"/>
                </a:cxn>
                <a:cxn ang="0">
                  <a:pos x="6" y="90"/>
                </a:cxn>
                <a:cxn ang="0">
                  <a:pos x="8" y="96"/>
                </a:cxn>
                <a:cxn ang="0">
                  <a:pos x="0" y="104"/>
                </a:cxn>
                <a:cxn ang="0">
                  <a:pos x="0" y="108"/>
                </a:cxn>
                <a:cxn ang="0">
                  <a:pos x="6" y="116"/>
                </a:cxn>
                <a:cxn ang="0">
                  <a:pos x="10" y="132"/>
                </a:cxn>
                <a:cxn ang="0">
                  <a:pos x="12" y="140"/>
                </a:cxn>
                <a:cxn ang="0">
                  <a:pos x="12" y="146"/>
                </a:cxn>
                <a:cxn ang="0">
                  <a:pos x="14" y="156"/>
                </a:cxn>
                <a:cxn ang="0">
                  <a:pos x="20" y="172"/>
                </a:cxn>
                <a:cxn ang="0">
                  <a:pos x="24" y="180"/>
                </a:cxn>
                <a:cxn ang="0">
                  <a:pos x="32" y="184"/>
                </a:cxn>
                <a:cxn ang="0">
                  <a:pos x="42" y="174"/>
                </a:cxn>
                <a:cxn ang="0">
                  <a:pos x="46" y="170"/>
                </a:cxn>
                <a:cxn ang="0">
                  <a:pos x="56" y="174"/>
                </a:cxn>
                <a:cxn ang="0">
                  <a:pos x="66" y="174"/>
                </a:cxn>
                <a:cxn ang="0">
                  <a:pos x="72" y="186"/>
                </a:cxn>
                <a:cxn ang="0">
                  <a:pos x="76" y="174"/>
                </a:cxn>
                <a:cxn ang="0">
                  <a:pos x="88" y="172"/>
                </a:cxn>
                <a:cxn ang="0">
                  <a:pos x="94" y="176"/>
                </a:cxn>
                <a:cxn ang="0">
                  <a:pos x="100" y="158"/>
                </a:cxn>
                <a:cxn ang="0">
                  <a:pos x="100" y="150"/>
                </a:cxn>
                <a:cxn ang="0">
                  <a:pos x="106" y="138"/>
                </a:cxn>
                <a:cxn ang="0">
                  <a:pos x="120" y="136"/>
                </a:cxn>
                <a:cxn ang="0">
                  <a:pos x="138" y="134"/>
                </a:cxn>
                <a:cxn ang="0">
                  <a:pos x="150" y="138"/>
                </a:cxn>
                <a:cxn ang="0">
                  <a:pos x="154" y="146"/>
                </a:cxn>
                <a:cxn ang="0">
                  <a:pos x="156" y="140"/>
                </a:cxn>
                <a:cxn ang="0">
                  <a:pos x="162" y="116"/>
                </a:cxn>
                <a:cxn ang="0">
                  <a:pos x="158" y="108"/>
                </a:cxn>
                <a:cxn ang="0">
                  <a:pos x="150" y="98"/>
                </a:cxn>
                <a:cxn ang="0">
                  <a:pos x="142" y="92"/>
                </a:cxn>
                <a:cxn ang="0">
                  <a:pos x="128" y="90"/>
                </a:cxn>
                <a:cxn ang="0">
                  <a:pos x="126" y="78"/>
                </a:cxn>
                <a:cxn ang="0">
                  <a:pos x="124" y="70"/>
                </a:cxn>
                <a:cxn ang="0">
                  <a:pos x="124" y="62"/>
                </a:cxn>
                <a:cxn ang="0">
                  <a:pos x="122" y="56"/>
                </a:cxn>
                <a:cxn ang="0">
                  <a:pos x="110" y="52"/>
                </a:cxn>
                <a:cxn ang="0">
                  <a:pos x="96" y="46"/>
                </a:cxn>
                <a:cxn ang="0">
                  <a:pos x="80" y="38"/>
                </a:cxn>
                <a:cxn ang="0">
                  <a:pos x="72" y="38"/>
                </a:cxn>
                <a:cxn ang="0">
                  <a:pos x="62" y="30"/>
                </a:cxn>
                <a:cxn ang="0">
                  <a:pos x="58" y="24"/>
                </a:cxn>
                <a:cxn ang="0">
                  <a:pos x="56" y="16"/>
                </a:cxn>
                <a:cxn ang="0">
                  <a:pos x="58" y="8"/>
                </a:cxn>
                <a:cxn ang="0">
                  <a:pos x="52" y="0"/>
                </a:cxn>
                <a:cxn ang="0">
                  <a:pos x="44" y="2"/>
                </a:cxn>
                <a:cxn ang="0">
                  <a:pos x="36" y="4"/>
                </a:cxn>
                <a:cxn ang="0">
                  <a:pos x="26" y="12"/>
                </a:cxn>
                <a:cxn ang="0">
                  <a:pos x="24" y="12"/>
                </a:cxn>
                <a:cxn ang="0">
                  <a:pos x="10" y="18"/>
                </a:cxn>
                <a:cxn ang="0">
                  <a:pos x="8" y="16"/>
                </a:cxn>
                <a:cxn ang="0">
                  <a:pos x="8" y="32"/>
                </a:cxn>
              </a:cxnLst>
              <a:rect l="0" t="0" r="r" b="b"/>
              <a:pathLst>
                <a:path w="162" h="186">
                  <a:moveTo>
                    <a:pt x="12" y="38"/>
                  </a:moveTo>
                  <a:lnTo>
                    <a:pt x="10" y="42"/>
                  </a:lnTo>
                  <a:lnTo>
                    <a:pt x="8" y="44"/>
                  </a:lnTo>
                  <a:lnTo>
                    <a:pt x="8" y="62"/>
                  </a:lnTo>
                  <a:lnTo>
                    <a:pt x="6" y="66"/>
                  </a:lnTo>
                  <a:lnTo>
                    <a:pt x="4" y="68"/>
                  </a:lnTo>
                  <a:lnTo>
                    <a:pt x="2" y="70"/>
                  </a:lnTo>
                  <a:lnTo>
                    <a:pt x="2" y="76"/>
                  </a:lnTo>
                  <a:lnTo>
                    <a:pt x="2" y="82"/>
                  </a:lnTo>
                  <a:lnTo>
                    <a:pt x="2" y="84"/>
                  </a:lnTo>
                  <a:lnTo>
                    <a:pt x="4" y="90"/>
                  </a:lnTo>
                  <a:lnTo>
                    <a:pt x="6" y="90"/>
                  </a:lnTo>
                  <a:lnTo>
                    <a:pt x="6" y="92"/>
                  </a:lnTo>
                  <a:lnTo>
                    <a:pt x="8" y="96"/>
                  </a:lnTo>
                  <a:lnTo>
                    <a:pt x="4" y="100"/>
                  </a:lnTo>
                  <a:lnTo>
                    <a:pt x="0" y="104"/>
                  </a:lnTo>
                  <a:lnTo>
                    <a:pt x="0" y="106"/>
                  </a:lnTo>
                  <a:lnTo>
                    <a:pt x="0" y="108"/>
                  </a:lnTo>
                  <a:lnTo>
                    <a:pt x="2" y="112"/>
                  </a:lnTo>
                  <a:lnTo>
                    <a:pt x="6" y="116"/>
                  </a:lnTo>
                  <a:lnTo>
                    <a:pt x="8" y="124"/>
                  </a:lnTo>
                  <a:lnTo>
                    <a:pt x="10" y="132"/>
                  </a:lnTo>
                  <a:lnTo>
                    <a:pt x="14" y="136"/>
                  </a:lnTo>
                  <a:lnTo>
                    <a:pt x="12" y="140"/>
                  </a:lnTo>
                  <a:lnTo>
                    <a:pt x="14" y="142"/>
                  </a:lnTo>
                  <a:lnTo>
                    <a:pt x="12" y="146"/>
                  </a:lnTo>
                  <a:lnTo>
                    <a:pt x="10" y="150"/>
                  </a:lnTo>
                  <a:lnTo>
                    <a:pt x="14" y="156"/>
                  </a:lnTo>
                  <a:lnTo>
                    <a:pt x="18" y="164"/>
                  </a:lnTo>
                  <a:lnTo>
                    <a:pt x="20" y="172"/>
                  </a:lnTo>
                  <a:lnTo>
                    <a:pt x="22" y="174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32" y="184"/>
                  </a:lnTo>
                  <a:lnTo>
                    <a:pt x="36" y="180"/>
                  </a:lnTo>
                  <a:lnTo>
                    <a:pt x="42" y="174"/>
                  </a:lnTo>
                  <a:lnTo>
                    <a:pt x="44" y="172"/>
                  </a:lnTo>
                  <a:lnTo>
                    <a:pt x="46" y="170"/>
                  </a:lnTo>
                  <a:lnTo>
                    <a:pt x="50" y="174"/>
                  </a:lnTo>
                  <a:lnTo>
                    <a:pt x="56" y="174"/>
                  </a:lnTo>
                  <a:lnTo>
                    <a:pt x="62" y="174"/>
                  </a:lnTo>
                  <a:lnTo>
                    <a:pt x="66" y="174"/>
                  </a:lnTo>
                  <a:lnTo>
                    <a:pt x="68" y="178"/>
                  </a:lnTo>
                  <a:lnTo>
                    <a:pt x="72" y="186"/>
                  </a:lnTo>
                  <a:lnTo>
                    <a:pt x="74" y="178"/>
                  </a:lnTo>
                  <a:lnTo>
                    <a:pt x="76" y="174"/>
                  </a:lnTo>
                  <a:lnTo>
                    <a:pt x="80" y="172"/>
                  </a:lnTo>
                  <a:lnTo>
                    <a:pt x="88" y="172"/>
                  </a:lnTo>
                  <a:lnTo>
                    <a:pt x="92" y="172"/>
                  </a:lnTo>
                  <a:lnTo>
                    <a:pt x="94" y="176"/>
                  </a:lnTo>
                  <a:lnTo>
                    <a:pt x="96" y="168"/>
                  </a:lnTo>
                  <a:lnTo>
                    <a:pt x="100" y="158"/>
                  </a:lnTo>
                  <a:lnTo>
                    <a:pt x="100" y="154"/>
                  </a:lnTo>
                  <a:lnTo>
                    <a:pt x="100" y="150"/>
                  </a:lnTo>
                  <a:lnTo>
                    <a:pt x="106" y="142"/>
                  </a:lnTo>
                  <a:lnTo>
                    <a:pt x="106" y="138"/>
                  </a:lnTo>
                  <a:lnTo>
                    <a:pt x="112" y="138"/>
                  </a:lnTo>
                  <a:lnTo>
                    <a:pt x="120" y="136"/>
                  </a:lnTo>
                  <a:lnTo>
                    <a:pt x="128" y="134"/>
                  </a:lnTo>
                  <a:lnTo>
                    <a:pt x="138" y="134"/>
                  </a:lnTo>
                  <a:lnTo>
                    <a:pt x="142" y="134"/>
                  </a:lnTo>
                  <a:lnTo>
                    <a:pt x="150" y="138"/>
                  </a:lnTo>
                  <a:lnTo>
                    <a:pt x="154" y="142"/>
                  </a:lnTo>
                  <a:lnTo>
                    <a:pt x="154" y="146"/>
                  </a:lnTo>
                  <a:lnTo>
                    <a:pt x="160" y="144"/>
                  </a:lnTo>
                  <a:lnTo>
                    <a:pt x="156" y="140"/>
                  </a:lnTo>
                  <a:lnTo>
                    <a:pt x="162" y="124"/>
                  </a:lnTo>
                  <a:lnTo>
                    <a:pt x="162" y="116"/>
                  </a:lnTo>
                  <a:lnTo>
                    <a:pt x="160" y="112"/>
                  </a:lnTo>
                  <a:lnTo>
                    <a:pt x="158" y="108"/>
                  </a:lnTo>
                  <a:lnTo>
                    <a:pt x="152" y="104"/>
                  </a:lnTo>
                  <a:lnTo>
                    <a:pt x="150" y="98"/>
                  </a:lnTo>
                  <a:lnTo>
                    <a:pt x="150" y="92"/>
                  </a:lnTo>
                  <a:lnTo>
                    <a:pt x="142" y="92"/>
                  </a:lnTo>
                  <a:lnTo>
                    <a:pt x="132" y="90"/>
                  </a:lnTo>
                  <a:lnTo>
                    <a:pt x="128" y="90"/>
                  </a:lnTo>
                  <a:lnTo>
                    <a:pt x="128" y="88"/>
                  </a:lnTo>
                  <a:lnTo>
                    <a:pt x="126" y="78"/>
                  </a:lnTo>
                  <a:lnTo>
                    <a:pt x="122" y="74"/>
                  </a:lnTo>
                  <a:lnTo>
                    <a:pt x="124" y="70"/>
                  </a:lnTo>
                  <a:lnTo>
                    <a:pt x="124" y="64"/>
                  </a:lnTo>
                  <a:lnTo>
                    <a:pt x="124" y="62"/>
                  </a:lnTo>
                  <a:lnTo>
                    <a:pt x="124" y="58"/>
                  </a:lnTo>
                  <a:lnTo>
                    <a:pt x="122" y="56"/>
                  </a:lnTo>
                  <a:lnTo>
                    <a:pt x="118" y="54"/>
                  </a:lnTo>
                  <a:lnTo>
                    <a:pt x="110" y="52"/>
                  </a:lnTo>
                  <a:lnTo>
                    <a:pt x="104" y="52"/>
                  </a:lnTo>
                  <a:lnTo>
                    <a:pt x="96" y="46"/>
                  </a:lnTo>
                  <a:lnTo>
                    <a:pt x="86" y="40"/>
                  </a:lnTo>
                  <a:lnTo>
                    <a:pt x="80" y="38"/>
                  </a:lnTo>
                  <a:lnTo>
                    <a:pt x="76" y="38"/>
                  </a:lnTo>
                  <a:lnTo>
                    <a:pt x="72" y="38"/>
                  </a:lnTo>
                  <a:lnTo>
                    <a:pt x="66" y="34"/>
                  </a:lnTo>
                  <a:lnTo>
                    <a:pt x="62" y="30"/>
                  </a:lnTo>
                  <a:lnTo>
                    <a:pt x="60" y="28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6" y="16"/>
                  </a:lnTo>
                  <a:lnTo>
                    <a:pt x="56" y="10"/>
                  </a:lnTo>
                  <a:lnTo>
                    <a:pt x="58" y="8"/>
                  </a:lnTo>
                  <a:lnTo>
                    <a:pt x="58" y="0"/>
                  </a:lnTo>
                  <a:lnTo>
                    <a:pt x="52" y="0"/>
                  </a:lnTo>
                  <a:lnTo>
                    <a:pt x="48" y="0"/>
                  </a:lnTo>
                  <a:lnTo>
                    <a:pt x="44" y="2"/>
                  </a:lnTo>
                  <a:lnTo>
                    <a:pt x="40" y="2"/>
                  </a:lnTo>
                  <a:lnTo>
                    <a:pt x="36" y="4"/>
                  </a:lnTo>
                  <a:lnTo>
                    <a:pt x="30" y="10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18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8" y="16"/>
                  </a:lnTo>
                  <a:lnTo>
                    <a:pt x="0" y="16"/>
                  </a:lnTo>
                  <a:lnTo>
                    <a:pt x="8" y="32"/>
                  </a:lnTo>
                  <a:lnTo>
                    <a:pt x="12" y="38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6" name="Freeform 881">
              <a:extLst>
                <a:ext uri="{FF2B5EF4-FFF2-40B4-BE49-F238E27FC236}">
                  <a16:creationId xmlns:a16="http://schemas.microsoft.com/office/drawing/2014/main" id="{6A9704E1-5143-4D66-9A5A-0A8B8E14C37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8150" y="4751388"/>
              <a:ext cx="180975" cy="190500"/>
            </a:xfrm>
            <a:custGeom>
              <a:avLst/>
              <a:gdLst/>
              <a:ahLst/>
              <a:cxnLst>
                <a:cxn ang="0">
                  <a:pos x="56" y="4"/>
                </a:cxn>
                <a:cxn ang="0">
                  <a:pos x="48" y="0"/>
                </a:cxn>
                <a:cxn ang="0">
                  <a:pos x="44" y="0"/>
                </a:cxn>
                <a:cxn ang="0">
                  <a:pos x="34" y="0"/>
                </a:cxn>
                <a:cxn ang="0">
                  <a:pos x="26" y="2"/>
                </a:cxn>
                <a:cxn ang="0">
                  <a:pos x="18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6" y="16"/>
                </a:cxn>
                <a:cxn ang="0">
                  <a:pos x="6" y="20"/>
                </a:cxn>
                <a:cxn ang="0">
                  <a:pos x="6" y="24"/>
                </a:cxn>
                <a:cxn ang="0">
                  <a:pos x="2" y="34"/>
                </a:cxn>
                <a:cxn ang="0">
                  <a:pos x="0" y="42"/>
                </a:cxn>
                <a:cxn ang="0">
                  <a:pos x="6" y="48"/>
                </a:cxn>
                <a:cxn ang="0">
                  <a:pos x="10" y="54"/>
                </a:cxn>
                <a:cxn ang="0">
                  <a:pos x="20" y="62"/>
                </a:cxn>
                <a:cxn ang="0">
                  <a:pos x="24" y="66"/>
                </a:cxn>
                <a:cxn ang="0">
                  <a:pos x="32" y="68"/>
                </a:cxn>
                <a:cxn ang="0">
                  <a:pos x="40" y="72"/>
                </a:cxn>
                <a:cxn ang="0">
                  <a:pos x="48" y="76"/>
                </a:cxn>
                <a:cxn ang="0">
                  <a:pos x="56" y="80"/>
                </a:cxn>
                <a:cxn ang="0">
                  <a:pos x="62" y="82"/>
                </a:cxn>
                <a:cxn ang="0">
                  <a:pos x="66" y="86"/>
                </a:cxn>
                <a:cxn ang="0">
                  <a:pos x="70" y="90"/>
                </a:cxn>
                <a:cxn ang="0">
                  <a:pos x="66" y="94"/>
                </a:cxn>
                <a:cxn ang="0">
                  <a:pos x="60" y="106"/>
                </a:cxn>
                <a:cxn ang="0">
                  <a:pos x="58" y="112"/>
                </a:cxn>
                <a:cxn ang="0">
                  <a:pos x="56" y="118"/>
                </a:cxn>
                <a:cxn ang="0">
                  <a:pos x="64" y="118"/>
                </a:cxn>
                <a:cxn ang="0">
                  <a:pos x="70" y="120"/>
                </a:cxn>
                <a:cxn ang="0">
                  <a:pos x="78" y="120"/>
                </a:cxn>
                <a:cxn ang="0">
                  <a:pos x="86" y="120"/>
                </a:cxn>
                <a:cxn ang="0">
                  <a:pos x="92" y="118"/>
                </a:cxn>
                <a:cxn ang="0">
                  <a:pos x="94" y="118"/>
                </a:cxn>
                <a:cxn ang="0">
                  <a:pos x="98" y="116"/>
                </a:cxn>
                <a:cxn ang="0">
                  <a:pos x="106" y="108"/>
                </a:cxn>
                <a:cxn ang="0">
                  <a:pos x="108" y="100"/>
                </a:cxn>
                <a:cxn ang="0">
                  <a:pos x="110" y="92"/>
                </a:cxn>
                <a:cxn ang="0">
                  <a:pos x="112" y="84"/>
                </a:cxn>
                <a:cxn ang="0">
                  <a:pos x="114" y="74"/>
                </a:cxn>
                <a:cxn ang="0">
                  <a:pos x="114" y="68"/>
                </a:cxn>
                <a:cxn ang="0">
                  <a:pos x="110" y="66"/>
                </a:cxn>
                <a:cxn ang="0">
                  <a:pos x="108" y="66"/>
                </a:cxn>
                <a:cxn ang="0">
                  <a:pos x="106" y="68"/>
                </a:cxn>
                <a:cxn ang="0">
                  <a:pos x="100" y="68"/>
                </a:cxn>
                <a:cxn ang="0">
                  <a:pos x="96" y="60"/>
                </a:cxn>
                <a:cxn ang="0">
                  <a:pos x="96" y="52"/>
                </a:cxn>
                <a:cxn ang="0">
                  <a:pos x="94" y="44"/>
                </a:cxn>
                <a:cxn ang="0">
                  <a:pos x="84" y="40"/>
                </a:cxn>
                <a:cxn ang="0">
                  <a:pos x="76" y="42"/>
                </a:cxn>
                <a:cxn ang="0">
                  <a:pos x="76" y="42"/>
                </a:cxn>
                <a:cxn ang="0">
                  <a:pos x="74" y="42"/>
                </a:cxn>
                <a:cxn ang="0">
                  <a:pos x="68" y="42"/>
                </a:cxn>
                <a:cxn ang="0">
                  <a:pos x="66" y="40"/>
                </a:cxn>
                <a:cxn ang="0">
                  <a:pos x="64" y="40"/>
                </a:cxn>
                <a:cxn ang="0">
                  <a:pos x="64" y="32"/>
                </a:cxn>
                <a:cxn ang="0">
                  <a:pos x="66" y="24"/>
                </a:cxn>
                <a:cxn ang="0">
                  <a:pos x="64" y="20"/>
                </a:cxn>
                <a:cxn ang="0">
                  <a:pos x="60" y="12"/>
                </a:cxn>
                <a:cxn ang="0">
                  <a:pos x="60" y="8"/>
                </a:cxn>
                <a:cxn ang="0">
                  <a:pos x="56" y="4"/>
                </a:cxn>
              </a:cxnLst>
              <a:rect l="0" t="0" r="r" b="b"/>
              <a:pathLst>
                <a:path w="114" h="120">
                  <a:moveTo>
                    <a:pt x="56" y="4"/>
                  </a:moveTo>
                  <a:lnTo>
                    <a:pt x="48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6" y="2"/>
                  </a:lnTo>
                  <a:lnTo>
                    <a:pt x="18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6" y="16"/>
                  </a:lnTo>
                  <a:lnTo>
                    <a:pt x="6" y="20"/>
                  </a:lnTo>
                  <a:lnTo>
                    <a:pt x="6" y="24"/>
                  </a:lnTo>
                  <a:lnTo>
                    <a:pt x="2" y="34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0" y="54"/>
                  </a:lnTo>
                  <a:lnTo>
                    <a:pt x="20" y="62"/>
                  </a:lnTo>
                  <a:lnTo>
                    <a:pt x="24" y="66"/>
                  </a:lnTo>
                  <a:lnTo>
                    <a:pt x="32" y="68"/>
                  </a:lnTo>
                  <a:lnTo>
                    <a:pt x="40" y="72"/>
                  </a:lnTo>
                  <a:lnTo>
                    <a:pt x="48" y="76"/>
                  </a:lnTo>
                  <a:lnTo>
                    <a:pt x="56" y="80"/>
                  </a:lnTo>
                  <a:lnTo>
                    <a:pt x="62" y="82"/>
                  </a:lnTo>
                  <a:lnTo>
                    <a:pt x="66" y="86"/>
                  </a:lnTo>
                  <a:lnTo>
                    <a:pt x="70" y="90"/>
                  </a:lnTo>
                  <a:lnTo>
                    <a:pt x="66" y="94"/>
                  </a:lnTo>
                  <a:lnTo>
                    <a:pt x="60" y="106"/>
                  </a:lnTo>
                  <a:lnTo>
                    <a:pt x="58" y="112"/>
                  </a:lnTo>
                  <a:lnTo>
                    <a:pt x="56" y="118"/>
                  </a:lnTo>
                  <a:lnTo>
                    <a:pt x="64" y="118"/>
                  </a:lnTo>
                  <a:lnTo>
                    <a:pt x="70" y="120"/>
                  </a:lnTo>
                  <a:lnTo>
                    <a:pt x="78" y="120"/>
                  </a:lnTo>
                  <a:lnTo>
                    <a:pt x="86" y="120"/>
                  </a:lnTo>
                  <a:lnTo>
                    <a:pt x="92" y="118"/>
                  </a:lnTo>
                  <a:lnTo>
                    <a:pt x="94" y="118"/>
                  </a:lnTo>
                  <a:lnTo>
                    <a:pt x="98" y="116"/>
                  </a:lnTo>
                  <a:lnTo>
                    <a:pt x="106" y="108"/>
                  </a:lnTo>
                  <a:lnTo>
                    <a:pt x="108" y="100"/>
                  </a:lnTo>
                  <a:lnTo>
                    <a:pt x="110" y="92"/>
                  </a:lnTo>
                  <a:lnTo>
                    <a:pt x="112" y="84"/>
                  </a:lnTo>
                  <a:lnTo>
                    <a:pt x="114" y="74"/>
                  </a:lnTo>
                  <a:lnTo>
                    <a:pt x="114" y="68"/>
                  </a:lnTo>
                  <a:lnTo>
                    <a:pt x="110" y="66"/>
                  </a:lnTo>
                  <a:lnTo>
                    <a:pt x="108" y="66"/>
                  </a:lnTo>
                  <a:lnTo>
                    <a:pt x="106" y="68"/>
                  </a:lnTo>
                  <a:lnTo>
                    <a:pt x="100" y="68"/>
                  </a:lnTo>
                  <a:lnTo>
                    <a:pt x="96" y="60"/>
                  </a:lnTo>
                  <a:lnTo>
                    <a:pt x="96" y="52"/>
                  </a:lnTo>
                  <a:lnTo>
                    <a:pt x="94" y="44"/>
                  </a:lnTo>
                  <a:lnTo>
                    <a:pt x="84" y="40"/>
                  </a:lnTo>
                  <a:lnTo>
                    <a:pt x="76" y="42"/>
                  </a:lnTo>
                  <a:lnTo>
                    <a:pt x="76" y="42"/>
                  </a:lnTo>
                  <a:lnTo>
                    <a:pt x="74" y="42"/>
                  </a:lnTo>
                  <a:lnTo>
                    <a:pt x="68" y="42"/>
                  </a:lnTo>
                  <a:lnTo>
                    <a:pt x="66" y="40"/>
                  </a:lnTo>
                  <a:lnTo>
                    <a:pt x="64" y="40"/>
                  </a:lnTo>
                  <a:lnTo>
                    <a:pt x="64" y="32"/>
                  </a:lnTo>
                  <a:lnTo>
                    <a:pt x="66" y="24"/>
                  </a:lnTo>
                  <a:lnTo>
                    <a:pt x="64" y="20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56" y="4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7" name="Freeform 961">
              <a:extLst>
                <a:ext uri="{FF2B5EF4-FFF2-40B4-BE49-F238E27FC236}">
                  <a16:creationId xmlns:a16="http://schemas.microsoft.com/office/drawing/2014/main" id="{ECB80616-D752-41C9-A150-4327B496A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0225" y="5005388"/>
              <a:ext cx="111125" cy="123825"/>
            </a:xfrm>
            <a:custGeom>
              <a:avLst/>
              <a:gdLst/>
              <a:ahLst/>
              <a:cxnLst>
                <a:cxn ang="0">
                  <a:pos x="66" y="50"/>
                </a:cxn>
                <a:cxn ang="0">
                  <a:pos x="68" y="46"/>
                </a:cxn>
                <a:cxn ang="0">
                  <a:pos x="70" y="42"/>
                </a:cxn>
                <a:cxn ang="0">
                  <a:pos x="66" y="36"/>
                </a:cxn>
                <a:cxn ang="0">
                  <a:pos x="62" y="32"/>
                </a:cxn>
                <a:cxn ang="0">
                  <a:pos x="56" y="28"/>
                </a:cxn>
                <a:cxn ang="0">
                  <a:pos x="46" y="20"/>
                </a:cxn>
                <a:cxn ang="0">
                  <a:pos x="42" y="18"/>
                </a:cxn>
                <a:cxn ang="0">
                  <a:pos x="40" y="14"/>
                </a:cxn>
                <a:cxn ang="0">
                  <a:pos x="38" y="14"/>
                </a:cxn>
                <a:cxn ang="0">
                  <a:pos x="34" y="16"/>
                </a:cxn>
                <a:cxn ang="0">
                  <a:pos x="32" y="12"/>
                </a:cxn>
                <a:cxn ang="0">
                  <a:pos x="28" y="6"/>
                </a:cxn>
                <a:cxn ang="0">
                  <a:pos x="22" y="0"/>
                </a:cxn>
                <a:cxn ang="0">
                  <a:pos x="18" y="0"/>
                </a:cxn>
                <a:cxn ang="0">
                  <a:pos x="16" y="2"/>
                </a:cxn>
                <a:cxn ang="0">
                  <a:pos x="10" y="2"/>
                </a:cxn>
                <a:cxn ang="0">
                  <a:pos x="6" y="8"/>
                </a:cxn>
                <a:cxn ang="0">
                  <a:pos x="8" y="10"/>
                </a:cxn>
                <a:cxn ang="0">
                  <a:pos x="8" y="14"/>
                </a:cxn>
                <a:cxn ang="0">
                  <a:pos x="4" y="26"/>
                </a:cxn>
                <a:cxn ang="0">
                  <a:pos x="2" y="30"/>
                </a:cxn>
                <a:cxn ang="0">
                  <a:pos x="4" y="36"/>
                </a:cxn>
                <a:cxn ang="0">
                  <a:pos x="2" y="44"/>
                </a:cxn>
                <a:cxn ang="0">
                  <a:pos x="0" y="50"/>
                </a:cxn>
                <a:cxn ang="0">
                  <a:pos x="0" y="66"/>
                </a:cxn>
                <a:cxn ang="0">
                  <a:pos x="4" y="66"/>
                </a:cxn>
                <a:cxn ang="0">
                  <a:pos x="8" y="70"/>
                </a:cxn>
                <a:cxn ang="0">
                  <a:pos x="12" y="70"/>
                </a:cxn>
                <a:cxn ang="0">
                  <a:pos x="16" y="70"/>
                </a:cxn>
                <a:cxn ang="0">
                  <a:pos x="20" y="72"/>
                </a:cxn>
                <a:cxn ang="0">
                  <a:pos x="22" y="74"/>
                </a:cxn>
                <a:cxn ang="0">
                  <a:pos x="30" y="78"/>
                </a:cxn>
                <a:cxn ang="0">
                  <a:pos x="36" y="76"/>
                </a:cxn>
                <a:cxn ang="0">
                  <a:pos x="44" y="78"/>
                </a:cxn>
                <a:cxn ang="0">
                  <a:pos x="46" y="78"/>
                </a:cxn>
                <a:cxn ang="0">
                  <a:pos x="50" y="78"/>
                </a:cxn>
                <a:cxn ang="0">
                  <a:pos x="58" y="74"/>
                </a:cxn>
                <a:cxn ang="0">
                  <a:pos x="62" y="70"/>
                </a:cxn>
                <a:cxn ang="0">
                  <a:pos x="64" y="66"/>
                </a:cxn>
                <a:cxn ang="0">
                  <a:pos x="68" y="58"/>
                </a:cxn>
                <a:cxn ang="0">
                  <a:pos x="66" y="56"/>
                </a:cxn>
                <a:cxn ang="0">
                  <a:pos x="66" y="50"/>
                </a:cxn>
              </a:cxnLst>
              <a:rect l="0" t="0" r="r" b="b"/>
              <a:pathLst>
                <a:path w="70" h="78">
                  <a:moveTo>
                    <a:pt x="66" y="50"/>
                  </a:moveTo>
                  <a:lnTo>
                    <a:pt x="68" y="46"/>
                  </a:lnTo>
                  <a:lnTo>
                    <a:pt x="70" y="42"/>
                  </a:lnTo>
                  <a:lnTo>
                    <a:pt x="66" y="36"/>
                  </a:lnTo>
                  <a:lnTo>
                    <a:pt x="62" y="32"/>
                  </a:lnTo>
                  <a:lnTo>
                    <a:pt x="56" y="28"/>
                  </a:lnTo>
                  <a:lnTo>
                    <a:pt x="46" y="20"/>
                  </a:lnTo>
                  <a:lnTo>
                    <a:pt x="42" y="18"/>
                  </a:lnTo>
                  <a:lnTo>
                    <a:pt x="40" y="14"/>
                  </a:lnTo>
                  <a:lnTo>
                    <a:pt x="38" y="14"/>
                  </a:lnTo>
                  <a:lnTo>
                    <a:pt x="34" y="16"/>
                  </a:lnTo>
                  <a:lnTo>
                    <a:pt x="32" y="12"/>
                  </a:lnTo>
                  <a:lnTo>
                    <a:pt x="28" y="6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6" y="2"/>
                  </a:lnTo>
                  <a:lnTo>
                    <a:pt x="10" y="2"/>
                  </a:lnTo>
                  <a:lnTo>
                    <a:pt x="6" y="8"/>
                  </a:lnTo>
                  <a:lnTo>
                    <a:pt x="8" y="10"/>
                  </a:lnTo>
                  <a:lnTo>
                    <a:pt x="8" y="14"/>
                  </a:lnTo>
                  <a:lnTo>
                    <a:pt x="4" y="26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2" y="44"/>
                  </a:lnTo>
                  <a:lnTo>
                    <a:pt x="0" y="50"/>
                  </a:lnTo>
                  <a:lnTo>
                    <a:pt x="0" y="66"/>
                  </a:lnTo>
                  <a:lnTo>
                    <a:pt x="4" y="66"/>
                  </a:lnTo>
                  <a:lnTo>
                    <a:pt x="8" y="70"/>
                  </a:lnTo>
                  <a:lnTo>
                    <a:pt x="12" y="70"/>
                  </a:lnTo>
                  <a:lnTo>
                    <a:pt x="16" y="70"/>
                  </a:lnTo>
                  <a:lnTo>
                    <a:pt x="20" y="72"/>
                  </a:lnTo>
                  <a:lnTo>
                    <a:pt x="22" y="74"/>
                  </a:lnTo>
                  <a:lnTo>
                    <a:pt x="30" y="78"/>
                  </a:lnTo>
                  <a:lnTo>
                    <a:pt x="36" y="76"/>
                  </a:lnTo>
                  <a:lnTo>
                    <a:pt x="44" y="78"/>
                  </a:lnTo>
                  <a:lnTo>
                    <a:pt x="46" y="78"/>
                  </a:lnTo>
                  <a:lnTo>
                    <a:pt x="50" y="78"/>
                  </a:lnTo>
                  <a:lnTo>
                    <a:pt x="58" y="74"/>
                  </a:lnTo>
                  <a:lnTo>
                    <a:pt x="62" y="70"/>
                  </a:lnTo>
                  <a:lnTo>
                    <a:pt x="64" y="66"/>
                  </a:lnTo>
                  <a:lnTo>
                    <a:pt x="68" y="58"/>
                  </a:lnTo>
                  <a:lnTo>
                    <a:pt x="66" y="56"/>
                  </a:lnTo>
                  <a:lnTo>
                    <a:pt x="66" y="5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8" name="Freeform 892">
              <a:extLst>
                <a:ext uri="{FF2B5EF4-FFF2-40B4-BE49-F238E27FC236}">
                  <a16:creationId xmlns:a16="http://schemas.microsoft.com/office/drawing/2014/main" id="{7D06796F-E229-4B9E-8284-09A193AE3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3200" y="4808538"/>
              <a:ext cx="428625" cy="939800"/>
            </a:xfrm>
            <a:custGeom>
              <a:avLst/>
              <a:gdLst/>
              <a:ahLst/>
              <a:cxnLst/>
              <a:rect l="l" t="t" r="r" b="b"/>
              <a:pathLst>
                <a:path w="428625" h="939800">
                  <a:moveTo>
                    <a:pt x="200025" y="930275"/>
                  </a:moveTo>
                  <a:lnTo>
                    <a:pt x="206375" y="930275"/>
                  </a:lnTo>
                  <a:lnTo>
                    <a:pt x="209550" y="933450"/>
                  </a:lnTo>
                  <a:lnTo>
                    <a:pt x="196850" y="936625"/>
                  </a:lnTo>
                  <a:lnTo>
                    <a:pt x="190500" y="933450"/>
                  </a:lnTo>
                  <a:close/>
                  <a:moveTo>
                    <a:pt x="104775" y="854075"/>
                  </a:moveTo>
                  <a:lnTo>
                    <a:pt x="107950" y="863600"/>
                  </a:lnTo>
                  <a:lnTo>
                    <a:pt x="107950" y="873125"/>
                  </a:lnTo>
                  <a:lnTo>
                    <a:pt x="111125" y="882650"/>
                  </a:lnTo>
                  <a:lnTo>
                    <a:pt x="123825" y="895350"/>
                  </a:lnTo>
                  <a:lnTo>
                    <a:pt x="130175" y="901700"/>
                  </a:lnTo>
                  <a:lnTo>
                    <a:pt x="136525" y="908050"/>
                  </a:lnTo>
                  <a:lnTo>
                    <a:pt x="146050" y="914400"/>
                  </a:lnTo>
                  <a:lnTo>
                    <a:pt x="152400" y="920750"/>
                  </a:lnTo>
                  <a:lnTo>
                    <a:pt x="158750" y="923925"/>
                  </a:lnTo>
                  <a:lnTo>
                    <a:pt x="171450" y="927100"/>
                  </a:lnTo>
                  <a:lnTo>
                    <a:pt x="180975" y="927100"/>
                  </a:lnTo>
                  <a:lnTo>
                    <a:pt x="177800" y="939800"/>
                  </a:lnTo>
                  <a:lnTo>
                    <a:pt x="165100" y="939800"/>
                  </a:lnTo>
                  <a:lnTo>
                    <a:pt x="146050" y="939800"/>
                  </a:lnTo>
                  <a:lnTo>
                    <a:pt x="130175" y="936625"/>
                  </a:lnTo>
                  <a:lnTo>
                    <a:pt x="104775" y="933450"/>
                  </a:lnTo>
                  <a:close/>
                  <a:moveTo>
                    <a:pt x="158750" y="0"/>
                  </a:moveTo>
                  <a:lnTo>
                    <a:pt x="165100" y="6350"/>
                  </a:lnTo>
                  <a:lnTo>
                    <a:pt x="174625" y="6350"/>
                  </a:lnTo>
                  <a:lnTo>
                    <a:pt x="184150" y="6350"/>
                  </a:lnTo>
                  <a:lnTo>
                    <a:pt x="190500" y="6350"/>
                  </a:lnTo>
                  <a:lnTo>
                    <a:pt x="193675" y="12700"/>
                  </a:lnTo>
                  <a:lnTo>
                    <a:pt x="200025" y="25400"/>
                  </a:lnTo>
                  <a:lnTo>
                    <a:pt x="203200" y="12700"/>
                  </a:lnTo>
                  <a:lnTo>
                    <a:pt x="206375" y="6350"/>
                  </a:lnTo>
                  <a:lnTo>
                    <a:pt x="212725" y="3175"/>
                  </a:lnTo>
                  <a:lnTo>
                    <a:pt x="225425" y="3175"/>
                  </a:lnTo>
                  <a:lnTo>
                    <a:pt x="231775" y="3175"/>
                  </a:lnTo>
                  <a:lnTo>
                    <a:pt x="234950" y="9525"/>
                  </a:lnTo>
                  <a:lnTo>
                    <a:pt x="244475" y="19050"/>
                  </a:lnTo>
                  <a:lnTo>
                    <a:pt x="250825" y="28575"/>
                  </a:lnTo>
                  <a:lnTo>
                    <a:pt x="266700" y="41275"/>
                  </a:lnTo>
                  <a:lnTo>
                    <a:pt x="273050" y="47625"/>
                  </a:lnTo>
                  <a:lnTo>
                    <a:pt x="285750" y="50800"/>
                  </a:lnTo>
                  <a:lnTo>
                    <a:pt x="298450" y="57150"/>
                  </a:lnTo>
                  <a:lnTo>
                    <a:pt x="311150" y="63500"/>
                  </a:lnTo>
                  <a:lnTo>
                    <a:pt x="323850" y="69850"/>
                  </a:lnTo>
                  <a:lnTo>
                    <a:pt x="333375" y="73025"/>
                  </a:lnTo>
                  <a:lnTo>
                    <a:pt x="339725" y="79375"/>
                  </a:lnTo>
                  <a:lnTo>
                    <a:pt x="346075" y="85725"/>
                  </a:lnTo>
                  <a:lnTo>
                    <a:pt x="339725" y="92075"/>
                  </a:lnTo>
                  <a:lnTo>
                    <a:pt x="330200" y="111125"/>
                  </a:lnTo>
                  <a:lnTo>
                    <a:pt x="327025" y="120650"/>
                  </a:lnTo>
                  <a:lnTo>
                    <a:pt x="323850" y="130175"/>
                  </a:lnTo>
                  <a:lnTo>
                    <a:pt x="336550" y="130175"/>
                  </a:lnTo>
                  <a:lnTo>
                    <a:pt x="346075" y="133350"/>
                  </a:lnTo>
                  <a:lnTo>
                    <a:pt x="358775" y="133350"/>
                  </a:lnTo>
                  <a:lnTo>
                    <a:pt x="371475" y="133350"/>
                  </a:lnTo>
                  <a:lnTo>
                    <a:pt x="381000" y="130175"/>
                  </a:lnTo>
                  <a:lnTo>
                    <a:pt x="384175" y="130175"/>
                  </a:lnTo>
                  <a:lnTo>
                    <a:pt x="390525" y="127000"/>
                  </a:lnTo>
                  <a:lnTo>
                    <a:pt x="403225" y="114300"/>
                  </a:lnTo>
                  <a:lnTo>
                    <a:pt x="406400" y="101600"/>
                  </a:lnTo>
                  <a:lnTo>
                    <a:pt x="409575" y="88900"/>
                  </a:lnTo>
                  <a:lnTo>
                    <a:pt x="415925" y="88900"/>
                  </a:lnTo>
                  <a:lnTo>
                    <a:pt x="422275" y="88900"/>
                  </a:lnTo>
                  <a:lnTo>
                    <a:pt x="425450" y="98425"/>
                  </a:lnTo>
                  <a:lnTo>
                    <a:pt x="428625" y="114300"/>
                  </a:lnTo>
                  <a:lnTo>
                    <a:pt x="428625" y="120650"/>
                  </a:lnTo>
                  <a:lnTo>
                    <a:pt x="425450" y="127000"/>
                  </a:lnTo>
                  <a:lnTo>
                    <a:pt x="422275" y="127000"/>
                  </a:lnTo>
                  <a:lnTo>
                    <a:pt x="419100" y="130175"/>
                  </a:lnTo>
                  <a:lnTo>
                    <a:pt x="415925" y="133350"/>
                  </a:lnTo>
                  <a:lnTo>
                    <a:pt x="403225" y="136525"/>
                  </a:lnTo>
                  <a:lnTo>
                    <a:pt x="387350" y="149225"/>
                  </a:lnTo>
                  <a:lnTo>
                    <a:pt x="381000" y="155575"/>
                  </a:lnTo>
                  <a:lnTo>
                    <a:pt x="342900" y="200025"/>
                  </a:lnTo>
                  <a:lnTo>
                    <a:pt x="336550" y="209550"/>
                  </a:lnTo>
                  <a:lnTo>
                    <a:pt x="339725" y="212725"/>
                  </a:lnTo>
                  <a:lnTo>
                    <a:pt x="339725" y="219075"/>
                  </a:lnTo>
                  <a:lnTo>
                    <a:pt x="333375" y="238125"/>
                  </a:lnTo>
                  <a:lnTo>
                    <a:pt x="330200" y="244475"/>
                  </a:lnTo>
                  <a:lnTo>
                    <a:pt x="333375" y="254000"/>
                  </a:lnTo>
                  <a:lnTo>
                    <a:pt x="330200" y="266700"/>
                  </a:lnTo>
                  <a:lnTo>
                    <a:pt x="327025" y="276225"/>
                  </a:lnTo>
                  <a:lnTo>
                    <a:pt x="327025" y="301625"/>
                  </a:lnTo>
                  <a:lnTo>
                    <a:pt x="327025" y="304800"/>
                  </a:lnTo>
                  <a:lnTo>
                    <a:pt x="323850" y="304800"/>
                  </a:lnTo>
                  <a:lnTo>
                    <a:pt x="327025" y="311150"/>
                  </a:lnTo>
                  <a:lnTo>
                    <a:pt x="336550" y="317500"/>
                  </a:lnTo>
                  <a:lnTo>
                    <a:pt x="349250" y="327025"/>
                  </a:lnTo>
                  <a:lnTo>
                    <a:pt x="352425" y="333375"/>
                  </a:lnTo>
                  <a:lnTo>
                    <a:pt x="352425" y="339725"/>
                  </a:lnTo>
                  <a:lnTo>
                    <a:pt x="349250" y="349250"/>
                  </a:lnTo>
                  <a:lnTo>
                    <a:pt x="358775" y="358775"/>
                  </a:lnTo>
                  <a:lnTo>
                    <a:pt x="361950" y="361950"/>
                  </a:lnTo>
                  <a:lnTo>
                    <a:pt x="361950" y="374650"/>
                  </a:lnTo>
                  <a:lnTo>
                    <a:pt x="352425" y="390525"/>
                  </a:lnTo>
                  <a:lnTo>
                    <a:pt x="346075" y="403225"/>
                  </a:lnTo>
                  <a:lnTo>
                    <a:pt x="346075" y="406400"/>
                  </a:lnTo>
                  <a:lnTo>
                    <a:pt x="339725" y="409575"/>
                  </a:lnTo>
                  <a:lnTo>
                    <a:pt x="327025" y="415925"/>
                  </a:lnTo>
                  <a:lnTo>
                    <a:pt x="276225" y="428625"/>
                  </a:lnTo>
                  <a:lnTo>
                    <a:pt x="250825" y="428625"/>
                  </a:lnTo>
                  <a:lnTo>
                    <a:pt x="247650" y="428625"/>
                  </a:lnTo>
                  <a:lnTo>
                    <a:pt x="247650" y="425450"/>
                  </a:lnTo>
                  <a:lnTo>
                    <a:pt x="241300" y="425450"/>
                  </a:lnTo>
                  <a:lnTo>
                    <a:pt x="241300" y="428625"/>
                  </a:lnTo>
                  <a:lnTo>
                    <a:pt x="241300" y="438150"/>
                  </a:lnTo>
                  <a:lnTo>
                    <a:pt x="244475" y="438150"/>
                  </a:lnTo>
                  <a:lnTo>
                    <a:pt x="247650" y="441325"/>
                  </a:lnTo>
                  <a:lnTo>
                    <a:pt x="247650" y="447675"/>
                  </a:lnTo>
                  <a:lnTo>
                    <a:pt x="244475" y="454025"/>
                  </a:lnTo>
                  <a:lnTo>
                    <a:pt x="241300" y="454025"/>
                  </a:lnTo>
                  <a:lnTo>
                    <a:pt x="241300" y="457200"/>
                  </a:lnTo>
                  <a:lnTo>
                    <a:pt x="241300" y="463550"/>
                  </a:lnTo>
                  <a:lnTo>
                    <a:pt x="238125" y="466725"/>
                  </a:lnTo>
                  <a:lnTo>
                    <a:pt x="241300" y="473075"/>
                  </a:lnTo>
                  <a:lnTo>
                    <a:pt x="244475" y="476250"/>
                  </a:lnTo>
                  <a:lnTo>
                    <a:pt x="241300" y="482600"/>
                  </a:lnTo>
                  <a:lnTo>
                    <a:pt x="231775" y="488950"/>
                  </a:lnTo>
                  <a:lnTo>
                    <a:pt x="222250" y="492125"/>
                  </a:lnTo>
                  <a:lnTo>
                    <a:pt x="209550" y="492125"/>
                  </a:lnTo>
                  <a:lnTo>
                    <a:pt x="193675" y="482600"/>
                  </a:lnTo>
                  <a:lnTo>
                    <a:pt x="190500" y="479425"/>
                  </a:lnTo>
                  <a:lnTo>
                    <a:pt x="187325" y="479425"/>
                  </a:lnTo>
                  <a:lnTo>
                    <a:pt x="180975" y="488950"/>
                  </a:lnTo>
                  <a:lnTo>
                    <a:pt x="184150" y="501650"/>
                  </a:lnTo>
                  <a:lnTo>
                    <a:pt x="184150" y="511175"/>
                  </a:lnTo>
                  <a:lnTo>
                    <a:pt x="180975" y="514350"/>
                  </a:lnTo>
                  <a:lnTo>
                    <a:pt x="193675" y="527050"/>
                  </a:lnTo>
                  <a:lnTo>
                    <a:pt x="203200" y="527050"/>
                  </a:lnTo>
                  <a:lnTo>
                    <a:pt x="200025" y="520700"/>
                  </a:lnTo>
                  <a:lnTo>
                    <a:pt x="212725" y="517525"/>
                  </a:lnTo>
                  <a:lnTo>
                    <a:pt x="215900" y="530225"/>
                  </a:lnTo>
                  <a:lnTo>
                    <a:pt x="212725" y="539750"/>
                  </a:lnTo>
                  <a:lnTo>
                    <a:pt x="203200" y="539750"/>
                  </a:lnTo>
                  <a:lnTo>
                    <a:pt x="200025" y="536575"/>
                  </a:lnTo>
                  <a:lnTo>
                    <a:pt x="200025" y="533400"/>
                  </a:lnTo>
                  <a:lnTo>
                    <a:pt x="190500" y="530225"/>
                  </a:lnTo>
                  <a:lnTo>
                    <a:pt x="184150" y="536575"/>
                  </a:lnTo>
                  <a:lnTo>
                    <a:pt x="193675" y="542925"/>
                  </a:lnTo>
                  <a:lnTo>
                    <a:pt x="184150" y="552450"/>
                  </a:lnTo>
                  <a:lnTo>
                    <a:pt x="180975" y="555625"/>
                  </a:lnTo>
                  <a:lnTo>
                    <a:pt x="180975" y="558800"/>
                  </a:lnTo>
                  <a:lnTo>
                    <a:pt x="177800" y="565150"/>
                  </a:lnTo>
                  <a:lnTo>
                    <a:pt x="177800" y="574675"/>
                  </a:lnTo>
                  <a:lnTo>
                    <a:pt x="174625" y="590550"/>
                  </a:lnTo>
                  <a:lnTo>
                    <a:pt x="161925" y="600075"/>
                  </a:lnTo>
                  <a:lnTo>
                    <a:pt x="152400" y="606425"/>
                  </a:lnTo>
                  <a:lnTo>
                    <a:pt x="139700" y="615950"/>
                  </a:lnTo>
                  <a:lnTo>
                    <a:pt x="130175" y="628650"/>
                  </a:lnTo>
                  <a:lnTo>
                    <a:pt x="127000" y="641350"/>
                  </a:lnTo>
                  <a:lnTo>
                    <a:pt x="136525" y="657225"/>
                  </a:lnTo>
                  <a:lnTo>
                    <a:pt x="142875" y="666750"/>
                  </a:lnTo>
                  <a:lnTo>
                    <a:pt x="152400" y="666750"/>
                  </a:lnTo>
                  <a:lnTo>
                    <a:pt x="158750" y="669925"/>
                  </a:lnTo>
                  <a:lnTo>
                    <a:pt x="161925" y="669925"/>
                  </a:lnTo>
                  <a:lnTo>
                    <a:pt x="168275" y="676275"/>
                  </a:lnTo>
                  <a:lnTo>
                    <a:pt x="168275" y="685800"/>
                  </a:lnTo>
                  <a:lnTo>
                    <a:pt x="165100" y="692150"/>
                  </a:lnTo>
                  <a:lnTo>
                    <a:pt x="165100" y="698500"/>
                  </a:lnTo>
                  <a:lnTo>
                    <a:pt x="158750" y="704850"/>
                  </a:lnTo>
                  <a:lnTo>
                    <a:pt x="149225" y="711200"/>
                  </a:lnTo>
                  <a:lnTo>
                    <a:pt x="136525" y="723900"/>
                  </a:lnTo>
                  <a:lnTo>
                    <a:pt x="127000" y="733425"/>
                  </a:lnTo>
                  <a:lnTo>
                    <a:pt x="127000" y="739775"/>
                  </a:lnTo>
                  <a:lnTo>
                    <a:pt x="123825" y="755650"/>
                  </a:lnTo>
                  <a:lnTo>
                    <a:pt x="120650" y="765175"/>
                  </a:lnTo>
                  <a:lnTo>
                    <a:pt x="114300" y="768350"/>
                  </a:lnTo>
                  <a:lnTo>
                    <a:pt x="111125" y="768350"/>
                  </a:lnTo>
                  <a:lnTo>
                    <a:pt x="107950" y="771525"/>
                  </a:lnTo>
                  <a:lnTo>
                    <a:pt x="104775" y="771525"/>
                  </a:lnTo>
                  <a:lnTo>
                    <a:pt x="95250" y="781050"/>
                  </a:lnTo>
                  <a:lnTo>
                    <a:pt x="95250" y="790575"/>
                  </a:lnTo>
                  <a:lnTo>
                    <a:pt x="95250" y="796925"/>
                  </a:lnTo>
                  <a:lnTo>
                    <a:pt x="95250" y="800100"/>
                  </a:lnTo>
                  <a:lnTo>
                    <a:pt x="98425" y="809625"/>
                  </a:lnTo>
                  <a:lnTo>
                    <a:pt x="98425" y="815975"/>
                  </a:lnTo>
                  <a:lnTo>
                    <a:pt x="104775" y="831850"/>
                  </a:lnTo>
                  <a:lnTo>
                    <a:pt x="111125" y="844550"/>
                  </a:lnTo>
                  <a:lnTo>
                    <a:pt x="101600" y="841375"/>
                  </a:lnTo>
                  <a:lnTo>
                    <a:pt x="92075" y="838200"/>
                  </a:lnTo>
                  <a:lnTo>
                    <a:pt x="82550" y="835025"/>
                  </a:lnTo>
                  <a:lnTo>
                    <a:pt x="76200" y="831850"/>
                  </a:lnTo>
                  <a:lnTo>
                    <a:pt x="53975" y="831850"/>
                  </a:lnTo>
                  <a:lnTo>
                    <a:pt x="34925" y="831850"/>
                  </a:lnTo>
                  <a:lnTo>
                    <a:pt x="25400" y="815975"/>
                  </a:lnTo>
                  <a:lnTo>
                    <a:pt x="28575" y="806450"/>
                  </a:lnTo>
                  <a:lnTo>
                    <a:pt x="28575" y="793750"/>
                  </a:lnTo>
                  <a:lnTo>
                    <a:pt x="25400" y="787400"/>
                  </a:lnTo>
                  <a:lnTo>
                    <a:pt x="19050" y="784225"/>
                  </a:lnTo>
                  <a:lnTo>
                    <a:pt x="12700" y="787400"/>
                  </a:lnTo>
                  <a:lnTo>
                    <a:pt x="6350" y="784225"/>
                  </a:lnTo>
                  <a:lnTo>
                    <a:pt x="6350" y="774700"/>
                  </a:lnTo>
                  <a:lnTo>
                    <a:pt x="0" y="768350"/>
                  </a:lnTo>
                  <a:lnTo>
                    <a:pt x="0" y="749300"/>
                  </a:lnTo>
                  <a:lnTo>
                    <a:pt x="9525" y="733425"/>
                  </a:lnTo>
                  <a:lnTo>
                    <a:pt x="12700" y="730250"/>
                  </a:lnTo>
                  <a:lnTo>
                    <a:pt x="19050" y="727075"/>
                  </a:lnTo>
                  <a:lnTo>
                    <a:pt x="19050" y="714375"/>
                  </a:lnTo>
                  <a:lnTo>
                    <a:pt x="25400" y="711200"/>
                  </a:lnTo>
                  <a:lnTo>
                    <a:pt x="25400" y="698500"/>
                  </a:lnTo>
                  <a:lnTo>
                    <a:pt x="22225" y="688975"/>
                  </a:lnTo>
                  <a:lnTo>
                    <a:pt x="25400" y="682625"/>
                  </a:lnTo>
                  <a:lnTo>
                    <a:pt x="31750" y="676275"/>
                  </a:lnTo>
                  <a:lnTo>
                    <a:pt x="31750" y="673100"/>
                  </a:lnTo>
                  <a:lnTo>
                    <a:pt x="31750" y="666750"/>
                  </a:lnTo>
                  <a:lnTo>
                    <a:pt x="34925" y="660400"/>
                  </a:lnTo>
                  <a:lnTo>
                    <a:pt x="38100" y="660400"/>
                  </a:lnTo>
                  <a:lnTo>
                    <a:pt x="41275" y="654050"/>
                  </a:lnTo>
                  <a:lnTo>
                    <a:pt x="38100" y="644525"/>
                  </a:lnTo>
                  <a:lnTo>
                    <a:pt x="38100" y="635000"/>
                  </a:lnTo>
                  <a:lnTo>
                    <a:pt x="38100" y="628650"/>
                  </a:lnTo>
                  <a:lnTo>
                    <a:pt x="41275" y="619125"/>
                  </a:lnTo>
                  <a:lnTo>
                    <a:pt x="44450" y="619125"/>
                  </a:lnTo>
                  <a:lnTo>
                    <a:pt x="47625" y="612775"/>
                  </a:lnTo>
                  <a:lnTo>
                    <a:pt x="41275" y="603250"/>
                  </a:lnTo>
                  <a:lnTo>
                    <a:pt x="38100" y="603250"/>
                  </a:lnTo>
                  <a:lnTo>
                    <a:pt x="31750" y="596900"/>
                  </a:lnTo>
                  <a:lnTo>
                    <a:pt x="47625" y="596900"/>
                  </a:lnTo>
                  <a:lnTo>
                    <a:pt x="50800" y="590550"/>
                  </a:lnTo>
                  <a:lnTo>
                    <a:pt x="41275" y="587375"/>
                  </a:lnTo>
                  <a:lnTo>
                    <a:pt x="38100" y="587375"/>
                  </a:lnTo>
                  <a:lnTo>
                    <a:pt x="38100" y="581025"/>
                  </a:lnTo>
                  <a:lnTo>
                    <a:pt x="38100" y="574675"/>
                  </a:lnTo>
                  <a:lnTo>
                    <a:pt x="38100" y="568325"/>
                  </a:lnTo>
                  <a:lnTo>
                    <a:pt x="38100" y="561975"/>
                  </a:lnTo>
                  <a:lnTo>
                    <a:pt x="34925" y="552450"/>
                  </a:lnTo>
                  <a:lnTo>
                    <a:pt x="31750" y="546100"/>
                  </a:lnTo>
                  <a:lnTo>
                    <a:pt x="28575" y="539750"/>
                  </a:lnTo>
                  <a:lnTo>
                    <a:pt x="31750" y="523875"/>
                  </a:lnTo>
                  <a:lnTo>
                    <a:pt x="31750" y="520700"/>
                  </a:lnTo>
                  <a:lnTo>
                    <a:pt x="34925" y="520700"/>
                  </a:lnTo>
                  <a:lnTo>
                    <a:pt x="38100" y="511175"/>
                  </a:lnTo>
                  <a:lnTo>
                    <a:pt x="34925" y="504825"/>
                  </a:lnTo>
                  <a:lnTo>
                    <a:pt x="34925" y="495300"/>
                  </a:lnTo>
                  <a:lnTo>
                    <a:pt x="34925" y="485775"/>
                  </a:lnTo>
                  <a:lnTo>
                    <a:pt x="34925" y="479425"/>
                  </a:lnTo>
                  <a:lnTo>
                    <a:pt x="38100" y="466725"/>
                  </a:lnTo>
                  <a:lnTo>
                    <a:pt x="41275" y="454025"/>
                  </a:lnTo>
                  <a:lnTo>
                    <a:pt x="38100" y="447675"/>
                  </a:lnTo>
                  <a:lnTo>
                    <a:pt x="41275" y="447675"/>
                  </a:lnTo>
                  <a:lnTo>
                    <a:pt x="44450" y="441325"/>
                  </a:lnTo>
                  <a:lnTo>
                    <a:pt x="44450" y="428625"/>
                  </a:lnTo>
                  <a:lnTo>
                    <a:pt x="53975" y="422275"/>
                  </a:lnTo>
                  <a:lnTo>
                    <a:pt x="57150" y="415925"/>
                  </a:lnTo>
                  <a:lnTo>
                    <a:pt x="53975" y="406400"/>
                  </a:lnTo>
                  <a:lnTo>
                    <a:pt x="50800" y="390525"/>
                  </a:lnTo>
                  <a:lnTo>
                    <a:pt x="50800" y="371475"/>
                  </a:lnTo>
                  <a:lnTo>
                    <a:pt x="57150" y="358775"/>
                  </a:lnTo>
                  <a:lnTo>
                    <a:pt x="63500" y="352425"/>
                  </a:lnTo>
                  <a:lnTo>
                    <a:pt x="66675" y="349250"/>
                  </a:lnTo>
                  <a:lnTo>
                    <a:pt x="66675" y="333375"/>
                  </a:lnTo>
                  <a:lnTo>
                    <a:pt x="63500" y="327025"/>
                  </a:lnTo>
                  <a:lnTo>
                    <a:pt x="66675" y="323850"/>
                  </a:lnTo>
                  <a:lnTo>
                    <a:pt x="76200" y="304800"/>
                  </a:lnTo>
                  <a:lnTo>
                    <a:pt x="79375" y="301625"/>
                  </a:lnTo>
                  <a:lnTo>
                    <a:pt x="76200" y="285750"/>
                  </a:lnTo>
                  <a:lnTo>
                    <a:pt x="73025" y="269875"/>
                  </a:lnTo>
                  <a:lnTo>
                    <a:pt x="73025" y="260350"/>
                  </a:lnTo>
                  <a:lnTo>
                    <a:pt x="69850" y="254000"/>
                  </a:lnTo>
                  <a:lnTo>
                    <a:pt x="66675" y="241300"/>
                  </a:lnTo>
                  <a:lnTo>
                    <a:pt x="63500" y="234950"/>
                  </a:lnTo>
                  <a:lnTo>
                    <a:pt x="63500" y="225425"/>
                  </a:lnTo>
                  <a:lnTo>
                    <a:pt x="69850" y="209550"/>
                  </a:lnTo>
                  <a:lnTo>
                    <a:pt x="73025" y="206375"/>
                  </a:lnTo>
                  <a:lnTo>
                    <a:pt x="79375" y="200025"/>
                  </a:lnTo>
                  <a:lnTo>
                    <a:pt x="79375" y="193675"/>
                  </a:lnTo>
                  <a:lnTo>
                    <a:pt x="76200" y="187325"/>
                  </a:lnTo>
                  <a:lnTo>
                    <a:pt x="76200" y="174625"/>
                  </a:lnTo>
                  <a:lnTo>
                    <a:pt x="82550" y="158750"/>
                  </a:lnTo>
                  <a:lnTo>
                    <a:pt x="85725" y="155575"/>
                  </a:lnTo>
                  <a:lnTo>
                    <a:pt x="88900" y="149225"/>
                  </a:lnTo>
                  <a:lnTo>
                    <a:pt x="95250" y="136525"/>
                  </a:lnTo>
                  <a:lnTo>
                    <a:pt x="101600" y="127000"/>
                  </a:lnTo>
                  <a:lnTo>
                    <a:pt x="104775" y="123825"/>
                  </a:lnTo>
                  <a:lnTo>
                    <a:pt x="111125" y="123825"/>
                  </a:lnTo>
                  <a:lnTo>
                    <a:pt x="111125" y="111125"/>
                  </a:lnTo>
                  <a:lnTo>
                    <a:pt x="107950" y="98425"/>
                  </a:lnTo>
                  <a:lnTo>
                    <a:pt x="107950" y="82550"/>
                  </a:lnTo>
                  <a:lnTo>
                    <a:pt x="114300" y="60325"/>
                  </a:lnTo>
                  <a:lnTo>
                    <a:pt x="127000" y="53975"/>
                  </a:lnTo>
                  <a:lnTo>
                    <a:pt x="133350" y="50800"/>
                  </a:lnTo>
                  <a:lnTo>
                    <a:pt x="136525" y="41275"/>
                  </a:lnTo>
                  <a:lnTo>
                    <a:pt x="136525" y="34925"/>
                  </a:lnTo>
                  <a:lnTo>
                    <a:pt x="136525" y="22225"/>
                  </a:lnTo>
                  <a:lnTo>
                    <a:pt x="142875" y="15875"/>
                  </a:lnTo>
                  <a:lnTo>
                    <a:pt x="152400" y="6350"/>
                  </a:lnTo>
                  <a:lnTo>
                    <a:pt x="155575" y="3175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9" name="Freeform 896">
              <a:extLst>
                <a:ext uri="{FF2B5EF4-FFF2-40B4-BE49-F238E27FC236}">
                  <a16:creationId xmlns:a16="http://schemas.microsoft.com/office/drawing/2014/main" id="{725ED7CB-73B1-4923-A174-5B6AFCD36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8749" y="4710113"/>
              <a:ext cx="184150" cy="1066800"/>
            </a:xfrm>
            <a:custGeom>
              <a:avLst/>
              <a:gdLst/>
              <a:ahLst/>
              <a:cxnLst/>
              <a:rect l="l" t="t" r="r" b="b"/>
              <a:pathLst>
                <a:path w="184150" h="1066800">
                  <a:moveTo>
                    <a:pt x="161591" y="1062456"/>
                  </a:moveTo>
                  <a:lnTo>
                    <a:pt x="165100" y="1063625"/>
                  </a:lnTo>
                  <a:lnTo>
                    <a:pt x="161925" y="1063625"/>
                  </a:lnTo>
                  <a:close/>
                  <a:moveTo>
                    <a:pt x="177800" y="1060450"/>
                  </a:moveTo>
                  <a:lnTo>
                    <a:pt x="180975" y="1066800"/>
                  </a:lnTo>
                  <a:lnTo>
                    <a:pt x="177800" y="1066800"/>
                  </a:lnTo>
                  <a:lnTo>
                    <a:pt x="174625" y="1066800"/>
                  </a:lnTo>
                  <a:close/>
                  <a:moveTo>
                    <a:pt x="120650" y="1038225"/>
                  </a:moveTo>
                  <a:lnTo>
                    <a:pt x="136525" y="1038225"/>
                  </a:lnTo>
                  <a:lnTo>
                    <a:pt x="139700" y="1038225"/>
                  </a:lnTo>
                  <a:lnTo>
                    <a:pt x="133350" y="1040342"/>
                  </a:lnTo>
                  <a:lnTo>
                    <a:pt x="146050" y="1038225"/>
                  </a:lnTo>
                  <a:lnTo>
                    <a:pt x="155575" y="1041400"/>
                  </a:lnTo>
                  <a:lnTo>
                    <a:pt x="161591" y="1062456"/>
                  </a:lnTo>
                  <a:lnTo>
                    <a:pt x="155575" y="1060450"/>
                  </a:lnTo>
                  <a:lnTo>
                    <a:pt x="146050" y="1054100"/>
                  </a:lnTo>
                  <a:lnTo>
                    <a:pt x="139700" y="1054100"/>
                  </a:lnTo>
                  <a:lnTo>
                    <a:pt x="136525" y="1057275"/>
                  </a:lnTo>
                  <a:lnTo>
                    <a:pt x="130175" y="1050925"/>
                  </a:lnTo>
                  <a:lnTo>
                    <a:pt x="120650" y="1047750"/>
                  </a:lnTo>
                  <a:lnTo>
                    <a:pt x="120650" y="1041400"/>
                  </a:lnTo>
                  <a:lnTo>
                    <a:pt x="127000" y="1041400"/>
                  </a:lnTo>
                  <a:lnTo>
                    <a:pt x="129117" y="1041047"/>
                  </a:lnTo>
                  <a:close/>
                  <a:moveTo>
                    <a:pt x="171450" y="1035050"/>
                  </a:moveTo>
                  <a:lnTo>
                    <a:pt x="184150" y="1044575"/>
                  </a:lnTo>
                  <a:lnTo>
                    <a:pt x="180975" y="1050925"/>
                  </a:lnTo>
                  <a:lnTo>
                    <a:pt x="171450" y="1050925"/>
                  </a:lnTo>
                  <a:lnTo>
                    <a:pt x="161925" y="1047750"/>
                  </a:lnTo>
                  <a:lnTo>
                    <a:pt x="155575" y="1038225"/>
                  </a:lnTo>
                  <a:close/>
                  <a:moveTo>
                    <a:pt x="114300" y="1035050"/>
                  </a:moveTo>
                  <a:lnTo>
                    <a:pt x="114300" y="1044575"/>
                  </a:lnTo>
                  <a:lnTo>
                    <a:pt x="111125" y="1047750"/>
                  </a:lnTo>
                  <a:lnTo>
                    <a:pt x="101600" y="1041400"/>
                  </a:lnTo>
                  <a:lnTo>
                    <a:pt x="98425" y="1038225"/>
                  </a:lnTo>
                  <a:lnTo>
                    <a:pt x="101600" y="1038225"/>
                  </a:lnTo>
                  <a:close/>
                  <a:moveTo>
                    <a:pt x="92075" y="1031875"/>
                  </a:moveTo>
                  <a:lnTo>
                    <a:pt x="98425" y="1035050"/>
                  </a:lnTo>
                  <a:lnTo>
                    <a:pt x="88900" y="1038225"/>
                  </a:lnTo>
                  <a:close/>
                  <a:moveTo>
                    <a:pt x="85725" y="1000125"/>
                  </a:moveTo>
                  <a:lnTo>
                    <a:pt x="92075" y="1003300"/>
                  </a:lnTo>
                  <a:lnTo>
                    <a:pt x="98425" y="1012825"/>
                  </a:lnTo>
                  <a:lnTo>
                    <a:pt x="88900" y="1012825"/>
                  </a:lnTo>
                  <a:lnTo>
                    <a:pt x="85725" y="1009650"/>
                  </a:lnTo>
                  <a:close/>
                  <a:moveTo>
                    <a:pt x="76200" y="996950"/>
                  </a:moveTo>
                  <a:lnTo>
                    <a:pt x="82550" y="996950"/>
                  </a:lnTo>
                  <a:lnTo>
                    <a:pt x="85725" y="1000125"/>
                  </a:lnTo>
                  <a:lnTo>
                    <a:pt x="79375" y="1012825"/>
                  </a:lnTo>
                  <a:lnTo>
                    <a:pt x="73025" y="1006475"/>
                  </a:lnTo>
                  <a:lnTo>
                    <a:pt x="73025" y="1000125"/>
                  </a:lnTo>
                  <a:close/>
                  <a:moveTo>
                    <a:pt x="111125" y="987425"/>
                  </a:moveTo>
                  <a:lnTo>
                    <a:pt x="111125" y="996950"/>
                  </a:lnTo>
                  <a:lnTo>
                    <a:pt x="114300" y="1003300"/>
                  </a:lnTo>
                  <a:lnTo>
                    <a:pt x="107950" y="1009650"/>
                  </a:lnTo>
                  <a:lnTo>
                    <a:pt x="104775" y="1006475"/>
                  </a:lnTo>
                  <a:lnTo>
                    <a:pt x="101600" y="1000125"/>
                  </a:lnTo>
                  <a:lnTo>
                    <a:pt x="104775" y="993775"/>
                  </a:lnTo>
                  <a:close/>
                  <a:moveTo>
                    <a:pt x="57150" y="981075"/>
                  </a:moveTo>
                  <a:lnTo>
                    <a:pt x="73025" y="993775"/>
                  </a:lnTo>
                  <a:lnTo>
                    <a:pt x="66675" y="1003300"/>
                  </a:lnTo>
                  <a:lnTo>
                    <a:pt x="60325" y="1006475"/>
                  </a:lnTo>
                  <a:lnTo>
                    <a:pt x="57150" y="1003300"/>
                  </a:lnTo>
                  <a:lnTo>
                    <a:pt x="63500" y="996950"/>
                  </a:lnTo>
                  <a:lnTo>
                    <a:pt x="53975" y="996950"/>
                  </a:lnTo>
                  <a:lnTo>
                    <a:pt x="53975" y="1003300"/>
                  </a:lnTo>
                  <a:lnTo>
                    <a:pt x="44450" y="987425"/>
                  </a:lnTo>
                  <a:close/>
                  <a:moveTo>
                    <a:pt x="19050" y="955675"/>
                  </a:moveTo>
                  <a:lnTo>
                    <a:pt x="31750" y="965200"/>
                  </a:lnTo>
                  <a:lnTo>
                    <a:pt x="41275" y="968375"/>
                  </a:lnTo>
                  <a:lnTo>
                    <a:pt x="47625" y="971550"/>
                  </a:lnTo>
                  <a:lnTo>
                    <a:pt x="53975" y="977900"/>
                  </a:lnTo>
                  <a:lnTo>
                    <a:pt x="44450" y="977900"/>
                  </a:lnTo>
                  <a:lnTo>
                    <a:pt x="28575" y="968375"/>
                  </a:lnTo>
                  <a:lnTo>
                    <a:pt x="22225" y="962025"/>
                  </a:lnTo>
                  <a:close/>
                  <a:moveTo>
                    <a:pt x="130175" y="952500"/>
                  </a:moveTo>
                  <a:lnTo>
                    <a:pt x="149225" y="952500"/>
                  </a:lnTo>
                  <a:lnTo>
                    <a:pt x="149225" y="1031875"/>
                  </a:lnTo>
                  <a:lnTo>
                    <a:pt x="149225" y="1035050"/>
                  </a:lnTo>
                  <a:lnTo>
                    <a:pt x="139700" y="1038225"/>
                  </a:lnTo>
                  <a:lnTo>
                    <a:pt x="127000" y="1028700"/>
                  </a:lnTo>
                  <a:lnTo>
                    <a:pt x="104775" y="1028700"/>
                  </a:lnTo>
                  <a:lnTo>
                    <a:pt x="98425" y="1028700"/>
                  </a:lnTo>
                  <a:lnTo>
                    <a:pt x="92075" y="1022350"/>
                  </a:lnTo>
                  <a:lnTo>
                    <a:pt x="85725" y="1022350"/>
                  </a:lnTo>
                  <a:lnTo>
                    <a:pt x="82550" y="1016000"/>
                  </a:lnTo>
                  <a:lnTo>
                    <a:pt x="133350" y="1016000"/>
                  </a:lnTo>
                  <a:lnTo>
                    <a:pt x="133350" y="1022350"/>
                  </a:lnTo>
                  <a:lnTo>
                    <a:pt x="139700" y="1022350"/>
                  </a:lnTo>
                  <a:lnTo>
                    <a:pt x="139700" y="1016000"/>
                  </a:lnTo>
                  <a:lnTo>
                    <a:pt x="127000" y="1009650"/>
                  </a:lnTo>
                  <a:lnTo>
                    <a:pt x="117475" y="1003300"/>
                  </a:lnTo>
                  <a:lnTo>
                    <a:pt x="117475" y="993775"/>
                  </a:lnTo>
                  <a:lnTo>
                    <a:pt x="120650" y="990600"/>
                  </a:lnTo>
                  <a:lnTo>
                    <a:pt x="133350" y="984250"/>
                  </a:lnTo>
                  <a:lnTo>
                    <a:pt x="133350" y="977900"/>
                  </a:lnTo>
                  <a:lnTo>
                    <a:pt x="120650" y="977900"/>
                  </a:lnTo>
                  <a:lnTo>
                    <a:pt x="114300" y="984250"/>
                  </a:lnTo>
                  <a:lnTo>
                    <a:pt x="111125" y="977900"/>
                  </a:lnTo>
                  <a:lnTo>
                    <a:pt x="111125" y="968375"/>
                  </a:lnTo>
                  <a:lnTo>
                    <a:pt x="120650" y="962025"/>
                  </a:lnTo>
                  <a:close/>
                  <a:moveTo>
                    <a:pt x="15875" y="917575"/>
                  </a:moveTo>
                  <a:lnTo>
                    <a:pt x="15875" y="930275"/>
                  </a:lnTo>
                  <a:lnTo>
                    <a:pt x="12700" y="933450"/>
                  </a:lnTo>
                  <a:lnTo>
                    <a:pt x="12700" y="920750"/>
                  </a:lnTo>
                  <a:close/>
                  <a:moveTo>
                    <a:pt x="15875" y="901700"/>
                  </a:moveTo>
                  <a:lnTo>
                    <a:pt x="22225" y="904875"/>
                  </a:lnTo>
                  <a:lnTo>
                    <a:pt x="12700" y="911225"/>
                  </a:lnTo>
                  <a:close/>
                  <a:moveTo>
                    <a:pt x="19050" y="885825"/>
                  </a:moveTo>
                  <a:lnTo>
                    <a:pt x="25400" y="892175"/>
                  </a:lnTo>
                  <a:lnTo>
                    <a:pt x="25400" y="898525"/>
                  </a:lnTo>
                  <a:lnTo>
                    <a:pt x="15875" y="898525"/>
                  </a:lnTo>
                  <a:close/>
                  <a:moveTo>
                    <a:pt x="3175" y="879475"/>
                  </a:moveTo>
                  <a:lnTo>
                    <a:pt x="9525" y="879475"/>
                  </a:lnTo>
                  <a:lnTo>
                    <a:pt x="6350" y="889000"/>
                  </a:lnTo>
                  <a:lnTo>
                    <a:pt x="3175" y="885825"/>
                  </a:lnTo>
                  <a:close/>
                  <a:moveTo>
                    <a:pt x="22225" y="876300"/>
                  </a:moveTo>
                  <a:lnTo>
                    <a:pt x="28575" y="885825"/>
                  </a:lnTo>
                  <a:lnTo>
                    <a:pt x="28575" y="892175"/>
                  </a:lnTo>
                  <a:lnTo>
                    <a:pt x="22225" y="885825"/>
                  </a:lnTo>
                  <a:close/>
                  <a:moveTo>
                    <a:pt x="3175" y="863600"/>
                  </a:moveTo>
                  <a:lnTo>
                    <a:pt x="9525" y="863600"/>
                  </a:lnTo>
                  <a:lnTo>
                    <a:pt x="15875" y="866775"/>
                  </a:lnTo>
                  <a:lnTo>
                    <a:pt x="9525" y="873125"/>
                  </a:lnTo>
                  <a:lnTo>
                    <a:pt x="3175" y="873125"/>
                  </a:lnTo>
                  <a:lnTo>
                    <a:pt x="3175" y="866775"/>
                  </a:lnTo>
                  <a:close/>
                  <a:moveTo>
                    <a:pt x="3175" y="850900"/>
                  </a:moveTo>
                  <a:lnTo>
                    <a:pt x="9525" y="857250"/>
                  </a:lnTo>
                  <a:lnTo>
                    <a:pt x="6350" y="857250"/>
                  </a:lnTo>
                  <a:lnTo>
                    <a:pt x="0" y="854075"/>
                  </a:lnTo>
                  <a:close/>
                  <a:moveTo>
                    <a:pt x="19050" y="819150"/>
                  </a:moveTo>
                  <a:lnTo>
                    <a:pt x="22225" y="835025"/>
                  </a:lnTo>
                  <a:lnTo>
                    <a:pt x="25400" y="847725"/>
                  </a:lnTo>
                  <a:lnTo>
                    <a:pt x="19050" y="863600"/>
                  </a:lnTo>
                  <a:lnTo>
                    <a:pt x="12700" y="854075"/>
                  </a:lnTo>
                  <a:lnTo>
                    <a:pt x="6350" y="847725"/>
                  </a:lnTo>
                  <a:lnTo>
                    <a:pt x="12700" y="831850"/>
                  </a:lnTo>
                  <a:close/>
                  <a:moveTo>
                    <a:pt x="19050" y="800100"/>
                  </a:moveTo>
                  <a:lnTo>
                    <a:pt x="22225" y="812800"/>
                  </a:lnTo>
                  <a:lnTo>
                    <a:pt x="22225" y="815975"/>
                  </a:lnTo>
                  <a:lnTo>
                    <a:pt x="12700" y="812800"/>
                  </a:lnTo>
                  <a:close/>
                  <a:moveTo>
                    <a:pt x="0" y="796925"/>
                  </a:moveTo>
                  <a:lnTo>
                    <a:pt x="6350" y="796925"/>
                  </a:lnTo>
                  <a:lnTo>
                    <a:pt x="9525" y="812800"/>
                  </a:lnTo>
                  <a:lnTo>
                    <a:pt x="6350" y="819150"/>
                  </a:lnTo>
                  <a:lnTo>
                    <a:pt x="3175" y="812800"/>
                  </a:lnTo>
                  <a:lnTo>
                    <a:pt x="0" y="806450"/>
                  </a:lnTo>
                  <a:close/>
                  <a:moveTo>
                    <a:pt x="15875" y="790575"/>
                  </a:moveTo>
                  <a:lnTo>
                    <a:pt x="12700" y="796925"/>
                  </a:lnTo>
                  <a:lnTo>
                    <a:pt x="6350" y="796925"/>
                  </a:lnTo>
                  <a:lnTo>
                    <a:pt x="9525" y="793750"/>
                  </a:lnTo>
                  <a:close/>
                  <a:moveTo>
                    <a:pt x="9525" y="727075"/>
                  </a:moveTo>
                  <a:lnTo>
                    <a:pt x="15875" y="727075"/>
                  </a:lnTo>
                  <a:lnTo>
                    <a:pt x="15875" y="733425"/>
                  </a:lnTo>
                  <a:lnTo>
                    <a:pt x="9525" y="736600"/>
                  </a:lnTo>
                  <a:close/>
                  <a:moveTo>
                    <a:pt x="34925" y="701675"/>
                  </a:moveTo>
                  <a:lnTo>
                    <a:pt x="41275" y="704850"/>
                  </a:lnTo>
                  <a:lnTo>
                    <a:pt x="38100" y="711200"/>
                  </a:lnTo>
                  <a:lnTo>
                    <a:pt x="28575" y="708025"/>
                  </a:lnTo>
                  <a:close/>
                  <a:moveTo>
                    <a:pt x="25400" y="692150"/>
                  </a:moveTo>
                  <a:lnTo>
                    <a:pt x="34925" y="692150"/>
                  </a:lnTo>
                  <a:lnTo>
                    <a:pt x="28575" y="698500"/>
                  </a:lnTo>
                  <a:close/>
                  <a:moveTo>
                    <a:pt x="34925" y="609600"/>
                  </a:moveTo>
                  <a:lnTo>
                    <a:pt x="44450" y="609600"/>
                  </a:lnTo>
                  <a:lnTo>
                    <a:pt x="47625" y="619125"/>
                  </a:lnTo>
                  <a:lnTo>
                    <a:pt x="44450" y="622300"/>
                  </a:lnTo>
                  <a:lnTo>
                    <a:pt x="38100" y="628650"/>
                  </a:lnTo>
                  <a:lnTo>
                    <a:pt x="44450" y="638175"/>
                  </a:lnTo>
                  <a:lnTo>
                    <a:pt x="44450" y="644525"/>
                  </a:lnTo>
                  <a:lnTo>
                    <a:pt x="44450" y="650875"/>
                  </a:lnTo>
                  <a:lnTo>
                    <a:pt x="34925" y="654050"/>
                  </a:lnTo>
                  <a:lnTo>
                    <a:pt x="28575" y="650875"/>
                  </a:lnTo>
                  <a:lnTo>
                    <a:pt x="28575" y="644525"/>
                  </a:lnTo>
                  <a:lnTo>
                    <a:pt x="31750" y="622300"/>
                  </a:lnTo>
                  <a:close/>
                  <a:moveTo>
                    <a:pt x="130175" y="0"/>
                  </a:moveTo>
                  <a:lnTo>
                    <a:pt x="133350" y="6350"/>
                  </a:lnTo>
                  <a:lnTo>
                    <a:pt x="139700" y="12700"/>
                  </a:lnTo>
                  <a:lnTo>
                    <a:pt x="142875" y="25400"/>
                  </a:lnTo>
                  <a:lnTo>
                    <a:pt x="146050" y="38100"/>
                  </a:lnTo>
                  <a:lnTo>
                    <a:pt x="152400" y="44450"/>
                  </a:lnTo>
                  <a:lnTo>
                    <a:pt x="149225" y="50800"/>
                  </a:lnTo>
                  <a:lnTo>
                    <a:pt x="152400" y="53975"/>
                  </a:lnTo>
                  <a:lnTo>
                    <a:pt x="149225" y="60325"/>
                  </a:lnTo>
                  <a:lnTo>
                    <a:pt x="146050" y="66675"/>
                  </a:lnTo>
                  <a:lnTo>
                    <a:pt x="152400" y="76200"/>
                  </a:lnTo>
                  <a:lnTo>
                    <a:pt x="158750" y="88900"/>
                  </a:lnTo>
                  <a:lnTo>
                    <a:pt x="161925" y="101600"/>
                  </a:lnTo>
                  <a:lnTo>
                    <a:pt x="165100" y="104775"/>
                  </a:lnTo>
                  <a:lnTo>
                    <a:pt x="168275" y="114300"/>
                  </a:lnTo>
                  <a:lnTo>
                    <a:pt x="168275" y="123825"/>
                  </a:lnTo>
                  <a:lnTo>
                    <a:pt x="180975" y="120650"/>
                  </a:lnTo>
                  <a:lnTo>
                    <a:pt x="180975" y="133350"/>
                  </a:lnTo>
                  <a:lnTo>
                    <a:pt x="180975" y="139700"/>
                  </a:lnTo>
                  <a:lnTo>
                    <a:pt x="177800" y="149225"/>
                  </a:lnTo>
                  <a:lnTo>
                    <a:pt x="171450" y="152400"/>
                  </a:lnTo>
                  <a:lnTo>
                    <a:pt x="158750" y="158750"/>
                  </a:lnTo>
                  <a:lnTo>
                    <a:pt x="152400" y="180975"/>
                  </a:lnTo>
                  <a:lnTo>
                    <a:pt x="152400" y="196850"/>
                  </a:lnTo>
                  <a:lnTo>
                    <a:pt x="155575" y="209550"/>
                  </a:lnTo>
                  <a:lnTo>
                    <a:pt x="155575" y="222250"/>
                  </a:lnTo>
                  <a:lnTo>
                    <a:pt x="149225" y="222250"/>
                  </a:lnTo>
                  <a:lnTo>
                    <a:pt x="146050" y="225425"/>
                  </a:lnTo>
                  <a:lnTo>
                    <a:pt x="139700" y="234950"/>
                  </a:lnTo>
                  <a:lnTo>
                    <a:pt x="133350" y="247650"/>
                  </a:lnTo>
                  <a:lnTo>
                    <a:pt x="130175" y="254000"/>
                  </a:lnTo>
                  <a:lnTo>
                    <a:pt x="127000" y="257175"/>
                  </a:lnTo>
                  <a:lnTo>
                    <a:pt x="120650" y="273050"/>
                  </a:lnTo>
                  <a:lnTo>
                    <a:pt x="120650" y="285750"/>
                  </a:lnTo>
                  <a:lnTo>
                    <a:pt x="123825" y="292100"/>
                  </a:lnTo>
                  <a:lnTo>
                    <a:pt x="123825" y="298450"/>
                  </a:lnTo>
                  <a:lnTo>
                    <a:pt x="117475" y="304800"/>
                  </a:lnTo>
                  <a:lnTo>
                    <a:pt x="114300" y="307975"/>
                  </a:lnTo>
                  <a:lnTo>
                    <a:pt x="107950" y="323850"/>
                  </a:lnTo>
                  <a:lnTo>
                    <a:pt x="107950" y="333375"/>
                  </a:lnTo>
                  <a:lnTo>
                    <a:pt x="111125" y="339725"/>
                  </a:lnTo>
                  <a:lnTo>
                    <a:pt x="114300" y="352425"/>
                  </a:lnTo>
                  <a:lnTo>
                    <a:pt x="117475" y="358775"/>
                  </a:lnTo>
                  <a:lnTo>
                    <a:pt x="117475" y="368300"/>
                  </a:lnTo>
                  <a:lnTo>
                    <a:pt x="120650" y="384175"/>
                  </a:lnTo>
                  <a:lnTo>
                    <a:pt x="123825" y="400050"/>
                  </a:lnTo>
                  <a:lnTo>
                    <a:pt x="120650" y="403225"/>
                  </a:lnTo>
                  <a:lnTo>
                    <a:pt x="111125" y="422275"/>
                  </a:lnTo>
                  <a:lnTo>
                    <a:pt x="107950" y="425450"/>
                  </a:lnTo>
                  <a:lnTo>
                    <a:pt x="111125" y="431800"/>
                  </a:lnTo>
                  <a:lnTo>
                    <a:pt x="111125" y="447675"/>
                  </a:lnTo>
                  <a:lnTo>
                    <a:pt x="107950" y="450850"/>
                  </a:lnTo>
                  <a:lnTo>
                    <a:pt x="101600" y="457200"/>
                  </a:lnTo>
                  <a:lnTo>
                    <a:pt x="95250" y="469900"/>
                  </a:lnTo>
                  <a:lnTo>
                    <a:pt x="95250" y="488950"/>
                  </a:lnTo>
                  <a:lnTo>
                    <a:pt x="98425" y="504825"/>
                  </a:lnTo>
                  <a:lnTo>
                    <a:pt x="101600" y="514350"/>
                  </a:lnTo>
                  <a:lnTo>
                    <a:pt x="98425" y="520700"/>
                  </a:lnTo>
                  <a:lnTo>
                    <a:pt x="88900" y="527050"/>
                  </a:lnTo>
                  <a:lnTo>
                    <a:pt x="88900" y="539750"/>
                  </a:lnTo>
                  <a:lnTo>
                    <a:pt x="85725" y="546100"/>
                  </a:lnTo>
                  <a:lnTo>
                    <a:pt x="82550" y="546100"/>
                  </a:lnTo>
                  <a:lnTo>
                    <a:pt x="85725" y="552450"/>
                  </a:lnTo>
                  <a:lnTo>
                    <a:pt x="82550" y="565150"/>
                  </a:lnTo>
                  <a:lnTo>
                    <a:pt x="79375" y="577850"/>
                  </a:lnTo>
                  <a:lnTo>
                    <a:pt x="79375" y="584200"/>
                  </a:lnTo>
                  <a:lnTo>
                    <a:pt x="79375" y="593725"/>
                  </a:lnTo>
                  <a:lnTo>
                    <a:pt x="79375" y="603250"/>
                  </a:lnTo>
                  <a:lnTo>
                    <a:pt x="82550" y="609600"/>
                  </a:lnTo>
                  <a:lnTo>
                    <a:pt x="79375" y="619125"/>
                  </a:lnTo>
                  <a:lnTo>
                    <a:pt x="76200" y="619125"/>
                  </a:lnTo>
                  <a:lnTo>
                    <a:pt x="76200" y="622300"/>
                  </a:lnTo>
                  <a:lnTo>
                    <a:pt x="73025" y="638175"/>
                  </a:lnTo>
                  <a:lnTo>
                    <a:pt x="76200" y="644525"/>
                  </a:lnTo>
                  <a:lnTo>
                    <a:pt x="79375" y="650875"/>
                  </a:lnTo>
                  <a:lnTo>
                    <a:pt x="82550" y="660400"/>
                  </a:lnTo>
                  <a:lnTo>
                    <a:pt x="82550" y="666750"/>
                  </a:lnTo>
                  <a:lnTo>
                    <a:pt x="82550" y="673100"/>
                  </a:lnTo>
                  <a:lnTo>
                    <a:pt x="82550" y="679450"/>
                  </a:lnTo>
                  <a:lnTo>
                    <a:pt x="82550" y="685800"/>
                  </a:lnTo>
                  <a:lnTo>
                    <a:pt x="85725" y="685800"/>
                  </a:lnTo>
                  <a:lnTo>
                    <a:pt x="95250" y="688975"/>
                  </a:lnTo>
                  <a:lnTo>
                    <a:pt x="92075" y="695325"/>
                  </a:lnTo>
                  <a:lnTo>
                    <a:pt x="76200" y="695325"/>
                  </a:lnTo>
                  <a:lnTo>
                    <a:pt x="82550" y="701675"/>
                  </a:lnTo>
                  <a:lnTo>
                    <a:pt x="85725" y="701675"/>
                  </a:lnTo>
                  <a:lnTo>
                    <a:pt x="92075" y="711200"/>
                  </a:lnTo>
                  <a:lnTo>
                    <a:pt x="88900" y="717550"/>
                  </a:lnTo>
                  <a:lnTo>
                    <a:pt x="85725" y="717550"/>
                  </a:lnTo>
                  <a:lnTo>
                    <a:pt x="82550" y="727075"/>
                  </a:lnTo>
                  <a:lnTo>
                    <a:pt x="82550" y="733425"/>
                  </a:lnTo>
                  <a:lnTo>
                    <a:pt x="82550" y="742950"/>
                  </a:lnTo>
                  <a:lnTo>
                    <a:pt x="85725" y="752475"/>
                  </a:lnTo>
                  <a:lnTo>
                    <a:pt x="82550" y="758825"/>
                  </a:lnTo>
                  <a:lnTo>
                    <a:pt x="79375" y="758825"/>
                  </a:lnTo>
                  <a:lnTo>
                    <a:pt x="76200" y="765175"/>
                  </a:lnTo>
                  <a:lnTo>
                    <a:pt x="76200" y="771525"/>
                  </a:lnTo>
                  <a:lnTo>
                    <a:pt x="76200" y="774700"/>
                  </a:lnTo>
                  <a:lnTo>
                    <a:pt x="69850" y="781050"/>
                  </a:lnTo>
                  <a:lnTo>
                    <a:pt x="66675" y="787400"/>
                  </a:lnTo>
                  <a:lnTo>
                    <a:pt x="69850" y="796925"/>
                  </a:lnTo>
                  <a:lnTo>
                    <a:pt x="69850" y="809625"/>
                  </a:lnTo>
                  <a:lnTo>
                    <a:pt x="63500" y="812800"/>
                  </a:lnTo>
                  <a:lnTo>
                    <a:pt x="63500" y="825500"/>
                  </a:lnTo>
                  <a:lnTo>
                    <a:pt x="57150" y="828675"/>
                  </a:lnTo>
                  <a:lnTo>
                    <a:pt x="53975" y="831850"/>
                  </a:lnTo>
                  <a:lnTo>
                    <a:pt x="44450" y="847725"/>
                  </a:lnTo>
                  <a:lnTo>
                    <a:pt x="44450" y="866775"/>
                  </a:lnTo>
                  <a:lnTo>
                    <a:pt x="50800" y="873125"/>
                  </a:lnTo>
                  <a:lnTo>
                    <a:pt x="50800" y="882650"/>
                  </a:lnTo>
                  <a:lnTo>
                    <a:pt x="57150" y="885825"/>
                  </a:lnTo>
                  <a:lnTo>
                    <a:pt x="63500" y="882650"/>
                  </a:lnTo>
                  <a:lnTo>
                    <a:pt x="69850" y="885825"/>
                  </a:lnTo>
                  <a:lnTo>
                    <a:pt x="73025" y="892175"/>
                  </a:lnTo>
                  <a:lnTo>
                    <a:pt x="73025" y="904875"/>
                  </a:lnTo>
                  <a:lnTo>
                    <a:pt x="69850" y="914400"/>
                  </a:lnTo>
                  <a:lnTo>
                    <a:pt x="79375" y="930275"/>
                  </a:lnTo>
                  <a:lnTo>
                    <a:pt x="98425" y="930275"/>
                  </a:lnTo>
                  <a:lnTo>
                    <a:pt x="120650" y="930275"/>
                  </a:lnTo>
                  <a:lnTo>
                    <a:pt x="127000" y="933450"/>
                  </a:lnTo>
                  <a:lnTo>
                    <a:pt x="136525" y="936625"/>
                  </a:lnTo>
                  <a:lnTo>
                    <a:pt x="146050" y="939800"/>
                  </a:lnTo>
                  <a:lnTo>
                    <a:pt x="155575" y="942975"/>
                  </a:lnTo>
                  <a:lnTo>
                    <a:pt x="139700" y="939800"/>
                  </a:lnTo>
                  <a:lnTo>
                    <a:pt x="130175" y="942975"/>
                  </a:lnTo>
                  <a:lnTo>
                    <a:pt x="123825" y="949325"/>
                  </a:lnTo>
                  <a:lnTo>
                    <a:pt x="114300" y="952500"/>
                  </a:lnTo>
                  <a:lnTo>
                    <a:pt x="107950" y="955675"/>
                  </a:lnTo>
                  <a:lnTo>
                    <a:pt x="101600" y="962025"/>
                  </a:lnTo>
                  <a:lnTo>
                    <a:pt x="98425" y="981075"/>
                  </a:lnTo>
                  <a:lnTo>
                    <a:pt x="98425" y="993775"/>
                  </a:lnTo>
                  <a:lnTo>
                    <a:pt x="76200" y="990600"/>
                  </a:lnTo>
                  <a:lnTo>
                    <a:pt x="69850" y="987425"/>
                  </a:lnTo>
                  <a:lnTo>
                    <a:pt x="66675" y="984250"/>
                  </a:lnTo>
                  <a:lnTo>
                    <a:pt x="53975" y="977900"/>
                  </a:lnTo>
                  <a:lnTo>
                    <a:pt x="47625" y="965200"/>
                  </a:lnTo>
                  <a:lnTo>
                    <a:pt x="44450" y="955675"/>
                  </a:lnTo>
                  <a:lnTo>
                    <a:pt x="44450" y="946150"/>
                  </a:lnTo>
                  <a:lnTo>
                    <a:pt x="50800" y="939800"/>
                  </a:lnTo>
                  <a:lnTo>
                    <a:pt x="47625" y="933450"/>
                  </a:lnTo>
                  <a:lnTo>
                    <a:pt x="44450" y="930275"/>
                  </a:lnTo>
                  <a:lnTo>
                    <a:pt x="41275" y="923925"/>
                  </a:lnTo>
                  <a:lnTo>
                    <a:pt x="41275" y="914400"/>
                  </a:lnTo>
                  <a:lnTo>
                    <a:pt x="41275" y="904875"/>
                  </a:lnTo>
                  <a:lnTo>
                    <a:pt x="28575" y="895350"/>
                  </a:lnTo>
                  <a:lnTo>
                    <a:pt x="38100" y="895350"/>
                  </a:lnTo>
                  <a:lnTo>
                    <a:pt x="31750" y="885825"/>
                  </a:lnTo>
                  <a:lnTo>
                    <a:pt x="31750" y="882650"/>
                  </a:lnTo>
                  <a:lnTo>
                    <a:pt x="31750" y="876300"/>
                  </a:lnTo>
                  <a:lnTo>
                    <a:pt x="25400" y="873125"/>
                  </a:lnTo>
                  <a:lnTo>
                    <a:pt x="28575" y="866775"/>
                  </a:lnTo>
                  <a:lnTo>
                    <a:pt x="34925" y="863600"/>
                  </a:lnTo>
                  <a:lnTo>
                    <a:pt x="31750" y="854075"/>
                  </a:lnTo>
                  <a:lnTo>
                    <a:pt x="34925" y="850900"/>
                  </a:lnTo>
                  <a:lnTo>
                    <a:pt x="28575" y="844550"/>
                  </a:lnTo>
                  <a:lnTo>
                    <a:pt x="25400" y="835025"/>
                  </a:lnTo>
                  <a:lnTo>
                    <a:pt x="25400" y="825500"/>
                  </a:lnTo>
                  <a:lnTo>
                    <a:pt x="25400" y="812800"/>
                  </a:lnTo>
                  <a:lnTo>
                    <a:pt x="25400" y="800100"/>
                  </a:lnTo>
                  <a:lnTo>
                    <a:pt x="31750" y="796925"/>
                  </a:lnTo>
                  <a:lnTo>
                    <a:pt x="41275" y="796925"/>
                  </a:lnTo>
                  <a:lnTo>
                    <a:pt x="44450" y="790575"/>
                  </a:lnTo>
                  <a:lnTo>
                    <a:pt x="31750" y="790575"/>
                  </a:lnTo>
                  <a:lnTo>
                    <a:pt x="22225" y="790575"/>
                  </a:lnTo>
                  <a:lnTo>
                    <a:pt x="19050" y="787400"/>
                  </a:lnTo>
                  <a:lnTo>
                    <a:pt x="22225" y="781050"/>
                  </a:lnTo>
                  <a:lnTo>
                    <a:pt x="25400" y="781050"/>
                  </a:lnTo>
                  <a:lnTo>
                    <a:pt x="31750" y="771525"/>
                  </a:lnTo>
                  <a:lnTo>
                    <a:pt x="31750" y="774700"/>
                  </a:lnTo>
                  <a:lnTo>
                    <a:pt x="34925" y="765175"/>
                  </a:lnTo>
                  <a:lnTo>
                    <a:pt x="25400" y="758825"/>
                  </a:lnTo>
                  <a:lnTo>
                    <a:pt x="15875" y="758825"/>
                  </a:lnTo>
                  <a:lnTo>
                    <a:pt x="3175" y="755650"/>
                  </a:lnTo>
                  <a:lnTo>
                    <a:pt x="3175" y="762000"/>
                  </a:lnTo>
                  <a:lnTo>
                    <a:pt x="0" y="762000"/>
                  </a:lnTo>
                  <a:lnTo>
                    <a:pt x="0" y="752475"/>
                  </a:lnTo>
                  <a:lnTo>
                    <a:pt x="6350" y="746125"/>
                  </a:lnTo>
                  <a:lnTo>
                    <a:pt x="12700" y="742950"/>
                  </a:lnTo>
                  <a:lnTo>
                    <a:pt x="19050" y="730250"/>
                  </a:lnTo>
                  <a:lnTo>
                    <a:pt x="25400" y="727075"/>
                  </a:lnTo>
                  <a:lnTo>
                    <a:pt x="31750" y="730250"/>
                  </a:lnTo>
                  <a:lnTo>
                    <a:pt x="38100" y="739775"/>
                  </a:lnTo>
                  <a:lnTo>
                    <a:pt x="41275" y="736600"/>
                  </a:lnTo>
                  <a:lnTo>
                    <a:pt x="41275" y="730250"/>
                  </a:lnTo>
                  <a:lnTo>
                    <a:pt x="44450" y="717550"/>
                  </a:lnTo>
                  <a:lnTo>
                    <a:pt x="50800" y="701675"/>
                  </a:lnTo>
                  <a:lnTo>
                    <a:pt x="57150" y="698500"/>
                  </a:lnTo>
                  <a:lnTo>
                    <a:pt x="63500" y="692150"/>
                  </a:lnTo>
                  <a:lnTo>
                    <a:pt x="60325" y="688975"/>
                  </a:lnTo>
                  <a:lnTo>
                    <a:pt x="57150" y="695325"/>
                  </a:lnTo>
                  <a:lnTo>
                    <a:pt x="47625" y="701675"/>
                  </a:lnTo>
                  <a:lnTo>
                    <a:pt x="44450" y="695325"/>
                  </a:lnTo>
                  <a:lnTo>
                    <a:pt x="47625" y="688975"/>
                  </a:lnTo>
                  <a:lnTo>
                    <a:pt x="57150" y="685800"/>
                  </a:lnTo>
                  <a:lnTo>
                    <a:pt x="50800" y="679450"/>
                  </a:lnTo>
                  <a:lnTo>
                    <a:pt x="50800" y="676275"/>
                  </a:lnTo>
                  <a:lnTo>
                    <a:pt x="57150" y="666750"/>
                  </a:lnTo>
                  <a:lnTo>
                    <a:pt x="57150" y="635000"/>
                  </a:lnTo>
                  <a:lnTo>
                    <a:pt x="60325" y="622300"/>
                  </a:lnTo>
                  <a:lnTo>
                    <a:pt x="60325" y="612775"/>
                  </a:lnTo>
                  <a:lnTo>
                    <a:pt x="63500" y="606425"/>
                  </a:lnTo>
                  <a:lnTo>
                    <a:pt x="57150" y="600075"/>
                  </a:lnTo>
                  <a:lnTo>
                    <a:pt x="53975" y="603250"/>
                  </a:lnTo>
                  <a:lnTo>
                    <a:pt x="53975" y="606425"/>
                  </a:lnTo>
                  <a:lnTo>
                    <a:pt x="44450" y="606425"/>
                  </a:lnTo>
                  <a:lnTo>
                    <a:pt x="41275" y="606425"/>
                  </a:lnTo>
                  <a:lnTo>
                    <a:pt x="41275" y="603250"/>
                  </a:lnTo>
                  <a:lnTo>
                    <a:pt x="34925" y="584200"/>
                  </a:lnTo>
                  <a:lnTo>
                    <a:pt x="38100" y="574675"/>
                  </a:lnTo>
                  <a:lnTo>
                    <a:pt x="41275" y="561975"/>
                  </a:lnTo>
                  <a:lnTo>
                    <a:pt x="44450" y="552450"/>
                  </a:lnTo>
                  <a:lnTo>
                    <a:pt x="47625" y="549275"/>
                  </a:lnTo>
                  <a:lnTo>
                    <a:pt x="50800" y="542925"/>
                  </a:lnTo>
                  <a:lnTo>
                    <a:pt x="50800" y="533400"/>
                  </a:lnTo>
                  <a:lnTo>
                    <a:pt x="50800" y="530225"/>
                  </a:lnTo>
                  <a:lnTo>
                    <a:pt x="44450" y="517525"/>
                  </a:lnTo>
                  <a:lnTo>
                    <a:pt x="44450" y="508000"/>
                  </a:lnTo>
                  <a:lnTo>
                    <a:pt x="41275" y="498475"/>
                  </a:lnTo>
                  <a:lnTo>
                    <a:pt x="41275" y="482600"/>
                  </a:lnTo>
                  <a:lnTo>
                    <a:pt x="44450" y="479425"/>
                  </a:lnTo>
                  <a:lnTo>
                    <a:pt x="47625" y="479425"/>
                  </a:lnTo>
                  <a:lnTo>
                    <a:pt x="50800" y="479425"/>
                  </a:lnTo>
                  <a:lnTo>
                    <a:pt x="53975" y="469900"/>
                  </a:lnTo>
                  <a:lnTo>
                    <a:pt x="53975" y="466725"/>
                  </a:lnTo>
                  <a:lnTo>
                    <a:pt x="57150" y="457200"/>
                  </a:lnTo>
                  <a:lnTo>
                    <a:pt x="60325" y="447675"/>
                  </a:lnTo>
                  <a:lnTo>
                    <a:pt x="63500" y="434975"/>
                  </a:lnTo>
                  <a:lnTo>
                    <a:pt x="73025" y="422275"/>
                  </a:lnTo>
                  <a:lnTo>
                    <a:pt x="76200" y="406400"/>
                  </a:lnTo>
                  <a:lnTo>
                    <a:pt x="76200" y="400050"/>
                  </a:lnTo>
                  <a:lnTo>
                    <a:pt x="79375" y="393700"/>
                  </a:lnTo>
                  <a:lnTo>
                    <a:pt x="85725" y="381000"/>
                  </a:lnTo>
                  <a:lnTo>
                    <a:pt x="82550" y="371475"/>
                  </a:lnTo>
                  <a:lnTo>
                    <a:pt x="88900" y="368300"/>
                  </a:lnTo>
                  <a:lnTo>
                    <a:pt x="85725" y="336550"/>
                  </a:lnTo>
                  <a:lnTo>
                    <a:pt x="85725" y="320675"/>
                  </a:lnTo>
                  <a:lnTo>
                    <a:pt x="82550" y="307975"/>
                  </a:lnTo>
                  <a:lnTo>
                    <a:pt x="85725" y="301625"/>
                  </a:lnTo>
                  <a:lnTo>
                    <a:pt x="92075" y="295275"/>
                  </a:lnTo>
                  <a:lnTo>
                    <a:pt x="92075" y="282575"/>
                  </a:lnTo>
                  <a:lnTo>
                    <a:pt x="88900" y="266700"/>
                  </a:lnTo>
                  <a:lnTo>
                    <a:pt x="88900" y="263525"/>
                  </a:lnTo>
                  <a:lnTo>
                    <a:pt x="95250" y="254000"/>
                  </a:lnTo>
                  <a:lnTo>
                    <a:pt x="98425" y="238125"/>
                  </a:lnTo>
                  <a:lnTo>
                    <a:pt x="101600" y="234950"/>
                  </a:lnTo>
                  <a:lnTo>
                    <a:pt x="101600" y="228600"/>
                  </a:lnTo>
                  <a:lnTo>
                    <a:pt x="101600" y="222250"/>
                  </a:lnTo>
                  <a:lnTo>
                    <a:pt x="104775" y="215900"/>
                  </a:lnTo>
                  <a:lnTo>
                    <a:pt x="107950" y="184150"/>
                  </a:lnTo>
                  <a:lnTo>
                    <a:pt x="107950" y="171450"/>
                  </a:lnTo>
                  <a:lnTo>
                    <a:pt x="107950" y="165100"/>
                  </a:lnTo>
                  <a:lnTo>
                    <a:pt x="107950" y="155575"/>
                  </a:lnTo>
                  <a:lnTo>
                    <a:pt x="111125" y="146050"/>
                  </a:lnTo>
                  <a:lnTo>
                    <a:pt x="111125" y="142875"/>
                  </a:lnTo>
                  <a:lnTo>
                    <a:pt x="111125" y="136525"/>
                  </a:lnTo>
                  <a:lnTo>
                    <a:pt x="111125" y="127000"/>
                  </a:lnTo>
                  <a:lnTo>
                    <a:pt x="114300" y="117475"/>
                  </a:lnTo>
                  <a:lnTo>
                    <a:pt x="117475" y="104775"/>
                  </a:lnTo>
                  <a:lnTo>
                    <a:pt x="117475" y="95250"/>
                  </a:lnTo>
                  <a:lnTo>
                    <a:pt x="120650" y="88900"/>
                  </a:lnTo>
                  <a:lnTo>
                    <a:pt x="117475" y="82550"/>
                  </a:lnTo>
                  <a:lnTo>
                    <a:pt x="117475" y="76200"/>
                  </a:lnTo>
                  <a:lnTo>
                    <a:pt x="117475" y="63500"/>
                  </a:lnTo>
                  <a:lnTo>
                    <a:pt x="117475" y="47625"/>
                  </a:lnTo>
                  <a:lnTo>
                    <a:pt x="114300" y="41275"/>
                  </a:lnTo>
                  <a:lnTo>
                    <a:pt x="114300" y="34925"/>
                  </a:lnTo>
                  <a:lnTo>
                    <a:pt x="114300" y="28575"/>
                  </a:lnTo>
                  <a:lnTo>
                    <a:pt x="114300" y="25400"/>
                  </a:lnTo>
                  <a:lnTo>
                    <a:pt x="111125" y="19050"/>
                  </a:lnTo>
                  <a:lnTo>
                    <a:pt x="123825" y="12700"/>
                  </a:lnTo>
                  <a:lnTo>
                    <a:pt x="127000" y="6350"/>
                  </a:lnTo>
                  <a:close/>
                </a:path>
              </a:pathLst>
            </a:custGeom>
            <a:grpFill/>
            <a:ln w="0">
              <a:solidFill>
                <a:srgbClr val="92A9B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8AFCB510-6EEA-4399-90F2-83C2A8EC97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ärkte und Wettbewerber sind im Umbruch.</a:t>
            </a:r>
            <a:br>
              <a:rPr lang="de-DE" dirty="0"/>
            </a:br>
            <a:r>
              <a:rPr lang="de-DE" dirty="0"/>
              <a:t>Unsere Welt bleibt unberechenbar!</a:t>
            </a:r>
            <a:br>
              <a:rPr lang="de-DE" dirty="0"/>
            </a:br>
            <a:endParaRPr lang="de-DE" dirty="0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1EEC3A41-0DDF-4721-ACF9-2136BDBD7F9C}"/>
              </a:ext>
            </a:extLst>
          </p:cNvPr>
          <p:cNvGrpSpPr/>
          <p:nvPr/>
        </p:nvGrpSpPr>
        <p:grpSpPr>
          <a:xfrm>
            <a:off x="4505497" y="1556797"/>
            <a:ext cx="3473330" cy="1470686"/>
            <a:chOff x="4667208" y="1634487"/>
            <a:chExt cx="3473330" cy="1470686"/>
          </a:xfrm>
        </p:grpSpPr>
        <p:sp>
          <p:nvSpPr>
            <p:cNvPr id="303" name="Freeform 79">
              <a:extLst>
                <a:ext uri="{FF2B5EF4-FFF2-40B4-BE49-F238E27FC236}">
                  <a16:creationId xmlns:a16="http://schemas.microsoft.com/office/drawing/2014/main" id="{7CFDC8CA-3826-47B9-ACB2-5846BA902D0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208" y="1634487"/>
              <a:ext cx="3366741" cy="1470686"/>
            </a:xfrm>
            <a:custGeom>
              <a:avLst/>
              <a:gdLst>
                <a:gd name="T0" fmla="*/ 283 w 7680"/>
                <a:gd name="T1" fmla="*/ 2552 h 3188"/>
                <a:gd name="T2" fmla="*/ 397 w 7680"/>
                <a:gd name="T3" fmla="*/ 2764 h 3188"/>
                <a:gd name="T4" fmla="*/ 539 w 7680"/>
                <a:gd name="T5" fmla="*/ 2797 h 3188"/>
                <a:gd name="T6" fmla="*/ 722 w 7680"/>
                <a:gd name="T7" fmla="*/ 2771 h 3188"/>
                <a:gd name="T8" fmla="*/ 950 w 7680"/>
                <a:gd name="T9" fmla="*/ 2803 h 3188"/>
                <a:gd name="T10" fmla="*/ 1187 w 7680"/>
                <a:gd name="T11" fmla="*/ 2713 h 3188"/>
                <a:gd name="T12" fmla="*/ 1344 w 7680"/>
                <a:gd name="T13" fmla="*/ 2797 h 3188"/>
                <a:gd name="T14" fmla="*/ 1455 w 7680"/>
                <a:gd name="T15" fmla="*/ 2724 h 3188"/>
                <a:gd name="T16" fmla="*/ 1685 w 7680"/>
                <a:gd name="T17" fmla="*/ 2867 h 3188"/>
                <a:gd name="T18" fmla="*/ 1885 w 7680"/>
                <a:gd name="T19" fmla="*/ 2948 h 3188"/>
                <a:gd name="T20" fmla="*/ 2078 w 7680"/>
                <a:gd name="T21" fmla="*/ 2940 h 3188"/>
                <a:gd name="T22" fmla="*/ 2337 w 7680"/>
                <a:gd name="T23" fmla="*/ 3067 h 3188"/>
                <a:gd name="T24" fmla="*/ 2575 w 7680"/>
                <a:gd name="T25" fmla="*/ 3148 h 3188"/>
                <a:gd name="T26" fmla="*/ 2764 w 7680"/>
                <a:gd name="T27" fmla="*/ 3062 h 3188"/>
                <a:gd name="T28" fmla="*/ 3001 w 7680"/>
                <a:gd name="T29" fmla="*/ 2900 h 3188"/>
                <a:gd name="T30" fmla="*/ 3306 w 7680"/>
                <a:gd name="T31" fmla="*/ 2892 h 3188"/>
                <a:gd name="T32" fmla="*/ 3459 w 7680"/>
                <a:gd name="T33" fmla="*/ 2946 h 3188"/>
                <a:gd name="T34" fmla="*/ 3734 w 7680"/>
                <a:gd name="T35" fmla="*/ 2980 h 3188"/>
                <a:gd name="T36" fmla="*/ 3959 w 7680"/>
                <a:gd name="T37" fmla="*/ 3062 h 3188"/>
                <a:gd name="T38" fmla="*/ 4229 w 7680"/>
                <a:gd name="T39" fmla="*/ 3096 h 3188"/>
                <a:gd name="T40" fmla="*/ 4438 w 7680"/>
                <a:gd name="T41" fmla="*/ 2972 h 3188"/>
                <a:gd name="T42" fmla="*/ 4676 w 7680"/>
                <a:gd name="T43" fmla="*/ 2850 h 3188"/>
                <a:gd name="T44" fmla="*/ 4982 w 7680"/>
                <a:gd name="T45" fmla="*/ 2924 h 3188"/>
                <a:gd name="T46" fmla="*/ 5162 w 7680"/>
                <a:gd name="T47" fmla="*/ 2906 h 3188"/>
                <a:gd name="T48" fmla="*/ 5471 w 7680"/>
                <a:gd name="T49" fmla="*/ 2850 h 3188"/>
                <a:gd name="T50" fmla="*/ 5773 w 7680"/>
                <a:gd name="T51" fmla="*/ 2856 h 3188"/>
                <a:gd name="T52" fmla="*/ 6046 w 7680"/>
                <a:gd name="T53" fmla="*/ 2925 h 3188"/>
                <a:gd name="T54" fmla="*/ 6291 w 7680"/>
                <a:gd name="T55" fmla="*/ 3004 h 3188"/>
                <a:gd name="T56" fmla="*/ 6583 w 7680"/>
                <a:gd name="T57" fmla="*/ 3035 h 3188"/>
                <a:gd name="T58" fmla="*/ 6794 w 7680"/>
                <a:gd name="T59" fmla="*/ 2938 h 3188"/>
                <a:gd name="T60" fmla="*/ 7040 w 7680"/>
                <a:gd name="T61" fmla="*/ 2971 h 3188"/>
                <a:gd name="T62" fmla="*/ 7315 w 7680"/>
                <a:gd name="T63" fmla="*/ 2983 h 3188"/>
                <a:gd name="T64" fmla="*/ 7587 w 7680"/>
                <a:gd name="T65" fmla="*/ 2925 h 3188"/>
                <a:gd name="T66" fmla="*/ 7526 w 7680"/>
                <a:gd name="T67" fmla="*/ 417 h 3188"/>
                <a:gd name="T68" fmla="*/ 7246 w 7680"/>
                <a:gd name="T69" fmla="*/ 472 h 3188"/>
                <a:gd name="T70" fmla="*/ 6958 w 7680"/>
                <a:gd name="T71" fmla="*/ 467 h 3188"/>
                <a:gd name="T72" fmla="*/ 6741 w 7680"/>
                <a:gd name="T73" fmla="*/ 502 h 3188"/>
                <a:gd name="T74" fmla="*/ 6535 w 7680"/>
                <a:gd name="T75" fmla="*/ 535 h 3188"/>
                <a:gd name="T76" fmla="*/ 6271 w 7680"/>
                <a:gd name="T77" fmla="*/ 486 h 3188"/>
                <a:gd name="T78" fmla="*/ 5963 w 7680"/>
                <a:gd name="T79" fmla="*/ 504 h 3188"/>
                <a:gd name="T80" fmla="*/ 5713 w 7680"/>
                <a:gd name="T81" fmla="*/ 486 h 3188"/>
                <a:gd name="T82" fmla="*/ 5427 w 7680"/>
                <a:gd name="T83" fmla="*/ 504 h 3188"/>
                <a:gd name="T84" fmla="*/ 5147 w 7680"/>
                <a:gd name="T85" fmla="*/ 459 h 3188"/>
                <a:gd name="T86" fmla="*/ 4845 w 7680"/>
                <a:gd name="T87" fmla="*/ 469 h 3188"/>
                <a:gd name="T88" fmla="*/ 4613 w 7680"/>
                <a:gd name="T89" fmla="*/ 425 h 3188"/>
                <a:gd name="T90" fmla="*/ 4358 w 7680"/>
                <a:gd name="T91" fmla="*/ 440 h 3188"/>
                <a:gd name="T92" fmla="*/ 4115 w 7680"/>
                <a:gd name="T93" fmla="*/ 420 h 3188"/>
                <a:gd name="T94" fmla="*/ 3832 w 7680"/>
                <a:gd name="T95" fmla="*/ 467 h 3188"/>
                <a:gd name="T96" fmla="*/ 3554 w 7680"/>
                <a:gd name="T97" fmla="*/ 469 h 3188"/>
                <a:gd name="T98" fmla="*/ 3300 w 7680"/>
                <a:gd name="T99" fmla="*/ 462 h 3188"/>
                <a:gd name="T100" fmla="*/ 3022 w 7680"/>
                <a:gd name="T101" fmla="*/ 428 h 3188"/>
                <a:gd name="T102" fmla="*/ 2747 w 7680"/>
                <a:gd name="T103" fmla="*/ 417 h 3188"/>
                <a:gd name="T104" fmla="*/ 2465 w 7680"/>
                <a:gd name="T105" fmla="*/ 396 h 3188"/>
                <a:gd name="T106" fmla="*/ 2184 w 7680"/>
                <a:gd name="T107" fmla="*/ 377 h 3188"/>
                <a:gd name="T108" fmla="*/ 1923 w 7680"/>
                <a:gd name="T109" fmla="*/ 301 h 3188"/>
                <a:gd name="T110" fmla="*/ 1648 w 7680"/>
                <a:gd name="T111" fmla="*/ 285 h 3188"/>
                <a:gd name="T112" fmla="*/ 1439 w 7680"/>
                <a:gd name="T113" fmla="*/ 206 h 3188"/>
                <a:gd name="T114" fmla="*/ 1235 w 7680"/>
                <a:gd name="T115" fmla="*/ 195 h 3188"/>
                <a:gd name="T116" fmla="*/ 975 w 7680"/>
                <a:gd name="T117" fmla="*/ 106 h 3188"/>
                <a:gd name="T118" fmla="*/ 727 w 7680"/>
                <a:gd name="T119" fmla="*/ 90 h 3188"/>
                <a:gd name="T120" fmla="*/ 434 w 7680"/>
                <a:gd name="T121" fmla="*/ 75 h 3188"/>
                <a:gd name="T122" fmla="*/ 151 w 7680"/>
                <a:gd name="T123" fmla="*/ 50 h 3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680" h="3188">
                  <a:moveTo>
                    <a:pt x="10" y="2518"/>
                  </a:moveTo>
                  <a:lnTo>
                    <a:pt x="40" y="2505"/>
                  </a:lnTo>
                  <a:lnTo>
                    <a:pt x="19" y="2565"/>
                  </a:lnTo>
                  <a:lnTo>
                    <a:pt x="55" y="2524"/>
                  </a:lnTo>
                  <a:lnTo>
                    <a:pt x="68" y="2552"/>
                  </a:lnTo>
                  <a:lnTo>
                    <a:pt x="80" y="2532"/>
                  </a:lnTo>
                  <a:lnTo>
                    <a:pt x="98" y="2529"/>
                  </a:lnTo>
                  <a:lnTo>
                    <a:pt x="114" y="2540"/>
                  </a:lnTo>
                  <a:lnTo>
                    <a:pt x="129" y="2553"/>
                  </a:lnTo>
                  <a:lnTo>
                    <a:pt x="145" y="2524"/>
                  </a:lnTo>
                  <a:lnTo>
                    <a:pt x="166" y="2560"/>
                  </a:lnTo>
                  <a:lnTo>
                    <a:pt x="172" y="2505"/>
                  </a:lnTo>
                  <a:lnTo>
                    <a:pt x="190" y="2510"/>
                  </a:lnTo>
                  <a:lnTo>
                    <a:pt x="212" y="2548"/>
                  </a:lnTo>
                  <a:lnTo>
                    <a:pt x="228" y="2558"/>
                  </a:lnTo>
                  <a:lnTo>
                    <a:pt x="240" y="2528"/>
                  </a:lnTo>
                  <a:lnTo>
                    <a:pt x="262" y="2528"/>
                  </a:lnTo>
                  <a:lnTo>
                    <a:pt x="235" y="2569"/>
                  </a:lnTo>
                  <a:lnTo>
                    <a:pt x="283" y="2552"/>
                  </a:lnTo>
                  <a:lnTo>
                    <a:pt x="285" y="2560"/>
                  </a:lnTo>
                  <a:lnTo>
                    <a:pt x="296" y="2568"/>
                  </a:lnTo>
                  <a:lnTo>
                    <a:pt x="294" y="2595"/>
                  </a:lnTo>
                  <a:lnTo>
                    <a:pt x="314" y="2582"/>
                  </a:lnTo>
                  <a:lnTo>
                    <a:pt x="327" y="2579"/>
                  </a:lnTo>
                  <a:lnTo>
                    <a:pt x="330" y="2595"/>
                  </a:lnTo>
                  <a:lnTo>
                    <a:pt x="344" y="2611"/>
                  </a:lnTo>
                  <a:lnTo>
                    <a:pt x="359" y="2624"/>
                  </a:lnTo>
                  <a:lnTo>
                    <a:pt x="315" y="2644"/>
                  </a:lnTo>
                  <a:lnTo>
                    <a:pt x="304" y="2660"/>
                  </a:lnTo>
                  <a:lnTo>
                    <a:pt x="306" y="2676"/>
                  </a:lnTo>
                  <a:lnTo>
                    <a:pt x="354" y="2689"/>
                  </a:lnTo>
                  <a:lnTo>
                    <a:pt x="330" y="2706"/>
                  </a:lnTo>
                  <a:lnTo>
                    <a:pt x="338" y="2722"/>
                  </a:lnTo>
                  <a:lnTo>
                    <a:pt x="336" y="2739"/>
                  </a:lnTo>
                  <a:lnTo>
                    <a:pt x="352" y="2748"/>
                  </a:lnTo>
                  <a:lnTo>
                    <a:pt x="357" y="2760"/>
                  </a:lnTo>
                  <a:lnTo>
                    <a:pt x="380" y="2760"/>
                  </a:lnTo>
                  <a:lnTo>
                    <a:pt x="397" y="2764"/>
                  </a:lnTo>
                  <a:lnTo>
                    <a:pt x="392" y="2801"/>
                  </a:lnTo>
                  <a:lnTo>
                    <a:pt x="426" y="2793"/>
                  </a:lnTo>
                  <a:lnTo>
                    <a:pt x="396" y="2834"/>
                  </a:lnTo>
                  <a:lnTo>
                    <a:pt x="404" y="2848"/>
                  </a:lnTo>
                  <a:lnTo>
                    <a:pt x="425" y="2872"/>
                  </a:lnTo>
                  <a:lnTo>
                    <a:pt x="437" y="2840"/>
                  </a:lnTo>
                  <a:lnTo>
                    <a:pt x="462" y="2847"/>
                  </a:lnTo>
                  <a:lnTo>
                    <a:pt x="474" y="2838"/>
                  </a:lnTo>
                  <a:lnTo>
                    <a:pt x="476" y="2805"/>
                  </a:lnTo>
                  <a:lnTo>
                    <a:pt x="478" y="2835"/>
                  </a:lnTo>
                  <a:lnTo>
                    <a:pt x="500" y="2835"/>
                  </a:lnTo>
                  <a:lnTo>
                    <a:pt x="481" y="2871"/>
                  </a:lnTo>
                  <a:lnTo>
                    <a:pt x="518" y="2859"/>
                  </a:lnTo>
                  <a:lnTo>
                    <a:pt x="521" y="2869"/>
                  </a:lnTo>
                  <a:lnTo>
                    <a:pt x="553" y="2856"/>
                  </a:lnTo>
                  <a:lnTo>
                    <a:pt x="516" y="2842"/>
                  </a:lnTo>
                  <a:lnTo>
                    <a:pt x="550" y="2822"/>
                  </a:lnTo>
                  <a:lnTo>
                    <a:pt x="495" y="2805"/>
                  </a:lnTo>
                  <a:lnTo>
                    <a:pt x="539" y="2797"/>
                  </a:lnTo>
                  <a:lnTo>
                    <a:pt x="540" y="2780"/>
                  </a:lnTo>
                  <a:lnTo>
                    <a:pt x="534" y="2761"/>
                  </a:lnTo>
                  <a:lnTo>
                    <a:pt x="555" y="2763"/>
                  </a:lnTo>
                  <a:lnTo>
                    <a:pt x="545" y="2808"/>
                  </a:lnTo>
                  <a:lnTo>
                    <a:pt x="581" y="2785"/>
                  </a:lnTo>
                  <a:lnTo>
                    <a:pt x="590" y="2780"/>
                  </a:lnTo>
                  <a:lnTo>
                    <a:pt x="610" y="2809"/>
                  </a:lnTo>
                  <a:lnTo>
                    <a:pt x="630" y="2805"/>
                  </a:lnTo>
                  <a:lnTo>
                    <a:pt x="629" y="2771"/>
                  </a:lnTo>
                  <a:lnTo>
                    <a:pt x="663" y="2780"/>
                  </a:lnTo>
                  <a:lnTo>
                    <a:pt x="638" y="2727"/>
                  </a:lnTo>
                  <a:lnTo>
                    <a:pt x="656" y="2722"/>
                  </a:lnTo>
                  <a:lnTo>
                    <a:pt x="663" y="2703"/>
                  </a:lnTo>
                  <a:lnTo>
                    <a:pt x="692" y="2739"/>
                  </a:lnTo>
                  <a:lnTo>
                    <a:pt x="729" y="2721"/>
                  </a:lnTo>
                  <a:lnTo>
                    <a:pt x="675" y="2748"/>
                  </a:lnTo>
                  <a:lnTo>
                    <a:pt x="725" y="2751"/>
                  </a:lnTo>
                  <a:lnTo>
                    <a:pt x="735" y="2766"/>
                  </a:lnTo>
                  <a:lnTo>
                    <a:pt x="722" y="2771"/>
                  </a:lnTo>
                  <a:lnTo>
                    <a:pt x="746" y="2800"/>
                  </a:lnTo>
                  <a:lnTo>
                    <a:pt x="751" y="2764"/>
                  </a:lnTo>
                  <a:lnTo>
                    <a:pt x="777" y="2798"/>
                  </a:lnTo>
                  <a:lnTo>
                    <a:pt x="793" y="2793"/>
                  </a:lnTo>
                  <a:lnTo>
                    <a:pt x="804" y="2763"/>
                  </a:lnTo>
                  <a:lnTo>
                    <a:pt x="825" y="2758"/>
                  </a:lnTo>
                  <a:lnTo>
                    <a:pt x="825" y="2792"/>
                  </a:lnTo>
                  <a:lnTo>
                    <a:pt x="859" y="2774"/>
                  </a:lnTo>
                  <a:lnTo>
                    <a:pt x="872" y="2782"/>
                  </a:lnTo>
                  <a:lnTo>
                    <a:pt x="880" y="2800"/>
                  </a:lnTo>
                  <a:lnTo>
                    <a:pt x="888" y="2814"/>
                  </a:lnTo>
                  <a:lnTo>
                    <a:pt x="886" y="2832"/>
                  </a:lnTo>
                  <a:lnTo>
                    <a:pt x="865" y="2861"/>
                  </a:lnTo>
                  <a:lnTo>
                    <a:pt x="896" y="2853"/>
                  </a:lnTo>
                  <a:lnTo>
                    <a:pt x="899" y="2842"/>
                  </a:lnTo>
                  <a:lnTo>
                    <a:pt x="894" y="2816"/>
                  </a:lnTo>
                  <a:lnTo>
                    <a:pt x="912" y="2801"/>
                  </a:lnTo>
                  <a:lnTo>
                    <a:pt x="931" y="2800"/>
                  </a:lnTo>
                  <a:lnTo>
                    <a:pt x="950" y="2803"/>
                  </a:lnTo>
                  <a:lnTo>
                    <a:pt x="965" y="2771"/>
                  </a:lnTo>
                  <a:lnTo>
                    <a:pt x="984" y="2785"/>
                  </a:lnTo>
                  <a:lnTo>
                    <a:pt x="1007" y="2805"/>
                  </a:lnTo>
                  <a:lnTo>
                    <a:pt x="1007" y="2766"/>
                  </a:lnTo>
                  <a:lnTo>
                    <a:pt x="1039" y="2795"/>
                  </a:lnTo>
                  <a:lnTo>
                    <a:pt x="1052" y="2790"/>
                  </a:lnTo>
                  <a:lnTo>
                    <a:pt x="1052" y="2739"/>
                  </a:lnTo>
                  <a:lnTo>
                    <a:pt x="1068" y="2742"/>
                  </a:lnTo>
                  <a:lnTo>
                    <a:pt x="1090" y="2745"/>
                  </a:lnTo>
                  <a:lnTo>
                    <a:pt x="1105" y="2766"/>
                  </a:lnTo>
                  <a:lnTo>
                    <a:pt x="1118" y="2797"/>
                  </a:lnTo>
                  <a:lnTo>
                    <a:pt x="1140" y="2787"/>
                  </a:lnTo>
                  <a:lnTo>
                    <a:pt x="1163" y="2771"/>
                  </a:lnTo>
                  <a:lnTo>
                    <a:pt x="1143" y="2745"/>
                  </a:lnTo>
                  <a:lnTo>
                    <a:pt x="1177" y="2740"/>
                  </a:lnTo>
                  <a:lnTo>
                    <a:pt x="1188" y="2735"/>
                  </a:lnTo>
                  <a:lnTo>
                    <a:pt x="1145" y="2708"/>
                  </a:lnTo>
                  <a:lnTo>
                    <a:pt x="1179" y="2703"/>
                  </a:lnTo>
                  <a:lnTo>
                    <a:pt x="1187" y="2713"/>
                  </a:lnTo>
                  <a:lnTo>
                    <a:pt x="1211" y="2724"/>
                  </a:lnTo>
                  <a:lnTo>
                    <a:pt x="1188" y="2735"/>
                  </a:lnTo>
                  <a:lnTo>
                    <a:pt x="1193" y="2739"/>
                  </a:lnTo>
                  <a:lnTo>
                    <a:pt x="1177" y="2740"/>
                  </a:lnTo>
                  <a:lnTo>
                    <a:pt x="1158" y="2750"/>
                  </a:lnTo>
                  <a:lnTo>
                    <a:pt x="1203" y="2758"/>
                  </a:lnTo>
                  <a:lnTo>
                    <a:pt x="1182" y="2784"/>
                  </a:lnTo>
                  <a:lnTo>
                    <a:pt x="1195" y="2811"/>
                  </a:lnTo>
                  <a:lnTo>
                    <a:pt x="1219" y="2798"/>
                  </a:lnTo>
                  <a:lnTo>
                    <a:pt x="1253" y="2772"/>
                  </a:lnTo>
                  <a:lnTo>
                    <a:pt x="1248" y="2809"/>
                  </a:lnTo>
                  <a:lnTo>
                    <a:pt x="1262" y="2816"/>
                  </a:lnTo>
                  <a:lnTo>
                    <a:pt x="1267" y="2834"/>
                  </a:lnTo>
                  <a:lnTo>
                    <a:pt x="1286" y="2832"/>
                  </a:lnTo>
                  <a:lnTo>
                    <a:pt x="1309" y="2834"/>
                  </a:lnTo>
                  <a:lnTo>
                    <a:pt x="1312" y="2818"/>
                  </a:lnTo>
                  <a:lnTo>
                    <a:pt x="1299" y="2787"/>
                  </a:lnTo>
                  <a:lnTo>
                    <a:pt x="1317" y="2780"/>
                  </a:lnTo>
                  <a:lnTo>
                    <a:pt x="1344" y="2797"/>
                  </a:lnTo>
                  <a:lnTo>
                    <a:pt x="1351" y="2776"/>
                  </a:lnTo>
                  <a:lnTo>
                    <a:pt x="1365" y="2785"/>
                  </a:lnTo>
                  <a:lnTo>
                    <a:pt x="1375" y="2784"/>
                  </a:lnTo>
                  <a:lnTo>
                    <a:pt x="1377" y="2760"/>
                  </a:lnTo>
                  <a:lnTo>
                    <a:pt x="1393" y="2760"/>
                  </a:lnTo>
                  <a:lnTo>
                    <a:pt x="1415" y="2776"/>
                  </a:lnTo>
                  <a:lnTo>
                    <a:pt x="1375" y="2784"/>
                  </a:lnTo>
                  <a:lnTo>
                    <a:pt x="1375" y="2792"/>
                  </a:lnTo>
                  <a:lnTo>
                    <a:pt x="1407" y="2806"/>
                  </a:lnTo>
                  <a:lnTo>
                    <a:pt x="1394" y="2806"/>
                  </a:lnTo>
                  <a:lnTo>
                    <a:pt x="1414" y="2832"/>
                  </a:lnTo>
                  <a:lnTo>
                    <a:pt x="1418" y="2813"/>
                  </a:lnTo>
                  <a:lnTo>
                    <a:pt x="1423" y="2790"/>
                  </a:lnTo>
                  <a:lnTo>
                    <a:pt x="1426" y="2771"/>
                  </a:lnTo>
                  <a:lnTo>
                    <a:pt x="1468" y="2795"/>
                  </a:lnTo>
                  <a:lnTo>
                    <a:pt x="1442" y="2748"/>
                  </a:lnTo>
                  <a:lnTo>
                    <a:pt x="1452" y="2747"/>
                  </a:lnTo>
                  <a:lnTo>
                    <a:pt x="1442" y="2735"/>
                  </a:lnTo>
                  <a:lnTo>
                    <a:pt x="1455" y="2724"/>
                  </a:lnTo>
                  <a:lnTo>
                    <a:pt x="1479" y="2713"/>
                  </a:lnTo>
                  <a:lnTo>
                    <a:pt x="1494" y="2724"/>
                  </a:lnTo>
                  <a:lnTo>
                    <a:pt x="1487" y="2748"/>
                  </a:lnTo>
                  <a:lnTo>
                    <a:pt x="1523" y="2734"/>
                  </a:lnTo>
                  <a:lnTo>
                    <a:pt x="1516" y="2782"/>
                  </a:lnTo>
                  <a:lnTo>
                    <a:pt x="1533" y="2779"/>
                  </a:lnTo>
                  <a:lnTo>
                    <a:pt x="1553" y="2734"/>
                  </a:lnTo>
                  <a:lnTo>
                    <a:pt x="1579" y="2748"/>
                  </a:lnTo>
                  <a:lnTo>
                    <a:pt x="1578" y="2776"/>
                  </a:lnTo>
                  <a:lnTo>
                    <a:pt x="1578" y="2792"/>
                  </a:lnTo>
                  <a:lnTo>
                    <a:pt x="1561" y="2813"/>
                  </a:lnTo>
                  <a:lnTo>
                    <a:pt x="1592" y="2814"/>
                  </a:lnTo>
                  <a:lnTo>
                    <a:pt x="1573" y="2851"/>
                  </a:lnTo>
                  <a:lnTo>
                    <a:pt x="1589" y="2859"/>
                  </a:lnTo>
                  <a:lnTo>
                    <a:pt x="1606" y="2872"/>
                  </a:lnTo>
                  <a:lnTo>
                    <a:pt x="1635" y="2856"/>
                  </a:lnTo>
                  <a:lnTo>
                    <a:pt x="1650" y="2866"/>
                  </a:lnTo>
                  <a:lnTo>
                    <a:pt x="1664" y="2877"/>
                  </a:lnTo>
                  <a:lnTo>
                    <a:pt x="1685" y="2867"/>
                  </a:lnTo>
                  <a:lnTo>
                    <a:pt x="1701" y="2877"/>
                  </a:lnTo>
                  <a:lnTo>
                    <a:pt x="1727" y="2877"/>
                  </a:lnTo>
                  <a:lnTo>
                    <a:pt x="1709" y="2908"/>
                  </a:lnTo>
                  <a:lnTo>
                    <a:pt x="1717" y="2922"/>
                  </a:lnTo>
                  <a:lnTo>
                    <a:pt x="1759" y="2924"/>
                  </a:lnTo>
                  <a:lnTo>
                    <a:pt x="1738" y="2945"/>
                  </a:lnTo>
                  <a:lnTo>
                    <a:pt x="1754" y="2929"/>
                  </a:lnTo>
                  <a:lnTo>
                    <a:pt x="1772" y="2934"/>
                  </a:lnTo>
                  <a:lnTo>
                    <a:pt x="1788" y="2956"/>
                  </a:lnTo>
                  <a:lnTo>
                    <a:pt x="1798" y="2969"/>
                  </a:lnTo>
                  <a:lnTo>
                    <a:pt x="1822" y="2954"/>
                  </a:lnTo>
                  <a:lnTo>
                    <a:pt x="1840" y="2963"/>
                  </a:lnTo>
                  <a:lnTo>
                    <a:pt x="1865" y="2975"/>
                  </a:lnTo>
                  <a:lnTo>
                    <a:pt x="1825" y="3001"/>
                  </a:lnTo>
                  <a:lnTo>
                    <a:pt x="1862" y="3003"/>
                  </a:lnTo>
                  <a:lnTo>
                    <a:pt x="1853" y="2990"/>
                  </a:lnTo>
                  <a:lnTo>
                    <a:pt x="1865" y="2983"/>
                  </a:lnTo>
                  <a:lnTo>
                    <a:pt x="1896" y="2990"/>
                  </a:lnTo>
                  <a:lnTo>
                    <a:pt x="1885" y="2948"/>
                  </a:lnTo>
                  <a:lnTo>
                    <a:pt x="1904" y="2964"/>
                  </a:lnTo>
                  <a:lnTo>
                    <a:pt x="1928" y="2953"/>
                  </a:lnTo>
                  <a:lnTo>
                    <a:pt x="1923" y="2977"/>
                  </a:lnTo>
                  <a:lnTo>
                    <a:pt x="1949" y="2996"/>
                  </a:lnTo>
                  <a:lnTo>
                    <a:pt x="1984" y="2983"/>
                  </a:lnTo>
                  <a:lnTo>
                    <a:pt x="1939" y="2959"/>
                  </a:lnTo>
                  <a:lnTo>
                    <a:pt x="1923" y="2948"/>
                  </a:lnTo>
                  <a:lnTo>
                    <a:pt x="1938" y="2925"/>
                  </a:lnTo>
                  <a:lnTo>
                    <a:pt x="1939" y="2895"/>
                  </a:lnTo>
                  <a:lnTo>
                    <a:pt x="1959" y="2890"/>
                  </a:lnTo>
                  <a:lnTo>
                    <a:pt x="1991" y="2903"/>
                  </a:lnTo>
                  <a:lnTo>
                    <a:pt x="2015" y="2900"/>
                  </a:lnTo>
                  <a:lnTo>
                    <a:pt x="2007" y="2859"/>
                  </a:lnTo>
                  <a:lnTo>
                    <a:pt x="2037" y="2874"/>
                  </a:lnTo>
                  <a:lnTo>
                    <a:pt x="2037" y="2874"/>
                  </a:lnTo>
                  <a:lnTo>
                    <a:pt x="2060" y="2885"/>
                  </a:lnTo>
                  <a:lnTo>
                    <a:pt x="2062" y="2898"/>
                  </a:lnTo>
                  <a:lnTo>
                    <a:pt x="2065" y="2925"/>
                  </a:lnTo>
                  <a:lnTo>
                    <a:pt x="2078" y="2940"/>
                  </a:lnTo>
                  <a:lnTo>
                    <a:pt x="2097" y="2922"/>
                  </a:lnTo>
                  <a:lnTo>
                    <a:pt x="2111" y="2903"/>
                  </a:lnTo>
                  <a:lnTo>
                    <a:pt x="2126" y="2942"/>
                  </a:lnTo>
                  <a:lnTo>
                    <a:pt x="2136" y="2937"/>
                  </a:lnTo>
                  <a:lnTo>
                    <a:pt x="2150" y="2937"/>
                  </a:lnTo>
                  <a:lnTo>
                    <a:pt x="2173" y="2913"/>
                  </a:lnTo>
                  <a:lnTo>
                    <a:pt x="2193" y="2911"/>
                  </a:lnTo>
                  <a:lnTo>
                    <a:pt x="2197" y="2938"/>
                  </a:lnTo>
                  <a:lnTo>
                    <a:pt x="2189" y="2971"/>
                  </a:lnTo>
                  <a:lnTo>
                    <a:pt x="2227" y="2951"/>
                  </a:lnTo>
                  <a:lnTo>
                    <a:pt x="2246" y="2951"/>
                  </a:lnTo>
                  <a:lnTo>
                    <a:pt x="2253" y="2969"/>
                  </a:lnTo>
                  <a:lnTo>
                    <a:pt x="2243" y="3006"/>
                  </a:lnTo>
                  <a:lnTo>
                    <a:pt x="2275" y="2995"/>
                  </a:lnTo>
                  <a:lnTo>
                    <a:pt x="2277" y="3017"/>
                  </a:lnTo>
                  <a:lnTo>
                    <a:pt x="2283" y="3041"/>
                  </a:lnTo>
                  <a:lnTo>
                    <a:pt x="2304" y="3043"/>
                  </a:lnTo>
                  <a:lnTo>
                    <a:pt x="2328" y="3029"/>
                  </a:lnTo>
                  <a:lnTo>
                    <a:pt x="2337" y="3067"/>
                  </a:lnTo>
                  <a:lnTo>
                    <a:pt x="2357" y="3053"/>
                  </a:lnTo>
                  <a:lnTo>
                    <a:pt x="2372" y="3067"/>
                  </a:lnTo>
                  <a:lnTo>
                    <a:pt x="2385" y="3045"/>
                  </a:lnTo>
                  <a:lnTo>
                    <a:pt x="2390" y="3061"/>
                  </a:lnTo>
                  <a:lnTo>
                    <a:pt x="2402" y="3054"/>
                  </a:lnTo>
                  <a:lnTo>
                    <a:pt x="2425" y="3054"/>
                  </a:lnTo>
                  <a:lnTo>
                    <a:pt x="2423" y="3075"/>
                  </a:lnTo>
                  <a:lnTo>
                    <a:pt x="2457" y="3074"/>
                  </a:lnTo>
                  <a:lnTo>
                    <a:pt x="2447" y="3093"/>
                  </a:lnTo>
                  <a:lnTo>
                    <a:pt x="2472" y="3093"/>
                  </a:lnTo>
                  <a:lnTo>
                    <a:pt x="2472" y="3093"/>
                  </a:lnTo>
                  <a:lnTo>
                    <a:pt x="2488" y="3088"/>
                  </a:lnTo>
                  <a:lnTo>
                    <a:pt x="2513" y="3117"/>
                  </a:lnTo>
                  <a:lnTo>
                    <a:pt x="2534" y="3088"/>
                  </a:lnTo>
                  <a:lnTo>
                    <a:pt x="2541" y="3116"/>
                  </a:lnTo>
                  <a:lnTo>
                    <a:pt x="2509" y="3146"/>
                  </a:lnTo>
                  <a:lnTo>
                    <a:pt x="2542" y="3154"/>
                  </a:lnTo>
                  <a:lnTo>
                    <a:pt x="2554" y="3130"/>
                  </a:lnTo>
                  <a:lnTo>
                    <a:pt x="2575" y="3148"/>
                  </a:lnTo>
                  <a:lnTo>
                    <a:pt x="2579" y="3169"/>
                  </a:lnTo>
                  <a:lnTo>
                    <a:pt x="2599" y="3156"/>
                  </a:lnTo>
                  <a:lnTo>
                    <a:pt x="2602" y="3178"/>
                  </a:lnTo>
                  <a:lnTo>
                    <a:pt x="2634" y="3151"/>
                  </a:lnTo>
                  <a:lnTo>
                    <a:pt x="2631" y="3156"/>
                  </a:lnTo>
                  <a:lnTo>
                    <a:pt x="2645" y="3153"/>
                  </a:lnTo>
                  <a:lnTo>
                    <a:pt x="2679" y="3188"/>
                  </a:lnTo>
                  <a:lnTo>
                    <a:pt x="2674" y="3145"/>
                  </a:lnTo>
                  <a:lnTo>
                    <a:pt x="2694" y="3141"/>
                  </a:lnTo>
                  <a:lnTo>
                    <a:pt x="2719" y="3153"/>
                  </a:lnTo>
                  <a:lnTo>
                    <a:pt x="2747" y="3140"/>
                  </a:lnTo>
                  <a:lnTo>
                    <a:pt x="2745" y="3111"/>
                  </a:lnTo>
                  <a:lnTo>
                    <a:pt x="2724" y="3098"/>
                  </a:lnTo>
                  <a:lnTo>
                    <a:pt x="2734" y="3080"/>
                  </a:lnTo>
                  <a:lnTo>
                    <a:pt x="2700" y="3070"/>
                  </a:lnTo>
                  <a:lnTo>
                    <a:pt x="2705" y="3041"/>
                  </a:lnTo>
                  <a:lnTo>
                    <a:pt x="2732" y="3045"/>
                  </a:lnTo>
                  <a:lnTo>
                    <a:pt x="2750" y="3075"/>
                  </a:lnTo>
                  <a:lnTo>
                    <a:pt x="2764" y="3062"/>
                  </a:lnTo>
                  <a:lnTo>
                    <a:pt x="2761" y="3027"/>
                  </a:lnTo>
                  <a:lnTo>
                    <a:pt x="2763" y="3024"/>
                  </a:lnTo>
                  <a:lnTo>
                    <a:pt x="2792" y="3016"/>
                  </a:lnTo>
                  <a:lnTo>
                    <a:pt x="2795" y="2998"/>
                  </a:lnTo>
                  <a:lnTo>
                    <a:pt x="2785" y="2972"/>
                  </a:lnTo>
                  <a:lnTo>
                    <a:pt x="2827" y="2980"/>
                  </a:lnTo>
                  <a:lnTo>
                    <a:pt x="2829" y="2967"/>
                  </a:lnTo>
                  <a:lnTo>
                    <a:pt x="2841" y="2982"/>
                  </a:lnTo>
                  <a:lnTo>
                    <a:pt x="2861" y="2934"/>
                  </a:lnTo>
                  <a:lnTo>
                    <a:pt x="2882" y="2966"/>
                  </a:lnTo>
                  <a:lnTo>
                    <a:pt x="2864" y="2925"/>
                  </a:lnTo>
                  <a:lnTo>
                    <a:pt x="2893" y="2927"/>
                  </a:lnTo>
                  <a:lnTo>
                    <a:pt x="2907" y="2911"/>
                  </a:lnTo>
                  <a:lnTo>
                    <a:pt x="2927" y="2900"/>
                  </a:lnTo>
                  <a:lnTo>
                    <a:pt x="2944" y="2911"/>
                  </a:lnTo>
                  <a:lnTo>
                    <a:pt x="2959" y="2937"/>
                  </a:lnTo>
                  <a:lnTo>
                    <a:pt x="2973" y="2940"/>
                  </a:lnTo>
                  <a:lnTo>
                    <a:pt x="2997" y="2903"/>
                  </a:lnTo>
                  <a:lnTo>
                    <a:pt x="3001" y="2900"/>
                  </a:lnTo>
                  <a:lnTo>
                    <a:pt x="3018" y="2913"/>
                  </a:lnTo>
                  <a:lnTo>
                    <a:pt x="3015" y="2885"/>
                  </a:lnTo>
                  <a:lnTo>
                    <a:pt x="3052" y="2903"/>
                  </a:lnTo>
                  <a:lnTo>
                    <a:pt x="3065" y="2914"/>
                  </a:lnTo>
                  <a:lnTo>
                    <a:pt x="3073" y="2863"/>
                  </a:lnTo>
                  <a:lnTo>
                    <a:pt x="3089" y="2872"/>
                  </a:lnTo>
                  <a:lnTo>
                    <a:pt x="3107" y="2880"/>
                  </a:lnTo>
                  <a:lnTo>
                    <a:pt x="3116" y="2859"/>
                  </a:lnTo>
                  <a:lnTo>
                    <a:pt x="3136" y="2863"/>
                  </a:lnTo>
                  <a:lnTo>
                    <a:pt x="3152" y="2861"/>
                  </a:lnTo>
                  <a:lnTo>
                    <a:pt x="3171" y="2892"/>
                  </a:lnTo>
                  <a:lnTo>
                    <a:pt x="3179" y="2877"/>
                  </a:lnTo>
                  <a:lnTo>
                    <a:pt x="3202" y="2871"/>
                  </a:lnTo>
                  <a:lnTo>
                    <a:pt x="3194" y="2909"/>
                  </a:lnTo>
                  <a:lnTo>
                    <a:pt x="3226" y="2901"/>
                  </a:lnTo>
                  <a:lnTo>
                    <a:pt x="3242" y="2872"/>
                  </a:lnTo>
                  <a:lnTo>
                    <a:pt x="3256" y="2888"/>
                  </a:lnTo>
                  <a:lnTo>
                    <a:pt x="3272" y="2892"/>
                  </a:lnTo>
                  <a:lnTo>
                    <a:pt x="3306" y="2892"/>
                  </a:lnTo>
                  <a:lnTo>
                    <a:pt x="3261" y="2906"/>
                  </a:lnTo>
                  <a:lnTo>
                    <a:pt x="3250" y="2919"/>
                  </a:lnTo>
                  <a:lnTo>
                    <a:pt x="3266" y="2946"/>
                  </a:lnTo>
                  <a:lnTo>
                    <a:pt x="3266" y="2945"/>
                  </a:lnTo>
                  <a:lnTo>
                    <a:pt x="3282" y="2942"/>
                  </a:lnTo>
                  <a:lnTo>
                    <a:pt x="3305" y="2977"/>
                  </a:lnTo>
                  <a:lnTo>
                    <a:pt x="3319" y="2977"/>
                  </a:lnTo>
                  <a:lnTo>
                    <a:pt x="3337" y="2946"/>
                  </a:lnTo>
                  <a:lnTo>
                    <a:pt x="3353" y="2966"/>
                  </a:lnTo>
                  <a:lnTo>
                    <a:pt x="3388" y="2940"/>
                  </a:lnTo>
                  <a:lnTo>
                    <a:pt x="3382" y="2974"/>
                  </a:lnTo>
                  <a:lnTo>
                    <a:pt x="3415" y="2959"/>
                  </a:lnTo>
                  <a:lnTo>
                    <a:pt x="3406" y="2977"/>
                  </a:lnTo>
                  <a:lnTo>
                    <a:pt x="3417" y="2983"/>
                  </a:lnTo>
                  <a:lnTo>
                    <a:pt x="3417" y="2966"/>
                  </a:lnTo>
                  <a:lnTo>
                    <a:pt x="3436" y="2961"/>
                  </a:lnTo>
                  <a:lnTo>
                    <a:pt x="3420" y="2932"/>
                  </a:lnTo>
                  <a:lnTo>
                    <a:pt x="3448" y="2924"/>
                  </a:lnTo>
                  <a:lnTo>
                    <a:pt x="3459" y="2946"/>
                  </a:lnTo>
                  <a:lnTo>
                    <a:pt x="3457" y="2975"/>
                  </a:lnTo>
                  <a:lnTo>
                    <a:pt x="3480" y="2969"/>
                  </a:lnTo>
                  <a:lnTo>
                    <a:pt x="3502" y="2948"/>
                  </a:lnTo>
                  <a:lnTo>
                    <a:pt x="3517" y="2982"/>
                  </a:lnTo>
                  <a:lnTo>
                    <a:pt x="3531" y="2979"/>
                  </a:lnTo>
                  <a:lnTo>
                    <a:pt x="3549" y="2985"/>
                  </a:lnTo>
                  <a:lnTo>
                    <a:pt x="3562" y="2975"/>
                  </a:lnTo>
                  <a:lnTo>
                    <a:pt x="3575" y="2963"/>
                  </a:lnTo>
                  <a:lnTo>
                    <a:pt x="3583" y="2927"/>
                  </a:lnTo>
                  <a:lnTo>
                    <a:pt x="3616" y="2979"/>
                  </a:lnTo>
                  <a:lnTo>
                    <a:pt x="3618" y="2940"/>
                  </a:lnTo>
                  <a:lnTo>
                    <a:pt x="3634" y="2935"/>
                  </a:lnTo>
                  <a:lnTo>
                    <a:pt x="3645" y="2969"/>
                  </a:lnTo>
                  <a:lnTo>
                    <a:pt x="3668" y="2924"/>
                  </a:lnTo>
                  <a:lnTo>
                    <a:pt x="3670" y="2966"/>
                  </a:lnTo>
                  <a:lnTo>
                    <a:pt x="3690" y="2956"/>
                  </a:lnTo>
                  <a:lnTo>
                    <a:pt x="3689" y="2980"/>
                  </a:lnTo>
                  <a:lnTo>
                    <a:pt x="3726" y="2964"/>
                  </a:lnTo>
                  <a:lnTo>
                    <a:pt x="3734" y="2980"/>
                  </a:lnTo>
                  <a:lnTo>
                    <a:pt x="3744" y="2998"/>
                  </a:lnTo>
                  <a:lnTo>
                    <a:pt x="3755" y="3006"/>
                  </a:lnTo>
                  <a:lnTo>
                    <a:pt x="3766" y="3004"/>
                  </a:lnTo>
                  <a:lnTo>
                    <a:pt x="3774" y="2979"/>
                  </a:lnTo>
                  <a:lnTo>
                    <a:pt x="3797" y="3017"/>
                  </a:lnTo>
                  <a:lnTo>
                    <a:pt x="3821" y="2985"/>
                  </a:lnTo>
                  <a:lnTo>
                    <a:pt x="3801" y="3021"/>
                  </a:lnTo>
                  <a:lnTo>
                    <a:pt x="3835" y="3027"/>
                  </a:lnTo>
                  <a:lnTo>
                    <a:pt x="3801" y="3050"/>
                  </a:lnTo>
                  <a:lnTo>
                    <a:pt x="3837" y="3043"/>
                  </a:lnTo>
                  <a:lnTo>
                    <a:pt x="3835" y="3029"/>
                  </a:lnTo>
                  <a:lnTo>
                    <a:pt x="3851" y="3050"/>
                  </a:lnTo>
                  <a:lnTo>
                    <a:pt x="3867" y="3059"/>
                  </a:lnTo>
                  <a:lnTo>
                    <a:pt x="3882" y="3035"/>
                  </a:lnTo>
                  <a:lnTo>
                    <a:pt x="3896" y="3032"/>
                  </a:lnTo>
                  <a:lnTo>
                    <a:pt x="3912" y="3032"/>
                  </a:lnTo>
                  <a:lnTo>
                    <a:pt x="3928" y="3083"/>
                  </a:lnTo>
                  <a:lnTo>
                    <a:pt x="3945" y="3058"/>
                  </a:lnTo>
                  <a:lnTo>
                    <a:pt x="3959" y="3062"/>
                  </a:lnTo>
                  <a:lnTo>
                    <a:pt x="3977" y="3088"/>
                  </a:lnTo>
                  <a:lnTo>
                    <a:pt x="3988" y="3045"/>
                  </a:lnTo>
                  <a:lnTo>
                    <a:pt x="4001" y="3027"/>
                  </a:lnTo>
                  <a:lnTo>
                    <a:pt x="4023" y="3038"/>
                  </a:lnTo>
                  <a:lnTo>
                    <a:pt x="4027" y="3080"/>
                  </a:lnTo>
                  <a:lnTo>
                    <a:pt x="4059" y="3048"/>
                  </a:lnTo>
                  <a:lnTo>
                    <a:pt x="4067" y="3083"/>
                  </a:lnTo>
                  <a:lnTo>
                    <a:pt x="4076" y="3054"/>
                  </a:lnTo>
                  <a:lnTo>
                    <a:pt x="4097" y="3067"/>
                  </a:lnTo>
                  <a:lnTo>
                    <a:pt x="4104" y="3048"/>
                  </a:lnTo>
                  <a:lnTo>
                    <a:pt x="4110" y="3074"/>
                  </a:lnTo>
                  <a:lnTo>
                    <a:pt x="4137" y="3050"/>
                  </a:lnTo>
                  <a:lnTo>
                    <a:pt x="4120" y="3083"/>
                  </a:lnTo>
                  <a:lnTo>
                    <a:pt x="4142" y="3085"/>
                  </a:lnTo>
                  <a:lnTo>
                    <a:pt x="4154" y="3104"/>
                  </a:lnTo>
                  <a:lnTo>
                    <a:pt x="4179" y="3111"/>
                  </a:lnTo>
                  <a:lnTo>
                    <a:pt x="4187" y="3080"/>
                  </a:lnTo>
                  <a:lnTo>
                    <a:pt x="4207" y="3087"/>
                  </a:lnTo>
                  <a:lnTo>
                    <a:pt x="4229" y="3096"/>
                  </a:lnTo>
                  <a:lnTo>
                    <a:pt x="4234" y="3059"/>
                  </a:lnTo>
                  <a:lnTo>
                    <a:pt x="4252" y="3074"/>
                  </a:lnTo>
                  <a:lnTo>
                    <a:pt x="4255" y="3091"/>
                  </a:lnTo>
                  <a:lnTo>
                    <a:pt x="4281" y="3088"/>
                  </a:lnTo>
                  <a:lnTo>
                    <a:pt x="4298" y="3088"/>
                  </a:lnTo>
                  <a:lnTo>
                    <a:pt x="4297" y="3072"/>
                  </a:lnTo>
                  <a:lnTo>
                    <a:pt x="4311" y="3070"/>
                  </a:lnTo>
                  <a:lnTo>
                    <a:pt x="4332" y="3077"/>
                  </a:lnTo>
                  <a:lnTo>
                    <a:pt x="4359" y="3079"/>
                  </a:lnTo>
                  <a:lnTo>
                    <a:pt x="4334" y="3027"/>
                  </a:lnTo>
                  <a:lnTo>
                    <a:pt x="4359" y="3030"/>
                  </a:lnTo>
                  <a:lnTo>
                    <a:pt x="4375" y="3035"/>
                  </a:lnTo>
                  <a:lnTo>
                    <a:pt x="4385" y="3017"/>
                  </a:lnTo>
                  <a:lnTo>
                    <a:pt x="4396" y="3027"/>
                  </a:lnTo>
                  <a:lnTo>
                    <a:pt x="4427" y="3011"/>
                  </a:lnTo>
                  <a:lnTo>
                    <a:pt x="4372" y="2996"/>
                  </a:lnTo>
                  <a:lnTo>
                    <a:pt x="4427" y="2987"/>
                  </a:lnTo>
                  <a:lnTo>
                    <a:pt x="4408" y="2956"/>
                  </a:lnTo>
                  <a:lnTo>
                    <a:pt x="4438" y="2972"/>
                  </a:lnTo>
                  <a:lnTo>
                    <a:pt x="4441" y="2946"/>
                  </a:lnTo>
                  <a:lnTo>
                    <a:pt x="4474" y="2934"/>
                  </a:lnTo>
                  <a:lnTo>
                    <a:pt x="4443" y="2914"/>
                  </a:lnTo>
                  <a:lnTo>
                    <a:pt x="4441" y="2895"/>
                  </a:lnTo>
                  <a:lnTo>
                    <a:pt x="4464" y="2888"/>
                  </a:lnTo>
                  <a:lnTo>
                    <a:pt x="4470" y="2872"/>
                  </a:lnTo>
                  <a:lnTo>
                    <a:pt x="4483" y="2864"/>
                  </a:lnTo>
                  <a:lnTo>
                    <a:pt x="4501" y="2884"/>
                  </a:lnTo>
                  <a:lnTo>
                    <a:pt x="4515" y="2850"/>
                  </a:lnTo>
                  <a:lnTo>
                    <a:pt x="4533" y="2853"/>
                  </a:lnTo>
                  <a:lnTo>
                    <a:pt x="4552" y="2840"/>
                  </a:lnTo>
                  <a:lnTo>
                    <a:pt x="4565" y="2856"/>
                  </a:lnTo>
                  <a:lnTo>
                    <a:pt x="4583" y="2851"/>
                  </a:lnTo>
                  <a:lnTo>
                    <a:pt x="4596" y="2888"/>
                  </a:lnTo>
                  <a:lnTo>
                    <a:pt x="4613" y="2858"/>
                  </a:lnTo>
                  <a:lnTo>
                    <a:pt x="4631" y="2834"/>
                  </a:lnTo>
                  <a:lnTo>
                    <a:pt x="4646" y="2861"/>
                  </a:lnTo>
                  <a:lnTo>
                    <a:pt x="4663" y="2837"/>
                  </a:lnTo>
                  <a:lnTo>
                    <a:pt x="4676" y="2850"/>
                  </a:lnTo>
                  <a:lnTo>
                    <a:pt x="4699" y="2895"/>
                  </a:lnTo>
                  <a:lnTo>
                    <a:pt x="4705" y="2830"/>
                  </a:lnTo>
                  <a:lnTo>
                    <a:pt x="4721" y="2880"/>
                  </a:lnTo>
                  <a:lnTo>
                    <a:pt x="4739" y="2871"/>
                  </a:lnTo>
                  <a:lnTo>
                    <a:pt x="4737" y="2903"/>
                  </a:lnTo>
                  <a:lnTo>
                    <a:pt x="4771" y="2879"/>
                  </a:lnTo>
                  <a:lnTo>
                    <a:pt x="4790" y="2911"/>
                  </a:lnTo>
                  <a:lnTo>
                    <a:pt x="4802" y="2874"/>
                  </a:lnTo>
                  <a:lnTo>
                    <a:pt x="4819" y="2872"/>
                  </a:lnTo>
                  <a:lnTo>
                    <a:pt x="4835" y="2905"/>
                  </a:lnTo>
                  <a:lnTo>
                    <a:pt x="4853" y="2866"/>
                  </a:lnTo>
                  <a:lnTo>
                    <a:pt x="4877" y="2859"/>
                  </a:lnTo>
                  <a:lnTo>
                    <a:pt x="4869" y="2906"/>
                  </a:lnTo>
                  <a:lnTo>
                    <a:pt x="4906" y="2890"/>
                  </a:lnTo>
                  <a:lnTo>
                    <a:pt x="4921" y="2892"/>
                  </a:lnTo>
                  <a:lnTo>
                    <a:pt x="4929" y="2908"/>
                  </a:lnTo>
                  <a:lnTo>
                    <a:pt x="4945" y="2919"/>
                  </a:lnTo>
                  <a:lnTo>
                    <a:pt x="4964" y="2940"/>
                  </a:lnTo>
                  <a:lnTo>
                    <a:pt x="4982" y="2924"/>
                  </a:lnTo>
                  <a:lnTo>
                    <a:pt x="4995" y="2916"/>
                  </a:lnTo>
                  <a:lnTo>
                    <a:pt x="4993" y="2895"/>
                  </a:lnTo>
                  <a:lnTo>
                    <a:pt x="5004" y="2885"/>
                  </a:lnTo>
                  <a:lnTo>
                    <a:pt x="5019" y="2859"/>
                  </a:lnTo>
                  <a:lnTo>
                    <a:pt x="5035" y="2864"/>
                  </a:lnTo>
                  <a:lnTo>
                    <a:pt x="5052" y="2869"/>
                  </a:lnTo>
                  <a:lnTo>
                    <a:pt x="5064" y="2887"/>
                  </a:lnTo>
                  <a:lnTo>
                    <a:pt x="5077" y="2893"/>
                  </a:lnTo>
                  <a:lnTo>
                    <a:pt x="5102" y="2874"/>
                  </a:lnTo>
                  <a:lnTo>
                    <a:pt x="5102" y="2890"/>
                  </a:lnTo>
                  <a:lnTo>
                    <a:pt x="5109" y="2879"/>
                  </a:lnTo>
                  <a:lnTo>
                    <a:pt x="5120" y="2869"/>
                  </a:lnTo>
                  <a:lnTo>
                    <a:pt x="5144" y="2871"/>
                  </a:lnTo>
                  <a:lnTo>
                    <a:pt x="5142" y="2861"/>
                  </a:lnTo>
                  <a:lnTo>
                    <a:pt x="5147" y="2871"/>
                  </a:lnTo>
                  <a:lnTo>
                    <a:pt x="5144" y="2871"/>
                  </a:lnTo>
                  <a:lnTo>
                    <a:pt x="5144" y="2872"/>
                  </a:lnTo>
                  <a:lnTo>
                    <a:pt x="5181" y="2858"/>
                  </a:lnTo>
                  <a:lnTo>
                    <a:pt x="5162" y="2906"/>
                  </a:lnTo>
                  <a:lnTo>
                    <a:pt x="5197" y="2871"/>
                  </a:lnTo>
                  <a:lnTo>
                    <a:pt x="5196" y="2864"/>
                  </a:lnTo>
                  <a:lnTo>
                    <a:pt x="5234" y="2895"/>
                  </a:lnTo>
                  <a:lnTo>
                    <a:pt x="5233" y="2853"/>
                  </a:lnTo>
                  <a:lnTo>
                    <a:pt x="5265" y="2895"/>
                  </a:lnTo>
                  <a:lnTo>
                    <a:pt x="5274" y="2876"/>
                  </a:lnTo>
                  <a:lnTo>
                    <a:pt x="5294" y="2879"/>
                  </a:lnTo>
                  <a:lnTo>
                    <a:pt x="5307" y="2866"/>
                  </a:lnTo>
                  <a:lnTo>
                    <a:pt x="5324" y="2864"/>
                  </a:lnTo>
                  <a:lnTo>
                    <a:pt x="5332" y="2819"/>
                  </a:lnTo>
                  <a:lnTo>
                    <a:pt x="5340" y="2864"/>
                  </a:lnTo>
                  <a:lnTo>
                    <a:pt x="5356" y="2869"/>
                  </a:lnTo>
                  <a:lnTo>
                    <a:pt x="5379" y="2859"/>
                  </a:lnTo>
                  <a:lnTo>
                    <a:pt x="5397" y="2864"/>
                  </a:lnTo>
                  <a:lnTo>
                    <a:pt x="5416" y="2863"/>
                  </a:lnTo>
                  <a:lnTo>
                    <a:pt x="5432" y="2848"/>
                  </a:lnTo>
                  <a:lnTo>
                    <a:pt x="5446" y="2877"/>
                  </a:lnTo>
                  <a:lnTo>
                    <a:pt x="5467" y="2892"/>
                  </a:lnTo>
                  <a:lnTo>
                    <a:pt x="5471" y="2850"/>
                  </a:lnTo>
                  <a:lnTo>
                    <a:pt x="5501" y="2874"/>
                  </a:lnTo>
                  <a:lnTo>
                    <a:pt x="5493" y="2821"/>
                  </a:lnTo>
                  <a:lnTo>
                    <a:pt x="5525" y="2853"/>
                  </a:lnTo>
                  <a:lnTo>
                    <a:pt x="5538" y="2861"/>
                  </a:lnTo>
                  <a:lnTo>
                    <a:pt x="5553" y="2809"/>
                  </a:lnTo>
                  <a:lnTo>
                    <a:pt x="5569" y="2827"/>
                  </a:lnTo>
                  <a:lnTo>
                    <a:pt x="5590" y="2851"/>
                  </a:lnTo>
                  <a:lnTo>
                    <a:pt x="5606" y="2853"/>
                  </a:lnTo>
                  <a:lnTo>
                    <a:pt x="5618" y="2848"/>
                  </a:lnTo>
                  <a:lnTo>
                    <a:pt x="5631" y="2847"/>
                  </a:lnTo>
                  <a:lnTo>
                    <a:pt x="5647" y="2805"/>
                  </a:lnTo>
                  <a:lnTo>
                    <a:pt x="5662" y="2832"/>
                  </a:lnTo>
                  <a:lnTo>
                    <a:pt x="5675" y="2845"/>
                  </a:lnTo>
                  <a:lnTo>
                    <a:pt x="5709" y="2818"/>
                  </a:lnTo>
                  <a:lnTo>
                    <a:pt x="5712" y="2855"/>
                  </a:lnTo>
                  <a:lnTo>
                    <a:pt x="5728" y="2877"/>
                  </a:lnTo>
                  <a:lnTo>
                    <a:pt x="5744" y="2867"/>
                  </a:lnTo>
                  <a:lnTo>
                    <a:pt x="5754" y="2871"/>
                  </a:lnTo>
                  <a:lnTo>
                    <a:pt x="5773" y="2856"/>
                  </a:lnTo>
                  <a:lnTo>
                    <a:pt x="5774" y="2892"/>
                  </a:lnTo>
                  <a:lnTo>
                    <a:pt x="5802" y="2880"/>
                  </a:lnTo>
                  <a:lnTo>
                    <a:pt x="5821" y="2880"/>
                  </a:lnTo>
                  <a:lnTo>
                    <a:pt x="5831" y="2832"/>
                  </a:lnTo>
                  <a:lnTo>
                    <a:pt x="5847" y="2830"/>
                  </a:lnTo>
                  <a:lnTo>
                    <a:pt x="5873" y="2874"/>
                  </a:lnTo>
                  <a:lnTo>
                    <a:pt x="5887" y="2853"/>
                  </a:lnTo>
                  <a:lnTo>
                    <a:pt x="5905" y="2850"/>
                  </a:lnTo>
                  <a:lnTo>
                    <a:pt x="5918" y="2863"/>
                  </a:lnTo>
                  <a:lnTo>
                    <a:pt x="5918" y="2890"/>
                  </a:lnTo>
                  <a:lnTo>
                    <a:pt x="5938" y="2906"/>
                  </a:lnTo>
                  <a:lnTo>
                    <a:pt x="5961" y="2863"/>
                  </a:lnTo>
                  <a:lnTo>
                    <a:pt x="5985" y="2911"/>
                  </a:lnTo>
                  <a:lnTo>
                    <a:pt x="6012" y="2853"/>
                  </a:lnTo>
                  <a:lnTo>
                    <a:pt x="6027" y="2884"/>
                  </a:lnTo>
                  <a:lnTo>
                    <a:pt x="6027" y="2901"/>
                  </a:lnTo>
                  <a:lnTo>
                    <a:pt x="6027" y="2919"/>
                  </a:lnTo>
                  <a:lnTo>
                    <a:pt x="6011" y="2953"/>
                  </a:lnTo>
                  <a:lnTo>
                    <a:pt x="6046" y="2925"/>
                  </a:lnTo>
                  <a:lnTo>
                    <a:pt x="6061" y="2934"/>
                  </a:lnTo>
                  <a:lnTo>
                    <a:pt x="6072" y="2946"/>
                  </a:lnTo>
                  <a:lnTo>
                    <a:pt x="6085" y="2956"/>
                  </a:lnTo>
                  <a:lnTo>
                    <a:pt x="6098" y="2983"/>
                  </a:lnTo>
                  <a:lnTo>
                    <a:pt x="6114" y="2954"/>
                  </a:lnTo>
                  <a:lnTo>
                    <a:pt x="6136" y="2940"/>
                  </a:lnTo>
                  <a:lnTo>
                    <a:pt x="6151" y="2959"/>
                  </a:lnTo>
                  <a:lnTo>
                    <a:pt x="6151" y="2980"/>
                  </a:lnTo>
                  <a:lnTo>
                    <a:pt x="6159" y="2995"/>
                  </a:lnTo>
                  <a:lnTo>
                    <a:pt x="6165" y="3008"/>
                  </a:lnTo>
                  <a:lnTo>
                    <a:pt x="6178" y="3016"/>
                  </a:lnTo>
                  <a:lnTo>
                    <a:pt x="6204" y="3006"/>
                  </a:lnTo>
                  <a:lnTo>
                    <a:pt x="6199" y="3037"/>
                  </a:lnTo>
                  <a:lnTo>
                    <a:pt x="6223" y="3046"/>
                  </a:lnTo>
                  <a:lnTo>
                    <a:pt x="6218" y="2995"/>
                  </a:lnTo>
                  <a:lnTo>
                    <a:pt x="6234" y="2988"/>
                  </a:lnTo>
                  <a:lnTo>
                    <a:pt x="6262" y="3011"/>
                  </a:lnTo>
                  <a:lnTo>
                    <a:pt x="6270" y="2990"/>
                  </a:lnTo>
                  <a:lnTo>
                    <a:pt x="6291" y="3004"/>
                  </a:lnTo>
                  <a:lnTo>
                    <a:pt x="6297" y="2967"/>
                  </a:lnTo>
                  <a:lnTo>
                    <a:pt x="6320" y="3014"/>
                  </a:lnTo>
                  <a:lnTo>
                    <a:pt x="6328" y="2966"/>
                  </a:lnTo>
                  <a:lnTo>
                    <a:pt x="6349" y="2995"/>
                  </a:lnTo>
                  <a:lnTo>
                    <a:pt x="6368" y="2972"/>
                  </a:lnTo>
                  <a:lnTo>
                    <a:pt x="6379" y="3009"/>
                  </a:lnTo>
                  <a:lnTo>
                    <a:pt x="6402" y="2979"/>
                  </a:lnTo>
                  <a:lnTo>
                    <a:pt x="6410" y="3024"/>
                  </a:lnTo>
                  <a:lnTo>
                    <a:pt x="6437" y="2974"/>
                  </a:lnTo>
                  <a:lnTo>
                    <a:pt x="6447" y="3004"/>
                  </a:lnTo>
                  <a:lnTo>
                    <a:pt x="6453" y="3032"/>
                  </a:lnTo>
                  <a:lnTo>
                    <a:pt x="6471" y="3027"/>
                  </a:lnTo>
                  <a:lnTo>
                    <a:pt x="6488" y="3025"/>
                  </a:lnTo>
                  <a:lnTo>
                    <a:pt x="6508" y="3000"/>
                  </a:lnTo>
                  <a:lnTo>
                    <a:pt x="6519" y="3008"/>
                  </a:lnTo>
                  <a:lnTo>
                    <a:pt x="6538" y="3006"/>
                  </a:lnTo>
                  <a:lnTo>
                    <a:pt x="6559" y="3035"/>
                  </a:lnTo>
                  <a:lnTo>
                    <a:pt x="6583" y="2993"/>
                  </a:lnTo>
                  <a:lnTo>
                    <a:pt x="6583" y="3035"/>
                  </a:lnTo>
                  <a:lnTo>
                    <a:pt x="6601" y="3014"/>
                  </a:lnTo>
                  <a:lnTo>
                    <a:pt x="6591" y="2995"/>
                  </a:lnTo>
                  <a:lnTo>
                    <a:pt x="6612" y="2995"/>
                  </a:lnTo>
                  <a:lnTo>
                    <a:pt x="6648" y="3011"/>
                  </a:lnTo>
                  <a:lnTo>
                    <a:pt x="6667" y="3012"/>
                  </a:lnTo>
                  <a:lnTo>
                    <a:pt x="6677" y="2987"/>
                  </a:lnTo>
                  <a:lnTo>
                    <a:pt x="6680" y="2966"/>
                  </a:lnTo>
                  <a:lnTo>
                    <a:pt x="6691" y="2954"/>
                  </a:lnTo>
                  <a:lnTo>
                    <a:pt x="6657" y="2930"/>
                  </a:lnTo>
                  <a:lnTo>
                    <a:pt x="6685" y="2946"/>
                  </a:lnTo>
                  <a:lnTo>
                    <a:pt x="6699" y="2925"/>
                  </a:lnTo>
                  <a:lnTo>
                    <a:pt x="6694" y="2956"/>
                  </a:lnTo>
                  <a:lnTo>
                    <a:pt x="6738" y="2932"/>
                  </a:lnTo>
                  <a:lnTo>
                    <a:pt x="6736" y="2959"/>
                  </a:lnTo>
                  <a:lnTo>
                    <a:pt x="6755" y="2946"/>
                  </a:lnTo>
                  <a:lnTo>
                    <a:pt x="6760" y="2966"/>
                  </a:lnTo>
                  <a:lnTo>
                    <a:pt x="6775" y="2943"/>
                  </a:lnTo>
                  <a:lnTo>
                    <a:pt x="6796" y="2990"/>
                  </a:lnTo>
                  <a:lnTo>
                    <a:pt x="6794" y="2938"/>
                  </a:lnTo>
                  <a:lnTo>
                    <a:pt x="6831" y="2975"/>
                  </a:lnTo>
                  <a:lnTo>
                    <a:pt x="6847" y="2967"/>
                  </a:lnTo>
                  <a:lnTo>
                    <a:pt x="6852" y="2946"/>
                  </a:lnTo>
                  <a:lnTo>
                    <a:pt x="6876" y="2953"/>
                  </a:lnTo>
                  <a:lnTo>
                    <a:pt x="6892" y="2950"/>
                  </a:lnTo>
                  <a:lnTo>
                    <a:pt x="6886" y="2905"/>
                  </a:lnTo>
                  <a:lnTo>
                    <a:pt x="6892" y="2942"/>
                  </a:lnTo>
                  <a:lnTo>
                    <a:pt x="6906" y="2951"/>
                  </a:lnTo>
                  <a:lnTo>
                    <a:pt x="6940" y="2925"/>
                  </a:lnTo>
                  <a:lnTo>
                    <a:pt x="6937" y="2966"/>
                  </a:lnTo>
                  <a:lnTo>
                    <a:pt x="6958" y="2966"/>
                  </a:lnTo>
                  <a:lnTo>
                    <a:pt x="6974" y="2942"/>
                  </a:lnTo>
                  <a:lnTo>
                    <a:pt x="6985" y="2954"/>
                  </a:lnTo>
                  <a:lnTo>
                    <a:pt x="6977" y="2924"/>
                  </a:lnTo>
                  <a:lnTo>
                    <a:pt x="7011" y="2930"/>
                  </a:lnTo>
                  <a:lnTo>
                    <a:pt x="7025" y="2932"/>
                  </a:lnTo>
                  <a:lnTo>
                    <a:pt x="7037" y="2927"/>
                  </a:lnTo>
                  <a:lnTo>
                    <a:pt x="7029" y="2959"/>
                  </a:lnTo>
                  <a:lnTo>
                    <a:pt x="7040" y="2971"/>
                  </a:lnTo>
                  <a:lnTo>
                    <a:pt x="7069" y="2972"/>
                  </a:lnTo>
                  <a:lnTo>
                    <a:pt x="7077" y="2935"/>
                  </a:lnTo>
                  <a:lnTo>
                    <a:pt x="7111" y="2956"/>
                  </a:lnTo>
                  <a:lnTo>
                    <a:pt x="7122" y="2945"/>
                  </a:lnTo>
                  <a:lnTo>
                    <a:pt x="7127" y="2903"/>
                  </a:lnTo>
                  <a:lnTo>
                    <a:pt x="7149" y="2942"/>
                  </a:lnTo>
                  <a:lnTo>
                    <a:pt x="7164" y="2917"/>
                  </a:lnTo>
                  <a:lnTo>
                    <a:pt x="7180" y="2927"/>
                  </a:lnTo>
                  <a:lnTo>
                    <a:pt x="7164" y="2958"/>
                  </a:lnTo>
                  <a:lnTo>
                    <a:pt x="7214" y="2938"/>
                  </a:lnTo>
                  <a:lnTo>
                    <a:pt x="7175" y="2987"/>
                  </a:lnTo>
                  <a:lnTo>
                    <a:pt x="7207" y="2988"/>
                  </a:lnTo>
                  <a:lnTo>
                    <a:pt x="7217" y="2954"/>
                  </a:lnTo>
                  <a:lnTo>
                    <a:pt x="7233" y="2954"/>
                  </a:lnTo>
                  <a:lnTo>
                    <a:pt x="7255" y="2971"/>
                  </a:lnTo>
                  <a:lnTo>
                    <a:pt x="7275" y="2945"/>
                  </a:lnTo>
                  <a:lnTo>
                    <a:pt x="7288" y="2956"/>
                  </a:lnTo>
                  <a:lnTo>
                    <a:pt x="7299" y="2988"/>
                  </a:lnTo>
                  <a:lnTo>
                    <a:pt x="7315" y="2983"/>
                  </a:lnTo>
                  <a:lnTo>
                    <a:pt x="7329" y="2996"/>
                  </a:lnTo>
                  <a:lnTo>
                    <a:pt x="7347" y="2979"/>
                  </a:lnTo>
                  <a:lnTo>
                    <a:pt x="7362" y="2969"/>
                  </a:lnTo>
                  <a:lnTo>
                    <a:pt x="7378" y="2972"/>
                  </a:lnTo>
                  <a:lnTo>
                    <a:pt x="7387" y="2961"/>
                  </a:lnTo>
                  <a:lnTo>
                    <a:pt x="7402" y="2958"/>
                  </a:lnTo>
                  <a:lnTo>
                    <a:pt x="7437" y="2977"/>
                  </a:lnTo>
                  <a:lnTo>
                    <a:pt x="7436" y="2940"/>
                  </a:lnTo>
                  <a:lnTo>
                    <a:pt x="7447" y="2917"/>
                  </a:lnTo>
                  <a:lnTo>
                    <a:pt x="7461" y="2909"/>
                  </a:lnTo>
                  <a:lnTo>
                    <a:pt x="7484" y="2943"/>
                  </a:lnTo>
                  <a:lnTo>
                    <a:pt x="7518" y="2924"/>
                  </a:lnTo>
                  <a:lnTo>
                    <a:pt x="7530" y="2932"/>
                  </a:lnTo>
                  <a:lnTo>
                    <a:pt x="7537" y="2950"/>
                  </a:lnTo>
                  <a:lnTo>
                    <a:pt x="7532" y="2979"/>
                  </a:lnTo>
                  <a:lnTo>
                    <a:pt x="7540" y="2956"/>
                  </a:lnTo>
                  <a:lnTo>
                    <a:pt x="7548" y="2937"/>
                  </a:lnTo>
                  <a:lnTo>
                    <a:pt x="7563" y="2921"/>
                  </a:lnTo>
                  <a:lnTo>
                    <a:pt x="7587" y="2925"/>
                  </a:lnTo>
                  <a:lnTo>
                    <a:pt x="7609" y="2935"/>
                  </a:lnTo>
                  <a:lnTo>
                    <a:pt x="7624" y="2913"/>
                  </a:lnTo>
                  <a:lnTo>
                    <a:pt x="7645" y="2921"/>
                  </a:lnTo>
                  <a:lnTo>
                    <a:pt x="7661" y="2922"/>
                  </a:lnTo>
                  <a:lnTo>
                    <a:pt x="7667" y="2927"/>
                  </a:lnTo>
                  <a:lnTo>
                    <a:pt x="7675" y="2917"/>
                  </a:lnTo>
                  <a:lnTo>
                    <a:pt x="7680" y="2919"/>
                  </a:lnTo>
                  <a:lnTo>
                    <a:pt x="7680" y="414"/>
                  </a:lnTo>
                  <a:lnTo>
                    <a:pt x="7670" y="409"/>
                  </a:lnTo>
                  <a:lnTo>
                    <a:pt x="7638" y="448"/>
                  </a:lnTo>
                  <a:lnTo>
                    <a:pt x="7656" y="393"/>
                  </a:lnTo>
                  <a:lnTo>
                    <a:pt x="7614" y="422"/>
                  </a:lnTo>
                  <a:lnTo>
                    <a:pt x="7609" y="417"/>
                  </a:lnTo>
                  <a:lnTo>
                    <a:pt x="7598" y="390"/>
                  </a:lnTo>
                  <a:lnTo>
                    <a:pt x="7580" y="380"/>
                  </a:lnTo>
                  <a:lnTo>
                    <a:pt x="7569" y="404"/>
                  </a:lnTo>
                  <a:lnTo>
                    <a:pt x="7553" y="402"/>
                  </a:lnTo>
                  <a:lnTo>
                    <a:pt x="7535" y="380"/>
                  </a:lnTo>
                  <a:lnTo>
                    <a:pt x="7526" y="417"/>
                  </a:lnTo>
                  <a:lnTo>
                    <a:pt x="7514" y="430"/>
                  </a:lnTo>
                  <a:lnTo>
                    <a:pt x="7487" y="401"/>
                  </a:lnTo>
                  <a:lnTo>
                    <a:pt x="7479" y="423"/>
                  </a:lnTo>
                  <a:lnTo>
                    <a:pt x="7477" y="452"/>
                  </a:lnTo>
                  <a:lnTo>
                    <a:pt x="7456" y="451"/>
                  </a:lnTo>
                  <a:lnTo>
                    <a:pt x="7439" y="480"/>
                  </a:lnTo>
                  <a:lnTo>
                    <a:pt x="7419" y="441"/>
                  </a:lnTo>
                  <a:lnTo>
                    <a:pt x="7392" y="460"/>
                  </a:lnTo>
                  <a:lnTo>
                    <a:pt x="7386" y="423"/>
                  </a:lnTo>
                  <a:lnTo>
                    <a:pt x="7376" y="457"/>
                  </a:lnTo>
                  <a:lnTo>
                    <a:pt x="7350" y="409"/>
                  </a:lnTo>
                  <a:lnTo>
                    <a:pt x="7336" y="423"/>
                  </a:lnTo>
                  <a:lnTo>
                    <a:pt x="7318" y="423"/>
                  </a:lnTo>
                  <a:lnTo>
                    <a:pt x="7313" y="459"/>
                  </a:lnTo>
                  <a:lnTo>
                    <a:pt x="7294" y="443"/>
                  </a:lnTo>
                  <a:lnTo>
                    <a:pt x="7281" y="436"/>
                  </a:lnTo>
                  <a:lnTo>
                    <a:pt x="7263" y="460"/>
                  </a:lnTo>
                  <a:lnTo>
                    <a:pt x="7247" y="451"/>
                  </a:lnTo>
                  <a:lnTo>
                    <a:pt x="7246" y="472"/>
                  </a:lnTo>
                  <a:lnTo>
                    <a:pt x="7209" y="452"/>
                  </a:lnTo>
                  <a:lnTo>
                    <a:pt x="7209" y="475"/>
                  </a:lnTo>
                  <a:lnTo>
                    <a:pt x="7198" y="477"/>
                  </a:lnTo>
                  <a:lnTo>
                    <a:pt x="7185" y="467"/>
                  </a:lnTo>
                  <a:lnTo>
                    <a:pt x="7181" y="525"/>
                  </a:lnTo>
                  <a:lnTo>
                    <a:pt x="7154" y="483"/>
                  </a:lnTo>
                  <a:lnTo>
                    <a:pt x="7146" y="510"/>
                  </a:lnTo>
                  <a:lnTo>
                    <a:pt x="7128" y="512"/>
                  </a:lnTo>
                  <a:lnTo>
                    <a:pt x="7117" y="538"/>
                  </a:lnTo>
                  <a:lnTo>
                    <a:pt x="7103" y="506"/>
                  </a:lnTo>
                  <a:lnTo>
                    <a:pt x="7079" y="546"/>
                  </a:lnTo>
                  <a:lnTo>
                    <a:pt x="7059" y="538"/>
                  </a:lnTo>
                  <a:lnTo>
                    <a:pt x="7038" y="533"/>
                  </a:lnTo>
                  <a:lnTo>
                    <a:pt x="7045" y="496"/>
                  </a:lnTo>
                  <a:lnTo>
                    <a:pt x="7014" y="512"/>
                  </a:lnTo>
                  <a:lnTo>
                    <a:pt x="7016" y="494"/>
                  </a:lnTo>
                  <a:lnTo>
                    <a:pt x="7005" y="489"/>
                  </a:lnTo>
                  <a:lnTo>
                    <a:pt x="6997" y="520"/>
                  </a:lnTo>
                  <a:lnTo>
                    <a:pt x="6958" y="467"/>
                  </a:lnTo>
                  <a:lnTo>
                    <a:pt x="6968" y="512"/>
                  </a:lnTo>
                  <a:lnTo>
                    <a:pt x="6966" y="531"/>
                  </a:lnTo>
                  <a:lnTo>
                    <a:pt x="6924" y="509"/>
                  </a:lnTo>
                  <a:lnTo>
                    <a:pt x="6931" y="554"/>
                  </a:lnTo>
                  <a:lnTo>
                    <a:pt x="6923" y="517"/>
                  </a:lnTo>
                  <a:lnTo>
                    <a:pt x="6894" y="535"/>
                  </a:lnTo>
                  <a:lnTo>
                    <a:pt x="6884" y="523"/>
                  </a:lnTo>
                  <a:lnTo>
                    <a:pt x="6882" y="525"/>
                  </a:lnTo>
                  <a:lnTo>
                    <a:pt x="6886" y="530"/>
                  </a:lnTo>
                  <a:lnTo>
                    <a:pt x="6844" y="507"/>
                  </a:lnTo>
                  <a:lnTo>
                    <a:pt x="6829" y="514"/>
                  </a:lnTo>
                  <a:lnTo>
                    <a:pt x="6837" y="551"/>
                  </a:lnTo>
                  <a:lnTo>
                    <a:pt x="6820" y="518"/>
                  </a:lnTo>
                  <a:lnTo>
                    <a:pt x="6804" y="556"/>
                  </a:lnTo>
                  <a:lnTo>
                    <a:pt x="6789" y="539"/>
                  </a:lnTo>
                  <a:lnTo>
                    <a:pt x="6775" y="538"/>
                  </a:lnTo>
                  <a:lnTo>
                    <a:pt x="6760" y="536"/>
                  </a:lnTo>
                  <a:lnTo>
                    <a:pt x="6739" y="543"/>
                  </a:lnTo>
                  <a:lnTo>
                    <a:pt x="6741" y="502"/>
                  </a:lnTo>
                  <a:lnTo>
                    <a:pt x="6723" y="515"/>
                  </a:lnTo>
                  <a:lnTo>
                    <a:pt x="6709" y="525"/>
                  </a:lnTo>
                  <a:lnTo>
                    <a:pt x="6694" y="554"/>
                  </a:lnTo>
                  <a:lnTo>
                    <a:pt x="6697" y="504"/>
                  </a:lnTo>
                  <a:lnTo>
                    <a:pt x="6677" y="509"/>
                  </a:lnTo>
                  <a:lnTo>
                    <a:pt x="6651" y="528"/>
                  </a:lnTo>
                  <a:lnTo>
                    <a:pt x="6652" y="535"/>
                  </a:lnTo>
                  <a:lnTo>
                    <a:pt x="6648" y="531"/>
                  </a:lnTo>
                  <a:lnTo>
                    <a:pt x="6643" y="533"/>
                  </a:lnTo>
                  <a:lnTo>
                    <a:pt x="6644" y="528"/>
                  </a:lnTo>
                  <a:lnTo>
                    <a:pt x="6617" y="509"/>
                  </a:lnTo>
                  <a:lnTo>
                    <a:pt x="6601" y="510"/>
                  </a:lnTo>
                  <a:lnTo>
                    <a:pt x="6601" y="543"/>
                  </a:lnTo>
                  <a:lnTo>
                    <a:pt x="6588" y="527"/>
                  </a:lnTo>
                  <a:lnTo>
                    <a:pt x="6575" y="518"/>
                  </a:lnTo>
                  <a:lnTo>
                    <a:pt x="6551" y="522"/>
                  </a:lnTo>
                  <a:lnTo>
                    <a:pt x="6556" y="477"/>
                  </a:lnTo>
                  <a:lnTo>
                    <a:pt x="6543" y="512"/>
                  </a:lnTo>
                  <a:lnTo>
                    <a:pt x="6535" y="535"/>
                  </a:lnTo>
                  <a:lnTo>
                    <a:pt x="6503" y="499"/>
                  </a:lnTo>
                  <a:lnTo>
                    <a:pt x="6493" y="535"/>
                  </a:lnTo>
                  <a:lnTo>
                    <a:pt x="6476" y="502"/>
                  </a:lnTo>
                  <a:lnTo>
                    <a:pt x="6463" y="501"/>
                  </a:lnTo>
                  <a:lnTo>
                    <a:pt x="6451" y="489"/>
                  </a:lnTo>
                  <a:lnTo>
                    <a:pt x="6429" y="512"/>
                  </a:lnTo>
                  <a:lnTo>
                    <a:pt x="6414" y="533"/>
                  </a:lnTo>
                  <a:lnTo>
                    <a:pt x="6394" y="485"/>
                  </a:lnTo>
                  <a:lnTo>
                    <a:pt x="6390" y="541"/>
                  </a:lnTo>
                  <a:lnTo>
                    <a:pt x="6371" y="488"/>
                  </a:lnTo>
                  <a:lnTo>
                    <a:pt x="6358" y="496"/>
                  </a:lnTo>
                  <a:lnTo>
                    <a:pt x="6345" y="481"/>
                  </a:lnTo>
                  <a:lnTo>
                    <a:pt x="6321" y="506"/>
                  </a:lnTo>
                  <a:lnTo>
                    <a:pt x="6313" y="509"/>
                  </a:lnTo>
                  <a:lnTo>
                    <a:pt x="6295" y="509"/>
                  </a:lnTo>
                  <a:lnTo>
                    <a:pt x="6289" y="525"/>
                  </a:lnTo>
                  <a:lnTo>
                    <a:pt x="6271" y="554"/>
                  </a:lnTo>
                  <a:lnTo>
                    <a:pt x="6244" y="539"/>
                  </a:lnTo>
                  <a:lnTo>
                    <a:pt x="6271" y="486"/>
                  </a:lnTo>
                  <a:lnTo>
                    <a:pt x="6225" y="515"/>
                  </a:lnTo>
                  <a:lnTo>
                    <a:pt x="6236" y="469"/>
                  </a:lnTo>
                  <a:lnTo>
                    <a:pt x="6213" y="499"/>
                  </a:lnTo>
                  <a:lnTo>
                    <a:pt x="6197" y="504"/>
                  </a:lnTo>
                  <a:lnTo>
                    <a:pt x="6181" y="457"/>
                  </a:lnTo>
                  <a:lnTo>
                    <a:pt x="6167" y="485"/>
                  </a:lnTo>
                  <a:lnTo>
                    <a:pt x="6152" y="506"/>
                  </a:lnTo>
                  <a:lnTo>
                    <a:pt x="6135" y="514"/>
                  </a:lnTo>
                  <a:lnTo>
                    <a:pt x="6123" y="464"/>
                  </a:lnTo>
                  <a:lnTo>
                    <a:pt x="6107" y="469"/>
                  </a:lnTo>
                  <a:lnTo>
                    <a:pt x="6090" y="457"/>
                  </a:lnTo>
                  <a:lnTo>
                    <a:pt x="6070" y="460"/>
                  </a:lnTo>
                  <a:lnTo>
                    <a:pt x="6061" y="514"/>
                  </a:lnTo>
                  <a:lnTo>
                    <a:pt x="6048" y="506"/>
                  </a:lnTo>
                  <a:lnTo>
                    <a:pt x="6027" y="498"/>
                  </a:lnTo>
                  <a:lnTo>
                    <a:pt x="6025" y="533"/>
                  </a:lnTo>
                  <a:lnTo>
                    <a:pt x="5996" y="536"/>
                  </a:lnTo>
                  <a:lnTo>
                    <a:pt x="5974" y="525"/>
                  </a:lnTo>
                  <a:lnTo>
                    <a:pt x="5963" y="504"/>
                  </a:lnTo>
                  <a:lnTo>
                    <a:pt x="5950" y="469"/>
                  </a:lnTo>
                  <a:lnTo>
                    <a:pt x="5938" y="518"/>
                  </a:lnTo>
                  <a:lnTo>
                    <a:pt x="5922" y="525"/>
                  </a:lnTo>
                  <a:lnTo>
                    <a:pt x="5903" y="496"/>
                  </a:lnTo>
                  <a:lnTo>
                    <a:pt x="5908" y="481"/>
                  </a:lnTo>
                  <a:lnTo>
                    <a:pt x="5861" y="515"/>
                  </a:lnTo>
                  <a:lnTo>
                    <a:pt x="5864" y="489"/>
                  </a:lnTo>
                  <a:lnTo>
                    <a:pt x="5855" y="483"/>
                  </a:lnTo>
                  <a:lnTo>
                    <a:pt x="5842" y="486"/>
                  </a:lnTo>
                  <a:lnTo>
                    <a:pt x="5824" y="465"/>
                  </a:lnTo>
                  <a:lnTo>
                    <a:pt x="5805" y="465"/>
                  </a:lnTo>
                  <a:lnTo>
                    <a:pt x="5784" y="472"/>
                  </a:lnTo>
                  <a:lnTo>
                    <a:pt x="5792" y="506"/>
                  </a:lnTo>
                  <a:lnTo>
                    <a:pt x="5774" y="509"/>
                  </a:lnTo>
                  <a:lnTo>
                    <a:pt x="5758" y="506"/>
                  </a:lnTo>
                  <a:lnTo>
                    <a:pt x="5744" y="517"/>
                  </a:lnTo>
                  <a:lnTo>
                    <a:pt x="5731" y="506"/>
                  </a:lnTo>
                  <a:lnTo>
                    <a:pt x="5725" y="485"/>
                  </a:lnTo>
                  <a:lnTo>
                    <a:pt x="5713" y="486"/>
                  </a:lnTo>
                  <a:lnTo>
                    <a:pt x="5699" y="480"/>
                  </a:lnTo>
                  <a:lnTo>
                    <a:pt x="5700" y="456"/>
                  </a:lnTo>
                  <a:lnTo>
                    <a:pt x="5676" y="443"/>
                  </a:lnTo>
                  <a:lnTo>
                    <a:pt x="5657" y="489"/>
                  </a:lnTo>
                  <a:lnTo>
                    <a:pt x="5641" y="488"/>
                  </a:lnTo>
                  <a:lnTo>
                    <a:pt x="5623" y="486"/>
                  </a:lnTo>
                  <a:lnTo>
                    <a:pt x="5610" y="501"/>
                  </a:lnTo>
                  <a:lnTo>
                    <a:pt x="5586" y="469"/>
                  </a:lnTo>
                  <a:lnTo>
                    <a:pt x="5573" y="515"/>
                  </a:lnTo>
                  <a:lnTo>
                    <a:pt x="5554" y="499"/>
                  </a:lnTo>
                  <a:lnTo>
                    <a:pt x="5540" y="491"/>
                  </a:lnTo>
                  <a:lnTo>
                    <a:pt x="5532" y="464"/>
                  </a:lnTo>
                  <a:lnTo>
                    <a:pt x="5516" y="478"/>
                  </a:lnTo>
                  <a:lnTo>
                    <a:pt x="5498" y="478"/>
                  </a:lnTo>
                  <a:lnTo>
                    <a:pt x="5485" y="501"/>
                  </a:lnTo>
                  <a:lnTo>
                    <a:pt x="5467" y="481"/>
                  </a:lnTo>
                  <a:lnTo>
                    <a:pt x="5453" y="506"/>
                  </a:lnTo>
                  <a:lnTo>
                    <a:pt x="5438" y="489"/>
                  </a:lnTo>
                  <a:lnTo>
                    <a:pt x="5427" y="504"/>
                  </a:lnTo>
                  <a:lnTo>
                    <a:pt x="5413" y="517"/>
                  </a:lnTo>
                  <a:lnTo>
                    <a:pt x="5387" y="525"/>
                  </a:lnTo>
                  <a:lnTo>
                    <a:pt x="5392" y="478"/>
                  </a:lnTo>
                  <a:lnTo>
                    <a:pt x="5372" y="480"/>
                  </a:lnTo>
                  <a:lnTo>
                    <a:pt x="5355" y="478"/>
                  </a:lnTo>
                  <a:lnTo>
                    <a:pt x="5352" y="451"/>
                  </a:lnTo>
                  <a:lnTo>
                    <a:pt x="5335" y="435"/>
                  </a:lnTo>
                  <a:lnTo>
                    <a:pt x="5316" y="446"/>
                  </a:lnTo>
                  <a:lnTo>
                    <a:pt x="5295" y="469"/>
                  </a:lnTo>
                  <a:lnTo>
                    <a:pt x="5284" y="443"/>
                  </a:lnTo>
                  <a:lnTo>
                    <a:pt x="5268" y="446"/>
                  </a:lnTo>
                  <a:lnTo>
                    <a:pt x="5255" y="481"/>
                  </a:lnTo>
                  <a:lnTo>
                    <a:pt x="5239" y="465"/>
                  </a:lnTo>
                  <a:lnTo>
                    <a:pt x="5215" y="452"/>
                  </a:lnTo>
                  <a:lnTo>
                    <a:pt x="5204" y="472"/>
                  </a:lnTo>
                  <a:lnTo>
                    <a:pt x="5189" y="480"/>
                  </a:lnTo>
                  <a:lnTo>
                    <a:pt x="5167" y="456"/>
                  </a:lnTo>
                  <a:lnTo>
                    <a:pt x="5157" y="470"/>
                  </a:lnTo>
                  <a:lnTo>
                    <a:pt x="5147" y="459"/>
                  </a:lnTo>
                  <a:lnTo>
                    <a:pt x="5114" y="488"/>
                  </a:lnTo>
                  <a:lnTo>
                    <a:pt x="5101" y="478"/>
                  </a:lnTo>
                  <a:lnTo>
                    <a:pt x="5099" y="441"/>
                  </a:lnTo>
                  <a:lnTo>
                    <a:pt x="5073" y="460"/>
                  </a:lnTo>
                  <a:lnTo>
                    <a:pt x="5065" y="449"/>
                  </a:lnTo>
                  <a:lnTo>
                    <a:pt x="5041" y="428"/>
                  </a:lnTo>
                  <a:lnTo>
                    <a:pt x="5024" y="430"/>
                  </a:lnTo>
                  <a:lnTo>
                    <a:pt x="5017" y="449"/>
                  </a:lnTo>
                  <a:lnTo>
                    <a:pt x="4990" y="475"/>
                  </a:lnTo>
                  <a:lnTo>
                    <a:pt x="4991" y="433"/>
                  </a:lnTo>
                  <a:lnTo>
                    <a:pt x="4972" y="423"/>
                  </a:lnTo>
                  <a:lnTo>
                    <a:pt x="4951" y="431"/>
                  </a:lnTo>
                  <a:lnTo>
                    <a:pt x="4935" y="435"/>
                  </a:lnTo>
                  <a:lnTo>
                    <a:pt x="4922" y="451"/>
                  </a:lnTo>
                  <a:lnTo>
                    <a:pt x="4896" y="433"/>
                  </a:lnTo>
                  <a:lnTo>
                    <a:pt x="4879" y="438"/>
                  </a:lnTo>
                  <a:lnTo>
                    <a:pt x="4880" y="489"/>
                  </a:lnTo>
                  <a:lnTo>
                    <a:pt x="4861" y="481"/>
                  </a:lnTo>
                  <a:lnTo>
                    <a:pt x="4845" y="469"/>
                  </a:lnTo>
                  <a:lnTo>
                    <a:pt x="4827" y="485"/>
                  </a:lnTo>
                  <a:lnTo>
                    <a:pt x="4805" y="486"/>
                  </a:lnTo>
                  <a:lnTo>
                    <a:pt x="4800" y="457"/>
                  </a:lnTo>
                  <a:lnTo>
                    <a:pt x="4782" y="456"/>
                  </a:lnTo>
                  <a:lnTo>
                    <a:pt x="4782" y="431"/>
                  </a:lnTo>
                  <a:lnTo>
                    <a:pt x="4760" y="433"/>
                  </a:lnTo>
                  <a:lnTo>
                    <a:pt x="4729" y="441"/>
                  </a:lnTo>
                  <a:lnTo>
                    <a:pt x="4739" y="404"/>
                  </a:lnTo>
                  <a:lnTo>
                    <a:pt x="4732" y="423"/>
                  </a:lnTo>
                  <a:lnTo>
                    <a:pt x="4695" y="411"/>
                  </a:lnTo>
                  <a:lnTo>
                    <a:pt x="4732" y="462"/>
                  </a:lnTo>
                  <a:lnTo>
                    <a:pt x="4707" y="459"/>
                  </a:lnTo>
                  <a:lnTo>
                    <a:pt x="4687" y="456"/>
                  </a:lnTo>
                  <a:lnTo>
                    <a:pt x="4676" y="443"/>
                  </a:lnTo>
                  <a:lnTo>
                    <a:pt x="4658" y="477"/>
                  </a:lnTo>
                  <a:lnTo>
                    <a:pt x="4650" y="444"/>
                  </a:lnTo>
                  <a:lnTo>
                    <a:pt x="4654" y="428"/>
                  </a:lnTo>
                  <a:lnTo>
                    <a:pt x="4620" y="441"/>
                  </a:lnTo>
                  <a:lnTo>
                    <a:pt x="4613" y="425"/>
                  </a:lnTo>
                  <a:lnTo>
                    <a:pt x="4589" y="448"/>
                  </a:lnTo>
                  <a:lnTo>
                    <a:pt x="4585" y="433"/>
                  </a:lnTo>
                  <a:lnTo>
                    <a:pt x="4564" y="402"/>
                  </a:lnTo>
                  <a:lnTo>
                    <a:pt x="4556" y="440"/>
                  </a:lnTo>
                  <a:lnTo>
                    <a:pt x="4538" y="438"/>
                  </a:lnTo>
                  <a:lnTo>
                    <a:pt x="4509" y="412"/>
                  </a:lnTo>
                  <a:lnTo>
                    <a:pt x="4507" y="430"/>
                  </a:lnTo>
                  <a:lnTo>
                    <a:pt x="4491" y="433"/>
                  </a:lnTo>
                  <a:lnTo>
                    <a:pt x="4474" y="427"/>
                  </a:lnTo>
                  <a:lnTo>
                    <a:pt x="4457" y="419"/>
                  </a:lnTo>
                  <a:lnTo>
                    <a:pt x="4451" y="388"/>
                  </a:lnTo>
                  <a:lnTo>
                    <a:pt x="4435" y="382"/>
                  </a:lnTo>
                  <a:lnTo>
                    <a:pt x="4419" y="423"/>
                  </a:lnTo>
                  <a:lnTo>
                    <a:pt x="4417" y="425"/>
                  </a:lnTo>
                  <a:lnTo>
                    <a:pt x="4372" y="407"/>
                  </a:lnTo>
                  <a:lnTo>
                    <a:pt x="4395" y="446"/>
                  </a:lnTo>
                  <a:lnTo>
                    <a:pt x="4372" y="438"/>
                  </a:lnTo>
                  <a:lnTo>
                    <a:pt x="4369" y="475"/>
                  </a:lnTo>
                  <a:lnTo>
                    <a:pt x="4358" y="440"/>
                  </a:lnTo>
                  <a:lnTo>
                    <a:pt x="4332" y="460"/>
                  </a:lnTo>
                  <a:lnTo>
                    <a:pt x="4316" y="459"/>
                  </a:lnTo>
                  <a:lnTo>
                    <a:pt x="4313" y="441"/>
                  </a:lnTo>
                  <a:lnTo>
                    <a:pt x="4308" y="414"/>
                  </a:lnTo>
                  <a:lnTo>
                    <a:pt x="4289" y="419"/>
                  </a:lnTo>
                  <a:lnTo>
                    <a:pt x="4271" y="401"/>
                  </a:lnTo>
                  <a:lnTo>
                    <a:pt x="4247" y="402"/>
                  </a:lnTo>
                  <a:lnTo>
                    <a:pt x="4261" y="448"/>
                  </a:lnTo>
                  <a:lnTo>
                    <a:pt x="4245" y="449"/>
                  </a:lnTo>
                  <a:lnTo>
                    <a:pt x="4226" y="435"/>
                  </a:lnTo>
                  <a:lnTo>
                    <a:pt x="4202" y="460"/>
                  </a:lnTo>
                  <a:lnTo>
                    <a:pt x="4184" y="460"/>
                  </a:lnTo>
                  <a:lnTo>
                    <a:pt x="4183" y="454"/>
                  </a:lnTo>
                  <a:lnTo>
                    <a:pt x="4160" y="449"/>
                  </a:lnTo>
                  <a:lnTo>
                    <a:pt x="4165" y="478"/>
                  </a:lnTo>
                  <a:lnTo>
                    <a:pt x="4134" y="460"/>
                  </a:lnTo>
                  <a:lnTo>
                    <a:pt x="4131" y="446"/>
                  </a:lnTo>
                  <a:lnTo>
                    <a:pt x="4126" y="428"/>
                  </a:lnTo>
                  <a:lnTo>
                    <a:pt x="4115" y="420"/>
                  </a:lnTo>
                  <a:lnTo>
                    <a:pt x="4088" y="428"/>
                  </a:lnTo>
                  <a:lnTo>
                    <a:pt x="4072" y="428"/>
                  </a:lnTo>
                  <a:lnTo>
                    <a:pt x="4059" y="465"/>
                  </a:lnTo>
                  <a:lnTo>
                    <a:pt x="4043" y="425"/>
                  </a:lnTo>
                  <a:lnTo>
                    <a:pt x="4023" y="433"/>
                  </a:lnTo>
                  <a:lnTo>
                    <a:pt x="4019" y="402"/>
                  </a:lnTo>
                  <a:lnTo>
                    <a:pt x="4004" y="383"/>
                  </a:lnTo>
                  <a:lnTo>
                    <a:pt x="3978" y="414"/>
                  </a:lnTo>
                  <a:lnTo>
                    <a:pt x="3969" y="383"/>
                  </a:lnTo>
                  <a:lnTo>
                    <a:pt x="3956" y="427"/>
                  </a:lnTo>
                  <a:lnTo>
                    <a:pt x="3928" y="409"/>
                  </a:lnTo>
                  <a:lnTo>
                    <a:pt x="3908" y="411"/>
                  </a:lnTo>
                  <a:lnTo>
                    <a:pt x="3898" y="422"/>
                  </a:lnTo>
                  <a:lnTo>
                    <a:pt x="3930" y="465"/>
                  </a:lnTo>
                  <a:lnTo>
                    <a:pt x="3893" y="444"/>
                  </a:lnTo>
                  <a:lnTo>
                    <a:pt x="3887" y="467"/>
                  </a:lnTo>
                  <a:lnTo>
                    <a:pt x="3871" y="481"/>
                  </a:lnTo>
                  <a:lnTo>
                    <a:pt x="3866" y="435"/>
                  </a:lnTo>
                  <a:lnTo>
                    <a:pt x="3832" y="467"/>
                  </a:lnTo>
                  <a:lnTo>
                    <a:pt x="3827" y="440"/>
                  </a:lnTo>
                  <a:lnTo>
                    <a:pt x="3821" y="414"/>
                  </a:lnTo>
                  <a:lnTo>
                    <a:pt x="3803" y="406"/>
                  </a:lnTo>
                  <a:lnTo>
                    <a:pt x="3787" y="399"/>
                  </a:lnTo>
                  <a:lnTo>
                    <a:pt x="3763" y="415"/>
                  </a:lnTo>
                  <a:lnTo>
                    <a:pt x="3734" y="394"/>
                  </a:lnTo>
                  <a:lnTo>
                    <a:pt x="3745" y="452"/>
                  </a:lnTo>
                  <a:lnTo>
                    <a:pt x="3710" y="417"/>
                  </a:lnTo>
                  <a:lnTo>
                    <a:pt x="3697" y="420"/>
                  </a:lnTo>
                  <a:lnTo>
                    <a:pt x="3686" y="438"/>
                  </a:lnTo>
                  <a:lnTo>
                    <a:pt x="3668" y="462"/>
                  </a:lnTo>
                  <a:lnTo>
                    <a:pt x="3653" y="440"/>
                  </a:lnTo>
                  <a:lnTo>
                    <a:pt x="3642" y="425"/>
                  </a:lnTo>
                  <a:lnTo>
                    <a:pt x="3626" y="456"/>
                  </a:lnTo>
                  <a:lnTo>
                    <a:pt x="3604" y="422"/>
                  </a:lnTo>
                  <a:lnTo>
                    <a:pt x="3605" y="449"/>
                  </a:lnTo>
                  <a:lnTo>
                    <a:pt x="3602" y="469"/>
                  </a:lnTo>
                  <a:lnTo>
                    <a:pt x="3576" y="435"/>
                  </a:lnTo>
                  <a:lnTo>
                    <a:pt x="3554" y="469"/>
                  </a:lnTo>
                  <a:lnTo>
                    <a:pt x="3546" y="448"/>
                  </a:lnTo>
                  <a:lnTo>
                    <a:pt x="3533" y="462"/>
                  </a:lnTo>
                  <a:lnTo>
                    <a:pt x="3510" y="436"/>
                  </a:lnTo>
                  <a:lnTo>
                    <a:pt x="3525" y="477"/>
                  </a:lnTo>
                  <a:lnTo>
                    <a:pt x="3504" y="475"/>
                  </a:lnTo>
                  <a:lnTo>
                    <a:pt x="3483" y="489"/>
                  </a:lnTo>
                  <a:lnTo>
                    <a:pt x="3457" y="481"/>
                  </a:lnTo>
                  <a:lnTo>
                    <a:pt x="3448" y="469"/>
                  </a:lnTo>
                  <a:lnTo>
                    <a:pt x="3446" y="448"/>
                  </a:lnTo>
                  <a:lnTo>
                    <a:pt x="3438" y="440"/>
                  </a:lnTo>
                  <a:lnTo>
                    <a:pt x="3430" y="452"/>
                  </a:lnTo>
                  <a:lnTo>
                    <a:pt x="3422" y="477"/>
                  </a:lnTo>
                  <a:lnTo>
                    <a:pt x="3395" y="464"/>
                  </a:lnTo>
                  <a:lnTo>
                    <a:pt x="3372" y="435"/>
                  </a:lnTo>
                  <a:lnTo>
                    <a:pt x="3364" y="478"/>
                  </a:lnTo>
                  <a:lnTo>
                    <a:pt x="3343" y="494"/>
                  </a:lnTo>
                  <a:lnTo>
                    <a:pt x="3330" y="460"/>
                  </a:lnTo>
                  <a:lnTo>
                    <a:pt x="3308" y="481"/>
                  </a:lnTo>
                  <a:lnTo>
                    <a:pt x="3300" y="462"/>
                  </a:lnTo>
                  <a:lnTo>
                    <a:pt x="3277" y="443"/>
                  </a:lnTo>
                  <a:lnTo>
                    <a:pt x="3272" y="477"/>
                  </a:lnTo>
                  <a:lnTo>
                    <a:pt x="3256" y="448"/>
                  </a:lnTo>
                  <a:lnTo>
                    <a:pt x="3258" y="441"/>
                  </a:lnTo>
                  <a:lnTo>
                    <a:pt x="3206" y="469"/>
                  </a:lnTo>
                  <a:lnTo>
                    <a:pt x="3208" y="446"/>
                  </a:lnTo>
                  <a:lnTo>
                    <a:pt x="3208" y="415"/>
                  </a:lnTo>
                  <a:lnTo>
                    <a:pt x="3182" y="414"/>
                  </a:lnTo>
                  <a:lnTo>
                    <a:pt x="3176" y="440"/>
                  </a:lnTo>
                  <a:lnTo>
                    <a:pt x="3160" y="459"/>
                  </a:lnTo>
                  <a:lnTo>
                    <a:pt x="3152" y="423"/>
                  </a:lnTo>
                  <a:lnTo>
                    <a:pt x="3116" y="452"/>
                  </a:lnTo>
                  <a:lnTo>
                    <a:pt x="3112" y="428"/>
                  </a:lnTo>
                  <a:lnTo>
                    <a:pt x="3099" y="391"/>
                  </a:lnTo>
                  <a:lnTo>
                    <a:pt x="3083" y="417"/>
                  </a:lnTo>
                  <a:lnTo>
                    <a:pt x="3068" y="419"/>
                  </a:lnTo>
                  <a:lnTo>
                    <a:pt x="3052" y="420"/>
                  </a:lnTo>
                  <a:lnTo>
                    <a:pt x="3038" y="428"/>
                  </a:lnTo>
                  <a:lnTo>
                    <a:pt x="3022" y="428"/>
                  </a:lnTo>
                  <a:lnTo>
                    <a:pt x="3005" y="440"/>
                  </a:lnTo>
                  <a:lnTo>
                    <a:pt x="2991" y="399"/>
                  </a:lnTo>
                  <a:lnTo>
                    <a:pt x="2970" y="407"/>
                  </a:lnTo>
                  <a:lnTo>
                    <a:pt x="2952" y="420"/>
                  </a:lnTo>
                  <a:lnTo>
                    <a:pt x="2959" y="467"/>
                  </a:lnTo>
                  <a:lnTo>
                    <a:pt x="2925" y="431"/>
                  </a:lnTo>
                  <a:lnTo>
                    <a:pt x="2901" y="473"/>
                  </a:lnTo>
                  <a:lnTo>
                    <a:pt x="2901" y="427"/>
                  </a:lnTo>
                  <a:lnTo>
                    <a:pt x="2886" y="423"/>
                  </a:lnTo>
                  <a:lnTo>
                    <a:pt x="2867" y="422"/>
                  </a:lnTo>
                  <a:lnTo>
                    <a:pt x="2841" y="425"/>
                  </a:lnTo>
                  <a:lnTo>
                    <a:pt x="2838" y="388"/>
                  </a:lnTo>
                  <a:lnTo>
                    <a:pt x="2833" y="422"/>
                  </a:lnTo>
                  <a:lnTo>
                    <a:pt x="2800" y="401"/>
                  </a:lnTo>
                  <a:lnTo>
                    <a:pt x="2795" y="420"/>
                  </a:lnTo>
                  <a:lnTo>
                    <a:pt x="2788" y="438"/>
                  </a:lnTo>
                  <a:lnTo>
                    <a:pt x="2795" y="406"/>
                  </a:lnTo>
                  <a:lnTo>
                    <a:pt x="2764" y="419"/>
                  </a:lnTo>
                  <a:lnTo>
                    <a:pt x="2747" y="417"/>
                  </a:lnTo>
                  <a:lnTo>
                    <a:pt x="2745" y="388"/>
                  </a:lnTo>
                  <a:lnTo>
                    <a:pt x="2722" y="386"/>
                  </a:lnTo>
                  <a:lnTo>
                    <a:pt x="2703" y="377"/>
                  </a:lnTo>
                  <a:lnTo>
                    <a:pt x="2698" y="422"/>
                  </a:lnTo>
                  <a:lnTo>
                    <a:pt x="2684" y="436"/>
                  </a:lnTo>
                  <a:lnTo>
                    <a:pt x="2666" y="419"/>
                  </a:lnTo>
                  <a:lnTo>
                    <a:pt x="2648" y="412"/>
                  </a:lnTo>
                  <a:lnTo>
                    <a:pt x="2644" y="446"/>
                  </a:lnTo>
                  <a:lnTo>
                    <a:pt x="2623" y="443"/>
                  </a:lnTo>
                  <a:lnTo>
                    <a:pt x="2603" y="462"/>
                  </a:lnTo>
                  <a:lnTo>
                    <a:pt x="2595" y="404"/>
                  </a:lnTo>
                  <a:lnTo>
                    <a:pt x="2566" y="444"/>
                  </a:lnTo>
                  <a:lnTo>
                    <a:pt x="2557" y="420"/>
                  </a:lnTo>
                  <a:lnTo>
                    <a:pt x="2539" y="422"/>
                  </a:lnTo>
                  <a:lnTo>
                    <a:pt x="2528" y="446"/>
                  </a:lnTo>
                  <a:lnTo>
                    <a:pt x="2509" y="462"/>
                  </a:lnTo>
                  <a:lnTo>
                    <a:pt x="2497" y="422"/>
                  </a:lnTo>
                  <a:lnTo>
                    <a:pt x="2470" y="454"/>
                  </a:lnTo>
                  <a:lnTo>
                    <a:pt x="2465" y="396"/>
                  </a:lnTo>
                  <a:lnTo>
                    <a:pt x="2446" y="409"/>
                  </a:lnTo>
                  <a:lnTo>
                    <a:pt x="2435" y="448"/>
                  </a:lnTo>
                  <a:lnTo>
                    <a:pt x="2420" y="406"/>
                  </a:lnTo>
                  <a:lnTo>
                    <a:pt x="2407" y="409"/>
                  </a:lnTo>
                  <a:lnTo>
                    <a:pt x="2386" y="412"/>
                  </a:lnTo>
                  <a:lnTo>
                    <a:pt x="2374" y="382"/>
                  </a:lnTo>
                  <a:lnTo>
                    <a:pt x="2353" y="399"/>
                  </a:lnTo>
                  <a:lnTo>
                    <a:pt x="2333" y="391"/>
                  </a:lnTo>
                  <a:lnTo>
                    <a:pt x="2324" y="411"/>
                  </a:lnTo>
                  <a:lnTo>
                    <a:pt x="2312" y="402"/>
                  </a:lnTo>
                  <a:lnTo>
                    <a:pt x="2308" y="380"/>
                  </a:lnTo>
                  <a:lnTo>
                    <a:pt x="2272" y="402"/>
                  </a:lnTo>
                  <a:lnTo>
                    <a:pt x="2274" y="353"/>
                  </a:lnTo>
                  <a:lnTo>
                    <a:pt x="2250" y="382"/>
                  </a:lnTo>
                  <a:lnTo>
                    <a:pt x="2226" y="398"/>
                  </a:lnTo>
                  <a:lnTo>
                    <a:pt x="2219" y="370"/>
                  </a:lnTo>
                  <a:lnTo>
                    <a:pt x="2197" y="375"/>
                  </a:lnTo>
                  <a:lnTo>
                    <a:pt x="2193" y="325"/>
                  </a:lnTo>
                  <a:lnTo>
                    <a:pt x="2184" y="377"/>
                  </a:lnTo>
                  <a:lnTo>
                    <a:pt x="2158" y="362"/>
                  </a:lnTo>
                  <a:lnTo>
                    <a:pt x="2140" y="388"/>
                  </a:lnTo>
                  <a:lnTo>
                    <a:pt x="2115" y="377"/>
                  </a:lnTo>
                  <a:lnTo>
                    <a:pt x="2131" y="343"/>
                  </a:lnTo>
                  <a:lnTo>
                    <a:pt x="2134" y="320"/>
                  </a:lnTo>
                  <a:lnTo>
                    <a:pt x="2099" y="353"/>
                  </a:lnTo>
                  <a:lnTo>
                    <a:pt x="2094" y="341"/>
                  </a:lnTo>
                  <a:lnTo>
                    <a:pt x="2087" y="361"/>
                  </a:lnTo>
                  <a:lnTo>
                    <a:pt x="2057" y="328"/>
                  </a:lnTo>
                  <a:lnTo>
                    <a:pt x="2052" y="370"/>
                  </a:lnTo>
                  <a:lnTo>
                    <a:pt x="2041" y="338"/>
                  </a:lnTo>
                  <a:lnTo>
                    <a:pt x="2015" y="361"/>
                  </a:lnTo>
                  <a:lnTo>
                    <a:pt x="2017" y="307"/>
                  </a:lnTo>
                  <a:lnTo>
                    <a:pt x="1989" y="353"/>
                  </a:lnTo>
                  <a:lnTo>
                    <a:pt x="1984" y="299"/>
                  </a:lnTo>
                  <a:lnTo>
                    <a:pt x="1960" y="332"/>
                  </a:lnTo>
                  <a:lnTo>
                    <a:pt x="1951" y="314"/>
                  </a:lnTo>
                  <a:lnTo>
                    <a:pt x="1926" y="317"/>
                  </a:lnTo>
                  <a:lnTo>
                    <a:pt x="1923" y="301"/>
                  </a:lnTo>
                  <a:lnTo>
                    <a:pt x="1898" y="290"/>
                  </a:lnTo>
                  <a:lnTo>
                    <a:pt x="1907" y="330"/>
                  </a:lnTo>
                  <a:lnTo>
                    <a:pt x="1862" y="301"/>
                  </a:lnTo>
                  <a:lnTo>
                    <a:pt x="1867" y="319"/>
                  </a:lnTo>
                  <a:lnTo>
                    <a:pt x="1859" y="325"/>
                  </a:lnTo>
                  <a:lnTo>
                    <a:pt x="1848" y="317"/>
                  </a:lnTo>
                  <a:lnTo>
                    <a:pt x="1832" y="312"/>
                  </a:lnTo>
                  <a:lnTo>
                    <a:pt x="1819" y="324"/>
                  </a:lnTo>
                  <a:lnTo>
                    <a:pt x="1814" y="309"/>
                  </a:lnTo>
                  <a:lnTo>
                    <a:pt x="1796" y="283"/>
                  </a:lnTo>
                  <a:lnTo>
                    <a:pt x="1780" y="303"/>
                  </a:lnTo>
                  <a:lnTo>
                    <a:pt x="1775" y="267"/>
                  </a:lnTo>
                  <a:lnTo>
                    <a:pt x="1745" y="309"/>
                  </a:lnTo>
                  <a:lnTo>
                    <a:pt x="1737" y="296"/>
                  </a:lnTo>
                  <a:lnTo>
                    <a:pt x="1727" y="317"/>
                  </a:lnTo>
                  <a:lnTo>
                    <a:pt x="1698" y="269"/>
                  </a:lnTo>
                  <a:lnTo>
                    <a:pt x="1688" y="296"/>
                  </a:lnTo>
                  <a:lnTo>
                    <a:pt x="1684" y="274"/>
                  </a:lnTo>
                  <a:lnTo>
                    <a:pt x="1648" y="285"/>
                  </a:lnTo>
                  <a:lnTo>
                    <a:pt x="1643" y="277"/>
                  </a:lnTo>
                  <a:lnTo>
                    <a:pt x="1632" y="259"/>
                  </a:lnTo>
                  <a:lnTo>
                    <a:pt x="1631" y="288"/>
                  </a:lnTo>
                  <a:lnTo>
                    <a:pt x="1616" y="293"/>
                  </a:lnTo>
                  <a:lnTo>
                    <a:pt x="1590" y="304"/>
                  </a:lnTo>
                  <a:lnTo>
                    <a:pt x="1581" y="275"/>
                  </a:lnTo>
                  <a:lnTo>
                    <a:pt x="1566" y="266"/>
                  </a:lnTo>
                  <a:lnTo>
                    <a:pt x="1590" y="228"/>
                  </a:lnTo>
                  <a:lnTo>
                    <a:pt x="1560" y="235"/>
                  </a:lnTo>
                  <a:lnTo>
                    <a:pt x="1544" y="237"/>
                  </a:lnTo>
                  <a:lnTo>
                    <a:pt x="1544" y="267"/>
                  </a:lnTo>
                  <a:lnTo>
                    <a:pt x="1508" y="232"/>
                  </a:lnTo>
                  <a:lnTo>
                    <a:pt x="1508" y="283"/>
                  </a:lnTo>
                  <a:lnTo>
                    <a:pt x="1484" y="283"/>
                  </a:lnTo>
                  <a:lnTo>
                    <a:pt x="1468" y="282"/>
                  </a:lnTo>
                  <a:lnTo>
                    <a:pt x="1460" y="251"/>
                  </a:lnTo>
                  <a:lnTo>
                    <a:pt x="1431" y="251"/>
                  </a:lnTo>
                  <a:lnTo>
                    <a:pt x="1442" y="224"/>
                  </a:lnTo>
                  <a:lnTo>
                    <a:pt x="1439" y="206"/>
                  </a:lnTo>
                  <a:lnTo>
                    <a:pt x="1430" y="183"/>
                  </a:lnTo>
                  <a:lnTo>
                    <a:pt x="1415" y="211"/>
                  </a:lnTo>
                  <a:lnTo>
                    <a:pt x="1388" y="190"/>
                  </a:lnTo>
                  <a:lnTo>
                    <a:pt x="1385" y="199"/>
                  </a:lnTo>
                  <a:lnTo>
                    <a:pt x="1388" y="198"/>
                  </a:lnTo>
                  <a:lnTo>
                    <a:pt x="1375" y="217"/>
                  </a:lnTo>
                  <a:lnTo>
                    <a:pt x="1380" y="208"/>
                  </a:lnTo>
                  <a:lnTo>
                    <a:pt x="1385" y="199"/>
                  </a:lnTo>
                  <a:lnTo>
                    <a:pt x="1332" y="214"/>
                  </a:lnTo>
                  <a:lnTo>
                    <a:pt x="1333" y="193"/>
                  </a:lnTo>
                  <a:lnTo>
                    <a:pt x="1341" y="166"/>
                  </a:lnTo>
                  <a:lnTo>
                    <a:pt x="1322" y="172"/>
                  </a:lnTo>
                  <a:lnTo>
                    <a:pt x="1304" y="185"/>
                  </a:lnTo>
                  <a:lnTo>
                    <a:pt x="1293" y="167"/>
                  </a:lnTo>
                  <a:lnTo>
                    <a:pt x="1272" y="162"/>
                  </a:lnTo>
                  <a:lnTo>
                    <a:pt x="1250" y="161"/>
                  </a:lnTo>
                  <a:lnTo>
                    <a:pt x="1262" y="198"/>
                  </a:lnTo>
                  <a:lnTo>
                    <a:pt x="1246" y="201"/>
                  </a:lnTo>
                  <a:lnTo>
                    <a:pt x="1235" y="195"/>
                  </a:lnTo>
                  <a:lnTo>
                    <a:pt x="1229" y="193"/>
                  </a:lnTo>
                  <a:lnTo>
                    <a:pt x="1221" y="174"/>
                  </a:lnTo>
                  <a:lnTo>
                    <a:pt x="1180" y="206"/>
                  </a:lnTo>
                  <a:lnTo>
                    <a:pt x="1180" y="175"/>
                  </a:lnTo>
                  <a:lnTo>
                    <a:pt x="1168" y="164"/>
                  </a:lnTo>
                  <a:lnTo>
                    <a:pt x="1147" y="175"/>
                  </a:lnTo>
                  <a:lnTo>
                    <a:pt x="1129" y="182"/>
                  </a:lnTo>
                  <a:lnTo>
                    <a:pt x="1118" y="166"/>
                  </a:lnTo>
                  <a:lnTo>
                    <a:pt x="1108" y="177"/>
                  </a:lnTo>
                  <a:lnTo>
                    <a:pt x="1103" y="179"/>
                  </a:lnTo>
                  <a:lnTo>
                    <a:pt x="1082" y="167"/>
                  </a:lnTo>
                  <a:lnTo>
                    <a:pt x="1066" y="162"/>
                  </a:lnTo>
                  <a:lnTo>
                    <a:pt x="1049" y="193"/>
                  </a:lnTo>
                  <a:lnTo>
                    <a:pt x="1069" y="143"/>
                  </a:lnTo>
                  <a:lnTo>
                    <a:pt x="1026" y="156"/>
                  </a:lnTo>
                  <a:lnTo>
                    <a:pt x="1003" y="153"/>
                  </a:lnTo>
                  <a:lnTo>
                    <a:pt x="1020" y="114"/>
                  </a:lnTo>
                  <a:lnTo>
                    <a:pt x="995" y="114"/>
                  </a:lnTo>
                  <a:lnTo>
                    <a:pt x="975" y="106"/>
                  </a:lnTo>
                  <a:lnTo>
                    <a:pt x="967" y="151"/>
                  </a:lnTo>
                  <a:lnTo>
                    <a:pt x="941" y="151"/>
                  </a:lnTo>
                  <a:lnTo>
                    <a:pt x="928" y="140"/>
                  </a:lnTo>
                  <a:lnTo>
                    <a:pt x="925" y="140"/>
                  </a:lnTo>
                  <a:lnTo>
                    <a:pt x="909" y="116"/>
                  </a:lnTo>
                  <a:lnTo>
                    <a:pt x="884" y="108"/>
                  </a:lnTo>
                  <a:lnTo>
                    <a:pt x="875" y="137"/>
                  </a:lnTo>
                  <a:lnTo>
                    <a:pt x="843" y="137"/>
                  </a:lnTo>
                  <a:lnTo>
                    <a:pt x="872" y="96"/>
                  </a:lnTo>
                  <a:lnTo>
                    <a:pt x="825" y="108"/>
                  </a:lnTo>
                  <a:lnTo>
                    <a:pt x="844" y="69"/>
                  </a:lnTo>
                  <a:lnTo>
                    <a:pt x="822" y="98"/>
                  </a:lnTo>
                  <a:lnTo>
                    <a:pt x="806" y="109"/>
                  </a:lnTo>
                  <a:lnTo>
                    <a:pt x="796" y="46"/>
                  </a:lnTo>
                  <a:lnTo>
                    <a:pt x="770" y="93"/>
                  </a:lnTo>
                  <a:lnTo>
                    <a:pt x="762" y="67"/>
                  </a:lnTo>
                  <a:lnTo>
                    <a:pt x="746" y="63"/>
                  </a:lnTo>
                  <a:lnTo>
                    <a:pt x="720" y="53"/>
                  </a:lnTo>
                  <a:lnTo>
                    <a:pt x="727" y="90"/>
                  </a:lnTo>
                  <a:lnTo>
                    <a:pt x="714" y="100"/>
                  </a:lnTo>
                  <a:lnTo>
                    <a:pt x="695" y="75"/>
                  </a:lnTo>
                  <a:lnTo>
                    <a:pt x="672" y="103"/>
                  </a:lnTo>
                  <a:lnTo>
                    <a:pt x="682" y="59"/>
                  </a:lnTo>
                  <a:lnTo>
                    <a:pt x="648" y="85"/>
                  </a:lnTo>
                  <a:lnTo>
                    <a:pt x="635" y="95"/>
                  </a:lnTo>
                  <a:lnTo>
                    <a:pt x="621" y="77"/>
                  </a:lnTo>
                  <a:lnTo>
                    <a:pt x="608" y="98"/>
                  </a:lnTo>
                  <a:lnTo>
                    <a:pt x="589" y="58"/>
                  </a:lnTo>
                  <a:lnTo>
                    <a:pt x="574" y="63"/>
                  </a:lnTo>
                  <a:lnTo>
                    <a:pt x="555" y="45"/>
                  </a:lnTo>
                  <a:lnTo>
                    <a:pt x="539" y="51"/>
                  </a:lnTo>
                  <a:lnTo>
                    <a:pt x="534" y="109"/>
                  </a:lnTo>
                  <a:lnTo>
                    <a:pt x="507" y="114"/>
                  </a:lnTo>
                  <a:lnTo>
                    <a:pt x="492" y="87"/>
                  </a:lnTo>
                  <a:lnTo>
                    <a:pt x="484" y="67"/>
                  </a:lnTo>
                  <a:lnTo>
                    <a:pt x="476" y="40"/>
                  </a:lnTo>
                  <a:lnTo>
                    <a:pt x="447" y="87"/>
                  </a:lnTo>
                  <a:lnTo>
                    <a:pt x="434" y="75"/>
                  </a:lnTo>
                  <a:lnTo>
                    <a:pt x="420" y="63"/>
                  </a:lnTo>
                  <a:lnTo>
                    <a:pt x="407" y="50"/>
                  </a:lnTo>
                  <a:lnTo>
                    <a:pt x="394" y="38"/>
                  </a:lnTo>
                  <a:lnTo>
                    <a:pt x="381" y="22"/>
                  </a:lnTo>
                  <a:lnTo>
                    <a:pt x="365" y="48"/>
                  </a:lnTo>
                  <a:lnTo>
                    <a:pt x="346" y="1"/>
                  </a:lnTo>
                  <a:lnTo>
                    <a:pt x="333" y="35"/>
                  </a:lnTo>
                  <a:lnTo>
                    <a:pt x="325" y="13"/>
                  </a:lnTo>
                  <a:lnTo>
                    <a:pt x="314" y="0"/>
                  </a:lnTo>
                  <a:lnTo>
                    <a:pt x="288" y="19"/>
                  </a:lnTo>
                  <a:lnTo>
                    <a:pt x="275" y="24"/>
                  </a:lnTo>
                  <a:lnTo>
                    <a:pt x="259" y="24"/>
                  </a:lnTo>
                  <a:lnTo>
                    <a:pt x="251" y="45"/>
                  </a:lnTo>
                  <a:lnTo>
                    <a:pt x="240" y="51"/>
                  </a:lnTo>
                  <a:lnTo>
                    <a:pt x="214" y="34"/>
                  </a:lnTo>
                  <a:lnTo>
                    <a:pt x="187" y="16"/>
                  </a:lnTo>
                  <a:lnTo>
                    <a:pt x="182" y="46"/>
                  </a:lnTo>
                  <a:lnTo>
                    <a:pt x="169" y="59"/>
                  </a:lnTo>
                  <a:lnTo>
                    <a:pt x="151" y="50"/>
                  </a:lnTo>
                  <a:lnTo>
                    <a:pt x="142" y="43"/>
                  </a:lnTo>
                  <a:lnTo>
                    <a:pt x="121" y="38"/>
                  </a:lnTo>
                  <a:lnTo>
                    <a:pt x="106" y="30"/>
                  </a:lnTo>
                  <a:lnTo>
                    <a:pt x="106" y="17"/>
                  </a:lnTo>
                  <a:lnTo>
                    <a:pt x="85" y="5"/>
                  </a:lnTo>
                  <a:lnTo>
                    <a:pt x="71" y="14"/>
                  </a:lnTo>
                  <a:lnTo>
                    <a:pt x="68" y="48"/>
                  </a:lnTo>
                  <a:lnTo>
                    <a:pt x="53" y="59"/>
                  </a:lnTo>
                  <a:lnTo>
                    <a:pt x="19" y="25"/>
                  </a:lnTo>
                  <a:lnTo>
                    <a:pt x="10" y="29"/>
                  </a:lnTo>
                  <a:lnTo>
                    <a:pt x="3" y="25"/>
                  </a:lnTo>
                  <a:lnTo>
                    <a:pt x="0" y="29"/>
                  </a:lnTo>
                  <a:lnTo>
                    <a:pt x="0" y="2518"/>
                  </a:lnTo>
                  <a:lnTo>
                    <a:pt x="10" y="2518"/>
                  </a:lnTo>
                  <a:close/>
                </a:path>
              </a:pathLst>
            </a:custGeom>
            <a:solidFill>
              <a:srgbClr val="F5F5F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75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49E7FF7A-79C9-4319-B3FC-B3A07F0C10F5}"/>
                </a:ext>
              </a:extLst>
            </p:cNvPr>
            <p:cNvGrpSpPr/>
            <p:nvPr/>
          </p:nvGrpSpPr>
          <p:grpSpPr>
            <a:xfrm>
              <a:off x="4741557" y="1963771"/>
              <a:ext cx="3398981" cy="904286"/>
              <a:chOff x="4824430" y="2022945"/>
              <a:chExt cx="3398981" cy="904286"/>
            </a:xfrm>
          </p:grpSpPr>
          <p:sp>
            <p:nvSpPr>
              <p:cNvPr id="304" name="Rechteck 113">
                <a:extLst>
                  <a:ext uri="{FF2B5EF4-FFF2-40B4-BE49-F238E27FC236}">
                    <a16:creationId xmlns:a16="http://schemas.microsoft.com/office/drawing/2014/main" id="{7B15F2D7-45F8-473A-89E7-48E5567B0A7A}"/>
                  </a:ext>
                </a:extLst>
              </p:cNvPr>
              <p:cNvSpPr/>
              <p:nvPr/>
            </p:nvSpPr>
            <p:spPr bwMode="auto">
              <a:xfrm>
                <a:off x="4824430" y="2713053"/>
                <a:ext cx="1427858" cy="2141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numCol="1" spcCol="72000" rtlCol="0" anchor="ctr">
                <a:noAutofit/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de-DE" sz="800" dirty="0">
                    <a:solidFill>
                      <a:srgbClr val="000000"/>
                    </a:solidFill>
                    <a:latin typeface="+mj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Quelle: ntv</a:t>
                </a:r>
              </a:p>
            </p:txBody>
          </p: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453A90B1-5C8B-4EAA-886A-F2065FD15903}"/>
                  </a:ext>
                </a:extLst>
              </p:cNvPr>
              <p:cNvSpPr/>
              <p:nvPr/>
            </p:nvSpPr>
            <p:spPr bwMode="auto">
              <a:xfrm>
                <a:off x="4824430" y="2216285"/>
                <a:ext cx="3342257" cy="499611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wrap="square" lIns="0" tIns="54000" rIns="0" bIns="54000" numCol="1" spcCol="72000" rtlCol="0" anchor="ctr">
                <a:spAutoFit/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de-DE" sz="1200" b="1" dirty="0">
                    <a:solidFill>
                      <a:srgbClr val="000000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Trump nennt Coronavirus erneut „Kung Flu“, </a:t>
                </a:r>
                <a:br>
                  <a:rPr lang="de-DE" sz="1200" b="1" dirty="0">
                    <a:solidFill>
                      <a:srgbClr val="000000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</a:br>
                <a:r>
                  <a:rPr lang="de-DE" sz="1200" b="1" dirty="0">
                    <a:solidFill>
                      <a:srgbClr val="000000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Rassismus-Kritik prallt an ihm ab!</a:t>
                </a: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D9E96D9E-1250-432F-A1BF-261CBA2A067B}"/>
                  </a:ext>
                </a:extLst>
              </p:cNvPr>
              <p:cNvSpPr/>
              <p:nvPr/>
            </p:nvSpPr>
            <p:spPr bwMode="auto">
              <a:xfrm>
                <a:off x="4824430" y="2022945"/>
                <a:ext cx="3398981" cy="19618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wrap="square" lIns="0" tIns="54000" rIns="0" bIns="54000" numCol="1" spcCol="72000" rtlCol="0" anchor="ctr">
                <a:noAutofit/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de-DE" sz="800" dirty="0">
                    <a:solidFill>
                      <a:srgbClr val="000000"/>
                    </a:solidFill>
                    <a:latin typeface="+mj-lt"/>
                    <a:ea typeface="Arial Unicode MS" panose="020B0604020202020204" pitchFamily="34" charset="-128"/>
                    <a:cs typeface="Consolas" panose="020B0609020204030204" pitchFamily="49" charset="0"/>
                  </a:rPr>
                  <a:t>24. Juni 2020    USA-CHINA Beziehung | USA Innenpolitik </a:t>
                </a:r>
              </a:p>
            </p:txBody>
          </p:sp>
        </p:grp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31A25933-A8D0-4E8D-B6A3-8721CF131AE8}"/>
              </a:ext>
            </a:extLst>
          </p:cNvPr>
          <p:cNvGrpSpPr/>
          <p:nvPr/>
        </p:nvGrpSpPr>
        <p:grpSpPr>
          <a:xfrm>
            <a:off x="5554602" y="4643352"/>
            <a:ext cx="4281423" cy="1062793"/>
            <a:chOff x="6576356" y="4879373"/>
            <a:chExt cx="4281423" cy="1062793"/>
          </a:xfrm>
        </p:grpSpPr>
        <p:sp>
          <p:nvSpPr>
            <p:cNvPr id="323" name="Freeform 79">
              <a:extLst>
                <a:ext uri="{FF2B5EF4-FFF2-40B4-BE49-F238E27FC236}">
                  <a16:creationId xmlns:a16="http://schemas.microsoft.com/office/drawing/2014/main" id="{A0F1E61E-3A4A-47A0-A37F-E05C595BB3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576356" y="4879373"/>
              <a:ext cx="4281423" cy="1062793"/>
            </a:xfrm>
            <a:custGeom>
              <a:avLst/>
              <a:gdLst>
                <a:gd name="T0" fmla="*/ 283 w 7680"/>
                <a:gd name="T1" fmla="*/ 2552 h 3188"/>
                <a:gd name="T2" fmla="*/ 397 w 7680"/>
                <a:gd name="T3" fmla="*/ 2764 h 3188"/>
                <a:gd name="T4" fmla="*/ 539 w 7680"/>
                <a:gd name="T5" fmla="*/ 2797 h 3188"/>
                <a:gd name="T6" fmla="*/ 722 w 7680"/>
                <a:gd name="T7" fmla="*/ 2771 h 3188"/>
                <a:gd name="T8" fmla="*/ 950 w 7680"/>
                <a:gd name="T9" fmla="*/ 2803 h 3188"/>
                <a:gd name="T10" fmla="*/ 1187 w 7680"/>
                <a:gd name="T11" fmla="*/ 2713 h 3188"/>
                <a:gd name="T12" fmla="*/ 1344 w 7680"/>
                <a:gd name="T13" fmla="*/ 2797 h 3188"/>
                <a:gd name="T14" fmla="*/ 1455 w 7680"/>
                <a:gd name="T15" fmla="*/ 2724 h 3188"/>
                <a:gd name="T16" fmla="*/ 1685 w 7680"/>
                <a:gd name="T17" fmla="*/ 2867 h 3188"/>
                <a:gd name="T18" fmla="*/ 1885 w 7680"/>
                <a:gd name="T19" fmla="*/ 2948 h 3188"/>
                <a:gd name="T20" fmla="*/ 2078 w 7680"/>
                <a:gd name="T21" fmla="*/ 2940 h 3188"/>
                <a:gd name="T22" fmla="*/ 2337 w 7680"/>
                <a:gd name="T23" fmla="*/ 3067 h 3188"/>
                <a:gd name="T24" fmla="*/ 2575 w 7680"/>
                <a:gd name="T25" fmla="*/ 3148 h 3188"/>
                <a:gd name="T26" fmla="*/ 2764 w 7680"/>
                <a:gd name="T27" fmla="*/ 3062 h 3188"/>
                <a:gd name="T28" fmla="*/ 3001 w 7680"/>
                <a:gd name="T29" fmla="*/ 2900 h 3188"/>
                <a:gd name="T30" fmla="*/ 3306 w 7680"/>
                <a:gd name="T31" fmla="*/ 2892 h 3188"/>
                <a:gd name="T32" fmla="*/ 3459 w 7680"/>
                <a:gd name="T33" fmla="*/ 2946 h 3188"/>
                <a:gd name="T34" fmla="*/ 3734 w 7680"/>
                <a:gd name="T35" fmla="*/ 2980 h 3188"/>
                <a:gd name="T36" fmla="*/ 3959 w 7680"/>
                <a:gd name="T37" fmla="*/ 3062 h 3188"/>
                <a:gd name="T38" fmla="*/ 4229 w 7680"/>
                <a:gd name="T39" fmla="*/ 3096 h 3188"/>
                <a:gd name="T40" fmla="*/ 4438 w 7680"/>
                <a:gd name="T41" fmla="*/ 2972 h 3188"/>
                <a:gd name="T42" fmla="*/ 4676 w 7680"/>
                <a:gd name="T43" fmla="*/ 2850 h 3188"/>
                <a:gd name="T44" fmla="*/ 4982 w 7680"/>
                <a:gd name="T45" fmla="*/ 2924 h 3188"/>
                <a:gd name="T46" fmla="*/ 5162 w 7680"/>
                <a:gd name="T47" fmla="*/ 2906 h 3188"/>
                <a:gd name="T48" fmla="*/ 5471 w 7680"/>
                <a:gd name="T49" fmla="*/ 2850 h 3188"/>
                <a:gd name="T50" fmla="*/ 5773 w 7680"/>
                <a:gd name="T51" fmla="*/ 2856 h 3188"/>
                <a:gd name="T52" fmla="*/ 6046 w 7680"/>
                <a:gd name="T53" fmla="*/ 2925 h 3188"/>
                <a:gd name="T54" fmla="*/ 6291 w 7680"/>
                <a:gd name="T55" fmla="*/ 3004 h 3188"/>
                <a:gd name="T56" fmla="*/ 6583 w 7680"/>
                <a:gd name="T57" fmla="*/ 3035 h 3188"/>
                <a:gd name="T58" fmla="*/ 6794 w 7680"/>
                <a:gd name="T59" fmla="*/ 2938 h 3188"/>
                <a:gd name="T60" fmla="*/ 7040 w 7680"/>
                <a:gd name="T61" fmla="*/ 2971 h 3188"/>
                <a:gd name="T62" fmla="*/ 7315 w 7680"/>
                <a:gd name="T63" fmla="*/ 2983 h 3188"/>
                <a:gd name="T64" fmla="*/ 7587 w 7680"/>
                <a:gd name="T65" fmla="*/ 2925 h 3188"/>
                <a:gd name="T66" fmla="*/ 7526 w 7680"/>
                <a:gd name="T67" fmla="*/ 417 h 3188"/>
                <a:gd name="T68" fmla="*/ 7246 w 7680"/>
                <a:gd name="T69" fmla="*/ 472 h 3188"/>
                <a:gd name="T70" fmla="*/ 6958 w 7680"/>
                <a:gd name="T71" fmla="*/ 467 h 3188"/>
                <a:gd name="T72" fmla="*/ 6741 w 7680"/>
                <a:gd name="T73" fmla="*/ 502 h 3188"/>
                <a:gd name="T74" fmla="*/ 6535 w 7680"/>
                <a:gd name="T75" fmla="*/ 535 h 3188"/>
                <a:gd name="T76" fmla="*/ 6271 w 7680"/>
                <a:gd name="T77" fmla="*/ 486 h 3188"/>
                <a:gd name="T78" fmla="*/ 5963 w 7680"/>
                <a:gd name="T79" fmla="*/ 504 h 3188"/>
                <a:gd name="T80" fmla="*/ 5713 w 7680"/>
                <a:gd name="T81" fmla="*/ 486 h 3188"/>
                <a:gd name="T82" fmla="*/ 5427 w 7680"/>
                <a:gd name="T83" fmla="*/ 504 h 3188"/>
                <a:gd name="T84" fmla="*/ 5147 w 7680"/>
                <a:gd name="T85" fmla="*/ 459 h 3188"/>
                <a:gd name="T86" fmla="*/ 4845 w 7680"/>
                <a:gd name="T87" fmla="*/ 469 h 3188"/>
                <a:gd name="T88" fmla="*/ 4613 w 7680"/>
                <a:gd name="T89" fmla="*/ 425 h 3188"/>
                <a:gd name="T90" fmla="*/ 4358 w 7680"/>
                <a:gd name="T91" fmla="*/ 440 h 3188"/>
                <a:gd name="T92" fmla="*/ 4115 w 7680"/>
                <a:gd name="T93" fmla="*/ 420 h 3188"/>
                <a:gd name="T94" fmla="*/ 3832 w 7680"/>
                <a:gd name="T95" fmla="*/ 467 h 3188"/>
                <a:gd name="T96" fmla="*/ 3554 w 7680"/>
                <a:gd name="T97" fmla="*/ 469 h 3188"/>
                <a:gd name="T98" fmla="*/ 3300 w 7680"/>
                <a:gd name="T99" fmla="*/ 462 h 3188"/>
                <a:gd name="T100" fmla="*/ 3022 w 7680"/>
                <a:gd name="T101" fmla="*/ 428 h 3188"/>
                <a:gd name="T102" fmla="*/ 2747 w 7680"/>
                <a:gd name="T103" fmla="*/ 417 h 3188"/>
                <a:gd name="T104" fmla="*/ 2465 w 7680"/>
                <a:gd name="T105" fmla="*/ 396 h 3188"/>
                <a:gd name="T106" fmla="*/ 2184 w 7680"/>
                <a:gd name="T107" fmla="*/ 377 h 3188"/>
                <a:gd name="T108" fmla="*/ 1923 w 7680"/>
                <a:gd name="T109" fmla="*/ 301 h 3188"/>
                <a:gd name="T110" fmla="*/ 1648 w 7680"/>
                <a:gd name="T111" fmla="*/ 285 h 3188"/>
                <a:gd name="T112" fmla="*/ 1439 w 7680"/>
                <a:gd name="T113" fmla="*/ 206 h 3188"/>
                <a:gd name="T114" fmla="*/ 1235 w 7680"/>
                <a:gd name="T115" fmla="*/ 195 h 3188"/>
                <a:gd name="T116" fmla="*/ 975 w 7680"/>
                <a:gd name="T117" fmla="*/ 106 h 3188"/>
                <a:gd name="T118" fmla="*/ 727 w 7680"/>
                <a:gd name="T119" fmla="*/ 90 h 3188"/>
                <a:gd name="T120" fmla="*/ 434 w 7680"/>
                <a:gd name="T121" fmla="*/ 75 h 3188"/>
                <a:gd name="T122" fmla="*/ 151 w 7680"/>
                <a:gd name="T123" fmla="*/ 50 h 3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680" h="3188">
                  <a:moveTo>
                    <a:pt x="10" y="2518"/>
                  </a:moveTo>
                  <a:lnTo>
                    <a:pt x="40" y="2505"/>
                  </a:lnTo>
                  <a:lnTo>
                    <a:pt x="19" y="2565"/>
                  </a:lnTo>
                  <a:lnTo>
                    <a:pt x="55" y="2524"/>
                  </a:lnTo>
                  <a:lnTo>
                    <a:pt x="68" y="2552"/>
                  </a:lnTo>
                  <a:lnTo>
                    <a:pt x="80" y="2532"/>
                  </a:lnTo>
                  <a:lnTo>
                    <a:pt x="98" y="2529"/>
                  </a:lnTo>
                  <a:lnTo>
                    <a:pt x="114" y="2540"/>
                  </a:lnTo>
                  <a:lnTo>
                    <a:pt x="129" y="2553"/>
                  </a:lnTo>
                  <a:lnTo>
                    <a:pt x="145" y="2524"/>
                  </a:lnTo>
                  <a:lnTo>
                    <a:pt x="166" y="2560"/>
                  </a:lnTo>
                  <a:lnTo>
                    <a:pt x="172" y="2505"/>
                  </a:lnTo>
                  <a:lnTo>
                    <a:pt x="190" y="2510"/>
                  </a:lnTo>
                  <a:lnTo>
                    <a:pt x="212" y="2548"/>
                  </a:lnTo>
                  <a:lnTo>
                    <a:pt x="228" y="2558"/>
                  </a:lnTo>
                  <a:lnTo>
                    <a:pt x="240" y="2528"/>
                  </a:lnTo>
                  <a:lnTo>
                    <a:pt x="262" y="2528"/>
                  </a:lnTo>
                  <a:lnTo>
                    <a:pt x="235" y="2569"/>
                  </a:lnTo>
                  <a:lnTo>
                    <a:pt x="283" y="2552"/>
                  </a:lnTo>
                  <a:lnTo>
                    <a:pt x="285" y="2560"/>
                  </a:lnTo>
                  <a:lnTo>
                    <a:pt x="296" y="2568"/>
                  </a:lnTo>
                  <a:lnTo>
                    <a:pt x="294" y="2595"/>
                  </a:lnTo>
                  <a:lnTo>
                    <a:pt x="314" y="2582"/>
                  </a:lnTo>
                  <a:lnTo>
                    <a:pt x="327" y="2579"/>
                  </a:lnTo>
                  <a:lnTo>
                    <a:pt x="330" y="2595"/>
                  </a:lnTo>
                  <a:lnTo>
                    <a:pt x="344" y="2611"/>
                  </a:lnTo>
                  <a:lnTo>
                    <a:pt x="359" y="2624"/>
                  </a:lnTo>
                  <a:lnTo>
                    <a:pt x="315" y="2644"/>
                  </a:lnTo>
                  <a:lnTo>
                    <a:pt x="304" y="2660"/>
                  </a:lnTo>
                  <a:lnTo>
                    <a:pt x="306" y="2676"/>
                  </a:lnTo>
                  <a:lnTo>
                    <a:pt x="354" y="2689"/>
                  </a:lnTo>
                  <a:lnTo>
                    <a:pt x="330" y="2706"/>
                  </a:lnTo>
                  <a:lnTo>
                    <a:pt x="338" y="2722"/>
                  </a:lnTo>
                  <a:lnTo>
                    <a:pt x="336" y="2739"/>
                  </a:lnTo>
                  <a:lnTo>
                    <a:pt x="352" y="2748"/>
                  </a:lnTo>
                  <a:lnTo>
                    <a:pt x="357" y="2760"/>
                  </a:lnTo>
                  <a:lnTo>
                    <a:pt x="380" y="2760"/>
                  </a:lnTo>
                  <a:lnTo>
                    <a:pt x="397" y="2764"/>
                  </a:lnTo>
                  <a:lnTo>
                    <a:pt x="392" y="2801"/>
                  </a:lnTo>
                  <a:lnTo>
                    <a:pt x="426" y="2793"/>
                  </a:lnTo>
                  <a:lnTo>
                    <a:pt x="396" y="2834"/>
                  </a:lnTo>
                  <a:lnTo>
                    <a:pt x="404" y="2848"/>
                  </a:lnTo>
                  <a:lnTo>
                    <a:pt x="425" y="2872"/>
                  </a:lnTo>
                  <a:lnTo>
                    <a:pt x="437" y="2840"/>
                  </a:lnTo>
                  <a:lnTo>
                    <a:pt x="462" y="2847"/>
                  </a:lnTo>
                  <a:lnTo>
                    <a:pt x="474" y="2838"/>
                  </a:lnTo>
                  <a:lnTo>
                    <a:pt x="476" y="2805"/>
                  </a:lnTo>
                  <a:lnTo>
                    <a:pt x="478" y="2835"/>
                  </a:lnTo>
                  <a:lnTo>
                    <a:pt x="500" y="2835"/>
                  </a:lnTo>
                  <a:lnTo>
                    <a:pt x="481" y="2871"/>
                  </a:lnTo>
                  <a:lnTo>
                    <a:pt x="518" y="2859"/>
                  </a:lnTo>
                  <a:lnTo>
                    <a:pt x="521" y="2869"/>
                  </a:lnTo>
                  <a:lnTo>
                    <a:pt x="553" y="2856"/>
                  </a:lnTo>
                  <a:lnTo>
                    <a:pt x="516" y="2842"/>
                  </a:lnTo>
                  <a:lnTo>
                    <a:pt x="550" y="2822"/>
                  </a:lnTo>
                  <a:lnTo>
                    <a:pt x="495" y="2805"/>
                  </a:lnTo>
                  <a:lnTo>
                    <a:pt x="539" y="2797"/>
                  </a:lnTo>
                  <a:lnTo>
                    <a:pt x="540" y="2780"/>
                  </a:lnTo>
                  <a:lnTo>
                    <a:pt x="534" y="2761"/>
                  </a:lnTo>
                  <a:lnTo>
                    <a:pt x="555" y="2763"/>
                  </a:lnTo>
                  <a:lnTo>
                    <a:pt x="545" y="2808"/>
                  </a:lnTo>
                  <a:lnTo>
                    <a:pt x="581" y="2785"/>
                  </a:lnTo>
                  <a:lnTo>
                    <a:pt x="590" y="2780"/>
                  </a:lnTo>
                  <a:lnTo>
                    <a:pt x="610" y="2809"/>
                  </a:lnTo>
                  <a:lnTo>
                    <a:pt x="630" y="2805"/>
                  </a:lnTo>
                  <a:lnTo>
                    <a:pt x="629" y="2771"/>
                  </a:lnTo>
                  <a:lnTo>
                    <a:pt x="663" y="2780"/>
                  </a:lnTo>
                  <a:lnTo>
                    <a:pt x="638" y="2727"/>
                  </a:lnTo>
                  <a:lnTo>
                    <a:pt x="656" y="2722"/>
                  </a:lnTo>
                  <a:lnTo>
                    <a:pt x="663" y="2703"/>
                  </a:lnTo>
                  <a:lnTo>
                    <a:pt x="692" y="2739"/>
                  </a:lnTo>
                  <a:lnTo>
                    <a:pt x="729" y="2721"/>
                  </a:lnTo>
                  <a:lnTo>
                    <a:pt x="675" y="2748"/>
                  </a:lnTo>
                  <a:lnTo>
                    <a:pt x="725" y="2751"/>
                  </a:lnTo>
                  <a:lnTo>
                    <a:pt x="735" y="2766"/>
                  </a:lnTo>
                  <a:lnTo>
                    <a:pt x="722" y="2771"/>
                  </a:lnTo>
                  <a:lnTo>
                    <a:pt x="746" y="2800"/>
                  </a:lnTo>
                  <a:lnTo>
                    <a:pt x="751" y="2764"/>
                  </a:lnTo>
                  <a:lnTo>
                    <a:pt x="777" y="2798"/>
                  </a:lnTo>
                  <a:lnTo>
                    <a:pt x="793" y="2793"/>
                  </a:lnTo>
                  <a:lnTo>
                    <a:pt x="804" y="2763"/>
                  </a:lnTo>
                  <a:lnTo>
                    <a:pt x="825" y="2758"/>
                  </a:lnTo>
                  <a:lnTo>
                    <a:pt x="825" y="2792"/>
                  </a:lnTo>
                  <a:lnTo>
                    <a:pt x="859" y="2774"/>
                  </a:lnTo>
                  <a:lnTo>
                    <a:pt x="872" y="2782"/>
                  </a:lnTo>
                  <a:lnTo>
                    <a:pt x="880" y="2800"/>
                  </a:lnTo>
                  <a:lnTo>
                    <a:pt x="888" y="2814"/>
                  </a:lnTo>
                  <a:lnTo>
                    <a:pt x="886" y="2832"/>
                  </a:lnTo>
                  <a:lnTo>
                    <a:pt x="865" y="2861"/>
                  </a:lnTo>
                  <a:lnTo>
                    <a:pt x="896" y="2853"/>
                  </a:lnTo>
                  <a:lnTo>
                    <a:pt x="899" y="2842"/>
                  </a:lnTo>
                  <a:lnTo>
                    <a:pt x="894" y="2816"/>
                  </a:lnTo>
                  <a:lnTo>
                    <a:pt x="912" y="2801"/>
                  </a:lnTo>
                  <a:lnTo>
                    <a:pt x="931" y="2800"/>
                  </a:lnTo>
                  <a:lnTo>
                    <a:pt x="950" y="2803"/>
                  </a:lnTo>
                  <a:lnTo>
                    <a:pt x="965" y="2771"/>
                  </a:lnTo>
                  <a:lnTo>
                    <a:pt x="984" y="2785"/>
                  </a:lnTo>
                  <a:lnTo>
                    <a:pt x="1007" y="2805"/>
                  </a:lnTo>
                  <a:lnTo>
                    <a:pt x="1007" y="2766"/>
                  </a:lnTo>
                  <a:lnTo>
                    <a:pt x="1039" y="2795"/>
                  </a:lnTo>
                  <a:lnTo>
                    <a:pt x="1052" y="2790"/>
                  </a:lnTo>
                  <a:lnTo>
                    <a:pt x="1052" y="2739"/>
                  </a:lnTo>
                  <a:lnTo>
                    <a:pt x="1068" y="2742"/>
                  </a:lnTo>
                  <a:lnTo>
                    <a:pt x="1090" y="2745"/>
                  </a:lnTo>
                  <a:lnTo>
                    <a:pt x="1105" y="2766"/>
                  </a:lnTo>
                  <a:lnTo>
                    <a:pt x="1118" y="2797"/>
                  </a:lnTo>
                  <a:lnTo>
                    <a:pt x="1140" y="2787"/>
                  </a:lnTo>
                  <a:lnTo>
                    <a:pt x="1163" y="2771"/>
                  </a:lnTo>
                  <a:lnTo>
                    <a:pt x="1143" y="2745"/>
                  </a:lnTo>
                  <a:lnTo>
                    <a:pt x="1177" y="2740"/>
                  </a:lnTo>
                  <a:lnTo>
                    <a:pt x="1188" y="2735"/>
                  </a:lnTo>
                  <a:lnTo>
                    <a:pt x="1145" y="2708"/>
                  </a:lnTo>
                  <a:lnTo>
                    <a:pt x="1179" y="2703"/>
                  </a:lnTo>
                  <a:lnTo>
                    <a:pt x="1187" y="2713"/>
                  </a:lnTo>
                  <a:lnTo>
                    <a:pt x="1211" y="2724"/>
                  </a:lnTo>
                  <a:lnTo>
                    <a:pt x="1188" y="2735"/>
                  </a:lnTo>
                  <a:lnTo>
                    <a:pt x="1193" y="2739"/>
                  </a:lnTo>
                  <a:lnTo>
                    <a:pt x="1177" y="2740"/>
                  </a:lnTo>
                  <a:lnTo>
                    <a:pt x="1158" y="2750"/>
                  </a:lnTo>
                  <a:lnTo>
                    <a:pt x="1203" y="2758"/>
                  </a:lnTo>
                  <a:lnTo>
                    <a:pt x="1182" y="2784"/>
                  </a:lnTo>
                  <a:lnTo>
                    <a:pt x="1195" y="2811"/>
                  </a:lnTo>
                  <a:lnTo>
                    <a:pt x="1219" y="2798"/>
                  </a:lnTo>
                  <a:lnTo>
                    <a:pt x="1253" y="2772"/>
                  </a:lnTo>
                  <a:lnTo>
                    <a:pt x="1248" y="2809"/>
                  </a:lnTo>
                  <a:lnTo>
                    <a:pt x="1262" y="2816"/>
                  </a:lnTo>
                  <a:lnTo>
                    <a:pt x="1267" y="2834"/>
                  </a:lnTo>
                  <a:lnTo>
                    <a:pt x="1286" y="2832"/>
                  </a:lnTo>
                  <a:lnTo>
                    <a:pt x="1309" y="2834"/>
                  </a:lnTo>
                  <a:lnTo>
                    <a:pt x="1312" y="2818"/>
                  </a:lnTo>
                  <a:lnTo>
                    <a:pt x="1299" y="2787"/>
                  </a:lnTo>
                  <a:lnTo>
                    <a:pt x="1317" y="2780"/>
                  </a:lnTo>
                  <a:lnTo>
                    <a:pt x="1344" y="2797"/>
                  </a:lnTo>
                  <a:lnTo>
                    <a:pt x="1351" y="2776"/>
                  </a:lnTo>
                  <a:lnTo>
                    <a:pt x="1365" y="2785"/>
                  </a:lnTo>
                  <a:lnTo>
                    <a:pt x="1375" y="2784"/>
                  </a:lnTo>
                  <a:lnTo>
                    <a:pt x="1377" y="2760"/>
                  </a:lnTo>
                  <a:lnTo>
                    <a:pt x="1393" y="2760"/>
                  </a:lnTo>
                  <a:lnTo>
                    <a:pt x="1415" y="2776"/>
                  </a:lnTo>
                  <a:lnTo>
                    <a:pt x="1375" y="2784"/>
                  </a:lnTo>
                  <a:lnTo>
                    <a:pt x="1375" y="2792"/>
                  </a:lnTo>
                  <a:lnTo>
                    <a:pt x="1407" y="2806"/>
                  </a:lnTo>
                  <a:lnTo>
                    <a:pt x="1394" y="2806"/>
                  </a:lnTo>
                  <a:lnTo>
                    <a:pt x="1414" y="2832"/>
                  </a:lnTo>
                  <a:lnTo>
                    <a:pt x="1418" y="2813"/>
                  </a:lnTo>
                  <a:lnTo>
                    <a:pt x="1423" y="2790"/>
                  </a:lnTo>
                  <a:lnTo>
                    <a:pt x="1426" y="2771"/>
                  </a:lnTo>
                  <a:lnTo>
                    <a:pt x="1468" y="2795"/>
                  </a:lnTo>
                  <a:lnTo>
                    <a:pt x="1442" y="2748"/>
                  </a:lnTo>
                  <a:lnTo>
                    <a:pt x="1452" y="2747"/>
                  </a:lnTo>
                  <a:lnTo>
                    <a:pt x="1442" y="2735"/>
                  </a:lnTo>
                  <a:lnTo>
                    <a:pt x="1455" y="2724"/>
                  </a:lnTo>
                  <a:lnTo>
                    <a:pt x="1479" y="2713"/>
                  </a:lnTo>
                  <a:lnTo>
                    <a:pt x="1494" y="2724"/>
                  </a:lnTo>
                  <a:lnTo>
                    <a:pt x="1487" y="2748"/>
                  </a:lnTo>
                  <a:lnTo>
                    <a:pt x="1523" y="2734"/>
                  </a:lnTo>
                  <a:lnTo>
                    <a:pt x="1516" y="2782"/>
                  </a:lnTo>
                  <a:lnTo>
                    <a:pt x="1533" y="2779"/>
                  </a:lnTo>
                  <a:lnTo>
                    <a:pt x="1553" y="2734"/>
                  </a:lnTo>
                  <a:lnTo>
                    <a:pt x="1579" y="2748"/>
                  </a:lnTo>
                  <a:lnTo>
                    <a:pt x="1578" y="2776"/>
                  </a:lnTo>
                  <a:lnTo>
                    <a:pt x="1578" y="2792"/>
                  </a:lnTo>
                  <a:lnTo>
                    <a:pt x="1561" y="2813"/>
                  </a:lnTo>
                  <a:lnTo>
                    <a:pt x="1592" y="2814"/>
                  </a:lnTo>
                  <a:lnTo>
                    <a:pt x="1573" y="2851"/>
                  </a:lnTo>
                  <a:lnTo>
                    <a:pt x="1589" y="2859"/>
                  </a:lnTo>
                  <a:lnTo>
                    <a:pt x="1606" y="2872"/>
                  </a:lnTo>
                  <a:lnTo>
                    <a:pt x="1635" y="2856"/>
                  </a:lnTo>
                  <a:lnTo>
                    <a:pt x="1650" y="2866"/>
                  </a:lnTo>
                  <a:lnTo>
                    <a:pt x="1664" y="2877"/>
                  </a:lnTo>
                  <a:lnTo>
                    <a:pt x="1685" y="2867"/>
                  </a:lnTo>
                  <a:lnTo>
                    <a:pt x="1701" y="2877"/>
                  </a:lnTo>
                  <a:lnTo>
                    <a:pt x="1727" y="2877"/>
                  </a:lnTo>
                  <a:lnTo>
                    <a:pt x="1709" y="2908"/>
                  </a:lnTo>
                  <a:lnTo>
                    <a:pt x="1717" y="2922"/>
                  </a:lnTo>
                  <a:lnTo>
                    <a:pt x="1759" y="2924"/>
                  </a:lnTo>
                  <a:lnTo>
                    <a:pt x="1738" y="2945"/>
                  </a:lnTo>
                  <a:lnTo>
                    <a:pt x="1754" y="2929"/>
                  </a:lnTo>
                  <a:lnTo>
                    <a:pt x="1772" y="2934"/>
                  </a:lnTo>
                  <a:lnTo>
                    <a:pt x="1788" y="2956"/>
                  </a:lnTo>
                  <a:lnTo>
                    <a:pt x="1798" y="2969"/>
                  </a:lnTo>
                  <a:lnTo>
                    <a:pt x="1822" y="2954"/>
                  </a:lnTo>
                  <a:lnTo>
                    <a:pt x="1840" y="2963"/>
                  </a:lnTo>
                  <a:lnTo>
                    <a:pt x="1865" y="2975"/>
                  </a:lnTo>
                  <a:lnTo>
                    <a:pt x="1825" y="3001"/>
                  </a:lnTo>
                  <a:lnTo>
                    <a:pt x="1862" y="3003"/>
                  </a:lnTo>
                  <a:lnTo>
                    <a:pt x="1853" y="2990"/>
                  </a:lnTo>
                  <a:lnTo>
                    <a:pt x="1865" y="2983"/>
                  </a:lnTo>
                  <a:lnTo>
                    <a:pt x="1896" y="2990"/>
                  </a:lnTo>
                  <a:lnTo>
                    <a:pt x="1885" y="2948"/>
                  </a:lnTo>
                  <a:lnTo>
                    <a:pt x="1904" y="2964"/>
                  </a:lnTo>
                  <a:lnTo>
                    <a:pt x="1928" y="2953"/>
                  </a:lnTo>
                  <a:lnTo>
                    <a:pt x="1923" y="2977"/>
                  </a:lnTo>
                  <a:lnTo>
                    <a:pt x="1949" y="2996"/>
                  </a:lnTo>
                  <a:lnTo>
                    <a:pt x="1984" y="2983"/>
                  </a:lnTo>
                  <a:lnTo>
                    <a:pt x="1939" y="2959"/>
                  </a:lnTo>
                  <a:lnTo>
                    <a:pt x="1923" y="2948"/>
                  </a:lnTo>
                  <a:lnTo>
                    <a:pt x="1938" y="2925"/>
                  </a:lnTo>
                  <a:lnTo>
                    <a:pt x="1939" y="2895"/>
                  </a:lnTo>
                  <a:lnTo>
                    <a:pt x="1959" y="2890"/>
                  </a:lnTo>
                  <a:lnTo>
                    <a:pt x="1991" y="2903"/>
                  </a:lnTo>
                  <a:lnTo>
                    <a:pt x="2015" y="2900"/>
                  </a:lnTo>
                  <a:lnTo>
                    <a:pt x="2007" y="2859"/>
                  </a:lnTo>
                  <a:lnTo>
                    <a:pt x="2037" y="2874"/>
                  </a:lnTo>
                  <a:lnTo>
                    <a:pt x="2037" y="2874"/>
                  </a:lnTo>
                  <a:lnTo>
                    <a:pt x="2060" y="2885"/>
                  </a:lnTo>
                  <a:lnTo>
                    <a:pt x="2062" y="2898"/>
                  </a:lnTo>
                  <a:lnTo>
                    <a:pt x="2065" y="2925"/>
                  </a:lnTo>
                  <a:lnTo>
                    <a:pt x="2078" y="2940"/>
                  </a:lnTo>
                  <a:lnTo>
                    <a:pt x="2097" y="2922"/>
                  </a:lnTo>
                  <a:lnTo>
                    <a:pt x="2111" y="2903"/>
                  </a:lnTo>
                  <a:lnTo>
                    <a:pt x="2126" y="2942"/>
                  </a:lnTo>
                  <a:lnTo>
                    <a:pt x="2136" y="2937"/>
                  </a:lnTo>
                  <a:lnTo>
                    <a:pt x="2150" y="2937"/>
                  </a:lnTo>
                  <a:lnTo>
                    <a:pt x="2173" y="2913"/>
                  </a:lnTo>
                  <a:lnTo>
                    <a:pt x="2193" y="2911"/>
                  </a:lnTo>
                  <a:lnTo>
                    <a:pt x="2197" y="2938"/>
                  </a:lnTo>
                  <a:lnTo>
                    <a:pt x="2189" y="2971"/>
                  </a:lnTo>
                  <a:lnTo>
                    <a:pt x="2227" y="2951"/>
                  </a:lnTo>
                  <a:lnTo>
                    <a:pt x="2246" y="2951"/>
                  </a:lnTo>
                  <a:lnTo>
                    <a:pt x="2253" y="2969"/>
                  </a:lnTo>
                  <a:lnTo>
                    <a:pt x="2243" y="3006"/>
                  </a:lnTo>
                  <a:lnTo>
                    <a:pt x="2275" y="2995"/>
                  </a:lnTo>
                  <a:lnTo>
                    <a:pt x="2277" y="3017"/>
                  </a:lnTo>
                  <a:lnTo>
                    <a:pt x="2283" y="3041"/>
                  </a:lnTo>
                  <a:lnTo>
                    <a:pt x="2304" y="3043"/>
                  </a:lnTo>
                  <a:lnTo>
                    <a:pt x="2328" y="3029"/>
                  </a:lnTo>
                  <a:lnTo>
                    <a:pt x="2337" y="3067"/>
                  </a:lnTo>
                  <a:lnTo>
                    <a:pt x="2357" y="3053"/>
                  </a:lnTo>
                  <a:lnTo>
                    <a:pt x="2372" y="3067"/>
                  </a:lnTo>
                  <a:lnTo>
                    <a:pt x="2385" y="3045"/>
                  </a:lnTo>
                  <a:lnTo>
                    <a:pt x="2390" y="3061"/>
                  </a:lnTo>
                  <a:lnTo>
                    <a:pt x="2402" y="3054"/>
                  </a:lnTo>
                  <a:lnTo>
                    <a:pt x="2425" y="3054"/>
                  </a:lnTo>
                  <a:lnTo>
                    <a:pt x="2423" y="3075"/>
                  </a:lnTo>
                  <a:lnTo>
                    <a:pt x="2457" y="3074"/>
                  </a:lnTo>
                  <a:lnTo>
                    <a:pt x="2447" y="3093"/>
                  </a:lnTo>
                  <a:lnTo>
                    <a:pt x="2472" y="3093"/>
                  </a:lnTo>
                  <a:lnTo>
                    <a:pt x="2472" y="3093"/>
                  </a:lnTo>
                  <a:lnTo>
                    <a:pt x="2488" y="3088"/>
                  </a:lnTo>
                  <a:lnTo>
                    <a:pt x="2513" y="3117"/>
                  </a:lnTo>
                  <a:lnTo>
                    <a:pt x="2534" y="3088"/>
                  </a:lnTo>
                  <a:lnTo>
                    <a:pt x="2541" y="3116"/>
                  </a:lnTo>
                  <a:lnTo>
                    <a:pt x="2509" y="3146"/>
                  </a:lnTo>
                  <a:lnTo>
                    <a:pt x="2542" y="3154"/>
                  </a:lnTo>
                  <a:lnTo>
                    <a:pt x="2554" y="3130"/>
                  </a:lnTo>
                  <a:lnTo>
                    <a:pt x="2575" y="3148"/>
                  </a:lnTo>
                  <a:lnTo>
                    <a:pt x="2579" y="3169"/>
                  </a:lnTo>
                  <a:lnTo>
                    <a:pt x="2599" y="3156"/>
                  </a:lnTo>
                  <a:lnTo>
                    <a:pt x="2602" y="3178"/>
                  </a:lnTo>
                  <a:lnTo>
                    <a:pt x="2634" y="3151"/>
                  </a:lnTo>
                  <a:lnTo>
                    <a:pt x="2631" y="3156"/>
                  </a:lnTo>
                  <a:lnTo>
                    <a:pt x="2645" y="3153"/>
                  </a:lnTo>
                  <a:lnTo>
                    <a:pt x="2679" y="3188"/>
                  </a:lnTo>
                  <a:lnTo>
                    <a:pt x="2674" y="3145"/>
                  </a:lnTo>
                  <a:lnTo>
                    <a:pt x="2694" y="3141"/>
                  </a:lnTo>
                  <a:lnTo>
                    <a:pt x="2719" y="3153"/>
                  </a:lnTo>
                  <a:lnTo>
                    <a:pt x="2747" y="3140"/>
                  </a:lnTo>
                  <a:lnTo>
                    <a:pt x="2745" y="3111"/>
                  </a:lnTo>
                  <a:lnTo>
                    <a:pt x="2724" y="3098"/>
                  </a:lnTo>
                  <a:lnTo>
                    <a:pt x="2734" y="3080"/>
                  </a:lnTo>
                  <a:lnTo>
                    <a:pt x="2700" y="3070"/>
                  </a:lnTo>
                  <a:lnTo>
                    <a:pt x="2705" y="3041"/>
                  </a:lnTo>
                  <a:lnTo>
                    <a:pt x="2732" y="3045"/>
                  </a:lnTo>
                  <a:lnTo>
                    <a:pt x="2750" y="3075"/>
                  </a:lnTo>
                  <a:lnTo>
                    <a:pt x="2764" y="3062"/>
                  </a:lnTo>
                  <a:lnTo>
                    <a:pt x="2761" y="3027"/>
                  </a:lnTo>
                  <a:lnTo>
                    <a:pt x="2763" y="3024"/>
                  </a:lnTo>
                  <a:lnTo>
                    <a:pt x="2792" y="3016"/>
                  </a:lnTo>
                  <a:lnTo>
                    <a:pt x="2795" y="2998"/>
                  </a:lnTo>
                  <a:lnTo>
                    <a:pt x="2785" y="2972"/>
                  </a:lnTo>
                  <a:lnTo>
                    <a:pt x="2827" y="2980"/>
                  </a:lnTo>
                  <a:lnTo>
                    <a:pt x="2829" y="2967"/>
                  </a:lnTo>
                  <a:lnTo>
                    <a:pt x="2841" y="2982"/>
                  </a:lnTo>
                  <a:lnTo>
                    <a:pt x="2861" y="2934"/>
                  </a:lnTo>
                  <a:lnTo>
                    <a:pt x="2882" y="2966"/>
                  </a:lnTo>
                  <a:lnTo>
                    <a:pt x="2864" y="2925"/>
                  </a:lnTo>
                  <a:lnTo>
                    <a:pt x="2893" y="2927"/>
                  </a:lnTo>
                  <a:lnTo>
                    <a:pt x="2907" y="2911"/>
                  </a:lnTo>
                  <a:lnTo>
                    <a:pt x="2927" y="2900"/>
                  </a:lnTo>
                  <a:lnTo>
                    <a:pt x="2944" y="2911"/>
                  </a:lnTo>
                  <a:lnTo>
                    <a:pt x="2959" y="2937"/>
                  </a:lnTo>
                  <a:lnTo>
                    <a:pt x="2973" y="2940"/>
                  </a:lnTo>
                  <a:lnTo>
                    <a:pt x="2997" y="2903"/>
                  </a:lnTo>
                  <a:lnTo>
                    <a:pt x="3001" y="2900"/>
                  </a:lnTo>
                  <a:lnTo>
                    <a:pt x="3018" y="2913"/>
                  </a:lnTo>
                  <a:lnTo>
                    <a:pt x="3015" y="2885"/>
                  </a:lnTo>
                  <a:lnTo>
                    <a:pt x="3052" y="2903"/>
                  </a:lnTo>
                  <a:lnTo>
                    <a:pt x="3065" y="2914"/>
                  </a:lnTo>
                  <a:lnTo>
                    <a:pt x="3073" y="2863"/>
                  </a:lnTo>
                  <a:lnTo>
                    <a:pt x="3089" y="2872"/>
                  </a:lnTo>
                  <a:lnTo>
                    <a:pt x="3107" y="2880"/>
                  </a:lnTo>
                  <a:lnTo>
                    <a:pt x="3116" y="2859"/>
                  </a:lnTo>
                  <a:lnTo>
                    <a:pt x="3136" y="2863"/>
                  </a:lnTo>
                  <a:lnTo>
                    <a:pt x="3152" y="2861"/>
                  </a:lnTo>
                  <a:lnTo>
                    <a:pt x="3171" y="2892"/>
                  </a:lnTo>
                  <a:lnTo>
                    <a:pt x="3179" y="2877"/>
                  </a:lnTo>
                  <a:lnTo>
                    <a:pt x="3202" y="2871"/>
                  </a:lnTo>
                  <a:lnTo>
                    <a:pt x="3194" y="2909"/>
                  </a:lnTo>
                  <a:lnTo>
                    <a:pt x="3226" y="2901"/>
                  </a:lnTo>
                  <a:lnTo>
                    <a:pt x="3242" y="2872"/>
                  </a:lnTo>
                  <a:lnTo>
                    <a:pt x="3256" y="2888"/>
                  </a:lnTo>
                  <a:lnTo>
                    <a:pt x="3272" y="2892"/>
                  </a:lnTo>
                  <a:lnTo>
                    <a:pt x="3306" y="2892"/>
                  </a:lnTo>
                  <a:lnTo>
                    <a:pt x="3261" y="2906"/>
                  </a:lnTo>
                  <a:lnTo>
                    <a:pt x="3250" y="2919"/>
                  </a:lnTo>
                  <a:lnTo>
                    <a:pt x="3266" y="2946"/>
                  </a:lnTo>
                  <a:lnTo>
                    <a:pt x="3266" y="2945"/>
                  </a:lnTo>
                  <a:lnTo>
                    <a:pt x="3282" y="2942"/>
                  </a:lnTo>
                  <a:lnTo>
                    <a:pt x="3305" y="2977"/>
                  </a:lnTo>
                  <a:lnTo>
                    <a:pt x="3319" y="2977"/>
                  </a:lnTo>
                  <a:lnTo>
                    <a:pt x="3337" y="2946"/>
                  </a:lnTo>
                  <a:lnTo>
                    <a:pt x="3353" y="2966"/>
                  </a:lnTo>
                  <a:lnTo>
                    <a:pt x="3388" y="2940"/>
                  </a:lnTo>
                  <a:lnTo>
                    <a:pt x="3382" y="2974"/>
                  </a:lnTo>
                  <a:lnTo>
                    <a:pt x="3415" y="2959"/>
                  </a:lnTo>
                  <a:lnTo>
                    <a:pt x="3406" y="2977"/>
                  </a:lnTo>
                  <a:lnTo>
                    <a:pt x="3417" y="2983"/>
                  </a:lnTo>
                  <a:lnTo>
                    <a:pt x="3417" y="2966"/>
                  </a:lnTo>
                  <a:lnTo>
                    <a:pt x="3436" y="2961"/>
                  </a:lnTo>
                  <a:lnTo>
                    <a:pt x="3420" y="2932"/>
                  </a:lnTo>
                  <a:lnTo>
                    <a:pt x="3448" y="2924"/>
                  </a:lnTo>
                  <a:lnTo>
                    <a:pt x="3459" y="2946"/>
                  </a:lnTo>
                  <a:lnTo>
                    <a:pt x="3457" y="2975"/>
                  </a:lnTo>
                  <a:lnTo>
                    <a:pt x="3480" y="2969"/>
                  </a:lnTo>
                  <a:lnTo>
                    <a:pt x="3502" y="2948"/>
                  </a:lnTo>
                  <a:lnTo>
                    <a:pt x="3517" y="2982"/>
                  </a:lnTo>
                  <a:lnTo>
                    <a:pt x="3531" y="2979"/>
                  </a:lnTo>
                  <a:lnTo>
                    <a:pt x="3549" y="2985"/>
                  </a:lnTo>
                  <a:lnTo>
                    <a:pt x="3562" y="2975"/>
                  </a:lnTo>
                  <a:lnTo>
                    <a:pt x="3575" y="2963"/>
                  </a:lnTo>
                  <a:lnTo>
                    <a:pt x="3583" y="2927"/>
                  </a:lnTo>
                  <a:lnTo>
                    <a:pt x="3616" y="2979"/>
                  </a:lnTo>
                  <a:lnTo>
                    <a:pt x="3618" y="2940"/>
                  </a:lnTo>
                  <a:lnTo>
                    <a:pt x="3634" y="2935"/>
                  </a:lnTo>
                  <a:lnTo>
                    <a:pt x="3645" y="2969"/>
                  </a:lnTo>
                  <a:lnTo>
                    <a:pt x="3668" y="2924"/>
                  </a:lnTo>
                  <a:lnTo>
                    <a:pt x="3670" y="2966"/>
                  </a:lnTo>
                  <a:lnTo>
                    <a:pt x="3690" y="2956"/>
                  </a:lnTo>
                  <a:lnTo>
                    <a:pt x="3689" y="2980"/>
                  </a:lnTo>
                  <a:lnTo>
                    <a:pt x="3726" y="2964"/>
                  </a:lnTo>
                  <a:lnTo>
                    <a:pt x="3734" y="2980"/>
                  </a:lnTo>
                  <a:lnTo>
                    <a:pt x="3744" y="2998"/>
                  </a:lnTo>
                  <a:lnTo>
                    <a:pt x="3755" y="3006"/>
                  </a:lnTo>
                  <a:lnTo>
                    <a:pt x="3766" y="3004"/>
                  </a:lnTo>
                  <a:lnTo>
                    <a:pt x="3774" y="2979"/>
                  </a:lnTo>
                  <a:lnTo>
                    <a:pt x="3797" y="3017"/>
                  </a:lnTo>
                  <a:lnTo>
                    <a:pt x="3821" y="2985"/>
                  </a:lnTo>
                  <a:lnTo>
                    <a:pt x="3801" y="3021"/>
                  </a:lnTo>
                  <a:lnTo>
                    <a:pt x="3835" y="3027"/>
                  </a:lnTo>
                  <a:lnTo>
                    <a:pt x="3801" y="3050"/>
                  </a:lnTo>
                  <a:lnTo>
                    <a:pt x="3837" y="3043"/>
                  </a:lnTo>
                  <a:lnTo>
                    <a:pt x="3835" y="3029"/>
                  </a:lnTo>
                  <a:lnTo>
                    <a:pt x="3851" y="3050"/>
                  </a:lnTo>
                  <a:lnTo>
                    <a:pt x="3867" y="3059"/>
                  </a:lnTo>
                  <a:lnTo>
                    <a:pt x="3882" y="3035"/>
                  </a:lnTo>
                  <a:lnTo>
                    <a:pt x="3896" y="3032"/>
                  </a:lnTo>
                  <a:lnTo>
                    <a:pt x="3912" y="3032"/>
                  </a:lnTo>
                  <a:lnTo>
                    <a:pt x="3928" y="3083"/>
                  </a:lnTo>
                  <a:lnTo>
                    <a:pt x="3945" y="3058"/>
                  </a:lnTo>
                  <a:lnTo>
                    <a:pt x="3959" y="3062"/>
                  </a:lnTo>
                  <a:lnTo>
                    <a:pt x="3977" y="3088"/>
                  </a:lnTo>
                  <a:lnTo>
                    <a:pt x="3988" y="3045"/>
                  </a:lnTo>
                  <a:lnTo>
                    <a:pt x="4001" y="3027"/>
                  </a:lnTo>
                  <a:lnTo>
                    <a:pt x="4023" y="3038"/>
                  </a:lnTo>
                  <a:lnTo>
                    <a:pt x="4027" y="3080"/>
                  </a:lnTo>
                  <a:lnTo>
                    <a:pt x="4059" y="3048"/>
                  </a:lnTo>
                  <a:lnTo>
                    <a:pt x="4067" y="3083"/>
                  </a:lnTo>
                  <a:lnTo>
                    <a:pt x="4076" y="3054"/>
                  </a:lnTo>
                  <a:lnTo>
                    <a:pt x="4097" y="3067"/>
                  </a:lnTo>
                  <a:lnTo>
                    <a:pt x="4104" y="3048"/>
                  </a:lnTo>
                  <a:lnTo>
                    <a:pt x="4110" y="3074"/>
                  </a:lnTo>
                  <a:lnTo>
                    <a:pt x="4137" y="3050"/>
                  </a:lnTo>
                  <a:lnTo>
                    <a:pt x="4120" y="3083"/>
                  </a:lnTo>
                  <a:lnTo>
                    <a:pt x="4142" y="3085"/>
                  </a:lnTo>
                  <a:lnTo>
                    <a:pt x="4154" y="3104"/>
                  </a:lnTo>
                  <a:lnTo>
                    <a:pt x="4179" y="3111"/>
                  </a:lnTo>
                  <a:lnTo>
                    <a:pt x="4187" y="3080"/>
                  </a:lnTo>
                  <a:lnTo>
                    <a:pt x="4207" y="3087"/>
                  </a:lnTo>
                  <a:lnTo>
                    <a:pt x="4229" y="3096"/>
                  </a:lnTo>
                  <a:lnTo>
                    <a:pt x="4234" y="3059"/>
                  </a:lnTo>
                  <a:lnTo>
                    <a:pt x="4252" y="3074"/>
                  </a:lnTo>
                  <a:lnTo>
                    <a:pt x="4255" y="3091"/>
                  </a:lnTo>
                  <a:lnTo>
                    <a:pt x="4281" y="3088"/>
                  </a:lnTo>
                  <a:lnTo>
                    <a:pt x="4298" y="3088"/>
                  </a:lnTo>
                  <a:lnTo>
                    <a:pt x="4297" y="3072"/>
                  </a:lnTo>
                  <a:lnTo>
                    <a:pt x="4311" y="3070"/>
                  </a:lnTo>
                  <a:lnTo>
                    <a:pt x="4332" y="3077"/>
                  </a:lnTo>
                  <a:lnTo>
                    <a:pt x="4359" y="3079"/>
                  </a:lnTo>
                  <a:lnTo>
                    <a:pt x="4334" y="3027"/>
                  </a:lnTo>
                  <a:lnTo>
                    <a:pt x="4359" y="3030"/>
                  </a:lnTo>
                  <a:lnTo>
                    <a:pt x="4375" y="3035"/>
                  </a:lnTo>
                  <a:lnTo>
                    <a:pt x="4385" y="3017"/>
                  </a:lnTo>
                  <a:lnTo>
                    <a:pt x="4396" y="3027"/>
                  </a:lnTo>
                  <a:lnTo>
                    <a:pt x="4427" y="3011"/>
                  </a:lnTo>
                  <a:lnTo>
                    <a:pt x="4372" y="2996"/>
                  </a:lnTo>
                  <a:lnTo>
                    <a:pt x="4427" y="2987"/>
                  </a:lnTo>
                  <a:lnTo>
                    <a:pt x="4408" y="2956"/>
                  </a:lnTo>
                  <a:lnTo>
                    <a:pt x="4438" y="2972"/>
                  </a:lnTo>
                  <a:lnTo>
                    <a:pt x="4441" y="2946"/>
                  </a:lnTo>
                  <a:lnTo>
                    <a:pt x="4474" y="2934"/>
                  </a:lnTo>
                  <a:lnTo>
                    <a:pt x="4443" y="2914"/>
                  </a:lnTo>
                  <a:lnTo>
                    <a:pt x="4441" y="2895"/>
                  </a:lnTo>
                  <a:lnTo>
                    <a:pt x="4464" y="2888"/>
                  </a:lnTo>
                  <a:lnTo>
                    <a:pt x="4470" y="2872"/>
                  </a:lnTo>
                  <a:lnTo>
                    <a:pt x="4483" y="2864"/>
                  </a:lnTo>
                  <a:lnTo>
                    <a:pt x="4501" y="2884"/>
                  </a:lnTo>
                  <a:lnTo>
                    <a:pt x="4515" y="2850"/>
                  </a:lnTo>
                  <a:lnTo>
                    <a:pt x="4533" y="2853"/>
                  </a:lnTo>
                  <a:lnTo>
                    <a:pt x="4552" y="2840"/>
                  </a:lnTo>
                  <a:lnTo>
                    <a:pt x="4565" y="2856"/>
                  </a:lnTo>
                  <a:lnTo>
                    <a:pt x="4583" y="2851"/>
                  </a:lnTo>
                  <a:lnTo>
                    <a:pt x="4596" y="2888"/>
                  </a:lnTo>
                  <a:lnTo>
                    <a:pt x="4613" y="2858"/>
                  </a:lnTo>
                  <a:lnTo>
                    <a:pt x="4631" y="2834"/>
                  </a:lnTo>
                  <a:lnTo>
                    <a:pt x="4646" y="2861"/>
                  </a:lnTo>
                  <a:lnTo>
                    <a:pt x="4663" y="2837"/>
                  </a:lnTo>
                  <a:lnTo>
                    <a:pt x="4676" y="2850"/>
                  </a:lnTo>
                  <a:lnTo>
                    <a:pt x="4699" y="2895"/>
                  </a:lnTo>
                  <a:lnTo>
                    <a:pt x="4705" y="2830"/>
                  </a:lnTo>
                  <a:lnTo>
                    <a:pt x="4721" y="2880"/>
                  </a:lnTo>
                  <a:lnTo>
                    <a:pt x="4739" y="2871"/>
                  </a:lnTo>
                  <a:lnTo>
                    <a:pt x="4737" y="2903"/>
                  </a:lnTo>
                  <a:lnTo>
                    <a:pt x="4771" y="2879"/>
                  </a:lnTo>
                  <a:lnTo>
                    <a:pt x="4790" y="2911"/>
                  </a:lnTo>
                  <a:lnTo>
                    <a:pt x="4802" y="2874"/>
                  </a:lnTo>
                  <a:lnTo>
                    <a:pt x="4819" y="2872"/>
                  </a:lnTo>
                  <a:lnTo>
                    <a:pt x="4835" y="2905"/>
                  </a:lnTo>
                  <a:lnTo>
                    <a:pt x="4853" y="2866"/>
                  </a:lnTo>
                  <a:lnTo>
                    <a:pt x="4877" y="2859"/>
                  </a:lnTo>
                  <a:lnTo>
                    <a:pt x="4869" y="2906"/>
                  </a:lnTo>
                  <a:lnTo>
                    <a:pt x="4906" y="2890"/>
                  </a:lnTo>
                  <a:lnTo>
                    <a:pt x="4921" y="2892"/>
                  </a:lnTo>
                  <a:lnTo>
                    <a:pt x="4929" y="2908"/>
                  </a:lnTo>
                  <a:lnTo>
                    <a:pt x="4945" y="2919"/>
                  </a:lnTo>
                  <a:lnTo>
                    <a:pt x="4964" y="2940"/>
                  </a:lnTo>
                  <a:lnTo>
                    <a:pt x="4982" y="2924"/>
                  </a:lnTo>
                  <a:lnTo>
                    <a:pt x="4995" y="2916"/>
                  </a:lnTo>
                  <a:lnTo>
                    <a:pt x="4993" y="2895"/>
                  </a:lnTo>
                  <a:lnTo>
                    <a:pt x="5004" y="2885"/>
                  </a:lnTo>
                  <a:lnTo>
                    <a:pt x="5019" y="2859"/>
                  </a:lnTo>
                  <a:lnTo>
                    <a:pt x="5035" y="2864"/>
                  </a:lnTo>
                  <a:lnTo>
                    <a:pt x="5052" y="2869"/>
                  </a:lnTo>
                  <a:lnTo>
                    <a:pt x="5064" y="2887"/>
                  </a:lnTo>
                  <a:lnTo>
                    <a:pt x="5077" y="2893"/>
                  </a:lnTo>
                  <a:lnTo>
                    <a:pt x="5102" y="2874"/>
                  </a:lnTo>
                  <a:lnTo>
                    <a:pt x="5102" y="2890"/>
                  </a:lnTo>
                  <a:lnTo>
                    <a:pt x="5109" y="2879"/>
                  </a:lnTo>
                  <a:lnTo>
                    <a:pt x="5120" y="2869"/>
                  </a:lnTo>
                  <a:lnTo>
                    <a:pt x="5144" y="2871"/>
                  </a:lnTo>
                  <a:lnTo>
                    <a:pt x="5142" y="2861"/>
                  </a:lnTo>
                  <a:lnTo>
                    <a:pt x="5147" y="2871"/>
                  </a:lnTo>
                  <a:lnTo>
                    <a:pt x="5144" y="2871"/>
                  </a:lnTo>
                  <a:lnTo>
                    <a:pt x="5144" y="2872"/>
                  </a:lnTo>
                  <a:lnTo>
                    <a:pt x="5181" y="2858"/>
                  </a:lnTo>
                  <a:lnTo>
                    <a:pt x="5162" y="2906"/>
                  </a:lnTo>
                  <a:lnTo>
                    <a:pt x="5197" y="2871"/>
                  </a:lnTo>
                  <a:lnTo>
                    <a:pt x="5196" y="2864"/>
                  </a:lnTo>
                  <a:lnTo>
                    <a:pt x="5234" y="2895"/>
                  </a:lnTo>
                  <a:lnTo>
                    <a:pt x="5233" y="2853"/>
                  </a:lnTo>
                  <a:lnTo>
                    <a:pt x="5265" y="2895"/>
                  </a:lnTo>
                  <a:lnTo>
                    <a:pt x="5274" y="2876"/>
                  </a:lnTo>
                  <a:lnTo>
                    <a:pt x="5294" y="2879"/>
                  </a:lnTo>
                  <a:lnTo>
                    <a:pt x="5307" y="2866"/>
                  </a:lnTo>
                  <a:lnTo>
                    <a:pt x="5324" y="2864"/>
                  </a:lnTo>
                  <a:lnTo>
                    <a:pt x="5332" y="2819"/>
                  </a:lnTo>
                  <a:lnTo>
                    <a:pt x="5340" y="2864"/>
                  </a:lnTo>
                  <a:lnTo>
                    <a:pt x="5356" y="2869"/>
                  </a:lnTo>
                  <a:lnTo>
                    <a:pt x="5379" y="2859"/>
                  </a:lnTo>
                  <a:lnTo>
                    <a:pt x="5397" y="2864"/>
                  </a:lnTo>
                  <a:lnTo>
                    <a:pt x="5416" y="2863"/>
                  </a:lnTo>
                  <a:lnTo>
                    <a:pt x="5432" y="2848"/>
                  </a:lnTo>
                  <a:lnTo>
                    <a:pt x="5446" y="2877"/>
                  </a:lnTo>
                  <a:lnTo>
                    <a:pt x="5467" y="2892"/>
                  </a:lnTo>
                  <a:lnTo>
                    <a:pt x="5471" y="2850"/>
                  </a:lnTo>
                  <a:lnTo>
                    <a:pt x="5501" y="2874"/>
                  </a:lnTo>
                  <a:lnTo>
                    <a:pt x="5493" y="2821"/>
                  </a:lnTo>
                  <a:lnTo>
                    <a:pt x="5525" y="2853"/>
                  </a:lnTo>
                  <a:lnTo>
                    <a:pt x="5538" y="2861"/>
                  </a:lnTo>
                  <a:lnTo>
                    <a:pt x="5553" y="2809"/>
                  </a:lnTo>
                  <a:lnTo>
                    <a:pt x="5569" y="2827"/>
                  </a:lnTo>
                  <a:lnTo>
                    <a:pt x="5590" y="2851"/>
                  </a:lnTo>
                  <a:lnTo>
                    <a:pt x="5606" y="2853"/>
                  </a:lnTo>
                  <a:lnTo>
                    <a:pt x="5618" y="2848"/>
                  </a:lnTo>
                  <a:lnTo>
                    <a:pt x="5631" y="2847"/>
                  </a:lnTo>
                  <a:lnTo>
                    <a:pt x="5647" y="2805"/>
                  </a:lnTo>
                  <a:lnTo>
                    <a:pt x="5662" y="2832"/>
                  </a:lnTo>
                  <a:lnTo>
                    <a:pt x="5675" y="2845"/>
                  </a:lnTo>
                  <a:lnTo>
                    <a:pt x="5709" y="2818"/>
                  </a:lnTo>
                  <a:lnTo>
                    <a:pt x="5712" y="2855"/>
                  </a:lnTo>
                  <a:lnTo>
                    <a:pt x="5728" y="2877"/>
                  </a:lnTo>
                  <a:lnTo>
                    <a:pt x="5744" y="2867"/>
                  </a:lnTo>
                  <a:lnTo>
                    <a:pt x="5754" y="2871"/>
                  </a:lnTo>
                  <a:lnTo>
                    <a:pt x="5773" y="2856"/>
                  </a:lnTo>
                  <a:lnTo>
                    <a:pt x="5774" y="2892"/>
                  </a:lnTo>
                  <a:lnTo>
                    <a:pt x="5802" y="2880"/>
                  </a:lnTo>
                  <a:lnTo>
                    <a:pt x="5821" y="2880"/>
                  </a:lnTo>
                  <a:lnTo>
                    <a:pt x="5831" y="2832"/>
                  </a:lnTo>
                  <a:lnTo>
                    <a:pt x="5847" y="2830"/>
                  </a:lnTo>
                  <a:lnTo>
                    <a:pt x="5873" y="2874"/>
                  </a:lnTo>
                  <a:lnTo>
                    <a:pt x="5887" y="2853"/>
                  </a:lnTo>
                  <a:lnTo>
                    <a:pt x="5905" y="2850"/>
                  </a:lnTo>
                  <a:lnTo>
                    <a:pt x="5918" y="2863"/>
                  </a:lnTo>
                  <a:lnTo>
                    <a:pt x="5918" y="2890"/>
                  </a:lnTo>
                  <a:lnTo>
                    <a:pt x="5938" y="2906"/>
                  </a:lnTo>
                  <a:lnTo>
                    <a:pt x="5961" y="2863"/>
                  </a:lnTo>
                  <a:lnTo>
                    <a:pt x="5985" y="2911"/>
                  </a:lnTo>
                  <a:lnTo>
                    <a:pt x="6012" y="2853"/>
                  </a:lnTo>
                  <a:lnTo>
                    <a:pt x="6027" y="2884"/>
                  </a:lnTo>
                  <a:lnTo>
                    <a:pt x="6027" y="2901"/>
                  </a:lnTo>
                  <a:lnTo>
                    <a:pt x="6027" y="2919"/>
                  </a:lnTo>
                  <a:lnTo>
                    <a:pt x="6011" y="2953"/>
                  </a:lnTo>
                  <a:lnTo>
                    <a:pt x="6046" y="2925"/>
                  </a:lnTo>
                  <a:lnTo>
                    <a:pt x="6061" y="2934"/>
                  </a:lnTo>
                  <a:lnTo>
                    <a:pt x="6072" y="2946"/>
                  </a:lnTo>
                  <a:lnTo>
                    <a:pt x="6085" y="2956"/>
                  </a:lnTo>
                  <a:lnTo>
                    <a:pt x="6098" y="2983"/>
                  </a:lnTo>
                  <a:lnTo>
                    <a:pt x="6114" y="2954"/>
                  </a:lnTo>
                  <a:lnTo>
                    <a:pt x="6136" y="2940"/>
                  </a:lnTo>
                  <a:lnTo>
                    <a:pt x="6151" y="2959"/>
                  </a:lnTo>
                  <a:lnTo>
                    <a:pt x="6151" y="2980"/>
                  </a:lnTo>
                  <a:lnTo>
                    <a:pt x="6159" y="2995"/>
                  </a:lnTo>
                  <a:lnTo>
                    <a:pt x="6165" y="3008"/>
                  </a:lnTo>
                  <a:lnTo>
                    <a:pt x="6178" y="3016"/>
                  </a:lnTo>
                  <a:lnTo>
                    <a:pt x="6204" y="3006"/>
                  </a:lnTo>
                  <a:lnTo>
                    <a:pt x="6199" y="3037"/>
                  </a:lnTo>
                  <a:lnTo>
                    <a:pt x="6223" y="3046"/>
                  </a:lnTo>
                  <a:lnTo>
                    <a:pt x="6218" y="2995"/>
                  </a:lnTo>
                  <a:lnTo>
                    <a:pt x="6234" y="2988"/>
                  </a:lnTo>
                  <a:lnTo>
                    <a:pt x="6262" y="3011"/>
                  </a:lnTo>
                  <a:lnTo>
                    <a:pt x="6270" y="2990"/>
                  </a:lnTo>
                  <a:lnTo>
                    <a:pt x="6291" y="3004"/>
                  </a:lnTo>
                  <a:lnTo>
                    <a:pt x="6297" y="2967"/>
                  </a:lnTo>
                  <a:lnTo>
                    <a:pt x="6320" y="3014"/>
                  </a:lnTo>
                  <a:lnTo>
                    <a:pt x="6328" y="2966"/>
                  </a:lnTo>
                  <a:lnTo>
                    <a:pt x="6349" y="2995"/>
                  </a:lnTo>
                  <a:lnTo>
                    <a:pt x="6368" y="2972"/>
                  </a:lnTo>
                  <a:lnTo>
                    <a:pt x="6379" y="3009"/>
                  </a:lnTo>
                  <a:lnTo>
                    <a:pt x="6402" y="2979"/>
                  </a:lnTo>
                  <a:lnTo>
                    <a:pt x="6410" y="3024"/>
                  </a:lnTo>
                  <a:lnTo>
                    <a:pt x="6437" y="2974"/>
                  </a:lnTo>
                  <a:lnTo>
                    <a:pt x="6447" y="3004"/>
                  </a:lnTo>
                  <a:lnTo>
                    <a:pt x="6453" y="3032"/>
                  </a:lnTo>
                  <a:lnTo>
                    <a:pt x="6471" y="3027"/>
                  </a:lnTo>
                  <a:lnTo>
                    <a:pt x="6488" y="3025"/>
                  </a:lnTo>
                  <a:lnTo>
                    <a:pt x="6508" y="3000"/>
                  </a:lnTo>
                  <a:lnTo>
                    <a:pt x="6519" y="3008"/>
                  </a:lnTo>
                  <a:lnTo>
                    <a:pt x="6538" y="3006"/>
                  </a:lnTo>
                  <a:lnTo>
                    <a:pt x="6559" y="3035"/>
                  </a:lnTo>
                  <a:lnTo>
                    <a:pt x="6583" y="2993"/>
                  </a:lnTo>
                  <a:lnTo>
                    <a:pt x="6583" y="3035"/>
                  </a:lnTo>
                  <a:lnTo>
                    <a:pt x="6601" y="3014"/>
                  </a:lnTo>
                  <a:lnTo>
                    <a:pt x="6591" y="2995"/>
                  </a:lnTo>
                  <a:lnTo>
                    <a:pt x="6612" y="2995"/>
                  </a:lnTo>
                  <a:lnTo>
                    <a:pt x="6648" y="3011"/>
                  </a:lnTo>
                  <a:lnTo>
                    <a:pt x="6667" y="3012"/>
                  </a:lnTo>
                  <a:lnTo>
                    <a:pt x="6677" y="2987"/>
                  </a:lnTo>
                  <a:lnTo>
                    <a:pt x="6680" y="2966"/>
                  </a:lnTo>
                  <a:lnTo>
                    <a:pt x="6691" y="2954"/>
                  </a:lnTo>
                  <a:lnTo>
                    <a:pt x="6657" y="2930"/>
                  </a:lnTo>
                  <a:lnTo>
                    <a:pt x="6685" y="2946"/>
                  </a:lnTo>
                  <a:lnTo>
                    <a:pt x="6699" y="2925"/>
                  </a:lnTo>
                  <a:lnTo>
                    <a:pt x="6694" y="2956"/>
                  </a:lnTo>
                  <a:lnTo>
                    <a:pt x="6738" y="2932"/>
                  </a:lnTo>
                  <a:lnTo>
                    <a:pt x="6736" y="2959"/>
                  </a:lnTo>
                  <a:lnTo>
                    <a:pt x="6755" y="2946"/>
                  </a:lnTo>
                  <a:lnTo>
                    <a:pt x="6760" y="2966"/>
                  </a:lnTo>
                  <a:lnTo>
                    <a:pt x="6775" y="2943"/>
                  </a:lnTo>
                  <a:lnTo>
                    <a:pt x="6796" y="2990"/>
                  </a:lnTo>
                  <a:lnTo>
                    <a:pt x="6794" y="2938"/>
                  </a:lnTo>
                  <a:lnTo>
                    <a:pt x="6831" y="2975"/>
                  </a:lnTo>
                  <a:lnTo>
                    <a:pt x="6847" y="2967"/>
                  </a:lnTo>
                  <a:lnTo>
                    <a:pt x="6852" y="2946"/>
                  </a:lnTo>
                  <a:lnTo>
                    <a:pt x="6876" y="2953"/>
                  </a:lnTo>
                  <a:lnTo>
                    <a:pt x="6892" y="2950"/>
                  </a:lnTo>
                  <a:lnTo>
                    <a:pt x="6886" y="2905"/>
                  </a:lnTo>
                  <a:lnTo>
                    <a:pt x="6892" y="2942"/>
                  </a:lnTo>
                  <a:lnTo>
                    <a:pt x="6906" y="2951"/>
                  </a:lnTo>
                  <a:lnTo>
                    <a:pt x="6940" y="2925"/>
                  </a:lnTo>
                  <a:lnTo>
                    <a:pt x="6937" y="2966"/>
                  </a:lnTo>
                  <a:lnTo>
                    <a:pt x="6958" y="2966"/>
                  </a:lnTo>
                  <a:lnTo>
                    <a:pt x="6974" y="2942"/>
                  </a:lnTo>
                  <a:lnTo>
                    <a:pt x="6985" y="2954"/>
                  </a:lnTo>
                  <a:lnTo>
                    <a:pt x="6977" y="2924"/>
                  </a:lnTo>
                  <a:lnTo>
                    <a:pt x="7011" y="2930"/>
                  </a:lnTo>
                  <a:lnTo>
                    <a:pt x="7025" y="2932"/>
                  </a:lnTo>
                  <a:lnTo>
                    <a:pt x="7037" y="2927"/>
                  </a:lnTo>
                  <a:lnTo>
                    <a:pt x="7029" y="2959"/>
                  </a:lnTo>
                  <a:lnTo>
                    <a:pt x="7040" y="2971"/>
                  </a:lnTo>
                  <a:lnTo>
                    <a:pt x="7069" y="2972"/>
                  </a:lnTo>
                  <a:lnTo>
                    <a:pt x="7077" y="2935"/>
                  </a:lnTo>
                  <a:lnTo>
                    <a:pt x="7111" y="2956"/>
                  </a:lnTo>
                  <a:lnTo>
                    <a:pt x="7122" y="2945"/>
                  </a:lnTo>
                  <a:lnTo>
                    <a:pt x="7127" y="2903"/>
                  </a:lnTo>
                  <a:lnTo>
                    <a:pt x="7149" y="2942"/>
                  </a:lnTo>
                  <a:lnTo>
                    <a:pt x="7164" y="2917"/>
                  </a:lnTo>
                  <a:lnTo>
                    <a:pt x="7180" y="2927"/>
                  </a:lnTo>
                  <a:lnTo>
                    <a:pt x="7164" y="2958"/>
                  </a:lnTo>
                  <a:lnTo>
                    <a:pt x="7214" y="2938"/>
                  </a:lnTo>
                  <a:lnTo>
                    <a:pt x="7175" y="2987"/>
                  </a:lnTo>
                  <a:lnTo>
                    <a:pt x="7207" y="2988"/>
                  </a:lnTo>
                  <a:lnTo>
                    <a:pt x="7217" y="2954"/>
                  </a:lnTo>
                  <a:lnTo>
                    <a:pt x="7233" y="2954"/>
                  </a:lnTo>
                  <a:lnTo>
                    <a:pt x="7255" y="2971"/>
                  </a:lnTo>
                  <a:lnTo>
                    <a:pt x="7275" y="2945"/>
                  </a:lnTo>
                  <a:lnTo>
                    <a:pt x="7288" y="2956"/>
                  </a:lnTo>
                  <a:lnTo>
                    <a:pt x="7299" y="2988"/>
                  </a:lnTo>
                  <a:lnTo>
                    <a:pt x="7315" y="2983"/>
                  </a:lnTo>
                  <a:lnTo>
                    <a:pt x="7329" y="2996"/>
                  </a:lnTo>
                  <a:lnTo>
                    <a:pt x="7347" y="2979"/>
                  </a:lnTo>
                  <a:lnTo>
                    <a:pt x="7362" y="2969"/>
                  </a:lnTo>
                  <a:lnTo>
                    <a:pt x="7378" y="2972"/>
                  </a:lnTo>
                  <a:lnTo>
                    <a:pt x="7387" y="2961"/>
                  </a:lnTo>
                  <a:lnTo>
                    <a:pt x="7402" y="2958"/>
                  </a:lnTo>
                  <a:lnTo>
                    <a:pt x="7437" y="2977"/>
                  </a:lnTo>
                  <a:lnTo>
                    <a:pt x="7436" y="2940"/>
                  </a:lnTo>
                  <a:lnTo>
                    <a:pt x="7447" y="2917"/>
                  </a:lnTo>
                  <a:lnTo>
                    <a:pt x="7461" y="2909"/>
                  </a:lnTo>
                  <a:lnTo>
                    <a:pt x="7484" y="2943"/>
                  </a:lnTo>
                  <a:lnTo>
                    <a:pt x="7518" y="2924"/>
                  </a:lnTo>
                  <a:lnTo>
                    <a:pt x="7530" y="2932"/>
                  </a:lnTo>
                  <a:lnTo>
                    <a:pt x="7537" y="2950"/>
                  </a:lnTo>
                  <a:lnTo>
                    <a:pt x="7532" y="2979"/>
                  </a:lnTo>
                  <a:lnTo>
                    <a:pt x="7540" y="2956"/>
                  </a:lnTo>
                  <a:lnTo>
                    <a:pt x="7548" y="2937"/>
                  </a:lnTo>
                  <a:lnTo>
                    <a:pt x="7563" y="2921"/>
                  </a:lnTo>
                  <a:lnTo>
                    <a:pt x="7587" y="2925"/>
                  </a:lnTo>
                  <a:lnTo>
                    <a:pt x="7609" y="2935"/>
                  </a:lnTo>
                  <a:lnTo>
                    <a:pt x="7624" y="2913"/>
                  </a:lnTo>
                  <a:lnTo>
                    <a:pt x="7645" y="2921"/>
                  </a:lnTo>
                  <a:lnTo>
                    <a:pt x="7661" y="2922"/>
                  </a:lnTo>
                  <a:lnTo>
                    <a:pt x="7667" y="2927"/>
                  </a:lnTo>
                  <a:lnTo>
                    <a:pt x="7675" y="2917"/>
                  </a:lnTo>
                  <a:lnTo>
                    <a:pt x="7680" y="2919"/>
                  </a:lnTo>
                  <a:lnTo>
                    <a:pt x="7680" y="414"/>
                  </a:lnTo>
                  <a:lnTo>
                    <a:pt x="7670" y="409"/>
                  </a:lnTo>
                  <a:lnTo>
                    <a:pt x="7638" y="448"/>
                  </a:lnTo>
                  <a:lnTo>
                    <a:pt x="7656" y="393"/>
                  </a:lnTo>
                  <a:lnTo>
                    <a:pt x="7614" y="422"/>
                  </a:lnTo>
                  <a:lnTo>
                    <a:pt x="7609" y="417"/>
                  </a:lnTo>
                  <a:lnTo>
                    <a:pt x="7598" y="390"/>
                  </a:lnTo>
                  <a:lnTo>
                    <a:pt x="7580" y="380"/>
                  </a:lnTo>
                  <a:lnTo>
                    <a:pt x="7569" y="404"/>
                  </a:lnTo>
                  <a:lnTo>
                    <a:pt x="7553" y="402"/>
                  </a:lnTo>
                  <a:lnTo>
                    <a:pt x="7535" y="380"/>
                  </a:lnTo>
                  <a:lnTo>
                    <a:pt x="7526" y="417"/>
                  </a:lnTo>
                  <a:lnTo>
                    <a:pt x="7514" y="430"/>
                  </a:lnTo>
                  <a:lnTo>
                    <a:pt x="7487" y="401"/>
                  </a:lnTo>
                  <a:lnTo>
                    <a:pt x="7479" y="423"/>
                  </a:lnTo>
                  <a:lnTo>
                    <a:pt x="7477" y="452"/>
                  </a:lnTo>
                  <a:lnTo>
                    <a:pt x="7456" y="451"/>
                  </a:lnTo>
                  <a:lnTo>
                    <a:pt x="7439" y="480"/>
                  </a:lnTo>
                  <a:lnTo>
                    <a:pt x="7419" y="441"/>
                  </a:lnTo>
                  <a:lnTo>
                    <a:pt x="7392" y="460"/>
                  </a:lnTo>
                  <a:lnTo>
                    <a:pt x="7386" y="423"/>
                  </a:lnTo>
                  <a:lnTo>
                    <a:pt x="7376" y="457"/>
                  </a:lnTo>
                  <a:lnTo>
                    <a:pt x="7350" y="409"/>
                  </a:lnTo>
                  <a:lnTo>
                    <a:pt x="7336" y="423"/>
                  </a:lnTo>
                  <a:lnTo>
                    <a:pt x="7318" y="423"/>
                  </a:lnTo>
                  <a:lnTo>
                    <a:pt x="7313" y="459"/>
                  </a:lnTo>
                  <a:lnTo>
                    <a:pt x="7294" y="443"/>
                  </a:lnTo>
                  <a:lnTo>
                    <a:pt x="7281" y="436"/>
                  </a:lnTo>
                  <a:lnTo>
                    <a:pt x="7263" y="460"/>
                  </a:lnTo>
                  <a:lnTo>
                    <a:pt x="7247" y="451"/>
                  </a:lnTo>
                  <a:lnTo>
                    <a:pt x="7246" y="472"/>
                  </a:lnTo>
                  <a:lnTo>
                    <a:pt x="7209" y="452"/>
                  </a:lnTo>
                  <a:lnTo>
                    <a:pt x="7209" y="475"/>
                  </a:lnTo>
                  <a:lnTo>
                    <a:pt x="7198" y="477"/>
                  </a:lnTo>
                  <a:lnTo>
                    <a:pt x="7185" y="467"/>
                  </a:lnTo>
                  <a:lnTo>
                    <a:pt x="7181" y="525"/>
                  </a:lnTo>
                  <a:lnTo>
                    <a:pt x="7154" y="483"/>
                  </a:lnTo>
                  <a:lnTo>
                    <a:pt x="7146" y="510"/>
                  </a:lnTo>
                  <a:lnTo>
                    <a:pt x="7128" y="512"/>
                  </a:lnTo>
                  <a:lnTo>
                    <a:pt x="7117" y="538"/>
                  </a:lnTo>
                  <a:lnTo>
                    <a:pt x="7103" y="506"/>
                  </a:lnTo>
                  <a:lnTo>
                    <a:pt x="7079" y="546"/>
                  </a:lnTo>
                  <a:lnTo>
                    <a:pt x="7059" y="538"/>
                  </a:lnTo>
                  <a:lnTo>
                    <a:pt x="7038" y="533"/>
                  </a:lnTo>
                  <a:lnTo>
                    <a:pt x="7045" y="496"/>
                  </a:lnTo>
                  <a:lnTo>
                    <a:pt x="7014" y="512"/>
                  </a:lnTo>
                  <a:lnTo>
                    <a:pt x="7016" y="494"/>
                  </a:lnTo>
                  <a:lnTo>
                    <a:pt x="7005" y="489"/>
                  </a:lnTo>
                  <a:lnTo>
                    <a:pt x="6997" y="520"/>
                  </a:lnTo>
                  <a:lnTo>
                    <a:pt x="6958" y="467"/>
                  </a:lnTo>
                  <a:lnTo>
                    <a:pt x="6968" y="512"/>
                  </a:lnTo>
                  <a:lnTo>
                    <a:pt x="6966" y="531"/>
                  </a:lnTo>
                  <a:lnTo>
                    <a:pt x="6924" y="509"/>
                  </a:lnTo>
                  <a:lnTo>
                    <a:pt x="6931" y="554"/>
                  </a:lnTo>
                  <a:lnTo>
                    <a:pt x="6923" y="517"/>
                  </a:lnTo>
                  <a:lnTo>
                    <a:pt x="6894" y="535"/>
                  </a:lnTo>
                  <a:lnTo>
                    <a:pt x="6884" y="523"/>
                  </a:lnTo>
                  <a:lnTo>
                    <a:pt x="6882" y="525"/>
                  </a:lnTo>
                  <a:lnTo>
                    <a:pt x="6886" y="530"/>
                  </a:lnTo>
                  <a:lnTo>
                    <a:pt x="6844" y="507"/>
                  </a:lnTo>
                  <a:lnTo>
                    <a:pt x="6829" y="514"/>
                  </a:lnTo>
                  <a:lnTo>
                    <a:pt x="6837" y="551"/>
                  </a:lnTo>
                  <a:lnTo>
                    <a:pt x="6820" y="518"/>
                  </a:lnTo>
                  <a:lnTo>
                    <a:pt x="6804" y="556"/>
                  </a:lnTo>
                  <a:lnTo>
                    <a:pt x="6789" y="539"/>
                  </a:lnTo>
                  <a:lnTo>
                    <a:pt x="6775" y="538"/>
                  </a:lnTo>
                  <a:lnTo>
                    <a:pt x="6760" y="536"/>
                  </a:lnTo>
                  <a:lnTo>
                    <a:pt x="6739" y="543"/>
                  </a:lnTo>
                  <a:lnTo>
                    <a:pt x="6741" y="502"/>
                  </a:lnTo>
                  <a:lnTo>
                    <a:pt x="6723" y="515"/>
                  </a:lnTo>
                  <a:lnTo>
                    <a:pt x="6709" y="525"/>
                  </a:lnTo>
                  <a:lnTo>
                    <a:pt x="6694" y="554"/>
                  </a:lnTo>
                  <a:lnTo>
                    <a:pt x="6697" y="504"/>
                  </a:lnTo>
                  <a:lnTo>
                    <a:pt x="6677" y="509"/>
                  </a:lnTo>
                  <a:lnTo>
                    <a:pt x="6651" y="528"/>
                  </a:lnTo>
                  <a:lnTo>
                    <a:pt x="6652" y="535"/>
                  </a:lnTo>
                  <a:lnTo>
                    <a:pt x="6648" y="531"/>
                  </a:lnTo>
                  <a:lnTo>
                    <a:pt x="6643" y="533"/>
                  </a:lnTo>
                  <a:lnTo>
                    <a:pt x="6644" y="528"/>
                  </a:lnTo>
                  <a:lnTo>
                    <a:pt x="6617" y="509"/>
                  </a:lnTo>
                  <a:lnTo>
                    <a:pt x="6601" y="510"/>
                  </a:lnTo>
                  <a:lnTo>
                    <a:pt x="6601" y="543"/>
                  </a:lnTo>
                  <a:lnTo>
                    <a:pt x="6588" y="527"/>
                  </a:lnTo>
                  <a:lnTo>
                    <a:pt x="6575" y="518"/>
                  </a:lnTo>
                  <a:lnTo>
                    <a:pt x="6551" y="522"/>
                  </a:lnTo>
                  <a:lnTo>
                    <a:pt x="6556" y="477"/>
                  </a:lnTo>
                  <a:lnTo>
                    <a:pt x="6543" y="512"/>
                  </a:lnTo>
                  <a:lnTo>
                    <a:pt x="6535" y="535"/>
                  </a:lnTo>
                  <a:lnTo>
                    <a:pt x="6503" y="499"/>
                  </a:lnTo>
                  <a:lnTo>
                    <a:pt x="6493" y="535"/>
                  </a:lnTo>
                  <a:lnTo>
                    <a:pt x="6476" y="502"/>
                  </a:lnTo>
                  <a:lnTo>
                    <a:pt x="6463" y="501"/>
                  </a:lnTo>
                  <a:lnTo>
                    <a:pt x="6451" y="489"/>
                  </a:lnTo>
                  <a:lnTo>
                    <a:pt x="6429" y="512"/>
                  </a:lnTo>
                  <a:lnTo>
                    <a:pt x="6414" y="533"/>
                  </a:lnTo>
                  <a:lnTo>
                    <a:pt x="6394" y="485"/>
                  </a:lnTo>
                  <a:lnTo>
                    <a:pt x="6390" y="541"/>
                  </a:lnTo>
                  <a:lnTo>
                    <a:pt x="6371" y="488"/>
                  </a:lnTo>
                  <a:lnTo>
                    <a:pt x="6358" y="496"/>
                  </a:lnTo>
                  <a:lnTo>
                    <a:pt x="6345" y="481"/>
                  </a:lnTo>
                  <a:lnTo>
                    <a:pt x="6321" y="506"/>
                  </a:lnTo>
                  <a:lnTo>
                    <a:pt x="6313" y="509"/>
                  </a:lnTo>
                  <a:lnTo>
                    <a:pt x="6295" y="509"/>
                  </a:lnTo>
                  <a:lnTo>
                    <a:pt x="6289" y="525"/>
                  </a:lnTo>
                  <a:lnTo>
                    <a:pt x="6271" y="554"/>
                  </a:lnTo>
                  <a:lnTo>
                    <a:pt x="6244" y="539"/>
                  </a:lnTo>
                  <a:lnTo>
                    <a:pt x="6271" y="486"/>
                  </a:lnTo>
                  <a:lnTo>
                    <a:pt x="6225" y="515"/>
                  </a:lnTo>
                  <a:lnTo>
                    <a:pt x="6236" y="469"/>
                  </a:lnTo>
                  <a:lnTo>
                    <a:pt x="6213" y="499"/>
                  </a:lnTo>
                  <a:lnTo>
                    <a:pt x="6197" y="504"/>
                  </a:lnTo>
                  <a:lnTo>
                    <a:pt x="6181" y="457"/>
                  </a:lnTo>
                  <a:lnTo>
                    <a:pt x="6167" y="485"/>
                  </a:lnTo>
                  <a:lnTo>
                    <a:pt x="6152" y="506"/>
                  </a:lnTo>
                  <a:lnTo>
                    <a:pt x="6135" y="514"/>
                  </a:lnTo>
                  <a:lnTo>
                    <a:pt x="6123" y="464"/>
                  </a:lnTo>
                  <a:lnTo>
                    <a:pt x="6107" y="469"/>
                  </a:lnTo>
                  <a:lnTo>
                    <a:pt x="6090" y="457"/>
                  </a:lnTo>
                  <a:lnTo>
                    <a:pt x="6070" y="460"/>
                  </a:lnTo>
                  <a:lnTo>
                    <a:pt x="6061" y="514"/>
                  </a:lnTo>
                  <a:lnTo>
                    <a:pt x="6048" y="506"/>
                  </a:lnTo>
                  <a:lnTo>
                    <a:pt x="6027" y="498"/>
                  </a:lnTo>
                  <a:lnTo>
                    <a:pt x="6025" y="533"/>
                  </a:lnTo>
                  <a:lnTo>
                    <a:pt x="5996" y="536"/>
                  </a:lnTo>
                  <a:lnTo>
                    <a:pt x="5974" y="525"/>
                  </a:lnTo>
                  <a:lnTo>
                    <a:pt x="5963" y="504"/>
                  </a:lnTo>
                  <a:lnTo>
                    <a:pt x="5950" y="469"/>
                  </a:lnTo>
                  <a:lnTo>
                    <a:pt x="5938" y="518"/>
                  </a:lnTo>
                  <a:lnTo>
                    <a:pt x="5922" y="525"/>
                  </a:lnTo>
                  <a:lnTo>
                    <a:pt x="5903" y="496"/>
                  </a:lnTo>
                  <a:lnTo>
                    <a:pt x="5908" y="481"/>
                  </a:lnTo>
                  <a:lnTo>
                    <a:pt x="5861" y="515"/>
                  </a:lnTo>
                  <a:lnTo>
                    <a:pt x="5864" y="489"/>
                  </a:lnTo>
                  <a:lnTo>
                    <a:pt x="5855" y="483"/>
                  </a:lnTo>
                  <a:lnTo>
                    <a:pt x="5842" y="486"/>
                  </a:lnTo>
                  <a:lnTo>
                    <a:pt x="5824" y="465"/>
                  </a:lnTo>
                  <a:lnTo>
                    <a:pt x="5805" y="465"/>
                  </a:lnTo>
                  <a:lnTo>
                    <a:pt x="5784" y="472"/>
                  </a:lnTo>
                  <a:lnTo>
                    <a:pt x="5792" y="506"/>
                  </a:lnTo>
                  <a:lnTo>
                    <a:pt x="5774" y="509"/>
                  </a:lnTo>
                  <a:lnTo>
                    <a:pt x="5758" y="506"/>
                  </a:lnTo>
                  <a:lnTo>
                    <a:pt x="5744" y="517"/>
                  </a:lnTo>
                  <a:lnTo>
                    <a:pt x="5731" y="506"/>
                  </a:lnTo>
                  <a:lnTo>
                    <a:pt x="5725" y="485"/>
                  </a:lnTo>
                  <a:lnTo>
                    <a:pt x="5713" y="486"/>
                  </a:lnTo>
                  <a:lnTo>
                    <a:pt x="5699" y="480"/>
                  </a:lnTo>
                  <a:lnTo>
                    <a:pt x="5700" y="456"/>
                  </a:lnTo>
                  <a:lnTo>
                    <a:pt x="5676" y="443"/>
                  </a:lnTo>
                  <a:lnTo>
                    <a:pt x="5657" y="489"/>
                  </a:lnTo>
                  <a:lnTo>
                    <a:pt x="5641" y="488"/>
                  </a:lnTo>
                  <a:lnTo>
                    <a:pt x="5623" y="486"/>
                  </a:lnTo>
                  <a:lnTo>
                    <a:pt x="5610" y="501"/>
                  </a:lnTo>
                  <a:lnTo>
                    <a:pt x="5586" y="469"/>
                  </a:lnTo>
                  <a:lnTo>
                    <a:pt x="5573" y="515"/>
                  </a:lnTo>
                  <a:lnTo>
                    <a:pt x="5554" y="499"/>
                  </a:lnTo>
                  <a:lnTo>
                    <a:pt x="5540" y="491"/>
                  </a:lnTo>
                  <a:lnTo>
                    <a:pt x="5532" y="464"/>
                  </a:lnTo>
                  <a:lnTo>
                    <a:pt x="5516" y="478"/>
                  </a:lnTo>
                  <a:lnTo>
                    <a:pt x="5498" y="478"/>
                  </a:lnTo>
                  <a:lnTo>
                    <a:pt x="5485" y="501"/>
                  </a:lnTo>
                  <a:lnTo>
                    <a:pt x="5467" y="481"/>
                  </a:lnTo>
                  <a:lnTo>
                    <a:pt x="5453" y="506"/>
                  </a:lnTo>
                  <a:lnTo>
                    <a:pt x="5438" y="489"/>
                  </a:lnTo>
                  <a:lnTo>
                    <a:pt x="5427" y="504"/>
                  </a:lnTo>
                  <a:lnTo>
                    <a:pt x="5413" y="517"/>
                  </a:lnTo>
                  <a:lnTo>
                    <a:pt x="5387" y="525"/>
                  </a:lnTo>
                  <a:lnTo>
                    <a:pt x="5392" y="478"/>
                  </a:lnTo>
                  <a:lnTo>
                    <a:pt x="5372" y="480"/>
                  </a:lnTo>
                  <a:lnTo>
                    <a:pt x="5355" y="478"/>
                  </a:lnTo>
                  <a:lnTo>
                    <a:pt x="5352" y="451"/>
                  </a:lnTo>
                  <a:lnTo>
                    <a:pt x="5335" y="435"/>
                  </a:lnTo>
                  <a:lnTo>
                    <a:pt x="5316" y="446"/>
                  </a:lnTo>
                  <a:lnTo>
                    <a:pt x="5295" y="469"/>
                  </a:lnTo>
                  <a:lnTo>
                    <a:pt x="5284" y="443"/>
                  </a:lnTo>
                  <a:lnTo>
                    <a:pt x="5268" y="446"/>
                  </a:lnTo>
                  <a:lnTo>
                    <a:pt x="5255" y="481"/>
                  </a:lnTo>
                  <a:lnTo>
                    <a:pt x="5239" y="465"/>
                  </a:lnTo>
                  <a:lnTo>
                    <a:pt x="5215" y="452"/>
                  </a:lnTo>
                  <a:lnTo>
                    <a:pt x="5204" y="472"/>
                  </a:lnTo>
                  <a:lnTo>
                    <a:pt x="5189" y="480"/>
                  </a:lnTo>
                  <a:lnTo>
                    <a:pt x="5167" y="456"/>
                  </a:lnTo>
                  <a:lnTo>
                    <a:pt x="5157" y="470"/>
                  </a:lnTo>
                  <a:lnTo>
                    <a:pt x="5147" y="459"/>
                  </a:lnTo>
                  <a:lnTo>
                    <a:pt x="5114" y="488"/>
                  </a:lnTo>
                  <a:lnTo>
                    <a:pt x="5101" y="478"/>
                  </a:lnTo>
                  <a:lnTo>
                    <a:pt x="5099" y="441"/>
                  </a:lnTo>
                  <a:lnTo>
                    <a:pt x="5073" y="460"/>
                  </a:lnTo>
                  <a:lnTo>
                    <a:pt x="5065" y="449"/>
                  </a:lnTo>
                  <a:lnTo>
                    <a:pt x="5041" y="428"/>
                  </a:lnTo>
                  <a:lnTo>
                    <a:pt x="5024" y="430"/>
                  </a:lnTo>
                  <a:lnTo>
                    <a:pt x="5017" y="449"/>
                  </a:lnTo>
                  <a:lnTo>
                    <a:pt x="4990" y="475"/>
                  </a:lnTo>
                  <a:lnTo>
                    <a:pt x="4991" y="433"/>
                  </a:lnTo>
                  <a:lnTo>
                    <a:pt x="4972" y="423"/>
                  </a:lnTo>
                  <a:lnTo>
                    <a:pt x="4951" y="431"/>
                  </a:lnTo>
                  <a:lnTo>
                    <a:pt x="4935" y="435"/>
                  </a:lnTo>
                  <a:lnTo>
                    <a:pt x="4922" y="451"/>
                  </a:lnTo>
                  <a:lnTo>
                    <a:pt x="4896" y="433"/>
                  </a:lnTo>
                  <a:lnTo>
                    <a:pt x="4879" y="438"/>
                  </a:lnTo>
                  <a:lnTo>
                    <a:pt x="4880" y="489"/>
                  </a:lnTo>
                  <a:lnTo>
                    <a:pt x="4861" y="481"/>
                  </a:lnTo>
                  <a:lnTo>
                    <a:pt x="4845" y="469"/>
                  </a:lnTo>
                  <a:lnTo>
                    <a:pt x="4827" y="485"/>
                  </a:lnTo>
                  <a:lnTo>
                    <a:pt x="4805" y="486"/>
                  </a:lnTo>
                  <a:lnTo>
                    <a:pt x="4800" y="457"/>
                  </a:lnTo>
                  <a:lnTo>
                    <a:pt x="4782" y="456"/>
                  </a:lnTo>
                  <a:lnTo>
                    <a:pt x="4782" y="431"/>
                  </a:lnTo>
                  <a:lnTo>
                    <a:pt x="4760" y="433"/>
                  </a:lnTo>
                  <a:lnTo>
                    <a:pt x="4729" y="441"/>
                  </a:lnTo>
                  <a:lnTo>
                    <a:pt x="4739" y="404"/>
                  </a:lnTo>
                  <a:lnTo>
                    <a:pt x="4732" y="423"/>
                  </a:lnTo>
                  <a:lnTo>
                    <a:pt x="4695" y="411"/>
                  </a:lnTo>
                  <a:lnTo>
                    <a:pt x="4732" y="462"/>
                  </a:lnTo>
                  <a:lnTo>
                    <a:pt x="4707" y="459"/>
                  </a:lnTo>
                  <a:lnTo>
                    <a:pt x="4687" y="456"/>
                  </a:lnTo>
                  <a:lnTo>
                    <a:pt x="4676" y="443"/>
                  </a:lnTo>
                  <a:lnTo>
                    <a:pt x="4658" y="477"/>
                  </a:lnTo>
                  <a:lnTo>
                    <a:pt x="4650" y="444"/>
                  </a:lnTo>
                  <a:lnTo>
                    <a:pt x="4654" y="428"/>
                  </a:lnTo>
                  <a:lnTo>
                    <a:pt x="4620" y="441"/>
                  </a:lnTo>
                  <a:lnTo>
                    <a:pt x="4613" y="425"/>
                  </a:lnTo>
                  <a:lnTo>
                    <a:pt x="4589" y="448"/>
                  </a:lnTo>
                  <a:lnTo>
                    <a:pt x="4585" y="433"/>
                  </a:lnTo>
                  <a:lnTo>
                    <a:pt x="4564" y="402"/>
                  </a:lnTo>
                  <a:lnTo>
                    <a:pt x="4556" y="440"/>
                  </a:lnTo>
                  <a:lnTo>
                    <a:pt x="4538" y="438"/>
                  </a:lnTo>
                  <a:lnTo>
                    <a:pt x="4509" y="412"/>
                  </a:lnTo>
                  <a:lnTo>
                    <a:pt x="4507" y="430"/>
                  </a:lnTo>
                  <a:lnTo>
                    <a:pt x="4491" y="433"/>
                  </a:lnTo>
                  <a:lnTo>
                    <a:pt x="4474" y="427"/>
                  </a:lnTo>
                  <a:lnTo>
                    <a:pt x="4457" y="419"/>
                  </a:lnTo>
                  <a:lnTo>
                    <a:pt x="4451" y="388"/>
                  </a:lnTo>
                  <a:lnTo>
                    <a:pt x="4435" y="382"/>
                  </a:lnTo>
                  <a:lnTo>
                    <a:pt x="4419" y="423"/>
                  </a:lnTo>
                  <a:lnTo>
                    <a:pt x="4417" y="425"/>
                  </a:lnTo>
                  <a:lnTo>
                    <a:pt x="4372" y="407"/>
                  </a:lnTo>
                  <a:lnTo>
                    <a:pt x="4395" y="446"/>
                  </a:lnTo>
                  <a:lnTo>
                    <a:pt x="4372" y="438"/>
                  </a:lnTo>
                  <a:lnTo>
                    <a:pt x="4369" y="475"/>
                  </a:lnTo>
                  <a:lnTo>
                    <a:pt x="4358" y="440"/>
                  </a:lnTo>
                  <a:lnTo>
                    <a:pt x="4332" y="460"/>
                  </a:lnTo>
                  <a:lnTo>
                    <a:pt x="4316" y="459"/>
                  </a:lnTo>
                  <a:lnTo>
                    <a:pt x="4313" y="441"/>
                  </a:lnTo>
                  <a:lnTo>
                    <a:pt x="4308" y="414"/>
                  </a:lnTo>
                  <a:lnTo>
                    <a:pt x="4289" y="419"/>
                  </a:lnTo>
                  <a:lnTo>
                    <a:pt x="4271" y="401"/>
                  </a:lnTo>
                  <a:lnTo>
                    <a:pt x="4247" y="402"/>
                  </a:lnTo>
                  <a:lnTo>
                    <a:pt x="4261" y="448"/>
                  </a:lnTo>
                  <a:lnTo>
                    <a:pt x="4245" y="449"/>
                  </a:lnTo>
                  <a:lnTo>
                    <a:pt x="4226" y="435"/>
                  </a:lnTo>
                  <a:lnTo>
                    <a:pt x="4202" y="460"/>
                  </a:lnTo>
                  <a:lnTo>
                    <a:pt x="4184" y="460"/>
                  </a:lnTo>
                  <a:lnTo>
                    <a:pt x="4183" y="454"/>
                  </a:lnTo>
                  <a:lnTo>
                    <a:pt x="4160" y="449"/>
                  </a:lnTo>
                  <a:lnTo>
                    <a:pt x="4165" y="478"/>
                  </a:lnTo>
                  <a:lnTo>
                    <a:pt x="4134" y="460"/>
                  </a:lnTo>
                  <a:lnTo>
                    <a:pt x="4131" y="446"/>
                  </a:lnTo>
                  <a:lnTo>
                    <a:pt x="4126" y="428"/>
                  </a:lnTo>
                  <a:lnTo>
                    <a:pt x="4115" y="420"/>
                  </a:lnTo>
                  <a:lnTo>
                    <a:pt x="4088" y="428"/>
                  </a:lnTo>
                  <a:lnTo>
                    <a:pt x="4072" y="428"/>
                  </a:lnTo>
                  <a:lnTo>
                    <a:pt x="4059" y="465"/>
                  </a:lnTo>
                  <a:lnTo>
                    <a:pt x="4043" y="425"/>
                  </a:lnTo>
                  <a:lnTo>
                    <a:pt x="4023" y="433"/>
                  </a:lnTo>
                  <a:lnTo>
                    <a:pt x="4019" y="402"/>
                  </a:lnTo>
                  <a:lnTo>
                    <a:pt x="4004" y="383"/>
                  </a:lnTo>
                  <a:lnTo>
                    <a:pt x="3978" y="414"/>
                  </a:lnTo>
                  <a:lnTo>
                    <a:pt x="3969" y="383"/>
                  </a:lnTo>
                  <a:lnTo>
                    <a:pt x="3956" y="427"/>
                  </a:lnTo>
                  <a:lnTo>
                    <a:pt x="3928" y="409"/>
                  </a:lnTo>
                  <a:lnTo>
                    <a:pt x="3908" y="411"/>
                  </a:lnTo>
                  <a:lnTo>
                    <a:pt x="3898" y="422"/>
                  </a:lnTo>
                  <a:lnTo>
                    <a:pt x="3930" y="465"/>
                  </a:lnTo>
                  <a:lnTo>
                    <a:pt x="3893" y="444"/>
                  </a:lnTo>
                  <a:lnTo>
                    <a:pt x="3887" y="467"/>
                  </a:lnTo>
                  <a:lnTo>
                    <a:pt x="3871" y="481"/>
                  </a:lnTo>
                  <a:lnTo>
                    <a:pt x="3866" y="435"/>
                  </a:lnTo>
                  <a:lnTo>
                    <a:pt x="3832" y="467"/>
                  </a:lnTo>
                  <a:lnTo>
                    <a:pt x="3827" y="440"/>
                  </a:lnTo>
                  <a:lnTo>
                    <a:pt x="3821" y="414"/>
                  </a:lnTo>
                  <a:lnTo>
                    <a:pt x="3803" y="406"/>
                  </a:lnTo>
                  <a:lnTo>
                    <a:pt x="3787" y="399"/>
                  </a:lnTo>
                  <a:lnTo>
                    <a:pt x="3763" y="415"/>
                  </a:lnTo>
                  <a:lnTo>
                    <a:pt x="3734" y="394"/>
                  </a:lnTo>
                  <a:lnTo>
                    <a:pt x="3745" y="452"/>
                  </a:lnTo>
                  <a:lnTo>
                    <a:pt x="3710" y="417"/>
                  </a:lnTo>
                  <a:lnTo>
                    <a:pt x="3697" y="420"/>
                  </a:lnTo>
                  <a:lnTo>
                    <a:pt x="3686" y="438"/>
                  </a:lnTo>
                  <a:lnTo>
                    <a:pt x="3668" y="462"/>
                  </a:lnTo>
                  <a:lnTo>
                    <a:pt x="3653" y="440"/>
                  </a:lnTo>
                  <a:lnTo>
                    <a:pt x="3642" y="425"/>
                  </a:lnTo>
                  <a:lnTo>
                    <a:pt x="3626" y="456"/>
                  </a:lnTo>
                  <a:lnTo>
                    <a:pt x="3604" y="422"/>
                  </a:lnTo>
                  <a:lnTo>
                    <a:pt x="3605" y="449"/>
                  </a:lnTo>
                  <a:lnTo>
                    <a:pt x="3602" y="469"/>
                  </a:lnTo>
                  <a:lnTo>
                    <a:pt x="3576" y="435"/>
                  </a:lnTo>
                  <a:lnTo>
                    <a:pt x="3554" y="469"/>
                  </a:lnTo>
                  <a:lnTo>
                    <a:pt x="3546" y="448"/>
                  </a:lnTo>
                  <a:lnTo>
                    <a:pt x="3533" y="462"/>
                  </a:lnTo>
                  <a:lnTo>
                    <a:pt x="3510" y="436"/>
                  </a:lnTo>
                  <a:lnTo>
                    <a:pt x="3525" y="477"/>
                  </a:lnTo>
                  <a:lnTo>
                    <a:pt x="3504" y="475"/>
                  </a:lnTo>
                  <a:lnTo>
                    <a:pt x="3483" y="489"/>
                  </a:lnTo>
                  <a:lnTo>
                    <a:pt x="3457" y="481"/>
                  </a:lnTo>
                  <a:lnTo>
                    <a:pt x="3448" y="469"/>
                  </a:lnTo>
                  <a:lnTo>
                    <a:pt x="3446" y="448"/>
                  </a:lnTo>
                  <a:lnTo>
                    <a:pt x="3438" y="440"/>
                  </a:lnTo>
                  <a:lnTo>
                    <a:pt x="3430" y="452"/>
                  </a:lnTo>
                  <a:lnTo>
                    <a:pt x="3422" y="477"/>
                  </a:lnTo>
                  <a:lnTo>
                    <a:pt x="3395" y="464"/>
                  </a:lnTo>
                  <a:lnTo>
                    <a:pt x="3372" y="435"/>
                  </a:lnTo>
                  <a:lnTo>
                    <a:pt x="3364" y="478"/>
                  </a:lnTo>
                  <a:lnTo>
                    <a:pt x="3343" y="494"/>
                  </a:lnTo>
                  <a:lnTo>
                    <a:pt x="3330" y="460"/>
                  </a:lnTo>
                  <a:lnTo>
                    <a:pt x="3308" y="481"/>
                  </a:lnTo>
                  <a:lnTo>
                    <a:pt x="3300" y="462"/>
                  </a:lnTo>
                  <a:lnTo>
                    <a:pt x="3277" y="443"/>
                  </a:lnTo>
                  <a:lnTo>
                    <a:pt x="3272" y="477"/>
                  </a:lnTo>
                  <a:lnTo>
                    <a:pt x="3256" y="448"/>
                  </a:lnTo>
                  <a:lnTo>
                    <a:pt x="3258" y="441"/>
                  </a:lnTo>
                  <a:lnTo>
                    <a:pt x="3206" y="469"/>
                  </a:lnTo>
                  <a:lnTo>
                    <a:pt x="3208" y="446"/>
                  </a:lnTo>
                  <a:lnTo>
                    <a:pt x="3208" y="415"/>
                  </a:lnTo>
                  <a:lnTo>
                    <a:pt x="3182" y="414"/>
                  </a:lnTo>
                  <a:lnTo>
                    <a:pt x="3176" y="440"/>
                  </a:lnTo>
                  <a:lnTo>
                    <a:pt x="3160" y="459"/>
                  </a:lnTo>
                  <a:lnTo>
                    <a:pt x="3152" y="423"/>
                  </a:lnTo>
                  <a:lnTo>
                    <a:pt x="3116" y="452"/>
                  </a:lnTo>
                  <a:lnTo>
                    <a:pt x="3112" y="428"/>
                  </a:lnTo>
                  <a:lnTo>
                    <a:pt x="3099" y="391"/>
                  </a:lnTo>
                  <a:lnTo>
                    <a:pt x="3083" y="417"/>
                  </a:lnTo>
                  <a:lnTo>
                    <a:pt x="3068" y="419"/>
                  </a:lnTo>
                  <a:lnTo>
                    <a:pt x="3052" y="420"/>
                  </a:lnTo>
                  <a:lnTo>
                    <a:pt x="3038" y="428"/>
                  </a:lnTo>
                  <a:lnTo>
                    <a:pt x="3022" y="428"/>
                  </a:lnTo>
                  <a:lnTo>
                    <a:pt x="3005" y="440"/>
                  </a:lnTo>
                  <a:lnTo>
                    <a:pt x="2991" y="399"/>
                  </a:lnTo>
                  <a:lnTo>
                    <a:pt x="2970" y="407"/>
                  </a:lnTo>
                  <a:lnTo>
                    <a:pt x="2952" y="420"/>
                  </a:lnTo>
                  <a:lnTo>
                    <a:pt x="2959" y="467"/>
                  </a:lnTo>
                  <a:lnTo>
                    <a:pt x="2925" y="431"/>
                  </a:lnTo>
                  <a:lnTo>
                    <a:pt x="2901" y="473"/>
                  </a:lnTo>
                  <a:lnTo>
                    <a:pt x="2901" y="427"/>
                  </a:lnTo>
                  <a:lnTo>
                    <a:pt x="2886" y="423"/>
                  </a:lnTo>
                  <a:lnTo>
                    <a:pt x="2867" y="422"/>
                  </a:lnTo>
                  <a:lnTo>
                    <a:pt x="2841" y="425"/>
                  </a:lnTo>
                  <a:lnTo>
                    <a:pt x="2838" y="388"/>
                  </a:lnTo>
                  <a:lnTo>
                    <a:pt x="2833" y="422"/>
                  </a:lnTo>
                  <a:lnTo>
                    <a:pt x="2800" y="401"/>
                  </a:lnTo>
                  <a:lnTo>
                    <a:pt x="2795" y="420"/>
                  </a:lnTo>
                  <a:lnTo>
                    <a:pt x="2788" y="438"/>
                  </a:lnTo>
                  <a:lnTo>
                    <a:pt x="2795" y="406"/>
                  </a:lnTo>
                  <a:lnTo>
                    <a:pt x="2764" y="419"/>
                  </a:lnTo>
                  <a:lnTo>
                    <a:pt x="2747" y="417"/>
                  </a:lnTo>
                  <a:lnTo>
                    <a:pt x="2745" y="388"/>
                  </a:lnTo>
                  <a:lnTo>
                    <a:pt x="2722" y="386"/>
                  </a:lnTo>
                  <a:lnTo>
                    <a:pt x="2703" y="377"/>
                  </a:lnTo>
                  <a:lnTo>
                    <a:pt x="2698" y="422"/>
                  </a:lnTo>
                  <a:lnTo>
                    <a:pt x="2684" y="436"/>
                  </a:lnTo>
                  <a:lnTo>
                    <a:pt x="2666" y="419"/>
                  </a:lnTo>
                  <a:lnTo>
                    <a:pt x="2648" y="412"/>
                  </a:lnTo>
                  <a:lnTo>
                    <a:pt x="2644" y="446"/>
                  </a:lnTo>
                  <a:lnTo>
                    <a:pt x="2623" y="443"/>
                  </a:lnTo>
                  <a:lnTo>
                    <a:pt x="2603" y="462"/>
                  </a:lnTo>
                  <a:lnTo>
                    <a:pt x="2595" y="404"/>
                  </a:lnTo>
                  <a:lnTo>
                    <a:pt x="2566" y="444"/>
                  </a:lnTo>
                  <a:lnTo>
                    <a:pt x="2557" y="420"/>
                  </a:lnTo>
                  <a:lnTo>
                    <a:pt x="2539" y="422"/>
                  </a:lnTo>
                  <a:lnTo>
                    <a:pt x="2528" y="446"/>
                  </a:lnTo>
                  <a:lnTo>
                    <a:pt x="2509" y="462"/>
                  </a:lnTo>
                  <a:lnTo>
                    <a:pt x="2497" y="422"/>
                  </a:lnTo>
                  <a:lnTo>
                    <a:pt x="2470" y="454"/>
                  </a:lnTo>
                  <a:lnTo>
                    <a:pt x="2465" y="396"/>
                  </a:lnTo>
                  <a:lnTo>
                    <a:pt x="2446" y="409"/>
                  </a:lnTo>
                  <a:lnTo>
                    <a:pt x="2435" y="448"/>
                  </a:lnTo>
                  <a:lnTo>
                    <a:pt x="2420" y="406"/>
                  </a:lnTo>
                  <a:lnTo>
                    <a:pt x="2407" y="409"/>
                  </a:lnTo>
                  <a:lnTo>
                    <a:pt x="2386" y="412"/>
                  </a:lnTo>
                  <a:lnTo>
                    <a:pt x="2374" y="382"/>
                  </a:lnTo>
                  <a:lnTo>
                    <a:pt x="2353" y="399"/>
                  </a:lnTo>
                  <a:lnTo>
                    <a:pt x="2333" y="391"/>
                  </a:lnTo>
                  <a:lnTo>
                    <a:pt x="2324" y="411"/>
                  </a:lnTo>
                  <a:lnTo>
                    <a:pt x="2312" y="402"/>
                  </a:lnTo>
                  <a:lnTo>
                    <a:pt x="2308" y="380"/>
                  </a:lnTo>
                  <a:lnTo>
                    <a:pt x="2272" y="402"/>
                  </a:lnTo>
                  <a:lnTo>
                    <a:pt x="2274" y="353"/>
                  </a:lnTo>
                  <a:lnTo>
                    <a:pt x="2250" y="382"/>
                  </a:lnTo>
                  <a:lnTo>
                    <a:pt x="2226" y="398"/>
                  </a:lnTo>
                  <a:lnTo>
                    <a:pt x="2219" y="370"/>
                  </a:lnTo>
                  <a:lnTo>
                    <a:pt x="2197" y="375"/>
                  </a:lnTo>
                  <a:lnTo>
                    <a:pt x="2193" y="325"/>
                  </a:lnTo>
                  <a:lnTo>
                    <a:pt x="2184" y="377"/>
                  </a:lnTo>
                  <a:lnTo>
                    <a:pt x="2158" y="362"/>
                  </a:lnTo>
                  <a:lnTo>
                    <a:pt x="2140" y="388"/>
                  </a:lnTo>
                  <a:lnTo>
                    <a:pt x="2115" y="377"/>
                  </a:lnTo>
                  <a:lnTo>
                    <a:pt x="2131" y="343"/>
                  </a:lnTo>
                  <a:lnTo>
                    <a:pt x="2134" y="320"/>
                  </a:lnTo>
                  <a:lnTo>
                    <a:pt x="2099" y="353"/>
                  </a:lnTo>
                  <a:lnTo>
                    <a:pt x="2094" y="341"/>
                  </a:lnTo>
                  <a:lnTo>
                    <a:pt x="2087" y="361"/>
                  </a:lnTo>
                  <a:lnTo>
                    <a:pt x="2057" y="328"/>
                  </a:lnTo>
                  <a:lnTo>
                    <a:pt x="2052" y="370"/>
                  </a:lnTo>
                  <a:lnTo>
                    <a:pt x="2041" y="338"/>
                  </a:lnTo>
                  <a:lnTo>
                    <a:pt x="2015" y="361"/>
                  </a:lnTo>
                  <a:lnTo>
                    <a:pt x="2017" y="307"/>
                  </a:lnTo>
                  <a:lnTo>
                    <a:pt x="1989" y="353"/>
                  </a:lnTo>
                  <a:lnTo>
                    <a:pt x="1984" y="299"/>
                  </a:lnTo>
                  <a:lnTo>
                    <a:pt x="1960" y="332"/>
                  </a:lnTo>
                  <a:lnTo>
                    <a:pt x="1951" y="314"/>
                  </a:lnTo>
                  <a:lnTo>
                    <a:pt x="1926" y="317"/>
                  </a:lnTo>
                  <a:lnTo>
                    <a:pt x="1923" y="301"/>
                  </a:lnTo>
                  <a:lnTo>
                    <a:pt x="1898" y="290"/>
                  </a:lnTo>
                  <a:lnTo>
                    <a:pt x="1907" y="330"/>
                  </a:lnTo>
                  <a:lnTo>
                    <a:pt x="1862" y="301"/>
                  </a:lnTo>
                  <a:lnTo>
                    <a:pt x="1867" y="319"/>
                  </a:lnTo>
                  <a:lnTo>
                    <a:pt x="1859" y="325"/>
                  </a:lnTo>
                  <a:lnTo>
                    <a:pt x="1848" y="317"/>
                  </a:lnTo>
                  <a:lnTo>
                    <a:pt x="1832" y="312"/>
                  </a:lnTo>
                  <a:lnTo>
                    <a:pt x="1819" y="324"/>
                  </a:lnTo>
                  <a:lnTo>
                    <a:pt x="1814" y="309"/>
                  </a:lnTo>
                  <a:lnTo>
                    <a:pt x="1796" y="283"/>
                  </a:lnTo>
                  <a:lnTo>
                    <a:pt x="1780" y="303"/>
                  </a:lnTo>
                  <a:lnTo>
                    <a:pt x="1775" y="267"/>
                  </a:lnTo>
                  <a:lnTo>
                    <a:pt x="1745" y="309"/>
                  </a:lnTo>
                  <a:lnTo>
                    <a:pt x="1737" y="296"/>
                  </a:lnTo>
                  <a:lnTo>
                    <a:pt x="1727" y="317"/>
                  </a:lnTo>
                  <a:lnTo>
                    <a:pt x="1698" y="269"/>
                  </a:lnTo>
                  <a:lnTo>
                    <a:pt x="1688" y="296"/>
                  </a:lnTo>
                  <a:lnTo>
                    <a:pt x="1684" y="274"/>
                  </a:lnTo>
                  <a:lnTo>
                    <a:pt x="1648" y="285"/>
                  </a:lnTo>
                  <a:lnTo>
                    <a:pt x="1643" y="277"/>
                  </a:lnTo>
                  <a:lnTo>
                    <a:pt x="1632" y="259"/>
                  </a:lnTo>
                  <a:lnTo>
                    <a:pt x="1631" y="288"/>
                  </a:lnTo>
                  <a:lnTo>
                    <a:pt x="1616" y="293"/>
                  </a:lnTo>
                  <a:lnTo>
                    <a:pt x="1590" y="304"/>
                  </a:lnTo>
                  <a:lnTo>
                    <a:pt x="1581" y="275"/>
                  </a:lnTo>
                  <a:lnTo>
                    <a:pt x="1566" y="266"/>
                  </a:lnTo>
                  <a:lnTo>
                    <a:pt x="1590" y="228"/>
                  </a:lnTo>
                  <a:lnTo>
                    <a:pt x="1560" y="235"/>
                  </a:lnTo>
                  <a:lnTo>
                    <a:pt x="1544" y="237"/>
                  </a:lnTo>
                  <a:lnTo>
                    <a:pt x="1544" y="267"/>
                  </a:lnTo>
                  <a:lnTo>
                    <a:pt x="1508" y="232"/>
                  </a:lnTo>
                  <a:lnTo>
                    <a:pt x="1508" y="283"/>
                  </a:lnTo>
                  <a:lnTo>
                    <a:pt x="1484" y="283"/>
                  </a:lnTo>
                  <a:lnTo>
                    <a:pt x="1468" y="282"/>
                  </a:lnTo>
                  <a:lnTo>
                    <a:pt x="1460" y="251"/>
                  </a:lnTo>
                  <a:lnTo>
                    <a:pt x="1431" y="251"/>
                  </a:lnTo>
                  <a:lnTo>
                    <a:pt x="1442" y="224"/>
                  </a:lnTo>
                  <a:lnTo>
                    <a:pt x="1439" y="206"/>
                  </a:lnTo>
                  <a:lnTo>
                    <a:pt x="1430" y="183"/>
                  </a:lnTo>
                  <a:lnTo>
                    <a:pt x="1415" y="211"/>
                  </a:lnTo>
                  <a:lnTo>
                    <a:pt x="1388" y="190"/>
                  </a:lnTo>
                  <a:lnTo>
                    <a:pt x="1385" y="199"/>
                  </a:lnTo>
                  <a:lnTo>
                    <a:pt x="1388" y="198"/>
                  </a:lnTo>
                  <a:lnTo>
                    <a:pt x="1375" y="217"/>
                  </a:lnTo>
                  <a:lnTo>
                    <a:pt x="1380" y="208"/>
                  </a:lnTo>
                  <a:lnTo>
                    <a:pt x="1385" y="199"/>
                  </a:lnTo>
                  <a:lnTo>
                    <a:pt x="1332" y="214"/>
                  </a:lnTo>
                  <a:lnTo>
                    <a:pt x="1333" y="193"/>
                  </a:lnTo>
                  <a:lnTo>
                    <a:pt x="1341" y="166"/>
                  </a:lnTo>
                  <a:lnTo>
                    <a:pt x="1322" y="172"/>
                  </a:lnTo>
                  <a:lnTo>
                    <a:pt x="1304" y="185"/>
                  </a:lnTo>
                  <a:lnTo>
                    <a:pt x="1293" y="167"/>
                  </a:lnTo>
                  <a:lnTo>
                    <a:pt x="1272" y="162"/>
                  </a:lnTo>
                  <a:lnTo>
                    <a:pt x="1250" y="161"/>
                  </a:lnTo>
                  <a:lnTo>
                    <a:pt x="1262" y="198"/>
                  </a:lnTo>
                  <a:lnTo>
                    <a:pt x="1246" y="201"/>
                  </a:lnTo>
                  <a:lnTo>
                    <a:pt x="1235" y="195"/>
                  </a:lnTo>
                  <a:lnTo>
                    <a:pt x="1229" y="193"/>
                  </a:lnTo>
                  <a:lnTo>
                    <a:pt x="1221" y="174"/>
                  </a:lnTo>
                  <a:lnTo>
                    <a:pt x="1180" y="206"/>
                  </a:lnTo>
                  <a:lnTo>
                    <a:pt x="1180" y="175"/>
                  </a:lnTo>
                  <a:lnTo>
                    <a:pt x="1168" y="164"/>
                  </a:lnTo>
                  <a:lnTo>
                    <a:pt x="1147" y="175"/>
                  </a:lnTo>
                  <a:lnTo>
                    <a:pt x="1129" y="182"/>
                  </a:lnTo>
                  <a:lnTo>
                    <a:pt x="1118" y="166"/>
                  </a:lnTo>
                  <a:lnTo>
                    <a:pt x="1108" y="177"/>
                  </a:lnTo>
                  <a:lnTo>
                    <a:pt x="1103" y="179"/>
                  </a:lnTo>
                  <a:lnTo>
                    <a:pt x="1082" y="167"/>
                  </a:lnTo>
                  <a:lnTo>
                    <a:pt x="1066" y="162"/>
                  </a:lnTo>
                  <a:lnTo>
                    <a:pt x="1049" y="193"/>
                  </a:lnTo>
                  <a:lnTo>
                    <a:pt x="1069" y="143"/>
                  </a:lnTo>
                  <a:lnTo>
                    <a:pt x="1026" y="156"/>
                  </a:lnTo>
                  <a:lnTo>
                    <a:pt x="1003" y="153"/>
                  </a:lnTo>
                  <a:lnTo>
                    <a:pt x="1020" y="114"/>
                  </a:lnTo>
                  <a:lnTo>
                    <a:pt x="995" y="114"/>
                  </a:lnTo>
                  <a:lnTo>
                    <a:pt x="975" y="106"/>
                  </a:lnTo>
                  <a:lnTo>
                    <a:pt x="967" y="151"/>
                  </a:lnTo>
                  <a:lnTo>
                    <a:pt x="941" y="151"/>
                  </a:lnTo>
                  <a:lnTo>
                    <a:pt x="928" y="140"/>
                  </a:lnTo>
                  <a:lnTo>
                    <a:pt x="925" y="140"/>
                  </a:lnTo>
                  <a:lnTo>
                    <a:pt x="909" y="116"/>
                  </a:lnTo>
                  <a:lnTo>
                    <a:pt x="884" y="108"/>
                  </a:lnTo>
                  <a:lnTo>
                    <a:pt x="875" y="137"/>
                  </a:lnTo>
                  <a:lnTo>
                    <a:pt x="843" y="137"/>
                  </a:lnTo>
                  <a:lnTo>
                    <a:pt x="872" y="96"/>
                  </a:lnTo>
                  <a:lnTo>
                    <a:pt x="825" y="108"/>
                  </a:lnTo>
                  <a:lnTo>
                    <a:pt x="844" y="69"/>
                  </a:lnTo>
                  <a:lnTo>
                    <a:pt x="822" y="98"/>
                  </a:lnTo>
                  <a:lnTo>
                    <a:pt x="806" y="109"/>
                  </a:lnTo>
                  <a:lnTo>
                    <a:pt x="796" y="46"/>
                  </a:lnTo>
                  <a:lnTo>
                    <a:pt x="770" y="93"/>
                  </a:lnTo>
                  <a:lnTo>
                    <a:pt x="762" y="67"/>
                  </a:lnTo>
                  <a:lnTo>
                    <a:pt x="746" y="63"/>
                  </a:lnTo>
                  <a:lnTo>
                    <a:pt x="720" y="53"/>
                  </a:lnTo>
                  <a:lnTo>
                    <a:pt x="727" y="90"/>
                  </a:lnTo>
                  <a:lnTo>
                    <a:pt x="714" y="100"/>
                  </a:lnTo>
                  <a:lnTo>
                    <a:pt x="695" y="75"/>
                  </a:lnTo>
                  <a:lnTo>
                    <a:pt x="672" y="103"/>
                  </a:lnTo>
                  <a:lnTo>
                    <a:pt x="682" y="59"/>
                  </a:lnTo>
                  <a:lnTo>
                    <a:pt x="648" y="85"/>
                  </a:lnTo>
                  <a:lnTo>
                    <a:pt x="635" y="95"/>
                  </a:lnTo>
                  <a:lnTo>
                    <a:pt x="621" y="77"/>
                  </a:lnTo>
                  <a:lnTo>
                    <a:pt x="608" y="98"/>
                  </a:lnTo>
                  <a:lnTo>
                    <a:pt x="589" y="58"/>
                  </a:lnTo>
                  <a:lnTo>
                    <a:pt x="574" y="63"/>
                  </a:lnTo>
                  <a:lnTo>
                    <a:pt x="555" y="45"/>
                  </a:lnTo>
                  <a:lnTo>
                    <a:pt x="539" y="51"/>
                  </a:lnTo>
                  <a:lnTo>
                    <a:pt x="534" y="109"/>
                  </a:lnTo>
                  <a:lnTo>
                    <a:pt x="507" y="114"/>
                  </a:lnTo>
                  <a:lnTo>
                    <a:pt x="492" y="87"/>
                  </a:lnTo>
                  <a:lnTo>
                    <a:pt x="484" y="67"/>
                  </a:lnTo>
                  <a:lnTo>
                    <a:pt x="476" y="40"/>
                  </a:lnTo>
                  <a:lnTo>
                    <a:pt x="447" y="87"/>
                  </a:lnTo>
                  <a:lnTo>
                    <a:pt x="434" y="75"/>
                  </a:lnTo>
                  <a:lnTo>
                    <a:pt x="420" y="63"/>
                  </a:lnTo>
                  <a:lnTo>
                    <a:pt x="407" y="50"/>
                  </a:lnTo>
                  <a:lnTo>
                    <a:pt x="394" y="38"/>
                  </a:lnTo>
                  <a:lnTo>
                    <a:pt x="381" y="22"/>
                  </a:lnTo>
                  <a:lnTo>
                    <a:pt x="365" y="48"/>
                  </a:lnTo>
                  <a:lnTo>
                    <a:pt x="346" y="1"/>
                  </a:lnTo>
                  <a:lnTo>
                    <a:pt x="333" y="35"/>
                  </a:lnTo>
                  <a:lnTo>
                    <a:pt x="325" y="13"/>
                  </a:lnTo>
                  <a:lnTo>
                    <a:pt x="314" y="0"/>
                  </a:lnTo>
                  <a:lnTo>
                    <a:pt x="288" y="19"/>
                  </a:lnTo>
                  <a:lnTo>
                    <a:pt x="275" y="24"/>
                  </a:lnTo>
                  <a:lnTo>
                    <a:pt x="259" y="24"/>
                  </a:lnTo>
                  <a:lnTo>
                    <a:pt x="251" y="45"/>
                  </a:lnTo>
                  <a:lnTo>
                    <a:pt x="240" y="51"/>
                  </a:lnTo>
                  <a:lnTo>
                    <a:pt x="214" y="34"/>
                  </a:lnTo>
                  <a:lnTo>
                    <a:pt x="187" y="16"/>
                  </a:lnTo>
                  <a:lnTo>
                    <a:pt x="182" y="46"/>
                  </a:lnTo>
                  <a:lnTo>
                    <a:pt x="169" y="59"/>
                  </a:lnTo>
                  <a:lnTo>
                    <a:pt x="151" y="50"/>
                  </a:lnTo>
                  <a:lnTo>
                    <a:pt x="142" y="43"/>
                  </a:lnTo>
                  <a:lnTo>
                    <a:pt x="121" y="38"/>
                  </a:lnTo>
                  <a:lnTo>
                    <a:pt x="106" y="30"/>
                  </a:lnTo>
                  <a:lnTo>
                    <a:pt x="106" y="17"/>
                  </a:lnTo>
                  <a:lnTo>
                    <a:pt x="85" y="5"/>
                  </a:lnTo>
                  <a:lnTo>
                    <a:pt x="71" y="14"/>
                  </a:lnTo>
                  <a:lnTo>
                    <a:pt x="68" y="48"/>
                  </a:lnTo>
                  <a:lnTo>
                    <a:pt x="53" y="59"/>
                  </a:lnTo>
                  <a:lnTo>
                    <a:pt x="19" y="25"/>
                  </a:lnTo>
                  <a:lnTo>
                    <a:pt x="10" y="29"/>
                  </a:lnTo>
                  <a:lnTo>
                    <a:pt x="3" y="25"/>
                  </a:lnTo>
                  <a:lnTo>
                    <a:pt x="0" y="29"/>
                  </a:lnTo>
                  <a:lnTo>
                    <a:pt x="0" y="2518"/>
                  </a:lnTo>
                  <a:lnTo>
                    <a:pt x="10" y="2518"/>
                  </a:lnTo>
                  <a:close/>
                </a:path>
              </a:pathLst>
            </a:custGeom>
            <a:solidFill>
              <a:srgbClr val="F5F5F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75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524E22DC-9C12-4CEB-AFBC-B35096503514}"/>
                </a:ext>
              </a:extLst>
            </p:cNvPr>
            <p:cNvGrpSpPr/>
            <p:nvPr/>
          </p:nvGrpSpPr>
          <p:grpSpPr>
            <a:xfrm>
              <a:off x="6739852" y="5150322"/>
              <a:ext cx="3980197" cy="687598"/>
              <a:chOff x="6739852" y="5150322"/>
              <a:chExt cx="3980197" cy="687598"/>
            </a:xfrm>
          </p:grpSpPr>
          <p:sp>
            <p:nvSpPr>
              <p:cNvPr id="324" name="Rechteck 323">
                <a:extLst>
                  <a:ext uri="{FF2B5EF4-FFF2-40B4-BE49-F238E27FC236}">
                    <a16:creationId xmlns:a16="http://schemas.microsoft.com/office/drawing/2014/main" id="{88217E1B-0651-4D61-B85F-313C36828CC4}"/>
                  </a:ext>
                </a:extLst>
              </p:cNvPr>
              <p:cNvSpPr/>
              <p:nvPr/>
            </p:nvSpPr>
            <p:spPr bwMode="auto">
              <a:xfrm>
                <a:off x="6739852" y="5553236"/>
                <a:ext cx="3362505" cy="28468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numCol="1" spcCol="72000" rtlCol="0" anchor="ctr">
                <a:noAutofit/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de-DE" sz="800" dirty="0">
                    <a:solidFill>
                      <a:schemeClr val="tx1"/>
                    </a:solidFill>
                    <a:latin typeface="+mj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Quelle: Bundesministerium für Forschung und Bildung, Presseportal</a:t>
                </a:r>
              </a:p>
            </p:txBody>
          </p:sp>
          <p:sp>
            <p:nvSpPr>
              <p:cNvPr id="322" name="Rechteck 321">
                <a:extLst>
                  <a:ext uri="{FF2B5EF4-FFF2-40B4-BE49-F238E27FC236}">
                    <a16:creationId xmlns:a16="http://schemas.microsoft.com/office/drawing/2014/main" id="{AFB091B8-6443-4D18-BD39-4EA3C10C98DB}"/>
                  </a:ext>
                </a:extLst>
              </p:cNvPr>
              <p:cNvSpPr/>
              <p:nvPr/>
            </p:nvSpPr>
            <p:spPr bwMode="auto">
              <a:xfrm>
                <a:off x="6739853" y="5293864"/>
                <a:ext cx="3980196" cy="304236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wrap="square" lIns="0" tIns="54000" rIns="0" bIns="54000" numCol="1" spcCol="72000" rtlCol="0" anchor="ctr">
                <a:spAutoFit/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de-DE" sz="1200" b="1" dirty="0">
                    <a:solidFill>
                      <a:schemeClr val="tx1"/>
                    </a:solidFill>
                  </a:rPr>
                  <a:t>Industrie 4.0 kann zur Bewältigung der Krise beitragen</a:t>
                </a:r>
                <a:endParaRPr lang="de-DE" sz="1200" b="1" dirty="0">
                  <a:solidFill>
                    <a:schemeClr val="tx1"/>
                  </a:solidFill>
                  <a:latin typeface="Aharoni" panose="02010803020104030203" pitchFamily="2" charset="-79"/>
                  <a:ea typeface="Arial Unicode MS" panose="020B0604020202020204" pitchFamily="34" charset="-128"/>
                  <a:cs typeface="Aharoni" panose="02010803020104030203" pitchFamily="2" charset="-79"/>
                </a:endParaRPr>
              </a:p>
            </p:txBody>
          </p:sp>
          <p:sp>
            <p:nvSpPr>
              <p:cNvPr id="320" name="Rechteck 319">
                <a:extLst>
                  <a:ext uri="{FF2B5EF4-FFF2-40B4-BE49-F238E27FC236}">
                    <a16:creationId xmlns:a16="http://schemas.microsoft.com/office/drawing/2014/main" id="{67C2D5A3-ADBE-445E-9A1B-B383E072AD83}"/>
                  </a:ext>
                </a:extLst>
              </p:cNvPr>
              <p:cNvSpPr/>
              <p:nvPr/>
            </p:nvSpPr>
            <p:spPr bwMode="auto">
              <a:xfrm>
                <a:off x="6739853" y="5150322"/>
                <a:ext cx="2850626" cy="12490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numCol="1" spcCol="72000" rtlCol="0" anchor="ctr">
                <a:spAutoFit/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de-DE" sz="800" dirty="0">
                    <a:solidFill>
                      <a:schemeClr val="tx1"/>
                    </a:solidFill>
                    <a:latin typeface="+mj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23. Juni 2020   Positionspapier “COVID 19 und Industrie 4.0”</a:t>
                </a:r>
              </a:p>
            </p:txBody>
          </p:sp>
        </p:grp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99A569AF-26F5-4B52-8B3F-25299FD71341}"/>
              </a:ext>
            </a:extLst>
          </p:cNvPr>
          <p:cNvGrpSpPr/>
          <p:nvPr/>
        </p:nvGrpSpPr>
        <p:grpSpPr>
          <a:xfrm>
            <a:off x="8508522" y="1240134"/>
            <a:ext cx="3489610" cy="1344732"/>
            <a:chOff x="8289029" y="1611441"/>
            <a:chExt cx="3489610" cy="1344732"/>
          </a:xfrm>
        </p:grpSpPr>
        <p:sp>
          <p:nvSpPr>
            <p:cNvPr id="78" name="Freeform 79">
              <a:extLst>
                <a:ext uri="{FF2B5EF4-FFF2-40B4-BE49-F238E27FC236}">
                  <a16:creationId xmlns:a16="http://schemas.microsoft.com/office/drawing/2014/main" id="{CDEF0B9F-D249-40C2-8D69-F8E2C631A8B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89029" y="1611441"/>
              <a:ext cx="3037412" cy="1344732"/>
            </a:xfrm>
            <a:custGeom>
              <a:avLst/>
              <a:gdLst>
                <a:gd name="T0" fmla="*/ 283 w 7680"/>
                <a:gd name="T1" fmla="*/ 2552 h 3188"/>
                <a:gd name="T2" fmla="*/ 397 w 7680"/>
                <a:gd name="T3" fmla="*/ 2764 h 3188"/>
                <a:gd name="T4" fmla="*/ 539 w 7680"/>
                <a:gd name="T5" fmla="*/ 2797 h 3188"/>
                <a:gd name="T6" fmla="*/ 722 w 7680"/>
                <a:gd name="T7" fmla="*/ 2771 h 3188"/>
                <a:gd name="T8" fmla="*/ 950 w 7680"/>
                <a:gd name="T9" fmla="*/ 2803 h 3188"/>
                <a:gd name="T10" fmla="*/ 1187 w 7680"/>
                <a:gd name="T11" fmla="*/ 2713 h 3188"/>
                <a:gd name="T12" fmla="*/ 1344 w 7680"/>
                <a:gd name="T13" fmla="*/ 2797 h 3188"/>
                <a:gd name="T14" fmla="*/ 1455 w 7680"/>
                <a:gd name="T15" fmla="*/ 2724 h 3188"/>
                <a:gd name="T16" fmla="*/ 1685 w 7680"/>
                <a:gd name="T17" fmla="*/ 2867 h 3188"/>
                <a:gd name="T18" fmla="*/ 1885 w 7680"/>
                <a:gd name="T19" fmla="*/ 2948 h 3188"/>
                <a:gd name="T20" fmla="*/ 2078 w 7680"/>
                <a:gd name="T21" fmla="*/ 2940 h 3188"/>
                <a:gd name="T22" fmla="*/ 2337 w 7680"/>
                <a:gd name="T23" fmla="*/ 3067 h 3188"/>
                <a:gd name="T24" fmla="*/ 2575 w 7680"/>
                <a:gd name="T25" fmla="*/ 3148 h 3188"/>
                <a:gd name="T26" fmla="*/ 2764 w 7680"/>
                <a:gd name="T27" fmla="*/ 3062 h 3188"/>
                <a:gd name="T28" fmla="*/ 3001 w 7680"/>
                <a:gd name="T29" fmla="*/ 2900 h 3188"/>
                <a:gd name="T30" fmla="*/ 3306 w 7680"/>
                <a:gd name="T31" fmla="*/ 2892 h 3188"/>
                <a:gd name="T32" fmla="*/ 3459 w 7680"/>
                <a:gd name="T33" fmla="*/ 2946 h 3188"/>
                <a:gd name="T34" fmla="*/ 3734 w 7680"/>
                <a:gd name="T35" fmla="*/ 2980 h 3188"/>
                <a:gd name="T36" fmla="*/ 3959 w 7680"/>
                <a:gd name="T37" fmla="*/ 3062 h 3188"/>
                <a:gd name="T38" fmla="*/ 4229 w 7680"/>
                <a:gd name="T39" fmla="*/ 3096 h 3188"/>
                <a:gd name="T40" fmla="*/ 4438 w 7680"/>
                <a:gd name="T41" fmla="*/ 2972 h 3188"/>
                <a:gd name="T42" fmla="*/ 4676 w 7680"/>
                <a:gd name="T43" fmla="*/ 2850 h 3188"/>
                <a:gd name="T44" fmla="*/ 4982 w 7680"/>
                <a:gd name="T45" fmla="*/ 2924 h 3188"/>
                <a:gd name="T46" fmla="*/ 5162 w 7680"/>
                <a:gd name="T47" fmla="*/ 2906 h 3188"/>
                <a:gd name="T48" fmla="*/ 5471 w 7680"/>
                <a:gd name="T49" fmla="*/ 2850 h 3188"/>
                <a:gd name="T50" fmla="*/ 5773 w 7680"/>
                <a:gd name="T51" fmla="*/ 2856 h 3188"/>
                <a:gd name="T52" fmla="*/ 6046 w 7680"/>
                <a:gd name="T53" fmla="*/ 2925 h 3188"/>
                <a:gd name="T54" fmla="*/ 6291 w 7680"/>
                <a:gd name="T55" fmla="*/ 3004 h 3188"/>
                <a:gd name="T56" fmla="*/ 6583 w 7680"/>
                <a:gd name="T57" fmla="*/ 3035 h 3188"/>
                <a:gd name="T58" fmla="*/ 6794 w 7680"/>
                <a:gd name="T59" fmla="*/ 2938 h 3188"/>
                <a:gd name="T60" fmla="*/ 7040 w 7680"/>
                <a:gd name="T61" fmla="*/ 2971 h 3188"/>
                <a:gd name="T62" fmla="*/ 7315 w 7680"/>
                <a:gd name="T63" fmla="*/ 2983 h 3188"/>
                <a:gd name="T64" fmla="*/ 7587 w 7680"/>
                <a:gd name="T65" fmla="*/ 2925 h 3188"/>
                <a:gd name="T66" fmla="*/ 7526 w 7680"/>
                <a:gd name="T67" fmla="*/ 417 h 3188"/>
                <a:gd name="T68" fmla="*/ 7246 w 7680"/>
                <a:gd name="T69" fmla="*/ 472 h 3188"/>
                <a:gd name="T70" fmla="*/ 6958 w 7680"/>
                <a:gd name="T71" fmla="*/ 467 h 3188"/>
                <a:gd name="T72" fmla="*/ 6741 w 7680"/>
                <a:gd name="T73" fmla="*/ 502 h 3188"/>
                <a:gd name="T74" fmla="*/ 6535 w 7680"/>
                <a:gd name="T75" fmla="*/ 535 h 3188"/>
                <a:gd name="T76" fmla="*/ 6271 w 7680"/>
                <a:gd name="T77" fmla="*/ 486 h 3188"/>
                <a:gd name="T78" fmla="*/ 5963 w 7680"/>
                <a:gd name="T79" fmla="*/ 504 h 3188"/>
                <a:gd name="T80" fmla="*/ 5713 w 7680"/>
                <a:gd name="T81" fmla="*/ 486 h 3188"/>
                <a:gd name="T82" fmla="*/ 5427 w 7680"/>
                <a:gd name="T83" fmla="*/ 504 h 3188"/>
                <a:gd name="T84" fmla="*/ 5147 w 7680"/>
                <a:gd name="T85" fmla="*/ 459 h 3188"/>
                <a:gd name="T86" fmla="*/ 4845 w 7680"/>
                <a:gd name="T87" fmla="*/ 469 h 3188"/>
                <a:gd name="T88" fmla="*/ 4613 w 7680"/>
                <a:gd name="T89" fmla="*/ 425 h 3188"/>
                <a:gd name="T90" fmla="*/ 4358 w 7680"/>
                <a:gd name="T91" fmla="*/ 440 h 3188"/>
                <a:gd name="T92" fmla="*/ 4115 w 7680"/>
                <a:gd name="T93" fmla="*/ 420 h 3188"/>
                <a:gd name="T94" fmla="*/ 3832 w 7680"/>
                <a:gd name="T95" fmla="*/ 467 h 3188"/>
                <a:gd name="T96" fmla="*/ 3554 w 7680"/>
                <a:gd name="T97" fmla="*/ 469 h 3188"/>
                <a:gd name="T98" fmla="*/ 3300 w 7680"/>
                <a:gd name="T99" fmla="*/ 462 h 3188"/>
                <a:gd name="T100" fmla="*/ 3022 w 7680"/>
                <a:gd name="T101" fmla="*/ 428 h 3188"/>
                <a:gd name="T102" fmla="*/ 2747 w 7680"/>
                <a:gd name="T103" fmla="*/ 417 h 3188"/>
                <a:gd name="T104" fmla="*/ 2465 w 7680"/>
                <a:gd name="T105" fmla="*/ 396 h 3188"/>
                <a:gd name="T106" fmla="*/ 2184 w 7680"/>
                <a:gd name="T107" fmla="*/ 377 h 3188"/>
                <a:gd name="T108" fmla="*/ 1923 w 7680"/>
                <a:gd name="T109" fmla="*/ 301 h 3188"/>
                <a:gd name="T110" fmla="*/ 1648 w 7680"/>
                <a:gd name="T111" fmla="*/ 285 h 3188"/>
                <a:gd name="T112" fmla="*/ 1439 w 7680"/>
                <a:gd name="T113" fmla="*/ 206 h 3188"/>
                <a:gd name="T114" fmla="*/ 1235 w 7680"/>
                <a:gd name="T115" fmla="*/ 195 h 3188"/>
                <a:gd name="T116" fmla="*/ 975 w 7680"/>
                <a:gd name="T117" fmla="*/ 106 h 3188"/>
                <a:gd name="T118" fmla="*/ 727 w 7680"/>
                <a:gd name="T119" fmla="*/ 90 h 3188"/>
                <a:gd name="T120" fmla="*/ 434 w 7680"/>
                <a:gd name="T121" fmla="*/ 75 h 3188"/>
                <a:gd name="T122" fmla="*/ 151 w 7680"/>
                <a:gd name="T123" fmla="*/ 50 h 3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680" h="3188">
                  <a:moveTo>
                    <a:pt x="10" y="2518"/>
                  </a:moveTo>
                  <a:lnTo>
                    <a:pt x="40" y="2505"/>
                  </a:lnTo>
                  <a:lnTo>
                    <a:pt x="19" y="2565"/>
                  </a:lnTo>
                  <a:lnTo>
                    <a:pt x="55" y="2524"/>
                  </a:lnTo>
                  <a:lnTo>
                    <a:pt x="68" y="2552"/>
                  </a:lnTo>
                  <a:lnTo>
                    <a:pt x="80" y="2532"/>
                  </a:lnTo>
                  <a:lnTo>
                    <a:pt x="98" y="2529"/>
                  </a:lnTo>
                  <a:lnTo>
                    <a:pt x="114" y="2540"/>
                  </a:lnTo>
                  <a:lnTo>
                    <a:pt x="129" y="2553"/>
                  </a:lnTo>
                  <a:lnTo>
                    <a:pt x="145" y="2524"/>
                  </a:lnTo>
                  <a:lnTo>
                    <a:pt x="166" y="2560"/>
                  </a:lnTo>
                  <a:lnTo>
                    <a:pt x="172" y="2505"/>
                  </a:lnTo>
                  <a:lnTo>
                    <a:pt x="190" y="2510"/>
                  </a:lnTo>
                  <a:lnTo>
                    <a:pt x="212" y="2548"/>
                  </a:lnTo>
                  <a:lnTo>
                    <a:pt x="228" y="2558"/>
                  </a:lnTo>
                  <a:lnTo>
                    <a:pt x="240" y="2528"/>
                  </a:lnTo>
                  <a:lnTo>
                    <a:pt x="262" y="2528"/>
                  </a:lnTo>
                  <a:lnTo>
                    <a:pt x="235" y="2569"/>
                  </a:lnTo>
                  <a:lnTo>
                    <a:pt x="283" y="2552"/>
                  </a:lnTo>
                  <a:lnTo>
                    <a:pt x="285" y="2560"/>
                  </a:lnTo>
                  <a:lnTo>
                    <a:pt x="296" y="2568"/>
                  </a:lnTo>
                  <a:lnTo>
                    <a:pt x="294" y="2595"/>
                  </a:lnTo>
                  <a:lnTo>
                    <a:pt x="314" y="2582"/>
                  </a:lnTo>
                  <a:lnTo>
                    <a:pt x="327" y="2579"/>
                  </a:lnTo>
                  <a:lnTo>
                    <a:pt x="330" y="2595"/>
                  </a:lnTo>
                  <a:lnTo>
                    <a:pt x="344" y="2611"/>
                  </a:lnTo>
                  <a:lnTo>
                    <a:pt x="359" y="2624"/>
                  </a:lnTo>
                  <a:lnTo>
                    <a:pt x="315" y="2644"/>
                  </a:lnTo>
                  <a:lnTo>
                    <a:pt x="304" y="2660"/>
                  </a:lnTo>
                  <a:lnTo>
                    <a:pt x="306" y="2676"/>
                  </a:lnTo>
                  <a:lnTo>
                    <a:pt x="354" y="2689"/>
                  </a:lnTo>
                  <a:lnTo>
                    <a:pt x="330" y="2706"/>
                  </a:lnTo>
                  <a:lnTo>
                    <a:pt x="338" y="2722"/>
                  </a:lnTo>
                  <a:lnTo>
                    <a:pt x="336" y="2739"/>
                  </a:lnTo>
                  <a:lnTo>
                    <a:pt x="352" y="2748"/>
                  </a:lnTo>
                  <a:lnTo>
                    <a:pt x="357" y="2760"/>
                  </a:lnTo>
                  <a:lnTo>
                    <a:pt x="380" y="2760"/>
                  </a:lnTo>
                  <a:lnTo>
                    <a:pt x="397" y="2764"/>
                  </a:lnTo>
                  <a:lnTo>
                    <a:pt x="392" y="2801"/>
                  </a:lnTo>
                  <a:lnTo>
                    <a:pt x="426" y="2793"/>
                  </a:lnTo>
                  <a:lnTo>
                    <a:pt x="396" y="2834"/>
                  </a:lnTo>
                  <a:lnTo>
                    <a:pt x="404" y="2848"/>
                  </a:lnTo>
                  <a:lnTo>
                    <a:pt x="425" y="2872"/>
                  </a:lnTo>
                  <a:lnTo>
                    <a:pt x="437" y="2840"/>
                  </a:lnTo>
                  <a:lnTo>
                    <a:pt x="462" y="2847"/>
                  </a:lnTo>
                  <a:lnTo>
                    <a:pt x="474" y="2838"/>
                  </a:lnTo>
                  <a:lnTo>
                    <a:pt x="476" y="2805"/>
                  </a:lnTo>
                  <a:lnTo>
                    <a:pt x="478" y="2835"/>
                  </a:lnTo>
                  <a:lnTo>
                    <a:pt x="500" y="2835"/>
                  </a:lnTo>
                  <a:lnTo>
                    <a:pt x="481" y="2871"/>
                  </a:lnTo>
                  <a:lnTo>
                    <a:pt x="518" y="2859"/>
                  </a:lnTo>
                  <a:lnTo>
                    <a:pt x="521" y="2869"/>
                  </a:lnTo>
                  <a:lnTo>
                    <a:pt x="553" y="2856"/>
                  </a:lnTo>
                  <a:lnTo>
                    <a:pt x="516" y="2842"/>
                  </a:lnTo>
                  <a:lnTo>
                    <a:pt x="550" y="2822"/>
                  </a:lnTo>
                  <a:lnTo>
                    <a:pt x="495" y="2805"/>
                  </a:lnTo>
                  <a:lnTo>
                    <a:pt x="539" y="2797"/>
                  </a:lnTo>
                  <a:lnTo>
                    <a:pt x="540" y="2780"/>
                  </a:lnTo>
                  <a:lnTo>
                    <a:pt x="534" y="2761"/>
                  </a:lnTo>
                  <a:lnTo>
                    <a:pt x="555" y="2763"/>
                  </a:lnTo>
                  <a:lnTo>
                    <a:pt x="545" y="2808"/>
                  </a:lnTo>
                  <a:lnTo>
                    <a:pt x="581" y="2785"/>
                  </a:lnTo>
                  <a:lnTo>
                    <a:pt x="590" y="2780"/>
                  </a:lnTo>
                  <a:lnTo>
                    <a:pt x="610" y="2809"/>
                  </a:lnTo>
                  <a:lnTo>
                    <a:pt x="630" y="2805"/>
                  </a:lnTo>
                  <a:lnTo>
                    <a:pt x="629" y="2771"/>
                  </a:lnTo>
                  <a:lnTo>
                    <a:pt x="663" y="2780"/>
                  </a:lnTo>
                  <a:lnTo>
                    <a:pt x="638" y="2727"/>
                  </a:lnTo>
                  <a:lnTo>
                    <a:pt x="656" y="2722"/>
                  </a:lnTo>
                  <a:lnTo>
                    <a:pt x="663" y="2703"/>
                  </a:lnTo>
                  <a:lnTo>
                    <a:pt x="692" y="2739"/>
                  </a:lnTo>
                  <a:lnTo>
                    <a:pt x="729" y="2721"/>
                  </a:lnTo>
                  <a:lnTo>
                    <a:pt x="675" y="2748"/>
                  </a:lnTo>
                  <a:lnTo>
                    <a:pt x="725" y="2751"/>
                  </a:lnTo>
                  <a:lnTo>
                    <a:pt x="735" y="2766"/>
                  </a:lnTo>
                  <a:lnTo>
                    <a:pt x="722" y="2771"/>
                  </a:lnTo>
                  <a:lnTo>
                    <a:pt x="746" y="2800"/>
                  </a:lnTo>
                  <a:lnTo>
                    <a:pt x="751" y="2764"/>
                  </a:lnTo>
                  <a:lnTo>
                    <a:pt x="777" y="2798"/>
                  </a:lnTo>
                  <a:lnTo>
                    <a:pt x="793" y="2793"/>
                  </a:lnTo>
                  <a:lnTo>
                    <a:pt x="804" y="2763"/>
                  </a:lnTo>
                  <a:lnTo>
                    <a:pt x="825" y="2758"/>
                  </a:lnTo>
                  <a:lnTo>
                    <a:pt x="825" y="2792"/>
                  </a:lnTo>
                  <a:lnTo>
                    <a:pt x="859" y="2774"/>
                  </a:lnTo>
                  <a:lnTo>
                    <a:pt x="872" y="2782"/>
                  </a:lnTo>
                  <a:lnTo>
                    <a:pt x="880" y="2800"/>
                  </a:lnTo>
                  <a:lnTo>
                    <a:pt x="888" y="2814"/>
                  </a:lnTo>
                  <a:lnTo>
                    <a:pt x="886" y="2832"/>
                  </a:lnTo>
                  <a:lnTo>
                    <a:pt x="865" y="2861"/>
                  </a:lnTo>
                  <a:lnTo>
                    <a:pt x="896" y="2853"/>
                  </a:lnTo>
                  <a:lnTo>
                    <a:pt x="899" y="2842"/>
                  </a:lnTo>
                  <a:lnTo>
                    <a:pt x="894" y="2816"/>
                  </a:lnTo>
                  <a:lnTo>
                    <a:pt x="912" y="2801"/>
                  </a:lnTo>
                  <a:lnTo>
                    <a:pt x="931" y="2800"/>
                  </a:lnTo>
                  <a:lnTo>
                    <a:pt x="950" y="2803"/>
                  </a:lnTo>
                  <a:lnTo>
                    <a:pt x="965" y="2771"/>
                  </a:lnTo>
                  <a:lnTo>
                    <a:pt x="984" y="2785"/>
                  </a:lnTo>
                  <a:lnTo>
                    <a:pt x="1007" y="2805"/>
                  </a:lnTo>
                  <a:lnTo>
                    <a:pt x="1007" y="2766"/>
                  </a:lnTo>
                  <a:lnTo>
                    <a:pt x="1039" y="2795"/>
                  </a:lnTo>
                  <a:lnTo>
                    <a:pt x="1052" y="2790"/>
                  </a:lnTo>
                  <a:lnTo>
                    <a:pt x="1052" y="2739"/>
                  </a:lnTo>
                  <a:lnTo>
                    <a:pt x="1068" y="2742"/>
                  </a:lnTo>
                  <a:lnTo>
                    <a:pt x="1090" y="2745"/>
                  </a:lnTo>
                  <a:lnTo>
                    <a:pt x="1105" y="2766"/>
                  </a:lnTo>
                  <a:lnTo>
                    <a:pt x="1118" y="2797"/>
                  </a:lnTo>
                  <a:lnTo>
                    <a:pt x="1140" y="2787"/>
                  </a:lnTo>
                  <a:lnTo>
                    <a:pt x="1163" y="2771"/>
                  </a:lnTo>
                  <a:lnTo>
                    <a:pt x="1143" y="2745"/>
                  </a:lnTo>
                  <a:lnTo>
                    <a:pt x="1177" y="2740"/>
                  </a:lnTo>
                  <a:lnTo>
                    <a:pt x="1188" y="2735"/>
                  </a:lnTo>
                  <a:lnTo>
                    <a:pt x="1145" y="2708"/>
                  </a:lnTo>
                  <a:lnTo>
                    <a:pt x="1179" y="2703"/>
                  </a:lnTo>
                  <a:lnTo>
                    <a:pt x="1187" y="2713"/>
                  </a:lnTo>
                  <a:lnTo>
                    <a:pt x="1211" y="2724"/>
                  </a:lnTo>
                  <a:lnTo>
                    <a:pt x="1188" y="2735"/>
                  </a:lnTo>
                  <a:lnTo>
                    <a:pt x="1193" y="2739"/>
                  </a:lnTo>
                  <a:lnTo>
                    <a:pt x="1177" y="2740"/>
                  </a:lnTo>
                  <a:lnTo>
                    <a:pt x="1158" y="2750"/>
                  </a:lnTo>
                  <a:lnTo>
                    <a:pt x="1203" y="2758"/>
                  </a:lnTo>
                  <a:lnTo>
                    <a:pt x="1182" y="2784"/>
                  </a:lnTo>
                  <a:lnTo>
                    <a:pt x="1195" y="2811"/>
                  </a:lnTo>
                  <a:lnTo>
                    <a:pt x="1219" y="2798"/>
                  </a:lnTo>
                  <a:lnTo>
                    <a:pt x="1253" y="2772"/>
                  </a:lnTo>
                  <a:lnTo>
                    <a:pt x="1248" y="2809"/>
                  </a:lnTo>
                  <a:lnTo>
                    <a:pt x="1262" y="2816"/>
                  </a:lnTo>
                  <a:lnTo>
                    <a:pt x="1267" y="2834"/>
                  </a:lnTo>
                  <a:lnTo>
                    <a:pt x="1286" y="2832"/>
                  </a:lnTo>
                  <a:lnTo>
                    <a:pt x="1309" y="2834"/>
                  </a:lnTo>
                  <a:lnTo>
                    <a:pt x="1312" y="2818"/>
                  </a:lnTo>
                  <a:lnTo>
                    <a:pt x="1299" y="2787"/>
                  </a:lnTo>
                  <a:lnTo>
                    <a:pt x="1317" y="2780"/>
                  </a:lnTo>
                  <a:lnTo>
                    <a:pt x="1344" y="2797"/>
                  </a:lnTo>
                  <a:lnTo>
                    <a:pt x="1351" y="2776"/>
                  </a:lnTo>
                  <a:lnTo>
                    <a:pt x="1365" y="2785"/>
                  </a:lnTo>
                  <a:lnTo>
                    <a:pt x="1375" y="2784"/>
                  </a:lnTo>
                  <a:lnTo>
                    <a:pt x="1377" y="2760"/>
                  </a:lnTo>
                  <a:lnTo>
                    <a:pt x="1393" y="2760"/>
                  </a:lnTo>
                  <a:lnTo>
                    <a:pt x="1415" y="2776"/>
                  </a:lnTo>
                  <a:lnTo>
                    <a:pt x="1375" y="2784"/>
                  </a:lnTo>
                  <a:lnTo>
                    <a:pt x="1375" y="2792"/>
                  </a:lnTo>
                  <a:lnTo>
                    <a:pt x="1407" y="2806"/>
                  </a:lnTo>
                  <a:lnTo>
                    <a:pt x="1394" y="2806"/>
                  </a:lnTo>
                  <a:lnTo>
                    <a:pt x="1414" y="2832"/>
                  </a:lnTo>
                  <a:lnTo>
                    <a:pt x="1418" y="2813"/>
                  </a:lnTo>
                  <a:lnTo>
                    <a:pt x="1423" y="2790"/>
                  </a:lnTo>
                  <a:lnTo>
                    <a:pt x="1426" y="2771"/>
                  </a:lnTo>
                  <a:lnTo>
                    <a:pt x="1468" y="2795"/>
                  </a:lnTo>
                  <a:lnTo>
                    <a:pt x="1442" y="2748"/>
                  </a:lnTo>
                  <a:lnTo>
                    <a:pt x="1452" y="2747"/>
                  </a:lnTo>
                  <a:lnTo>
                    <a:pt x="1442" y="2735"/>
                  </a:lnTo>
                  <a:lnTo>
                    <a:pt x="1455" y="2724"/>
                  </a:lnTo>
                  <a:lnTo>
                    <a:pt x="1479" y="2713"/>
                  </a:lnTo>
                  <a:lnTo>
                    <a:pt x="1494" y="2724"/>
                  </a:lnTo>
                  <a:lnTo>
                    <a:pt x="1487" y="2748"/>
                  </a:lnTo>
                  <a:lnTo>
                    <a:pt x="1523" y="2734"/>
                  </a:lnTo>
                  <a:lnTo>
                    <a:pt x="1516" y="2782"/>
                  </a:lnTo>
                  <a:lnTo>
                    <a:pt x="1533" y="2779"/>
                  </a:lnTo>
                  <a:lnTo>
                    <a:pt x="1553" y="2734"/>
                  </a:lnTo>
                  <a:lnTo>
                    <a:pt x="1579" y="2748"/>
                  </a:lnTo>
                  <a:lnTo>
                    <a:pt x="1578" y="2776"/>
                  </a:lnTo>
                  <a:lnTo>
                    <a:pt x="1578" y="2792"/>
                  </a:lnTo>
                  <a:lnTo>
                    <a:pt x="1561" y="2813"/>
                  </a:lnTo>
                  <a:lnTo>
                    <a:pt x="1592" y="2814"/>
                  </a:lnTo>
                  <a:lnTo>
                    <a:pt x="1573" y="2851"/>
                  </a:lnTo>
                  <a:lnTo>
                    <a:pt x="1589" y="2859"/>
                  </a:lnTo>
                  <a:lnTo>
                    <a:pt x="1606" y="2872"/>
                  </a:lnTo>
                  <a:lnTo>
                    <a:pt x="1635" y="2856"/>
                  </a:lnTo>
                  <a:lnTo>
                    <a:pt x="1650" y="2866"/>
                  </a:lnTo>
                  <a:lnTo>
                    <a:pt x="1664" y="2877"/>
                  </a:lnTo>
                  <a:lnTo>
                    <a:pt x="1685" y="2867"/>
                  </a:lnTo>
                  <a:lnTo>
                    <a:pt x="1701" y="2877"/>
                  </a:lnTo>
                  <a:lnTo>
                    <a:pt x="1727" y="2877"/>
                  </a:lnTo>
                  <a:lnTo>
                    <a:pt x="1709" y="2908"/>
                  </a:lnTo>
                  <a:lnTo>
                    <a:pt x="1717" y="2922"/>
                  </a:lnTo>
                  <a:lnTo>
                    <a:pt x="1759" y="2924"/>
                  </a:lnTo>
                  <a:lnTo>
                    <a:pt x="1738" y="2945"/>
                  </a:lnTo>
                  <a:lnTo>
                    <a:pt x="1754" y="2929"/>
                  </a:lnTo>
                  <a:lnTo>
                    <a:pt x="1772" y="2934"/>
                  </a:lnTo>
                  <a:lnTo>
                    <a:pt x="1788" y="2956"/>
                  </a:lnTo>
                  <a:lnTo>
                    <a:pt x="1798" y="2969"/>
                  </a:lnTo>
                  <a:lnTo>
                    <a:pt x="1822" y="2954"/>
                  </a:lnTo>
                  <a:lnTo>
                    <a:pt x="1840" y="2963"/>
                  </a:lnTo>
                  <a:lnTo>
                    <a:pt x="1865" y="2975"/>
                  </a:lnTo>
                  <a:lnTo>
                    <a:pt x="1825" y="3001"/>
                  </a:lnTo>
                  <a:lnTo>
                    <a:pt x="1862" y="3003"/>
                  </a:lnTo>
                  <a:lnTo>
                    <a:pt x="1853" y="2990"/>
                  </a:lnTo>
                  <a:lnTo>
                    <a:pt x="1865" y="2983"/>
                  </a:lnTo>
                  <a:lnTo>
                    <a:pt x="1896" y="2990"/>
                  </a:lnTo>
                  <a:lnTo>
                    <a:pt x="1885" y="2948"/>
                  </a:lnTo>
                  <a:lnTo>
                    <a:pt x="1904" y="2964"/>
                  </a:lnTo>
                  <a:lnTo>
                    <a:pt x="1928" y="2953"/>
                  </a:lnTo>
                  <a:lnTo>
                    <a:pt x="1923" y="2977"/>
                  </a:lnTo>
                  <a:lnTo>
                    <a:pt x="1949" y="2996"/>
                  </a:lnTo>
                  <a:lnTo>
                    <a:pt x="1984" y="2983"/>
                  </a:lnTo>
                  <a:lnTo>
                    <a:pt x="1939" y="2959"/>
                  </a:lnTo>
                  <a:lnTo>
                    <a:pt x="1923" y="2948"/>
                  </a:lnTo>
                  <a:lnTo>
                    <a:pt x="1938" y="2925"/>
                  </a:lnTo>
                  <a:lnTo>
                    <a:pt x="1939" y="2895"/>
                  </a:lnTo>
                  <a:lnTo>
                    <a:pt x="1959" y="2890"/>
                  </a:lnTo>
                  <a:lnTo>
                    <a:pt x="1991" y="2903"/>
                  </a:lnTo>
                  <a:lnTo>
                    <a:pt x="2015" y="2900"/>
                  </a:lnTo>
                  <a:lnTo>
                    <a:pt x="2007" y="2859"/>
                  </a:lnTo>
                  <a:lnTo>
                    <a:pt x="2037" y="2874"/>
                  </a:lnTo>
                  <a:lnTo>
                    <a:pt x="2037" y="2874"/>
                  </a:lnTo>
                  <a:lnTo>
                    <a:pt x="2060" y="2885"/>
                  </a:lnTo>
                  <a:lnTo>
                    <a:pt x="2062" y="2898"/>
                  </a:lnTo>
                  <a:lnTo>
                    <a:pt x="2065" y="2925"/>
                  </a:lnTo>
                  <a:lnTo>
                    <a:pt x="2078" y="2940"/>
                  </a:lnTo>
                  <a:lnTo>
                    <a:pt x="2097" y="2922"/>
                  </a:lnTo>
                  <a:lnTo>
                    <a:pt x="2111" y="2903"/>
                  </a:lnTo>
                  <a:lnTo>
                    <a:pt x="2126" y="2942"/>
                  </a:lnTo>
                  <a:lnTo>
                    <a:pt x="2136" y="2937"/>
                  </a:lnTo>
                  <a:lnTo>
                    <a:pt x="2150" y="2937"/>
                  </a:lnTo>
                  <a:lnTo>
                    <a:pt x="2173" y="2913"/>
                  </a:lnTo>
                  <a:lnTo>
                    <a:pt x="2193" y="2911"/>
                  </a:lnTo>
                  <a:lnTo>
                    <a:pt x="2197" y="2938"/>
                  </a:lnTo>
                  <a:lnTo>
                    <a:pt x="2189" y="2971"/>
                  </a:lnTo>
                  <a:lnTo>
                    <a:pt x="2227" y="2951"/>
                  </a:lnTo>
                  <a:lnTo>
                    <a:pt x="2246" y="2951"/>
                  </a:lnTo>
                  <a:lnTo>
                    <a:pt x="2253" y="2969"/>
                  </a:lnTo>
                  <a:lnTo>
                    <a:pt x="2243" y="3006"/>
                  </a:lnTo>
                  <a:lnTo>
                    <a:pt x="2275" y="2995"/>
                  </a:lnTo>
                  <a:lnTo>
                    <a:pt x="2277" y="3017"/>
                  </a:lnTo>
                  <a:lnTo>
                    <a:pt x="2283" y="3041"/>
                  </a:lnTo>
                  <a:lnTo>
                    <a:pt x="2304" y="3043"/>
                  </a:lnTo>
                  <a:lnTo>
                    <a:pt x="2328" y="3029"/>
                  </a:lnTo>
                  <a:lnTo>
                    <a:pt x="2337" y="3067"/>
                  </a:lnTo>
                  <a:lnTo>
                    <a:pt x="2357" y="3053"/>
                  </a:lnTo>
                  <a:lnTo>
                    <a:pt x="2372" y="3067"/>
                  </a:lnTo>
                  <a:lnTo>
                    <a:pt x="2385" y="3045"/>
                  </a:lnTo>
                  <a:lnTo>
                    <a:pt x="2390" y="3061"/>
                  </a:lnTo>
                  <a:lnTo>
                    <a:pt x="2402" y="3054"/>
                  </a:lnTo>
                  <a:lnTo>
                    <a:pt x="2425" y="3054"/>
                  </a:lnTo>
                  <a:lnTo>
                    <a:pt x="2423" y="3075"/>
                  </a:lnTo>
                  <a:lnTo>
                    <a:pt x="2457" y="3074"/>
                  </a:lnTo>
                  <a:lnTo>
                    <a:pt x="2447" y="3093"/>
                  </a:lnTo>
                  <a:lnTo>
                    <a:pt x="2472" y="3093"/>
                  </a:lnTo>
                  <a:lnTo>
                    <a:pt x="2472" y="3093"/>
                  </a:lnTo>
                  <a:lnTo>
                    <a:pt x="2488" y="3088"/>
                  </a:lnTo>
                  <a:lnTo>
                    <a:pt x="2513" y="3117"/>
                  </a:lnTo>
                  <a:lnTo>
                    <a:pt x="2534" y="3088"/>
                  </a:lnTo>
                  <a:lnTo>
                    <a:pt x="2541" y="3116"/>
                  </a:lnTo>
                  <a:lnTo>
                    <a:pt x="2509" y="3146"/>
                  </a:lnTo>
                  <a:lnTo>
                    <a:pt x="2542" y="3154"/>
                  </a:lnTo>
                  <a:lnTo>
                    <a:pt x="2554" y="3130"/>
                  </a:lnTo>
                  <a:lnTo>
                    <a:pt x="2575" y="3148"/>
                  </a:lnTo>
                  <a:lnTo>
                    <a:pt x="2579" y="3169"/>
                  </a:lnTo>
                  <a:lnTo>
                    <a:pt x="2599" y="3156"/>
                  </a:lnTo>
                  <a:lnTo>
                    <a:pt x="2602" y="3178"/>
                  </a:lnTo>
                  <a:lnTo>
                    <a:pt x="2634" y="3151"/>
                  </a:lnTo>
                  <a:lnTo>
                    <a:pt x="2631" y="3156"/>
                  </a:lnTo>
                  <a:lnTo>
                    <a:pt x="2645" y="3153"/>
                  </a:lnTo>
                  <a:lnTo>
                    <a:pt x="2679" y="3188"/>
                  </a:lnTo>
                  <a:lnTo>
                    <a:pt x="2674" y="3145"/>
                  </a:lnTo>
                  <a:lnTo>
                    <a:pt x="2694" y="3141"/>
                  </a:lnTo>
                  <a:lnTo>
                    <a:pt x="2719" y="3153"/>
                  </a:lnTo>
                  <a:lnTo>
                    <a:pt x="2747" y="3140"/>
                  </a:lnTo>
                  <a:lnTo>
                    <a:pt x="2745" y="3111"/>
                  </a:lnTo>
                  <a:lnTo>
                    <a:pt x="2724" y="3098"/>
                  </a:lnTo>
                  <a:lnTo>
                    <a:pt x="2734" y="3080"/>
                  </a:lnTo>
                  <a:lnTo>
                    <a:pt x="2700" y="3070"/>
                  </a:lnTo>
                  <a:lnTo>
                    <a:pt x="2705" y="3041"/>
                  </a:lnTo>
                  <a:lnTo>
                    <a:pt x="2732" y="3045"/>
                  </a:lnTo>
                  <a:lnTo>
                    <a:pt x="2750" y="3075"/>
                  </a:lnTo>
                  <a:lnTo>
                    <a:pt x="2764" y="3062"/>
                  </a:lnTo>
                  <a:lnTo>
                    <a:pt x="2761" y="3027"/>
                  </a:lnTo>
                  <a:lnTo>
                    <a:pt x="2763" y="3024"/>
                  </a:lnTo>
                  <a:lnTo>
                    <a:pt x="2792" y="3016"/>
                  </a:lnTo>
                  <a:lnTo>
                    <a:pt x="2795" y="2998"/>
                  </a:lnTo>
                  <a:lnTo>
                    <a:pt x="2785" y="2972"/>
                  </a:lnTo>
                  <a:lnTo>
                    <a:pt x="2827" y="2980"/>
                  </a:lnTo>
                  <a:lnTo>
                    <a:pt x="2829" y="2967"/>
                  </a:lnTo>
                  <a:lnTo>
                    <a:pt x="2841" y="2982"/>
                  </a:lnTo>
                  <a:lnTo>
                    <a:pt x="2861" y="2934"/>
                  </a:lnTo>
                  <a:lnTo>
                    <a:pt x="2882" y="2966"/>
                  </a:lnTo>
                  <a:lnTo>
                    <a:pt x="2864" y="2925"/>
                  </a:lnTo>
                  <a:lnTo>
                    <a:pt x="2893" y="2927"/>
                  </a:lnTo>
                  <a:lnTo>
                    <a:pt x="2907" y="2911"/>
                  </a:lnTo>
                  <a:lnTo>
                    <a:pt x="2927" y="2900"/>
                  </a:lnTo>
                  <a:lnTo>
                    <a:pt x="2944" y="2911"/>
                  </a:lnTo>
                  <a:lnTo>
                    <a:pt x="2959" y="2937"/>
                  </a:lnTo>
                  <a:lnTo>
                    <a:pt x="2973" y="2940"/>
                  </a:lnTo>
                  <a:lnTo>
                    <a:pt x="2997" y="2903"/>
                  </a:lnTo>
                  <a:lnTo>
                    <a:pt x="3001" y="2900"/>
                  </a:lnTo>
                  <a:lnTo>
                    <a:pt x="3018" y="2913"/>
                  </a:lnTo>
                  <a:lnTo>
                    <a:pt x="3015" y="2885"/>
                  </a:lnTo>
                  <a:lnTo>
                    <a:pt x="3052" y="2903"/>
                  </a:lnTo>
                  <a:lnTo>
                    <a:pt x="3065" y="2914"/>
                  </a:lnTo>
                  <a:lnTo>
                    <a:pt x="3073" y="2863"/>
                  </a:lnTo>
                  <a:lnTo>
                    <a:pt x="3089" y="2872"/>
                  </a:lnTo>
                  <a:lnTo>
                    <a:pt x="3107" y="2880"/>
                  </a:lnTo>
                  <a:lnTo>
                    <a:pt x="3116" y="2859"/>
                  </a:lnTo>
                  <a:lnTo>
                    <a:pt x="3136" y="2863"/>
                  </a:lnTo>
                  <a:lnTo>
                    <a:pt x="3152" y="2861"/>
                  </a:lnTo>
                  <a:lnTo>
                    <a:pt x="3171" y="2892"/>
                  </a:lnTo>
                  <a:lnTo>
                    <a:pt x="3179" y="2877"/>
                  </a:lnTo>
                  <a:lnTo>
                    <a:pt x="3202" y="2871"/>
                  </a:lnTo>
                  <a:lnTo>
                    <a:pt x="3194" y="2909"/>
                  </a:lnTo>
                  <a:lnTo>
                    <a:pt x="3226" y="2901"/>
                  </a:lnTo>
                  <a:lnTo>
                    <a:pt x="3242" y="2872"/>
                  </a:lnTo>
                  <a:lnTo>
                    <a:pt x="3256" y="2888"/>
                  </a:lnTo>
                  <a:lnTo>
                    <a:pt x="3272" y="2892"/>
                  </a:lnTo>
                  <a:lnTo>
                    <a:pt x="3306" y="2892"/>
                  </a:lnTo>
                  <a:lnTo>
                    <a:pt x="3261" y="2906"/>
                  </a:lnTo>
                  <a:lnTo>
                    <a:pt x="3250" y="2919"/>
                  </a:lnTo>
                  <a:lnTo>
                    <a:pt x="3266" y="2946"/>
                  </a:lnTo>
                  <a:lnTo>
                    <a:pt x="3266" y="2945"/>
                  </a:lnTo>
                  <a:lnTo>
                    <a:pt x="3282" y="2942"/>
                  </a:lnTo>
                  <a:lnTo>
                    <a:pt x="3305" y="2977"/>
                  </a:lnTo>
                  <a:lnTo>
                    <a:pt x="3319" y="2977"/>
                  </a:lnTo>
                  <a:lnTo>
                    <a:pt x="3337" y="2946"/>
                  </a:lnTo>
                  <a:lnTo>
                    <a:pt x="3353" y="2966"/>
                  </a:lnTo>
                  <a:lnTo>
                    <a:pt x="3388" y="2940"/>
                  </a:lnTo>
                  <a:lnTo>
                    <a:pt x="3382" y="2974"/>
                  </a:lnTo>
                  <a:lnTo>
                    <a:pt x="3415" y="2959"/>
                  </a:lnTo>
                  <a:lnTo>
                    <a:pt x="3406" y="2977"/>
                  </a:lnTo>
                  <a:lnTo>
                    <a:pt x="3417" y="2983"/>
                  </a:lnTo>
                  <a:lnTo>
                    <a:pt x="3417" y="2966"/>
                  </a:lnTo>
                  <a:lnTo>
                    <a:pt x="3436" y="2961"/>
                  </a:lnTo>
                  <a:lnTo>
                    <a:pt x="3420" y="2932"/>
                  </a:lnTo>
                  <a:lnTo>
                    <a:pt x="3448" y="2924"/>
                  </a:lnTo>
                  <a:lnTo>
                    <a:pt x="3459" y="2946"/>
                  </a:lnTo>
                  <a:lnTo>
                    <a:pt x="3457" y="2975"/>
                  </a:lnTo>
                  <a:lnTo>
                    <a:pt x="3480" y="2969"/>
                  </a:lnTo>
                  <a:lnTo>
                    <a:pt x="3502" y="2948"/>
                  </a:lnTo>
                  <a:lnTo>
                    <a:pt x="3517" y="2982"/>
                  </a:lnTo>
                  <a:lnTo>
                    <a:pt x="3531" y="2979"/>
                  </a:lnTo>
                  <a:lnTo>
                    <a:pt x="3549" y="2985"/>
                  </a:lnTo>
                  <a:lnTo>
                    <a:pt x="3562" y="2975"/>
                  </a:lnTo>
                  <a:lnTo>
                    <a:pt x="3575" y="2963"/>
                  </a:lnTo>
                  <a:lnTo>
                    <a:pt x="3583" y="2927"/>
                  </a:lnTo>
                  <a:lnTo>
                    <a:pt x="3616" y="2979"/>
                  </a:lnTo>
                  <a:lnTo>
                    <a:pt x="3618" y="2940"/>
                  </a:lnTo>
                  <a:lnTo>
                    <a:pt x="3634" y="2935"/>
                  </a:lnTo>
                  <a:lnTo>
                    <a:pt x="3645" y="2969"/>
                  </a:lnTo>
                  <a:lnTo>
                    <a:pt x="3668" y="2924"/>
                  </a:lnTo>
                  <a:lnTo>
                    <a:pt x="3670" y="2966"/>
                  </a:lnTo>
                  <a:lnTo>
                    <a:pt x="3690" y="2956"/>
                  </a:lnTo>
                  <a:lnTo>
                    <a:pt x="3689" y="2980"/>
                  </a:lnTo>
                  <a:lnTo>
                    <a:pt x="3726" y="2964"/>
                  </a:lnTo>
                  <a:lnTo>
                    <a:pt x="3734" y="2980"/>
                  </a:lnTo>
                  <a:lnTo>
                    <a:pt x="3744" y="2998"/>
                  </a:lnTo>
                  <a:lnTo>
                    <a:pt x="3755" y="3006"/>
                  </a:lnTo>
                  <a:lnTo>
                    <a:pt x="3766" y="3004"/>
                  </a:lnTo>
                  <a:lnTo>
                    <a:pt x="3774" y="2979"/>
                  </a:lnTo>
                  <a:lnTo>
                    <a:pt x="3797" y="3017"/>
                  </a:lnTo>
                  <a:lnTo>
                    <a:pt x="3821" y="2985"/>
                  </a:lnTo>
                  <a:lnTo>
                    <a:pt x="3801" y="3021"/>
                  </a:lnTo>
                  <a:lnTo>
                    <a:pt x="3835" y="3027"/>
                  </a:lnTo>
                  <a:lnTo>
                    <a:pt x="3801" y="3050"/>
                  </a:lnTo>
                  <a:lnTo>
                    <a:pt x="3837" y="3043"/>
                  </a:lnTo>
                  <a:lnTo>
                    <a:pt x="3835" y="3029"/>
                  </a:lnTo>
                  <a:lnTo>
                    <a:pt x="3851" y="3050"/>
                  </a:lnTo>
                  <a:lnTo>
                    <a:pt x="3867" y="3059"/>
                  </a:lnTo>
                  <a:lnTo>
                    <a:pt x="3882" y="3035"/>
                  </a:lnTo>
                  <a:lnTo>
                    <a:pt x="3896" y="3032"/>
                  </a:lnTo>
                  <a:lnTo>
                    <a:pt x="3912" y="3032"/>
                  </a:lnTo>
                  <a:lnTo>
                    <a:pt x="3928" y="3083"/>
                  </a:lnTo>
                  <a:lnTo>
                    <a:pt x="3945" y="3058"/>
                  </a:lnTo>
                  <a:lnTo>
                    <a:pt x="3959" y="3062"/>
                  </a:lnTo>
                  <a:lnTo>
                    <a:pt x="3977" y="3088"/>
                  </a:lnTo>
                  <a:lnTo>
                    <a:pt x="3988" y="3045"/>
                  </a:lnTo>
                  <a:lnTo>
                    <a:pt x="4001" y="3027"/>
                  </a:lnTo>
                  <a:lnTo>
                    <a:pt x="4023" y="3038"/>
                  </a:lnTo>
                  <a:lnTo>
                    <a:pt x="4027" y="3080"/>
                  </a:lnTo>
                  <a:lnTo>
                    <a:pt x="4059" y="3048"/>
                  </a:lnTo>
                  <a:lnTo>
                    <a:pt x="4067" y="3083"/>
                  </a:lnTo>
                  <a:lnTo>
                    <a:pt x="4076" y="3054"/>
                  </a:lnTo>
                  <a:lnTo>
                    <a:pt x="4097" y="3067"/>
                  </a:lnTo>
                  <a:lnTo>
                    <a:pt x="4104" y="3048"/>
                  </a:lnTo>
                  <a:lnTo>
                    <a:pt x="4110" y="3074"/>
                  </a:lnTo>
                  <a:lnTo>
                    <a:pt x="4137" y="3050"/>
                  </a:lnTo>
                  <a:lnTo>
                    <a:pt x="4120" y="3083"/>
                  </a:lnTo>
                  <a:lnTo>
                    <a:pt x="4142" y="3085"/>
                  </a:lnTo>
                  <a:lnTo>
                    <a:pt x="4154" y="3104"/>
                  </a:lnTo>
                  <a:lnTo>
                    <a:pt x="4179" y="3111"/>
                  </a:lnTo>
                  <a:lnTo>
                    <a:pt x="4187" y="3080"/>
                  </a:lnTo>
                  <a:lnTo>
                    <a:pt x="4207" y="3087"/>
                  </a:lnTo>
                  <a:lnTo>
                    <a:pt x="4229" y="3096"/>
                  </a:lnTo>
                  <a:lnTo>
                    <a:pt x="4234" y="3059"/>
                  </a:lnTo>
                  <a:lnTo>
                    <a:pt x="4252" y="3074"/>
                  </a:lnTo>
                  <a:lnTo>
                    <a:pt x="4255" y="3091"/>
                  </a:lnTo>
                  <a:lnTo>
                    <a:pt x="4281" y="3088"/>
                  </a:lnTo>
                  <a:lnTo>
                    <a:pt x="4298" y="3088"/>
                  </a:lnTo>
                  <a:lnTo>
                    <a:pt x="4297" y="3072"/>
                  </a:lnTo>
                  <a:lnTo>
                    <a:pt x="4311" y="3070"/>
                  </a:lnTo>
                  <a:lnTo>
                    <a:pt x="4332" y="3077"/>
                  </a:lnTo>
                  <a:lnTo>
                    <a:pt x="4359" y="3079"/>
                  </a:lnTo>
                  <a:lnTo>
                    <a:pt x="4334" y="3027"/>
                  </a:lnTo>
                  <a:lnTo>
                    <a:pt x="4359" y="3030"/>
                  </a:lnTo>
                  <a:lnTo>
                    <a:pt x="4375" y="3035"/>
                  </a:lnTo>
                  <a:lnTo>
                    <a:pt x="4385" y="3017"/>
                  </a:lnTo>
                  <a:lnTo>
                    <a:pt x="4396" y="3027"/>
                  </a:lnTo>
                  <a:lnTo>
                    <a:pt x="4427" y="3011"/>
                  </a:lnTo>
                  <a:lnTo>
                    <a:pt x="4372" y="2996"/>
                  </a:lnTo>
                  <a:lnTo>
                    <a:pt x="4427" y="2987"/>
                  </a:lnTo>
                  <a:lnTo>
                    <a:pt x="4408" y="2956"/>
                  </a:lnTo>
                  <a:lnTo>
                    <a:pt x="4438" y="2972"/>
                  </a:lnTo>
                  <a:lnTo>
                    <a:pt x="4441" y="2946"/>
                  </a:lnTo>
                  <a:lnTo>
                    <a:pt x="4474" y="2934"/>
                  </a:lnTo>
                  <a:lnTo>
                    <a:pt x="4443" y="2914"/>
                  </a:lnTo>
                  <a:lnTo>
                    <a:pt x="4441" y="2895"/>
                  </a:lnTo>
                  <a:lnTo>
                    <a:pt x="4464" y="2888"/>
                  </a:lnTo>
                  <a:lnTo>
                    <a:pt x="4470" y="2872"/>
                  </a:lnTo>
                  <a:lnTo>
                    <a:pt x="4483" y="2864"/>
                  </a:lnTo>
                  <a:lnTo>
                    <a:pt x="4501" y="2884"/>
                  </a:lnTo>
                  <a:lnTo>
                    <a:pt x="4515" y="2850"/>
                  </a:lnTo>
                  <a:lnTo>
                    <a:pt x="4533" y="2853"/>
                  </a:lnTo>
                  <a:lnTo>
                    <a:pt x="4552" y="2840"/>
                  </a:lnTo>
                  <a:lnTo>
                    <a:pt x="4565" y="2856"/>
                  </a:lnTo>
                  <a:lnTo>
                    <a:pt x="4583" y="2851"/>
                  </a:lnTo>
                  <a:lnTo>
                    <a:pt x="4596" y="2888"/>
                  </a:lnTo>
                  <a:lnTo>
                    <a:pt x="4613" y="2858"/>
                  </a:lnTo>
                  <a:lnTo>
                    <a:pt x="4631" y="2834"/>
                  </a:lnTo>
                  <a:lnTo>
                    <a:pt x="4646" y="2861"/>
                  </a:lnTo>
                  <a:lnTo>
                    <a:pt x="4663" y="2837"/>
                  </a:lnTo>
                  <a:lnTo>
                    <a:pt x="4676" y="2850"/>
                  </a:lnTo>
                  <a:lnTo>
                    <a:pt x="4699" y="2895"/>
                  </a:lnTo>
                  <a:lnTo>
                    <a:pt x="4705" y="2830"/>
                  </a:lnTo>
                  <a:lnTo>
                    <a:pt x="4721" y="2880"/>
                  </a:lnTo>
                  <a:lnTo>
                    <a:pt x="4739" y="2871"/>
                  </a:lnTo>
                  <a:lnTo>
                    <a:pt x="4737" y="2903"/>
                  </a:lnTo>
                  <a:lnTo>
                    <a:pt x="4771" y="2879"/>
                  </a:lnTo>
                  <a:lnTo>
                    <a:pt x="4790" y="2911"/>
                  </a:lnTo>
                  <a:lnTo>
                    <a:pt x="4802" y="2874"/>
                  </a:lnTo>
                  <a:lnTo>
                    <a:pt x="4819" y="2872"/>
                  </a:lnTo>
                  <a:lnTo>
                    <a:pt x="4835" y="2905"/>
                  </a:lnTo>
                  <a:lnTo>
                    <a:pt x="4853" y="2866"/>
                  </a:lnTo>
                  <a:lnTo>
                    <a:pt x="4877" y="2859"/>
                  </a:lnTo>
                  <a:lnTo>
                    <a:pt x="4869" y="2906"/>
                  </a:lnTo>
                  <a:lnTo>
                    <a:pt x="4906" y="2890"/>
                  </a:lnTo>
                  <a:lnTo>
                    <a:pt x="4921" y="2892"/>
                  </a:lnTo>
                  <a:lnTo>
                    <a:pt x="4929" y="2908"/>
                  </a:lnTo>
                  <a:lnTo>
                    <a:pt x="4945" y="2919"/>
                  </a:lnTo>
                  <a:lnTo>
                    <a:pt x="4964" y="2940"/>
                  </a:lnTo>
                  <a:lnTo>
                    <a:pt x="4982" y="2924"/>
                  </a:lnTo>
                  <a:lnTo>
                    <a:pt x="4995" y="2916"/>
                  </a:lnTo>
                  <a:lnTo>
                    <a:pt x="4993" y="2895"/>
                  </a:lnTo>
                  <a:lnTo>
                    <a:pt x="5004" y="2885"/>
                  </a:lnTo>
                  <a:lnTo>
                    <a:pt x="5019" y="2859"/>
                  </a:lnTo>
                  <a:lnTo>
                    <a:pt x="5035" y="2864"/>
                  </a:lnTo>
                  <a:lnTo>
                    <a:pt x="5052" y="2869"/>
                  </a:lnTo>
                  <a:lnTo>
                    <a:pt x="5064" y="2887"/>
                  </a:lnTo>
                  <a:lnTo>
                    <a:pt x="5077" y="2893"/>
                  </a:lnTo>
                  <a:lnTo>
                    <a:pt x="5102" y="2874"/>
                  </a:lnTo>
                  <a:lnTo>
                    <a:pt x="5102" y="2890"/>
                  </a:lnTo>
                  <a:lnTo>
                    <a:pt x="5109" y="2879"/>
                  </a:lnTo>
                  <a:lnTo>
                    <a:pt x="5120" y="2869"/>
                  </a:lnTo>
                  <a:lnTo>
                    <a:pt x="5144" y="2871"/>
                  </a:lnTo>
                  <a:lnTo>
                    <a:pt x="5142" y="2861"/>
                  </a:lnTo>
                  <a:lnTo>
                    <a:pt x="5147" y="2871"/>
                  </a:lnTo>
                  <a:lnTo>
                    <a:pt x="5144" y="2871"/>
                  </a:lnTo>
                  <a:lnTo>
                    <a:pt x="5144" y="2872"/>
                  </a:lnTo>
                  <a:lnTo>
                    <a:pt x="5181" y="2858"/>
                  </a:lnTo>
                  <a:lnTo>
                    <a:pt x="5162" y="2906"/>
                  </a:lnTo>
                  <a:lnTo>
                    <a:pt x="5197" y="2871"/>
                  </a:lnTo>
                  <a:lnTo>
                    <a:pt x="5196" y="2864"/>
                  </a:lnTo>
                  <a:lnTo>
                    <a:pt x="5234" y="2895"/>
                  </a:lnTo>
                  <a:lnTo>
                    <a:pt x="5233" y="2853"/>
                  </a:lnTo>
                  <a:lnTo>
                    <a:pt x="5265" y="2895"/>
                  </a:lnTo>
                  <a:lnTo>
                    <a:pt x="5274" y="2876"/>
                  </a:lnTo>
                  <a:lnTo>
                    <a:pt x="5294" y="2879"/>
                  </a:lnTo>
                  <a:lnTo>
                    <a:pt x="5307" y="2866"/>
                  </a:lnTo>
                  <a:lnTo>
                    <a:pt x="5324" y="2864"/>
                  </a:lnTo>
                  <a:lnTo>
                    <a:pt x="5332" y="2819"/>
                  </a:lnTo>
                  <a:lnTo>
                    <a:pt x="5340" y="2864"/>
                  </a:lnTo>
                  <a:lnTo>
                    <a:pt x="5356" y="2869"/>
                  </a:lnTo>
                  <a:lnTo>
                    <a:pt x="5379" y="2859"/>
                  </a:lnTo>
                  <a:lnTo>
                    <a:pt x="5397" y="2864"/>
                  </a:lnTo>
                  <a:lnTo>
                    <a:pt x="5416" y="2863"/>
                  </a:lnTo>
                  <a:lnTo>
                    <a:pt x="5432" y="2848"/>
                  </a:lnTo>
                  <a:lnTo>
                    <a:pt x="5446" y="2877"/>
                  </a:lnTo>
                  <a:lnTo>
                    <a:pt x="5467" y="2892"/>
                  </a:lnTo>
                  <a:lnTo>
                    <a:pt x="5471" y="2850"/>
                  </a:lnTo>
                  <a:lnTo>
                    <a:pt x="5501" y="2874"/>
                  </a:lnTo>
                  <a:lnTo>
                    <a:pt x="5493" y="2821"/>
                  </a:lnTo>
                  <a:lnTo>
                    <a:pt x="5525" y="2853"/>
                  </a:lnTo>
                  <a:lnTo>
                    <a:pt x="5538" y="2861"/>
                  </a:lnTo>
                  <a:lnTo>
                    <a:pt x="5553" y="2809"/>
                  </a:lnTo>
                  <a:lnTo>
                    <a:pt x="5569" y="2827"/>
                  </a:lnTo>
                  <a:lnTo>
                    <a:pt x="5590" y="2851"/>
                  </a:lnTo>
                  <a:lnTo>
                    <a:pt x="5606" y="2853"/>
                  </a:lnTo>
                  <a:lnTo>
                    <a:pt x="5618" y="2848"/>
                  </a:lnTo>
                  <a:lnTo>
                    <a:pt x="5631" y="2847"/>
                  </a:lnTo>
                  <a:lnTo>
                    <a:pt x="5647" y="2805"/>
                  </a:lnTo>
                  <a:lnTo>
                    <a:pt x="5662" y="2832"/>
                  </a:lnTo>
                  <a:lnTo>
                    <a:pt x="5675" y="2845"/>
                  </a:lnTo>
                  <a:lnTo>
                    <a:pt x="5709" y="2818"/>
                  </a:lnTo>
                  <a:lnTo>
                    <a:pt x="5712" y="2855"/>
                  </a:lnTo>
                  <a:lnTo>
                    <a:pt x="5728" y="2877"/>
                  </a:lnTo>
                  <a:lnTo>
                    <a:pt x="5744" y="2867"/>
                  </a:lnTo>
                  <a:lnTo>
                    <a:pt x="5754" y="2871"/>
                  </a:lnTo>
                  <a:lnTo>
                    <a:pt x="5773" y="2856"/>
                  </a:lnTo>
                  <a:lnTo>
                    <a:pt x="5774" y="2892"/>
                  </a:lnTo>
                  <a:lnTo>
                    <a:pt x="5802" y="2880"/>
                  </a:lnTo>
                  <a:lnTo>
                    <a:pt x="5821" y="2880"/>
                  </a:lnTo>
                  <a:lnTo>
                    <a:pt x="5831" y="2832"/>
                  </a:lnTo>
                  <a:lnTo>
                    <a:pt x="5847" y="2830"/>
                  </a:lnTo>
                  <a:lnTo>
                    <a:pt x="5873" y="2874"/>
                  </a:lnTo>
                  <a:lnTo>
                    <a:pt x="5887" y="2853"/>
                  </a:lnTo>
                  <a:lnTo>
                    <a:pt x="5905" y="2850"/>
                  </a:lnTo>
                  <a:lnTo>
                    <a:pt x="5918" y="2863"/>
                  </a:lnTo>
                  <a:lnTo>
                    <a:pt x="5918" y="2890"/>
                  </a:lnTo>
                  <a:lnTo>
                    <a:pt x="5938" y="2906"/>
                  </a:lnTo>
                  <a:lnTo>
                    <a:pt x="5961" y="2863"/>
                  </a:lnTo>
                  <a:lnTo>
                    <a:pt x="5985" y="2911"/>
                  </a:lnTo>
                  <a:lnTo>
                    <a:pt x="6012" y="2853"/>
                  </a:lnTo>
                  <a:lnTo>
                    <a:pt x="6027" y="2884"/>
                  </a:lnTo>
                  <a:lnTo>
                    <a:pt x="6027" y="2901"/>
                  </a:lnTo>
                  <a:lnTo>
                    <a:pt x="6027" y="2919"/>
                  </a:lnTo>
                  <a:lnTo>
                    <a:pt x="6011" y="2953"/>
                  </a:lnTo>
                  <a:lnTo>
                    <a:pt x="6046" y="2925"/>
                  </a:lnTo>
                  <a:lnTo>
                    <a:pt x="6061" y="2934"/>
                  </a:lnTo>
                  <a:lnTo>
                    <a:pt x="6072" y="2946"/>
                  </a:lnTo>
                  <a:lnTo>
                    <a:pt x="6085" y="2956"/>
                  </a:lnTo>
                  <a:lnTo>
                    <a:pt x="6098" y="2983"/>
                  </a:lnTo>
                  <a:lnTo>
                    <a:pt x="6114" y="2954"/>
                  </a:lnTo>
                  <a:lnTo>
                    <a:pt x="6136" y="2940"/>
                  </a:lnTo>
                  <a:lnTo>
                    <a:pt x="6151" y="2959"/>
                  </a:lnTo>
                  <a:lnTo>
                    <a:pt x="6151" y="2980"/>
                  </a:lnTo>
                  <a:lnTo>
                    <a:pt x="6159" y="2995"/>
                  </a:lnTo>
                  <a:lnTo>
                    <a:pt x="6165" y="3008"/>
                  </a:lnTo>
                  <a:lnTo>
                    <a:pt x="6178" y="3016"/>
                  </a:lnTo>
                  <a:lnTo>
                    <a:pt x="6204" y="3006"/>
                  </a:lnTo>
                  <a:lnTo>
                    <a:pt x="6199" y="3037"/>
                  </a:lnTo>
                  <a:lnTo>
                    <a:pt x="6223" y="3046"/>
                  </a:lnTo>
                  <a:lnTo>
                    <a:pt x="6218" y="2995"/>
                  </a:lnTo>
                  <a:lnTo>
                    <a:pt x="6234" y="2988"/>
                  </a:lnTo>
                  <a:lnTo>
                    <a:pt x="6262" y="3011"/>
                  </a:lnTo>
                  <a:lnTo>
                    <a:pt x="6270" y="2990"/>
                  </a:lnTo>
                  <a:lnTo>
                    <a:pt x="6291" y="3004"/>
                  </a:lnTo>
                  <a:lnTo>
                    <a:pt x="6297" y="2967"/>
                  </a:lnTo>
                  <a:lnTo>
                    <a:pt x="6320" y="3014"/>
                  </a:lnTo>
                  <a:lnTo>
                    <a:pt x="6328" y="2966"/>
                  </a:lnTo>
                  <a:lnTo>
                    <a:pt x="6349" y="2995"/>
                  </a:lnTo>
                  <a:lnTo>
                    <a:pt x="6368" y="2972"/>
                  </a:lnTo>
                  <a:lnTo>
                    <a:pt x="6379" y="3009"/>
                  </a:lnTo>
                  <a:lnTo>
                    <a:pt x="6402" y="2979"/>
                  </a:lnTo>
                  <a:lnTo>
                    <a:pt x="6410" y="3024"/>
                  </a:lnTo>
                  <a:lnTo>
                    <a:pt x="6437" y="2974"/>
                  </a:lnTo>
                  <a:lnTo>
                    <a:pt x="6447" y="3004"/>
                  </a:lnTo>
                  <a:lnTo>
                    <a:pt x="6453" y="3032"/>
                  </a:lnTo>
                  <a:lnTo>
                    <a:pt x="6471" y="3027"/>
                  </a:lnTo>
                  <a:lnTo>
                    <a:pt x="6488" y="3025"/>
                  </a:lnTo>
                  <a:lnTo>
                    <a:pt x="6508" y="3000"/>
                  </a:lnTo>
                  <a:lnTo>
                    <a:pt x="6519" y="3008"/>
                  </a:lnTo>
                  <a:lnTo>
                    <a:pt x="6538" y="3006"/>
                  </a:lnTo>
                  <a:lnTo>
                    <a:pt x="6559" y="3035"/>
                  </a:lnTo>
                  <a:lnTo>
                    <a:pt x="6583" y="2993"/>
                  </a:lnTo>
                  <a:lnTo>
                    <a:pt x="6583" y="3035"/>
                  </a:lnTo>
                  <a:lnTo>
                    <a:pt x="6601" y="3014"/>
                  </a:lnTo>
                  <a:lnTo>
                    <a:pt x="6591" y="2995"/>
                  </a:lnTo>
                  <a:lnTo>
                    <a:pt x="6612" y="2995"/>
                  </a:lnTo>
                  <a:lnTo>
                    <a:pt x="6648" y="3011"/>
                  </a:lnTo>
                  <a:lnTo>
                    <a:pt x="6667" y="3012"/>
                  </a:lnTo>
                  <a:lnTo>
                    <a:pt x="6677" y="2987"/>
                  </a:lnTo>
                  <a:lnTo>
                    <a:pt x="6680" y="2966"/>
                  </a:lnTo>
                  <a:lnTo>
                    <a:pt x="6691" y="2954"/>
                  </a:lnTo>
                  <a:lnTo>
                    <a:pt x="6657" y="2930"/>
                  </a:lnTo>
                  <a:lnTo>
                    <a:pt x="6685" y="2946"/>
                  </a:lnTo>
                  <a:lnTo>
                    <a:pt x="6699" y="2925"/>
                  </a:lnTo>
                  <a:lnTo>
                    <a:pt x="6694" y="2956"/>
                  </a:lnTo>
                  <a:lnTo>
                    <a:pt x="6738" y="2932"/>
                  </a:lnTo>
                  <a:lnTo>
                    <a:pt x="6736" y="2959"/>
                  </a:lnTo>
                  <a:lnTo>
                    <a:pt x="6755" y="2946"/>
                  </a:lnTo>
                  <a:lnTo>
                    <a:pt x="6760" y="2966"/>
                  </a:lnTo>
                  <a:lnTo>
                    <a:pt x="6775" y="2943"/>
                  </a:lnTo>
                  <a:lnTo>
                    <a:pt x="6796" y="2990"/>
                  </a:lnTo>
                  <a:lnTo>
                    <a:pt x="6794" y="2938"/>
                  </a:lnTo>
                  <a:lnTo>
                    <a:pt x="6831" y="2975"/>
                  </a:lnTo>
                  <a:lnTo>
                    <a:pt x="6847" y="2967"/>
                  </a:lnTo>
                  <a:lnTo>
                    <a:pt x="6852" y="2946"/>
                  </a:lnTo>
                  <a:lnTo>
                    <a:pt x="6876" y="2953"/>
                  </a:lnTo>
                  <a:lnTo>
                    <a:pt x="6892" y="2950"/>
                  </a:lnTo>
                  <a:lnTo>
                    <a:pt x="6886" y="2905"/>
                  </a:lnTo>
                  <a:lnTo>
                    <a:pt x="6892" y="2942"/>
                  </a:lnTo>
                  <a:lnTo>
                    <a:pt x="6906" y="2951"/>
                  </a:lnTo>
                  <a:lnTo>
                    <a:pt x="6940" y="2925"/>
                  </a:lnTo>
                  <a:lnTo>
                    <a:pt x="6937" y="2966"/>
                  </a:lnTo>
                  <a:lnTo>
                    <a:pt x="6958" y="2966"/>
                  </a:lnTo>
                  <a:lnTo>
                    <a:pt x="6974" y="2942"/>
                  </a:lnTo>
                  <a:lnTo>
                    <a:pt x="6985" y="2954"/>
                  </a:lnTo>
                  <a:lnTo>
                    <a:pt x="6977" y="2924"/>
                  </a:lnTo>
                  <a:lnTo>
                    <a:pt x="7011" y="2930"/>
                  </a:lnTo>
                  <a:lnTo>
                    <a:pt x="7025" y="2932"/>
                  </a:lnTo>
                  <a:lnTo>
                    <a:pt x="7037" y="2927"/>
                  </a:lnTo>
                  <a:lnTo>
                    <a:pt x="7029" y="2959"/>
                  </a:lnTo>
                  <a:lnTo>
                    <a:pt x="7040" y="2971"/>
                  </a:lnTo>
                  <a:lnTo>
                    <a:pt x="7069" y="2972"/>
                  </a:lnTo>
                  <a:lnTo>
                    <a:pt x="7077" y="2935"/>
                  </a:lnTo>
                  <a:lnTo>
                    <a:pt x="7111" y="2956"/>
                  </a:lnTo>
                  <a:lnTo>
                    <a:pt x="7122" y="2945"/>
                  </a:lnTo>
                  <a:lnTo>
                    <a:pt x="7127" y="2903"/>
                  </a:lnTo>
                  <a:lnTo>
                    <a:pt x="7149" y="2942"/>
                  </a:lnTo>
                  <a:lnTo>
                    <a:pt x="7164" y="2917"/>
                  </a:lnTo>
                  <a:lnTo>
                    <a:pt x="7180" y="2927"/>
                  </a:lnTo>
                  <a:lnTo>
                    <a:pt x="7164" y="2958"/>
                  </a:lnTo>
                  <a:lnTo>
                    <a:pt x="7214" y="2938"/>
                  </a:lnTo>
                  <a:lnTo>
                    <a:pt x="7175" y="2987"/>
                  </a:lnTo>
                  <a:lnTo>
                    <a:pt x="7207" y="2988"/>
                  </a:lnTo>
                  <a:lnTo>
                    <a:pt x="7217" y="2954"/>
                  </a:lnTo>
                  <a:lnTo>
                    <a:pt x="7233" y="2954"/>
                  </a:lnTo>
                  <a:lnTo>
                    <a:pt x="7255" y="2971"/>
                  </a:lnTo>
                  <a:lnTo>
                    <a:pt x="7275" y="2945"/>
                  </a:lnTo>
                  <a:lnTo>
                    <a:pt x="7288" y="2956"/>
                  </a:lnTo>
                  <a:lnTo>
                    <a:pt x="7299" y="2988"/>
                  </a:lnTo>
                  <a:lnTo>
                    <a:pt x="7315" y="2983"/>
                  </a:lnTo>
                  <a:lnTo>
                    <a:pt x="7329" y="2996"/>
                  </a:lnTo>
                  <a:lnTo>
                    <a:pt x="7347" y="2979"/>
                  </a:lnTo>
                  <a:lnTo>
                    <a:pt x="7362" y="2969"/>
                  </a:lnTo>
                  <a:lnTo>
                    <a:pt x="7378" y="2972"/>
                  </a:lnTo>
                  <a:lnTo>
                    <a:pt x="7387" y="2961"/>
                  </a:lnTo>
                  <a:lnTo>
                    <a:pt x="7402" y="2958"/>
                  </a:lnTo>
                  <a:lnTo>
                    <a:pt x="7437" y="2977"/>
                  </a:lnTo>
                  <a:lnTo>
                    <a:pt x="7436" y="2940"/>
                  </a:lnTo>
                  <a:lnTo>
                    <a:pt x="7447" y="2917"/>
                  </a:lnTo>
                  <a:lnTo>
                    <a:pt x="7461" y="2909"/>
                  </a:lnTo>
                  <a:lnTo>
                    <a:pt x="7484" y="2943"/>
                  </a:lnTo>
                  <a:lnTo>
                    <a:pt x="7518" y="2924"/>
                  </a:lnTo>
                  <a:lnTo>
                    <a:pt x="7530" y="2932"/>
                  </a:lnTo>
                  <a:lnTo>
                    <a:pt x="7537" y="2950"/>
                  </a:lnTo>
                  <a:lnTo>
                    <a:pt x="7532" y="2979"/>
                  </a:lnTo>
                  <a:lnTo>
                    <a:pt x="7540" y="2956"/>
                  </a:lnTo>
                  <a:lnTo>
                    <a:pt x="7548" y="2937"/>
                  </a:lnTo>
                  <a:lnTo>
                    <a:pt x="7563" y="2921"/>
                  </a:lnTo>
                  <a:lnTo>
                    <a:pt x="7587" y="2925"/>
                  </a:lnTo>
                  <a:lnTo>
                    <a:pt x="7609" y="2935"/>
                  </a:lnTo>
                  <a:lnTo>
                    <a:pt x="7624" y="2913"/>
                  </a:lnTo>
                  <a:lnTo>
                    <a:pt x="7645" y="2921"/>
                  </a:lnTo>
                  <a:lnTo>
                    <a:pt x="7661" y="2922"/>
                  </a:lnTo>
                  <a:lnTo>
                    <a:pt x="7667" y="2927"/>
                  </a:lnTo>
                  <a:lnTo>
                    <a:pt x="7675" y="2917"/>
                  </a:lnTo>
                  <a:lnTo>
                    <a:pt x="7680" y="2919"/>
                  </a:lnTo>
                  <a:lnTo>
                    <a:pt x="7680" y="414"/>
                  </a:lnTo>
                  <a:lnTo>
                    <a:pt x="7670" y="409"/>
                  </a:lnTo>
                  <a:lnTo>
                    <a:pt x="7638" y="448"/>
                  </a:lnTo>
                  <a:lnTo>
                    <a:pt x="7656" y="393"/>
                  </a:lnTo>
                  <a:lnTo>
                    <a:pt x="7614" y="422"/>
                  </a:lnTo>
                  <a:lnTo>
                    <a:pt x="7609" y="417"/>
                  </a:lnTo>
                  <a:lnTo>
                    <a:pt x="7598" y="390"/>
                  </a:lnTo>
                  <a:lnTo>
                    <a:pt x="7580" y="380"/>
                  </a:lnTo>
                  <a:lnTo>
                    <a:pt x="7569" y="404"/>
                  </a:lnTo>
                  <a:lnTo>
                    <a:pt x="7553" y="402"/>
                  </a:lnTo>
                  <a:lnTo>
                    <a:pt x="7535" y="380"/>
                  </a:lnTo>
                  <a:lnTo>
                    <a:pt x="7526" y="417"/>
                  </a:lnTo>
                  <a:lnTo>
                    <a:pt x="7514" y="430"/>
                  </a:lnTo>
                  <a:lnTo>
                    <a:pt x="7487" y="401"/>
                  </a:lnTo>
                  <a:lnTo>
                    <a:pt x="7479" y="423"/>
                  </a:lnTo>
                  <a:lnTo>
                    <a:pt x="7477" y="452"/>
                  </a:lnTo>
                  <a:lnTo>
                    <a:pt x="7456" y="451"/>
                  </a:lnTo>
                  <a:lnTo>
                    <a:pt x="7439" y="480"/>
                  </a:lnTo>
                  <a:lnTo>
                    <a:pt x="7419" y="441"/>
                  </a:lnTo>
                  <a:lnTo>
                    <a:pt x="7392" y="460"/>
                  </a:lnTo>
                  <a:lnTo>
                    <a:pt x="7386" y="423"/>
                  </a:lnTo>
                  <a:lnTo>
                    <a:pt x="7376" y="457"/>
                  </a:lnTo>
                  <a:lnTo>
                    <a:pt x="7350" y="409"/>
                  </a:lnTo>
                  <a:lnTo>
                    <a:pt x="7336" y="423"/>
                  </a:lnTo>
                  <a:lnTo>
                    <a:pt x="7318" y="423"/>
                  </a:lnTo>
                  <a:lnTo>
                    <a:pt x="7313" y="459"/>
                  </a:lnTo>
                  <a:lnTo>
                    <a:pt x="7294" y="443"/>
                  </a:lnTo>
                  <a:lnTo>
                    <a:pt x="7281" y="436"/>
                  </a:lnTo>
                  <a:lnTo>
                    <a:pt x="7263" y="460"/>
                  </a:lnTo>
                  <a:lnTo>
                    <a:pt x="7247" y="451"/>
                  </a:lnTo>
                  <a:lnTo>
                    <a:pt x="7246" y="472"/>
                  </a:lnTo>
                  <a:lnTo>
                    <a:pt x="7209" y="452"/>
                  </a:lnTo>
                  <a:lnTo>
                    <a:pt x="7209" y="475"/>
                  </a:lnTo>
                  <a:lnTo>
                    <a:pt x="7198" y="477"/>
                  </a:lnTo>
                  <a:lnTo>
                    <a:pt x="7185" y="467"/>
                  </a:lnTo>
                  <a:lnTo>
                    <a:pt x="7181" y="525"/>
                  </a:lnTo>
                  <a:lnTo>
                    <a:pt x="7154" y="483"/>
                  </a:lnTo>
                  <a:lnTo>
                    <a:pt x="7146" y="510"/>
                  </a:lnTo>
                  <a:lnTo>
                    <a:pt x="7128" y="512"/>
                  </a:lnTo>
                  <a:lnTo>
                    <a:pt x="7117" y="538"/>
                  </a:lnTo>
                  <a:lnTo>
                    <a:pt x="7103" y="506"/>
                  </a:lnTo>
                  <a:lnTo>
                    <a:pt x="7079" y="546"/>
                  </a:lnTo>
                  <a:lnTo>
                    <a:pt x="7059" y="538"/>
                  </a:lnTo>
                  <a:lnTo>
                    <a:pt x="7038" y="533"/>
                  </a:lnTo>
                  <a:lnTo>
                    <a:pt x="7045" y="496"/>
                  </a:lnTo>
                  <a:lnTo>
                    <a:pt x="7014" y="512"/>
                  </a:lnTo>
                  <a:lnTo>
                    <a:pt x="7016" y="494"/>
                  </a:lnTo>
                  <a:lnTo>
                    <a:pt x="7005" y="489"/>
                  </a:lnTo>
                  <a:lnTo>
                    <a:pt x="6997" y="520"/>
                  </a:lnTo>
                  <a:lnTo>
                    <a:pt x="6958" y="467"/>
                  </a:lnTo>
                  <a:lnTo>
                    <a:pt x="6968" y="512"/>
                  </a:lnTo>
                  <a:lnTo>
                    <a:pt x="6966" y="531"/>
                  </a:lnTo>
                  <a:lnTo>
                    <a:pt x="6924" y="509"/>
                  </a:lnTo>
                  <a:lnTo>
                    <a:pt x="6931" y="554"/>
                  </a:lnTo>
                  <a:lnTo>
                    <a:pt x="6923" y="517"/>
                  </a:lnTo>
                  <a:lnTo>
                    <a:pt x="6894" y="535"/>
                  </a:lnTo>
                  <a:lnTo>
                    <a:pt x="6884" y="523"/>
                  </a:lnTo>
                  <a:lnTo>
                    <a:pt x="6882" y="525"/>
                  </a:lnTo>
                  <a:lnTo>
                    <a:pt x="6886" y="530"/>
                  </a:lnTo>
                  <a:lnTo>
                    <a:pt x="6844" y="507"/>
                  </a:lnTo>
                  <a:lnTo>
                    <a:pt x="6829" y="514"/>
                  </a:lnTo>
                  <a:lnTo>
                    <a:pt x="6837" y="551"/>
                  </a:lnTo>
                  <a:lnTo>
                    <a:pt x="6820" y="518"/>
                  </a:lnTo>
                  <a:lnTo>
                    <a:pt x="6804" y="556"/>
                  </a:lnTo>
                  <a:lnTo>
                    <a:pt x="6789" y="539"/>
                  </a:lnTo>
                  <a:lnTo>
                    <a:pt x="6775" y="538"/>
                  </a:lnTo>
                  <a:lnTo>
                    <a:pt x="6760" y="536"/>
                  </a:lnTo>
                  <a:lnTo>
                    <a:pt x="6739" y="543"/>
                  </a:lnTo>
                  <a:lnTo>
                    <a:pt x="6741" y="502"/>
                  </a:lnTo>
                  <a:lnTo>
                    <a:pt x="6723" y="515"/>
                  </a:lnTo>
                  <a:lnTo>
                    <a:pt x="6709" y="525"/>
                  </a:lnTo>
                  <a:lnTo>
                    <a:pt x="6694" y="554"/>
                  </a:lnTo>
                  <a:lnTo>
                    <a:pt x="6697" y="504"/>
                  </a:lnTo>
                  <a:lnTo>
                    <a:pt x="6677" y="509"/>
                  </a:lnTo>
                  <a:lnTo>
                    <a:pt x="6651" y="528"/>
                  </a:lnTo>
                  <a:lnTo>
                    <a:pt x="6652" y="535"/>
                  </a:lnTo>
                  <a:lnTo>
                    <a:pt x="6648" y="531"/>
                  </a:lnTo>
                  <a:lnTo>
                    <a:pt x="6643" y="533"/>
                  </a:lnTo>
                  <a:lnTo>
                    <a:pt x="6644" y="528"/>
                  </a:lnTo>
                  <a:lnTo>
                    <a:pt x="6617" y="509"/>
                  </a:lnTo>
                  <a:lnTo>
                    <a:pt x="6601" y="510"/>
                  </a:lnTo>
                  <a:lnTo>
                    <a:pt x="6601" y="543"/>
                  </a:lnTo>
                  <a:lnTo>
                    <a:pt x="6588" y="527"/>
                  </a:lnTo>
                  <a:lnTo>
                    <a:pt x="6575" y="518"/>
                  </a:lnTo>
                  <a:lnTo>
                    <a:pt x="6551" y="522"/>
                  </a:lnTo>
                  <a:lnTo>
                    <a:pt x="6556" y="477"/>
                  </a:lnTo>
                  <a:lnTo>
                    <a:pt x="6543" y="512"/>
                  </a:lnTo>
                  <a:lnTo>
                    <a:pt x="6535" y="535"/>
                  </a:lnTo>
                  <a:lnTo>
                    <a:pt x="6503" y="499"/>
                  </a:lnTo>
                  <a:lnTo>
                    <a:pt x="6493" y="535"/>
                  </a:lnTo>
                  <a:lnTo>
                    <a:pt x="6476" y="502"/>
                  </a:lnTo>
                  <a:lnTo>
                    <a:pt x="6463" y="501"/>
                  </a:lnTo>
                  <a:lnTo>
                    <a:pt x="6451" y="489"/>
                  </a:lnTo>
                  <a:lnTo>
                    <a:pt x="6429" y="512"/>
                  </a:lnTo>
                  <a:lnTo>
                    <a:pt x="6414" y="533"/>
                  </a:lnTo>
                  <a:lnTo>
                    <a:pt x="6394" y="485"/>
                  </a:lnTo>
                  <a:lnTo>
                    <a:pt x="6390" y="541"/>
                  </a:lnTo>
                  <a:lnTo>
                    <a:pt x="6371" y="488"/>
                  </a:lnTo>
                  <a:lnTo>
                    <a:pt x="6358" y="496"/>
                  </a:lnTo>
                  <a:lnTo>
                    <a:pt x="6345" y="481"/>
                  </a:lnTo>
                  <a:lnTo>
                    <a:pt x="6321" y="506"/>
                  </a:lnTo>
                  <a:lnTo>
                    <a:pt x="6313" y="509"/>
                  </a:lnTo>
                  <a:lnTo>
                    <a:pt x="6295" y="509"/>
                  </a:lnTo>
                  <a:lnTo>
                    <a:pt x="6289" y="525"/>
                  </a:lnTo>
                  <a:lnTo>
                    <a:pt x="6271" y="554"/>
                  </a:lnTo>
                  <a:lnTo>
                    <a:pt x="6244" y="539"/>
                  </a:lnTo>
                  <a:lnTo>
                    <a:pt x="6271" y="486"/>
                  </a:lnTo>
                  <a:lnTo>
                    <a:pt x="6225" y="515"/>
                  </a:lnTo>
                  <a:lnTo>
                    <a:pt x="6236" y="469"/>
                  </a:lnTo>
                  <a:lnTo>
                    <a:pt x="6213" y="499"/>
                  </a:lnTo>
                  <a:lnTo>
                    <a:pt x="6197" y="504"/>
                  </a:lnTo>
                  <a:lnTo>
                    <a:pt x="6181" y="457"/>
                  </a:lnTo>
                  <a:lnTo>
                    <a:pt x="6167" y="485"/>
                  </a:lnTo>
                  <a:lnTo>
                    <a:pt x="6152" y="506"/>
                  </a:lnTo>
                  <a:lnTo>
                    <a:pt x="6135" y="514"/>
                  </a:lnTo>
                  <a:lnTo>
                    <a:pt x="6123" y="464"/>
                  </a:lnTo>
                  <a:lnTo>
                    <a:pt x="6107" y="469"/>
                  </a:lnTo>
                  <a:lnTo>
                    <a:pt x="6090" y="457"/>
                  </a:lnTo>
                  <a:lnTo>
                    <a:pt x="6070" y="460"/>
                  </a:lnTo>
                  <a:lnTo>
                    <a:pt x="6061" y="514"/>
                  </a:lnTo>
                  <a:lnTo>
                    <a:pt x="6048" y="506"/>
                  </a:lnTo>
                  <a:lnTo>
                    <a:pt x="6027" y="498"/>
                  </a:lnTo>
                  <a:lnTo>
                    <a:pt x="6025" y="533"/>
                  </a:lnTo>
                  <a:lnTo>
                    <a:pt x="5996" y="536"/>
                  </a:lnTo>
                  <a:lnTo>
                    <a:pt x="5974" y="525"/>
                  </a:lnTo>
                  <a:lnTo>
                    <a:pt x="5963" y="504"/>
                  </a:lnTo>
                  <a:lnTo>
                    <a:pt x="5950" y="469"/>
                  </a:lnTo>
                  <a:lnTo>
                    <a:pt x="5938" y="518"/>
                  </a:lnTo>
                  <a:lnTo>
                    <a:pt x="5922" y="525"/>
                  </a:lnTo>
                  <a:lnTo>
                    <a:pt x="5903" y="496"/>
                  </a:lnTo>
                  <a:lnTo>
                    <a:pt x="5908" y="481"/>
                  </a:lnTo>
                  <a:lnTo>
                    <a:pt x="5861" y="515"/>
                  </a:lnTo>
                  <a:lnTo>
                    <a:pt x="5864" y="489"/>
                  </a:lnTo>
                  <a:lnTo>
                    <a:pt x="5855" y="483"/>
                  </a:lnTo>
                  <a:lnTo>
                    <a:pt x="5842" y="486"/>
                  </a:lnTo>
                  <a:lnTo>
                    <a:pt x="5824" y="465"/>
                  </a:lnTo>
                  <a:lnTo>
                    <a:pt x="5805" y="465"/>
                  </a:lnTo>
                  <a:lnTo>
                    <a:pt x="5784" y="472"/>
                  </a:lnTo>
                  <a:lnTo>
                    <a:pt x="5792" y="506"/>
                  </a:lnTo>
                  <a:lnTo>
                    <a:pt x="5774" y="509"/>
                  </a:lnTo>
                  <a:lnTo>
                    <a:pt x="5758" y="506"/>
                  </a:lnTo>
                  <a:lnTo>
                    <a:pt x="5744" y="517"/>
                  </a:lnTo>
                  <a:lnTo>
                    <a:pt x="5731" y="506"/>
                  </a:lnTo>
                  <a:lnTo>
                    <a:pt x="5725" y="485"/>
                  </a:lnTo>
                  <a:lnTo>
                    <a:pt x="5713" y="486"/>
                  </a:lnTo>
                  <a:lnTo>
                    <a:pt x="5699" y="480"/>
                  </a:lnTo>
                  <a:lnTo>
                    <a:pt x="5700" y="456"/>
                  </a:lnTo>
                  <a:lnTo>
                    <a:pt x="5676" y="443"/>
                  </a:lnTo>
                  <a:lnTo>
                    <a:pt x="5657" y="489"/>
                  </a:lnTo>
                  <a:lnTo>
                    <a:pt x="5641" y="488"/>
                  </a:lnTo>
                  <a:lnTo>
                    <a:pt x="5623" y="486"/>
                  </a:lnTo>
                  <a:lnTo>
                    <a:pt x="5610" y="501"/>
                  </a:lnTo>
                  <a:lnTo>
                    <a:pt x="5586" y="469"/>
                  </a:lnTo>
                  <a:lnTo>
                    <a:pt x="5573" y="515"/>
                  </a:lnTo>
                  <a:lnTo>
                    <a:pt x="5554" y="499"/>
                  </a:lnTo>
                  <a:lnTo>
                    <a:pt x="5540" y="491"/>
                  </a:lnTo>
                  <a:lnTo>
                    <a:pt x="5532" y="464"/>
                  </a:lnTo>
                  <a:lnTo>
                    <a:pt x="5516" y="478"/>
                  </a:lnTo>
                  <a:lnTo>
                    <a:pt x="5498" y="478"/>
                  </a:lnTo>
                  <a:lnTo>
                    <a:pt x="5485" y="501"/>
                  </a:lnTo>
                  <a:lnTo>
                    <a:pt x="5467" y="481"/>
                  </a:lnTo>
                  <a:lnTo>
                    <a:pt x="5453" y="506"/>
                  </a:lnTo>
                  <a:lnTo>
                    <a:pt x="5438" y="489"/>
                  </a:lnTo>
                  <a:lnTo>
                    <a:pt x="5427" y="504"/>
                  </a:lnTo>
                  <a:lnTo>
                    <a:pt x="5413" y="517"/>
                  </a:lnTo>
                  <a:lnTo>
                    <a:pt x="5387" y="525"/>
                  </a:lnTo>
                  <a:lnTo>
                    <a:pt x="5392" y="478"/>
                  </a:lnTo>
                  <a:lnTo>
                    <a:pt x="5372" y="480"/>
                  </a:lnTo>
                  <a:lnTo>
                    <a:pt x="5355" y="478"/>
                  </a:lnTo>
                  <a:lnTo>
                    <a:pt x="5352" y="451"/>
                  </a:lnTo>
                  <a:lnTo>
                    <a:pt x="5335" y="435"/>
                  </a:lnTo>
                  <a:lnTo>
                    <a:pt x="5316" y="446"/>
                  </a:lnTo>
                  <a:lnTo>
                    <a:pt x="5295" y="469"/>
                  </a:lnTo>
                  <a:lnTo>
                    <a:pt x="5284" y="443"/>
                  </a:lnTo>
                  <a:lnTo>
                    <a:pt x="5268" y="446"/>
                  </a:lnTo>
                  <a:lnTo>
                    <a:pt x="5255" y="481"/>
                  </a:lnTo>
                  <a:lnTo>
                    <a:pt x="5239" y="465"/>
                  </a:lnTo>
                  <a:lnTo>
                    <a:pt x="5215" y="452"/>
                  </a:lnTo>
                  <a:lnTo>
                    <a:pt x="5204" y="472"/>
                  </a:lnTo>
                  <a:lnTo>
                    <a:pt x="5189" y="480"/>
                  </a:lnTo>
                  <a:lnTo>
                    <a:pt x="5167" y="456"/>
                  </a:lnTo>
                  <a:lnTo>
                    <a:pt x="5157" y="470"/>
                  </a:lnTo>
                  <a:lnTo>
                    <a:pt x="5147" y="459"/>
                  </a:lnTo>
                  <a:lnTo>
                    <a:pt x="5114" y="488"/>
                  </a:lnTo>
                  <a:lnTo>
                    <a:pt x="5101" y="478"/>
                  </a:lnTo>
                  <a:lnTo>
                    <a:pt x="5099" y="441"/>
                  </a:lnTo>
                  <a:lnTo>
                    <a:pt x="5073" y="460"/>
                  </a:lnTo>
                  <a:lnTo>
                    <a:pt x="5065" y="449"/>
                  </a:lnTo>
                  <a:lnTo>
                    <a:pt x="5041" y="428"/>
                  </a:lnTo>
                  <a:lnTo>
                    <a:pt x="5024" y="430"/>
                  </a:lnTo>
                  <a:lnTo>
                    <a:pt x="5017" y="449"/>
                  </a:lnTo>
                  <a:lnTo>
                    <a:pt x="4990" y="475"/>
                  </a:lnTo>
                  <a:lnTo>
                    <a:pt x="4991" y="433"/>
                  </a:lnTo>
                  <a:lnTo>
                    <a:pt x="4972" y="423"/>
                  </a:lnTo>
                  <a:lnTo>
                    <a:pt x="4951" y="431"/>
                  </a:lnTo>
                  <a:lnTo>
                    <a:pt x="4935" y="435"/>
                  </a:lnTo>
                  <a:lnTo>
                    <a:pt x="4922" y="451"/>
                  </a:lnTo>
                  <a:lnTo>
                    <a:pt x="4896" y="433"/>
                  </a:lnTo>
                  <a:lnTo>
                    <a:pt x="4879" y="438"/>
                  </a:lnTo>
                  <a:lnTo>
                    <a:pt x="4880" y="489"/>
                  </a:lnTo>
                  <a:lnTo>
                    <a:pt x="4861" y="481"/>
                  </a:lnTo>
                  <a:lnTo>
                    <a:pt x="4845" y="469"/>
                  </a:lnTo>
                  <a:lnTo>
                    <a:pt x="4827" y="485"/>
                  </a:lnTo>
                  <a:lnTo>
                    <a:pt x="4805" y="486"/>
                  </a:lnTo>
                  <a:lnTo>
                    <a:pt x="4800" y="457"/>
                  </a:lnTo>
                  <a:lnTo>
                    <a:pt x="4782" y="456"/>
                  </a:lnTo>
                  <a:lnTo>
                    <a:pt x="4782" y="431"/>
                  </a:lnTo>
                  <a:lnTo>
                    <a:pt x="4760" y="433"/>
                  </a:lnTo>
                  <a:lnTo>
                    <a:pt x="4729" y="441"/>
                  </a:lnTo>
                  <a:lnTo>
                    <a:pt x="4739" y="404"/>
                  </a:lnTo>
                  <a:lnTo>
                    <a:pt x="4732" y="423"/>
                  </a:lnTo>
                  <a:lnTo>
                    <a:pt x="4695" y="411"/>
                  </a:lnTo>
                  <a:lnTo>
                    <a:pt x="4732" y="462"/>
                  </a:lnTo>
                  <a:lnTo>
                    <a:pt x="4707" y="459"/>
                  </a:lnTo>
                  <a:lnTo>
                    <a:pt x="4687" y="456"/>
                  </a:lnTo>
                  <a:lnTo>
                    <a:pt x="4676" y="443"/>
                  </a:lnTo>
                  <a:lnTo>
                    <a:pt x="4658" y="477"/>
                  </a:lnTo>
                  <a:lnTo>
                    <a:pt x="4650" y="444"/>
                  </a:lnTo>
                  <a:lnTo>
                    <a:pt x="4654" y="428"/>
                  </a:lnTo>
                  <a:lnTo>
                    <a:pt x="4620" y="441"/>
                  </a:lnTo>
                  <a:lnTo>
                    <a:pt x="4613" y="425"/>
                  </a:lnTo>
                  <a:lnTo>
                    <a:pt x="4589" y="448"/>
                  </a:lnTo>
                  <a:lnTo>
                    <a:pt x="4585" y="433"/>
                  </a:lnTo>
                  <a:lnTo>
                    <a:pt x="4564" y="402"/>
                  </a:lnTo>
                  <a:lnTo>
                    <a:pt x="4556" y="440"/>
                  </a:lnTo>
                  <a:lnTo>
                    <a:pt x="4538" y="438"/>
                  </a:lnTo>
                  <a:lnTo>
                    <a:pt x="4509" y="412"/>
                  </a:lnTo>
                  <a:lnTo>
                    <a:pt x="4507" y="430"/>
                  </a:lnTo>
                  <a:lnTo>
                    <a:pt x="4491" y="433"/>
                  </a:lnTo>
                  <a:lnTo>
                    <a:pt x="4474" y="427"/>
                  </a:lnTo>
                  <a:lnTo>
                    <a:pt x="4457" y="419"/>
                  </a:lnTo>
                  <a:lnTo>
                    <a:pt x="4451" y="388"/>
                  </a:lnTo>
                  <a:lnTo>
                    <a:pt x="4435" y="382"/>
                  </a:lnTo>
                  <a:lnTo>
                    <a:pt x="4419" y="423"/>
                  </a:lnTo>
                  <a:lnTo>
                    <a:pt x="4417" y="425"/>
                  </a:lnTo>
                  <a:lnTo>
                    <a:pt x="4372" y="407"/>
                  </a:lnTo>
                  <a:lnTo>
                    <a:pt x="4395" y="446"/>
                  </a:lnTo>
                  <a:lnTo>
                    <a:pt x="4372" y="438"/>
                  </a:lnTo>
                  <a:lnTo>
                    <a:pt x="4369" y="475"/>
                  </a:lnTo>
                  <a:lnTo>
                    <a:pt x="4358" y="440"/>
                  </a:lnTo>
                  <a:lnTo>
                    <a:pt x="4332" y="460"/>
                  </a:lnTo>
                  <a:lnTo>
                    <a:pt x="4316" y="459"/>
                  </a:lnTo>
                  <a:lnTo>
                    <a:pt x="4313" y="441"/>
                  </a:lnTo>
                  <a:lnTo>
                    <a:pt x="4308" y="414"/>
                  </a:lnTo>
                  <a:lnTo>
                    <a:pt x="4289" y="419"/>
                  </a:lnTo>
                  <a:lnTo>
                    <a:pt x="4271" y="401"/>
                  </a:lnTo>
                  <a:lnTo>
                    <a:pt x="4247" y="402"/>
                  </a:lnTo>
                  <a:lnTo>
                    <a:pt x="4261" y="448"/>
                  </a:lnTo>
                  <a:lnTo>
                    <a:pt x="4245" y="449"/>
                  </a:lnTo>
                  <a:lnTo>
                    <a:pt x="4226" y="435"/>
                  </a:lnTo>
                  <a:lnTo>
                    <a:pt x="4202" y="460"/>
                  </a:lnTo>
                  <a:lnTo>
                    <a:pt x="4184" y="460"/>
                  </a:lnTo>
                  <a:lnTo>
                    <a:pt x="4183" y="454"/>
                  </a:lnTo>
                  <a:lnTo>
                    <a:pt x="4160" y="449"/>
                  </a:lnTo>
                  <a:lnTo>
                    <a:pt x="4165" y="478"/>
                  </a:lnTo>
                  <a:lnTo>
                    <a:pt x="4134" y="460"/>
                  </a:lnTo>
                  <a:lnTo>
                    <a:pt x="4131" y="446"/>
                  </a:lnTo>
                  <a:lnTo>
                    <a:pt x="4126" y="428"/>
                  </a:lnTo>
                  <a:lnTo>
                    <a:pt x="4115" y="420"/>
                  </a:lnTo>
                  <a:lnTo>
                    <a:pt x="4088" y="428"/>
                  </a:lnTo>
                  <a:lnTo>
                    <a:pt x="4072" y="428"/>
                  </a:lnTo>
                  <a:lnTo>
                    <a:pt x="4059" y="465"/>
                  </a:lnTo>
                  <a:lnTo>
                    <a:pt x="4043" y="425"/>
                  </a:lnTo>
                  <a:lnTo>
                    <a:pt x="4023" y="433"/>
                  </a:lnTo>
                  <a:lnTo>
                    <a:pt x="4019" y="402"/>
                  </a:lnTo>
                  <a:lnTo>
                    <a:pt x="4004" y="383"/>
                  </a:lnTo>
                  <a:lnTo>
                    <a:pt x="3978" y="414"/>
                  </a:lnTo>
                  <a:lnTo>
                    <a:pt x="3969" y="383"/>
                  </a:lnTo>
                  <a:lnTo>
                    <a:pt x="3956" y="427"/>
                  </a:lnTo>
                  <a:lnTo>
                    <a:pt x="3928" y="409"/>
                  </a:lnTo>
                  <a:lnTo>
                    <a:pt x="3908" y="411"/>
                  </a:lnTo>
                  <a:lnTo>
                    <a:pt x="3898" y="422"/>
                  </a:lnTo>
                  <a:lnTo>
                    <a:pt x="3930" y="465"/>
                  </a:lnTo>
                  <a:lnTo>
                    <a:pt x="3893" y="444"/>
                  </a:lnTo>
                  <a:lnTo>
                    <a:pt x="3887" y="467"/>
                  </a:lnTo>
                  <a:lnTo>
                    <a:pt x="3871" y="481"/>
                  </a:lnTo>
                  <a:lnTo>
                    <a:pt x="3866" y="435"/>
                  </a:lnTo>
                  <a:lnTo>
                    <a:pt x="3832" y="467"/>
                  </a:lnTo>
                  <a:lnTo>
                    <a:pt x="3827" y="440"/>
                  </a:lnTo>
                  <a:lnTo>
                    <a:pt x="3821" y="414"/>
                  </a:lnTo>
                  <a:lnTo>
                    <a:pt x="3803" y="406"/>
                  </a:lnTo>
                  <a:lnTo>
                    <a:pt x="3787" y="399"/>
                  </a:lnTo>
                  <a:lnTo>
                    <a:pt x="3763" y="415"/>
                  </a:lnTo>
                  <a:lnTo>
                    <a:pt x="3734" y="394"/>
                  </a:lnTo>
                  <a:lnTo>
                    <a:pt x="3745" y="452"/>
                  </a:lnTo>
                  <a:lnTo>
                    <a:pt x="3710" y="417"/>
                  </a:lnTo>
                  <a:lnTo>
                    <a:pt x="3697" y="420"/>
                  </a:lnTo>
                  <a:lnTo>
                    <a:pt x="3686" y="438"/>
                  </a:lnTo>
                  <a:lnTo>
                    <a:pt x="3668" y="462"/>
                  </a:lnTo>
                  <a:lnTo>
                    <a:pt x="3653" y="440"/>
                  </a:lnTo>
                  <a:lnTo>
                    <a:pt x="3642" y="425"/>
                  </a:lnTo>
                  <a:lnTo>
                    <a:pt x="3626" y="456"/>
                  </a:lnTo>
                  <a:lnTo>
                    <a:pt x="3604" y="422"/>
                  </a:lnTo>
                  <a:lnTo>
                    <a:pt x="3605" y="449"/>
                  </a:lnTo>
                  <a:lnTo>
                    <a:pt x="3602" y="469"/>
                  </a:lnTo>
                  <a:lnTo>
                    <a:pt x="3576" y="435"/>
                  </a:lnTo>
                  <a:lnTo>
                    <a:pt x="3554" y="469"/>
                  </a:lnTo>
                  <a:lnTo>
                    <a:pt x="3546" y="448"/>
                  </a:lnTo>
                  <a:lnTo>
                    <a:pt x="3533" y="462"/>
                  </a:lnTo>
                  <a:lnTo>
                    <a:pt x="3510" y="436"/>
                  </a:lnTo>
                  <a:lnTo>
                    <a:pt x="3525" y="477"/>
                  </a:lnTo>
                  <a:lnTo>
                    <a:pt x="3504" y="475"/>
                  </a:lnTo>
                  <a:lnTo>
                    <a:pt x="3483" y="489"/>
                  </a:lnTo>
                  <a:lnTo>
                    <a:pt x="3457" y="481"/>
                  </a:lnTo>
                  <a:lnTo>
                    <a:pt x="3448" y="469"/>
                  </a:lnTo>
                  <a:lnTo>
                    <a:pt x="3446" y="448"/>
                  </a:lnTo>
                  <a:lnTo>
                    <a:pt x="3438" y="440"/>
                  </a:lnTo>
                  <a:lnTo>
                    <a:pt x="3430" y="452"/>
                  </a:lnTo>
                  <a:lnTo>
                    <a:pt x="3422" y="477"/>
                  </a:lnTo>
                  <a:lnTo>
                    <a:pt x="3395" y="464"/>
                  </a:lnTo>
                  <a:lnTo>
                    <a:pt x="3372" y="435"/>
                  </a:lnTo>
                  <a:lnTo>
                    <a:pt x="3364" y="478"/>
                  </a:lnTo>
                  <a:lnTo>
                    <a:pt x="3343" y="494"/>
                  </a:lnTo>
                  <a:lnTo>
                    <a:pt x="3330" y="460"/>
                  </a:lnTo>
                  <a:lnTo>
                    <a:pt x="3308" y="481"/>
                  </a:lnTo>
                  <a:lnTo>
                    <a:pt x="3300" y="462"/>
                  </a:lnTo>
                  <a:lnTo>
                    <a:pt x="3277" y="443"/>
                  </a:lnTo>
                  <a:lnTo>
                    <a:pt x="3272" y="477"/>
                  </a:lnTo>
                  <a:lnTo>
                    <a:pt x="3256" y="448"/>
                  </a:lnTo>
                  <a:lnTo>
                    <a:pt x="3258" y="441"/>
                  </a:lnTo>
                  <a:lnTo>
                    <a:pt x="3206" y="469"/>
                  </a:lnTo>
                  <a:lnTo>
                    <a:pt x="3208" y="446"/>
                  </a:lnTo>
                  <a:lnTo>
                    <a:pt x="3208" y="415"/>
                  </a:lnTo>
                  <a:lnTo>
                    <a:pt x="3182" y="414"/>
                  </a:lnTo>
                  <a:lnTo>
                    <a:pt x="3176" y="440"/>
                  </a:lnTo>
                  <a:lnTo>
                    <a:pt x="3160" y="459"/>
                  </a:lnTo>
                  <a:lnTo>
                    <a:pt x="3152" y="423"/>
                  </a:lnTo>
                  <a:lnTo>
                    <a:pt x="3116" y="452"/>
                  </a:lnTo>
                  <a:lnTo>
                    <a:pt x="3112" y="428"/>
                  </a:lnTo>
                  <a:lnTo>
                    <a:pt x="3099" y="391"/>
                  </a:lnTo>
                  <a:lnTo>
                    <a:pt x="3083" y="417"/>
                  </a:lnTo>
                  <a:lnTo>
                    <a:pt x="3068" y="419"/>
                  </a:lnTo>
                  <a:lnTo>
                    <a:pt x="3052" y="420"/>
                  </a:lnTo>
                  <a:lnTo>
                    <a:pt x="3038" y="428"/>
                  </a:lnTo>
                  <a:lnTo>
                    <a:pt x="3022" y="428"/>
                  </a:lnTo>
                  <a:lnTo>
                    <a:pt x="3005" y="440"/>
                  </a:lnTo>
                  <a:lnTo>
                    <a:pt x="2991" y="399"/>
                  </a:lnTo>
                  <a:lnTo>
                    <a:pt x="2970" y="407"/>
                  </a:lnTo>
                  <a:lnTo>
                    <a:pt x="2952" y="420"/>
                  </a:lnTo>
                  <a:lnTo>
                    <a:pt x="2959" y="467"/>
                  </a:lnTo>
                  <a:lnTo>
                    <a:pt x="2925" y="431"/>
                  </a:lnTo>
                  <a:lnTo>
                    <a:pt x="2901" y="473"/>
                  </a:lnTo>
                  <a:lnTo>
                    <a:pt x="2901" y="427"/>
                  </a:lnTo>
                  <a:lnTo>
                    <a:pt x="2886" y="423"/>
                  </a:lnTo>
                  <a:lnTo>
                    <a:pt x="2867" y="422"/>
                  </a:lnTo>
                  <a:lnTo>
                    <a:pt x="2841" y="425"/>
                  </a:lnTo>
                  <a:lnTo>
                    <a:pt x="2838" y="388"/>
                  </a:lnTo>
                  <a:lnTo>
                    <a:pt x="2833" y="422"/>
                  </a:lnTo>
                  <a:lnTo>
                    <a:pt x="2800" y="401"/>
                  </a:lnTo>
                  <a:lnTo>
                    <a:pt x="2795" y="420"/>
                  </a:lnTo>
                  <a:lnTo>
                    <a:pt x="2788" y="438"/>
                  </a:lnTo>
                  <a:lnTo>
                    <a:pt x="2795" y="406"/>
                  </a:lnTo>
                  <a:lnTo>
                    <a:pt x="2764" y="419"/>
                  </a:lnTo>
                  <a:lnTo>
                    <a:pt x="2747" y="417"/>
                  </a:lnTo>
                  <a:lnTo>
                    <a:pt x="2745" y="388"/>
                  </a:lnTo>
                  <a:lnTo>
                    <a:pt x="2722" y="386"/>
                  </a:lnTo>
                  <a:lnTo>
                    <a:pt x="2703" y="377"/>
                  </a:lnTo>
                  <a:lnTo>
                    <a:pt x="2698" y="422"/>
                  </a:lnTo>
                  <a:lnTo>
                    <a:pt x="2684" y="436"/>
                  </a:lnTo>
                  <a:lnTo>
                    <a:pt x="2666" y="419"/>
                  </a:lnTo>
                  <a:lnTo>
                    <a:pt x="2648" y="412"/>
                  </a:lnTo>
                  <a:lnTo>
                    <a:pt x="2644" y="446"/>
                  </a:lnTo>
                  <a:lnTo>
                    <a:pt x="2623" y="443"/>
                  </a:lnTo>
                  <a:lnTo>
                    <a:pt x="2603" y="462"/>
                  </a:lnTo>
                  <a:lnTo>
                    <a:pt x="2595" y="404"/>
                  </a:lnTo>
                  <a:lnTo>
                    <a:pt x="2566" y="444"/>
                  </a:lnTo>
                  <a:lnTo>
                    <a:pt x="2557" y="420"/>
                  </a:lnTo>
                  <a:lnTo>
                    <a:pt x="2539" y="422"/>
                  </a:lnTo>
                  <a:lnTo>
                    <a:pt x="2528" y="446"/>
                  </a:lnTo>
                  <a:lnTo>
                    <a:pt x="2509" y="462"/>
                  </a:lnTo>
                  <a:lnTo>
                    <a:pt x="2497" y="422"/>
                  </a:lnTo>
                  <a:lnTo>
                    <a:pt x="2470" y="454"/>
                  </a:lnTo>
                  <a:lnTo>
                    <a:pt x="2465" y="396"/>
                  </a:lnTo>
                  <a:lnTo>
                    <a:pt x="2446" y="409"/>
                  </a:lnTo>
                  <a:lnTo>
                    <a:pt x="2435" y="448"/>
                  </a:lnTo>
                  <a:lnTo>
                    <a:pt x="2420" y="406"/>
                  </a:lnTo>
                  <a:lnTo>
                    <a:pt x="2407" y="409"/>
                  </a:lnTo>
                  <a:lnTo>
                    <a:pt x="2386" y="412"/>
                  </a:lnTo>
                  <a:lnTo>
                    <a:pt x="2374" y="382"/>
                  </a:lnTo>
                  <a:lnTo>
                    <a:pt x="2353" y="399"/>
                  </a:lnTo>
                  <a:lnTo>
                    <a:pt x="2333" y="391"/>
                  </a:lnTo>
                  <a:lnTo>
                    <a:pt x="2324" y="411"/>
                  </a:lnTo>
                  <a:lnTo>
                    <a:pt x="2312" y="402"/>
                  </a:lnTo>
                  <a:lnTo>
                    <a:pt x="2308" y="380"/>
                  </a:lnTo>
                  <a:lnTo>
                    <a:pt x="2272" y="402"/>
                  </a:lnTo>
                  <a:lnTo>
                    <a:pt x="2274" y="353"/>
                  </a:lnTo>
                  <a:lnTo>
                    <a:pt x="2250" y="382"/>
                  </a:lnTo>
                  <a:lnTo>
                    <a:pt x="2226" y="398"/>
                  </a:lnTo>
                  <a:lnTo>
                    <a:pt x="2219" y="370"/>
                  </a:lnTo>
                  <a:lnTo>
                    <a:pt x="2197" y="375"/>
                  </a:lnTo>
                  <a:lnTo>
                    <a:pt x="2193" y="325"/>
                  </a:lnTo>
                  <a:lnTo>
                    <a:pt x="2184" y="377"/>
                  </a:lnTo>
                  <a:lnTo>
                    <a:pt x="2158" y="362"/>
                  </a:lnTo>
                  <a:lnTo>
                    <a:pt x="2140" y="388"/>
                  </a:lnTo>
                  <a:lnTo>
                    <a:pt x="2115" y="377"/>
                  </a:lnTo>
                  <a:lnTo>
                    <a:pt x="2131" y="343"/>
                  </a:lnTo>
                  <a:lnTo>
                    <a:pt x="2134" y="320"/>
                  </a:lnTo>
                  <a:lnTo>
                    <a:pt x="2099" y="353"/>
                  </a:lnTo>
                  <a:lnTo>
                    <a:pt x="2094" y="341"/>
                  </a:lnTo>
                  <a:lnTo>
                    <a:pt x="2087" y="361"/>
                  </a:lnTo>
                  <a:lnTo>
                    <a:pt x="2057" y="328"/>
                  </a:lnTo>
                  <a:lnTo>
                    <a:pt x="2052" y="370"/>
                  </a:lnTo>
                  <a:lnTo>
                    <a:pt x="2041" y="338"/>
                  </a:lnTo>
                  <a:lnTo>
                    <a:pt x="2015" y="361"/>
                  </a:lnTo>
                  <a:lnTo>
                    <a:pt x="2017" y="307"/>
                  </a:lnTo>
                  <a:lnTo>
                    <a:pt x="1989" y="353"/>
                  </a:lnTo>
                  <a:lnTo>
                    <a:pt x="1984" y="299"/>
                  </a:lnTo>
                  <a:lnTo>
                    <a:pt x="1960" y="332"/>
                  </a:lnTo>
                  <a:lnTo>
                    <a:pt x="1951" y="314"/>
                  </a:lnTo>
                  <a:lnTo>
                    <a:pt x="1926" y="317"/>
                  </a:lnTo>
                  <a:lnTo>
                    <a:pt x="1923" y="301"/>
                  </a:lnTo>
                  <a:lnTo>
                    <a:pt x="1898" y="290"/>
                  </a:lnTo>
                  <a:lnTo>
                    <a:pt x="1907" y="330"/>
                  </a:lnTo>
                  <a:lnTo>
                    <a:pt x="1862" y="301"/>
                  </a:lnTo>
                  <a:lnTo>
                    <a:pt x="1867" y="319"/>
                  </a:lnTo>
                  <a:lnTo>
                    <a:pt x="1859" y="325"/>
                  </a:lnTo>
                  <a:lnTo>
                    <a:pt x="1848" y="317"/>
                  </a:lnTo>
                  <a:lnTo>
                    <a:pt x="1832" y="312"/>
                  </a:lnTo>
                  <a:lnTo>
                    <a:pt x="1819" y="324"/>
                  </a:lnTo>
                  <a:lnTo>
                    <a:pt x="1814" y="309"/>
                  </a:lnTo>
                  <a:lnTo>
                    <a:pt x="1796" y="283"/>
                  </a:lnTo>
                  <a:lnTo>
                    <a:pt x="1780" y="303"/>
                  </a:lnTo>
                  <a:lnTo>
                    <a:pt x="1775" y="267"/>
                  </a:lnTo>
                  <a:lnTo>
                    <a:pt x="1745" y="309"/>
                  </a:lnTo>
                  <a:lnTo>
                    <a:pt x="1737" y="296"/>
                  </a:lnTo>
                  <a:lnTo>
                    <a:pt x="1727" y="317"/>
                  </a:lnTo>
                  <a:lnTo>
                    <a:pt x="1698" y="269"/>
                  </a:lnTo>
                  <a:lnTo>
                    <a:pt x="1688" y="296"/>
                  </a:lnTo>
                  <a:lnTo>
                    <a:pt x="1684" y="274"/>
                  </a:lnTo>
                  <a:lnTo>
                    <a:pt x="1648" y="285"/>
                  </a:lnTo>
                  <a:lnTo>
                    <a:pt x="1643" y="277"/>
                  </a:lnTo>
                  <a:lnTo>
                    <a:pt x="1632" y="259"/>
                  </a:lnTo>
                  <a:lnTo>
                    <a:pt x="1631" y="288"/>
                  </a:lnTo>
                  <a:lnTo>
                    <a:pt x="1616" y="293"/>
                  </a:lnTo>
                  <a:lnTo>
                    <a:pt x="1590" y="304"/>
                  </a:lnTo>
                  <a:lnTo>
                    <a:pt x="1581" y="275"/>
                  </a:lnTo>
                  <a:lnTo>
                    <a:pt x="1566" y="266"/>
                  </a:lnTo>
                  <a:lnTo>
                    <a:pt x="1590" y="228"/>
                  </a:lnTo>
                  <a:lnTo>
                    <a:pt x="1560" y="235"/>
                  </a:lnTo>
                  <a:lnTo>
                    <a:pt x="1544" y="237"/>
                  </a:lnTo>
                  <a:lnTo>
                    <a:pt x="1544" y="267"/>
                  </a:lnTo>
                  <a:lnTo>
                    <a:pt x="1508" y="232"/>
                  </a:lnTo>
                  <a:lnTo>
                    <a:pt x="1508" y="283"/>
                  </a:lnTo>
                  <a:lnTo>
                    <a:pt x="1484" y="283"/>
                  </a:lnTo>
                  <a:lnTo>
                    <a:pt x="1468" y="282"/>
                  </a:lnTo>
                  <a:lnTo>
                    <a:pt x="1460" y="251"/>
                  </a:lnTo>
                  <a:lnTo>
                    <a:pt x="1431" y="251"/>
                  </a:lnTo>
                  <a:lnTo>
                    <a:pt x="1442" y="224"/>
                  </a:lnTo>
                  <a:lnTo>
                    <a:pt x="1439" y="206"/>
                  </a:lnTo>
                  <a:lnTo>
                    <a:pt x="1430" y="183"/>
                  </a:lnTo>
                  <a:lnTo>
                    <a:pt x="1415" y="211"/>
                  </a:lnTo>
                  <a:lnTo>
                    <a:pt x="1388" y="190"/>
                  </a:lnTo>
                  <a:lnTo>
                    <a:pt x="1385" y="199"/>
                  </a:lnTo>
                  <a:lnTo>
                    <a:pt x="1388" y="198"/>
                  </a:lnTo>
                  <a:lnTo>
                    <a:pt x="1375" y="217"/>
                  </a:lnTo>
                  <a:lnTo>
                    <a:pt x="1380" y="208"/>
                  </a:lnTo>
                  <a:lnTo>
                    <a:pt x="1385" y="199"/>
                  </a:lnTo>
                  <a:lnTo>
                    <a:pt x="1332" y="214"/>
                  </a:lnTo>
                  <a:lnTo>
                    <a:pt x="1333" y="193"/>
                  </a:lnTo>
                  <a:lnTo>
                    <a:pt x="1341" y="166"/>
                  </a:lnTo>
                  <a:lnTo>
                    <a:pt x="1322" y="172"/>
                  </a:lnTo>
                  <a:lnTo>
                    <a:pt x="1304" y="185"/>
                  </a:lnTo>
                  <a:lnTo>
                    <a:pt x="1293" y="167"/>
                  </a:lnTo>
                  <a:lnTo>
                    <a:pt x="1272" y="162"/>
                  </a:lnTo>
                  <a:lnTo>
                    <a:pt x="1250" y="161"/>
                  </a:lnTo>
                  <a:lnTo>
                    <a:pt x="1262" y="198"/>
                  </a:lnTo>
                  <a:lnTo>
                    <a:pt x="1246" y="201"/>
                  </a:lnTo>
                  <a:lnTo>
                    <a:pt x="1235" y="195"/>
                  </a:lnTo>
                  <a:lnTo>
                    <a:pt x="1229" y="193"/>
                  </a:lnTo>
                  <a:lnTo>
                    <a:pt x="1221" y="174"/>
                  </a:lnTo>
                  <a:lnTo>
                    <a:pt x="1180" y="206"/>
                  </a:lnTo>
                  <a:lnTo>
                    <a:pt x="1180" y="175"/>
                  </a:lnTo>
                  <a:lnTo>
                    <a:pt x="1168" y="164"/>
                  </a:lnTo>
                  <a:lnTo>
                    <a:pt x="1147" y="175"/>
                  </a:lnTo>
                  <a:lnTo>
                    <a:pt x="1129" y="182"/>
                  </a:lnTo>
                  <a:lnTo>
                    <a:pt x="1118" y="166"/>
                  </a:lnTo>
                  <a:lnTo>
                    <a:pt x="1108" y="177"/>
                  </a:lnTo>
                  <a:lnTo>
                    <a:pt x="1103" y="179"/>
                  </a:lnTo>
                  <a:lnTo>
                    <a:pt x="1082" y="167"/>
                  </a:lnTo>
                  <a:lnTo>
                    <a:pt x="1066" y="162"/>
                  </a:lnTo>
                  <a:lnTo>
                    <a:pt x="1049" y="193"/>
                  </a:lnTo>
                  <a:lnTo>
                    <a:pt x="1069" y="143"/>
                  </a:lnTo>
                  <a:lnTo>
                    <a:pt x="1026" y="156"/>
                  </a:lnTo>
                  <a:lnTo>
                    <a:pt x="1003" y="153"/>
                  </a:lnTo>
                  <a:lnTo>
                    <a:pt x="1020" y="114"/>
                  </a:lnTo>
                  <a:lnTo>
                    <a:pt x="995" y="114"/>
                  </a:lnTo>
                  <a:lnTo>
                    <a:pt x="975" y="106"/>
                  </a:lnTo>
                  <a:lnTo>
                    <a:pt x="967" y="151"/>
                  </a:lnTo>
                  <a:lnTo>
                    <a:pt x="941" y="151"/>
                  </a:lnTo>
                  <a:lnTo>
                    <a:pt x="928" y="140"/>
                  </a:lnTo>
                  <a:lnTo>
                    <a:pt x="925" y="140"/>
                  </a:lnTo>
                  <a:lnTo>
                    <a:pt x="909" y="116"/>
                  </a:lnTo>
                  <a:lnTo>
                    <a:pt x="884" y="108"/>
                  </a:lnTo>
                  <a:lnTo>
                    <a:pt x="875" y="137"/>
                  </a:lnTo>
                  <a:lnTo>
                    <a:pt x="843" y="137"/>
                  </a:lnTo>
                  <a:lnTo>
                    <a:pt x="872" y="96"/>
                  </a:lnTo>
                  <a:lnTo>
                    <a:pt x="825" y="108"/>
                  </a:lnTo>
                  <a:lnTo>
                    <a:pt x="844" y="69"/>
                  </a:lnTo>
                  <a:lnTo>
                    <a:pt x="822" y="98"/>
                  </a:lnTo>
                  <a:lnTo>
                    <a:pt x="806" y="109"/>
                  </a:lnTo>
                  <a:lnTo>
                    <a:pt x="796" y="46"/>
                  </a:lnTo>
                  <a:lnTo>
                    <a:pt x="770" y="93"/>
                  </a:lnTo>
                  <a:lnTo>
                    <a:pt x="762" y="67"/>
                  </a:lnTo>
                  <a:lnTo>
                    <a:pt x="746" y="63"/>
                  </a:lnTo>
                  <a:lnTo>
                    <a:pt x="720" y="53"/>
                  </a:lnTo>
                  <a:lnTo>
                    <a:pt x="727" y="90"/>
                  </a:lnTo>
                  <a:lnTo>
                    <a:pt x="714" y="100"/>
                  </a:lnTo>
                  <a:lnTo>
                    <a:pt x="695" y="75"/>
                  </a:lnTo>
                  <a:lnTo>
                    <a:pt x="672" y="103"/>
                  </a:lnTo>
                  <a:lnTo>
                    <a:pt x="682" y="59"/>
                  </a:lnTo>
                  <a:lnTo>
                    <a:pt x="648" y="85"/>
                  </a:lnTo>
                  <a:lnTo>
                    <a:pt x="635" y="95"/>
                  </a:lnTo>
                  <a:lnTo>
                    <a:pt x="621" y="77"/>
                  </a:lnTo>
                  <a:lnTo>
                    <a:pt x="608" y="98"/>
                  </a:lnTo>
                  <a:lnTo>
                    <a:pt x="589" y="58"/>
                  </a:lnTo>
                  <a:lnTo>
                    <a:pt x="574" y="63"/>
                  </a:lnTo>
                  <a:lnTo>
                    <a:pt x="555" y="45"/>
                  </a:lnTo>
                  <a:lnTo>
                    <a:pt x="539" y="51"/>
                  </a:lnTo>
                  <a:lnTo>
                    <a:pt x="534" y="109"/>
                  </a:lnTo>
                  <a:lnTo>
                    <a:pt x="507" y="114"/>
                  </a:lnTo>
                  <a:lnTo>
                    <a:pt x="492" y="87"/>
                  </a:lnTo>
                  <a:lnTo>
                    <a:pt x="484" y="67"/>
                  </a:lnTo>
                  <a:lnTo>
                    <a:pt x="476" y="40"/>
                  </a:lnTo>
                  <a:lnTo>
                    <a:pt x="447" y="87"/>
                  </a:lnTo>
                  <a:lnTo>
                    <a:pt x="434" y="75"/>
                  </a:lnTo>
                  <a:lnTo>
                    <a:pt x="420" y="63"/>
                  </a:lnTo>
                  <a:lnTo>
                    <a:pt x="407" y="50"/>
                  </a:lnTo>
                  <a:lnTo>
                    <a:pt x="394" y="38"/>
                  </a:lnTo>
                  <a:lnTo>
                    <a:pt x="381" y="22"/>
                  </a:lnTo>
                  <a:lnTo>
                    <a:pt x="365" y="48"/>
                  </a:lnTo>
                  <a:lnTo>
                    <a:pt x="346" y="1"/>
                  </a:lnTo>
                  <a:lnTo>
                    <a:pt x="333" y="35"/>
                  </a:lnTo>
                  <a:lnTo>
                    <a:pt x="325" y="13"/>
                  </a:lnTo>
                  <a:lnTo>
                    <a:pt x="314" y="0"/>
                  </a:lnTo>
                  <a:lnTo>
                    <a:pt x="288" y="19"/>
                  </a:lnTo>
                  <a:lnTo>
                    <a:pt x="275" y="24"/>
                  </a:lnTo>
                  <a:lnTo>
                    <a:pt x="259" y="24"/>
                  </a:lnTo>
                  <a:lnTo>
                    <a:pt x="251" y="45"/>
                  </a:lnTo>
                  <a:lnTo>
                    <a:pt x="240" y="51"/>
                  </a:lnTo>
                  <a:lnTo>
                    <a:pt x="214" y="34"/>
                  </a:lnTo>
                  <a:lnTo>
                    <a:pt x="187" y="16"/>
                  </a:lnTo>
                  <a:lnTo>
                    <a:pt x="182" y="46"/>
                  </a:lnTo>
                  <a:lnTo>
                    <a:pt x="169" y="59"/>
                  </a:lnTo>
                  <a:lnTo>
                    <a:pt x="151" y="50"/>
                  </a:lnTo>
                  <a:lnTo>
                    <a:pt x="142" y="43"/>
                  </a:lnTo>
                  <a:lnTo>
                    <a:pt x="121" y="38"/>
                  </a:lnTo>
                  <a:lnTo>
                    <a:pt x="106" y="30"/>
                  </a:lnTo>
                  <a:lnTo>
                    <a:pt x="106" y="17"/>
                  </a:lnTo>
                  <a:lnTo>
                    <a:pt x="85" y="5"/>
                  </a:lnTo>
                  <a:lnTo>
                    <a:pt x="71" y="14"/>
                  </a:lnTo>
                  <a:lnTo>
                    <a:pt x="68" y="48"/>
                  </a:lnTo>
                  <a:lnTo>
                    <a:pt x="53" y="59"/>
                  </a:lnTo>
                  <a:lnTo>
                    <a:pt x="19" y="25"/>
                  </a:lnTo>
                  <a:lnTo>
                    <a:pt x="10" y="29"/>
                  </a:lnTo>
                  <a:lnTo>
                    <a:pt x="3" y="25"/>
                  </a:lnTo>
                  <a:lnTo>
                    <a:pt x="0" y="29"/>
                  </a:lnTo>
                  <a:lnTo>
                    <a:pt x="0" y="2518"/>
                  </a:lnTo>
                  <a:lnTo>
                    <a:pt x="10" y="2518"/>
                  </a:lnTo>
                  <a:close/>
                </a:path>
              </a:pathLst>
            </a:custGeom>
            <a:solidFill>
              <a:srgbClr val="F5F5F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75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EEA1F412-D181-41C5-AB40-DB453B300213}"/>
                </a:ext>
              </a:extLst>
            </p:cNvPr>
            <p:cNvGrpSpPr/>
            <p:nvPr/>
          </p:nvGrpSpPr>
          <p:grpSpPr>
            <a:xfrm>
              <a:off x="8379658" y="1927340"/>
              <a:ext cx="3398981" cy="851742"/>
              <a:chOff x="8379658" y="1927340"/>
              <a:chExt cx="3398981" cy="851742"/>
            </a:xfrm>
          </p:grpSpPr>
          <p:sp>
            <p:nvSpPr>
              <p:cNvPr id="311" name="Rectangle 5">
                <a:extLst>
                  <a:ext uri="{FF2B5EF4-FFF2-40B4-BE49-F238E27FC236}">
                    <a16:creationId xmlns:a16="http://schemas.microsoft.com/office/drawing/2014/main" id="{9636BF05-AC28-48A4-BDB0-675376ABE305}"/>
                  </a:ext>
                </a:extLst>
              </p:cNvPr>
              <p:cNvSpPr/>
              <p:nvPr/>
            </p:nvSpPr>
            <p:spPr bwMode="auto">
              <a:xfrm>
                <a:off x="8379658" y="2094408"/>
                <a:ext cx="3145459" cy="499611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wrap="square" lIns="0" tIns="54000" rIns="0" bIns="54000" numCol="1" spcCol="72000" rtlCol="0" anchor="ctr">
                <a:spAutoFit/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de-DE" sz="1200" b="1" dirty="0">
                    <a:solidFill>
                      <a:schemeClr val="tx1"/>
                    </a:solidFill>
                  </a:rPr>
                  <a:t>Eine Nacht lang verwüsteten Hunderte Randalierer Stuttgarts Zentrum</a:t>
                </a:r>
                <a:endParaRPr lang="de-DE" sz="1200" b="1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13" name="Rectangle 6">
                <a:extLst>
                  <a:ext uri="{FF2B5EF4-FFF2-40B4-BE49-F238E27FC236}">
                    <a16:creationId xmlns:a16="http://schemas.microsoft.com/office/drawing/2014/main" id="{B7A80AE8-2210-4C05-9ACA-838DD528970D}"/>
                  </a:ext>
                </a:extLst>
              </p:cNvPr>
              <p:cNvSpPr/>
              <p:nvPr/>
            </p:nvSpPr>
            <p:spPr bwMode="auto">
              <a:xfrm>
                <a:off x="8379658" y="1927340"/>
                <a:ext cx="3398981" cy="19618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wrap="square" lIns="0" tIns="54000" rIns="0" bIns="54000" numCol="1" spcCol="72000" rtlCol="0" anchor="ctr">
                <a:noAutofit/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de-DE" sz="800" dirty="0">
                    <a:solidFill>
                      <a:schemeClr val="tx1"/>
                    </a:solidFill>
                    <a:latin typeface="+mj-lt"/>
                    <a:ea typeface="Arial Unicode MS" panose="020B0604020202020204" pitchFamily="34" charset="-128"/>
                    <a:cs typeface="Consolas" panose="020B0609020204030204" pitchFamily="49" charset="0"/>
                  </a:rPr>
                  <a:t>24. Juni 2020    „Wir müssen die schützen die uns schützen“ </a:t>
                </a:r>
              </a:p>
            </p:txBody>
          </p:sp>
          <p:sp>
            <p:nvSpPr>
              <p:cNvPr id="314" name="Rechteck 113">
                <a:extLst>
                  <a:ext uri="{FF2B5EF4-FFF2-40B4-BE49-F238E27FC236}">
                    <a16:creationId xmlns:a16="http://schemas.microsoft.com/office/drawing/2014/main" id="{ECDD88B9-D8FD-4CB1-996D-C9ABCD689C57}"/>
                  </a:ext>
                </a:extLst>
              </p:cNvPr>
              <p:cNvSpPr/>
              <p:nvPr/>
            </p:nvSpPr>
            <p:spPr bwMode="auto">
              <a:xfrm>
                <a:off x="8379658" y="2564904"/>
                <a:ext cx="1427858" cy="2141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numCol="1" spcCol="72000" rtlCol="0" anchor="ctr">
                <a:noAutofit/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de-DE" sz="800" dirty="0">
                    <a:solidFill>
                      <a:schemeClr val="tx1"/>
                    </a:solidFill>
                    <a:latin typeface="+mj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Quelle: Tagesspiegel</a:t>
                </a:r>
              </a:p>
            </p:txBody>
          </p:sp>
        </p:grp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F25E64A8-DB05-4AE1-B248-C2C6A73702D3}"/>
              </a:ext>
            </a:extLst>
          </p:cNvPr>
          <p:cNvGrpSpPr/>
          <p:nvPr/>
        </p:nvGrpSpPr>
        <p:grpSpPr>
          <a:xfrm>
            <a:off x="3984232" y="3298902"/>
            <a:ext cx="4257406" cy="1133499"/>
            <a:chOff x="3829967" y="3364595"/>
            <a:chExt cx="4257406" cy="1133499"/>
          </a:xfrm>
        </p:grpSpPr>
        <p:sp>
          <p:nvSpPr>
            <p:cNvPr id="58" name="Freeform 79">
              <a:extLst>
                <a:ext uri="{FF2B5EF4-FFF2-40B4-BE49-F238E27FC236}">
                  <a16:creationId xmlns:a16="http://schemas.microsoft.com/office/drawing/2014/main" id="{E9D02E3F-E284-4C86-8D1A-2BA307779C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829967" y="3364595"/>
              <a:ext cx="4257406" cy="1133499"/>
            </a:xfrm>
            <a:custGeom>
              <a:avLst/>
              <a:gdLst>
                <a:gd name="T0" fmla="*/ 283 w 7680"/>
                <a:gd name="T1" fmla="*/ 2552 h 3188"/>
                <a:gd name="T2" fmla="*/ 397 w 7680"/>
                <a:gd name="T3" fmla="*/ 2764 h 3188"/>
                <a:gd name="T4" fmla="*/ 539 w 7680"/>
                <a:gd name="T5" fmla="*/ 2797 h 3188"/>
                <a:gd name="T6" fmla="*/ 722 w 7680"/>
                <a:gd name="T7" fmla="*/ 2771 h 3188"/>
                <a:gd name="T8" fmla="*/ 950 w 7680"/>
                <a:gd name="T9" fmla="*/ 2803 h 3188"/>
                <a:gd name="T10" fmla="*/ 1187 w 7680"/>
                <a:gd name="T11" fmla="*/ 2713 h 3188"/>
                <a:gd name="T12" fmla="*/ 1344 w 7680"/>
                <a:gd name="T13" fmla="*/ 2797 h 3188"/>
                <a:gd name="T14" fmla="*/ 1455 w 7680"/>
                <a:gd name="T15" fmla="*/ 2724 h 3188"/>
                <a:gd name="T16" fmla="*/ 1685 w 7680"/>
                <a:gd name="T17" fmla="*/ 2867 h 3188"/>
                <a:gd name="T18" fmla="*/ 1885 w 7680"/>
                <a:gd name="T19" fmla="*/ 2948 h 3188"/>
                <a:gd name="T20" fmla="*/ 2078 w 7680"/>
                <a:gd name="T21" fmla="*/ 2940 h 3188"/>
                <a:gd name="T22" fmla="*/ 2337 w 7680"/>
                <a:gd name="T23" fmla="*/ 3067 h 3188"/>
                <a:gd name="T24" fmla="*/ 2575 w 7680"/>
                <a:gd name="T25" fmla="*/ 3148 h 3188"/>
                <a:gd name="T26" fmla="*/ 2764 w 7680"/>
                <a:gd name="T27" fmla="*/ 3062 h 3188"/>
                <a:gd name="T28" fmla="*/ 3001 w 7680"/>
                <a:gd name="T29" fmla="*/ 2900 h 3188"/>
                <a:gd name="T30" fmla="*/ 3306 w 7680"/>
                <a:gd name="T31" fmla="*/ 2892 h 3188"/>
                <a:gd name="T32" fmla="*/ 3459 w 7680"/>
                <a:gd name="T33" fmla="*/ 2946 h 3188"/>
                <a:gd name="T34" fmla="*/ 3734 w 7680"/>
                <a:gd name="T35" fmla="*/ 2980 h 3188"/>
                <a:gd name="T36" fmla="*/ 3959 w 7680"/>
                <a:gd name="T37" fmla="*/ 3062 h 3188"/>
                <a:gd name="T38" fmla="*/ 4229 w 7680"/>
                <a:gd name="T39" fmla="*/ 3096 h 3188"/>
                <a:gd name="T40" fmla="*/ 4438 w 7680"/>
                <a:gd name="T41" fmla="*/ 2972 h 3188"/>
                <a:gd name="T42" fmla="*/ 4676 w 7680"/>
                <a:gd name="T43" fmla="*/ 2850 h 3188"/>
                <a:gd name="T44" fmla="*/ 4982 w 7680"/>
                <a:gd name="T45" fmla="*/ 2924 h 3188"/>
                <a:gd name="T46" fmla="*/ 5162 w 7680"/>
                <a:gd name="T47" fmla="*/ 2906 h 3188"/>
                <a:gd name="T48" fmla="*/ 5471 w 7680"/>
                <a:gd name="T49" fmla="*/ 2850 h 3188"/>
                <a:gd name="T50" fmla="*/ 5773 w 7680"/>
                <a:gd name="T51" fmla="*/ 2856 h 3188"/>
                <a:gd name="T52" fmla="*/ 6046 w 7680"/>
                <a:gd name="T53" fmla="*/ 2925 h 3188"/>
                <a:gd name="T54" fmla="*/ 6291 w 7680"/>
                <a:gd name="T55" fmla="*/ 3004 h 3188"/>
                <a:gd name="T56" fmla="*/ 6583 w 7680"/>
                <a:gd name="T57" fmla="*/ 3035 h 3188"/>
                <a:gd name="T58" fmla="*/ 6794 w 7680"/>
                <a:gd name="T59" fmla="*/ 2938 h 3188"/>
                <a:gd name="T60" fmla="*/ 7040 w 7680"/>
                <a:gd name="T61" fmla="*/ 2971 h 3188"/>
                <a:gd name="T62" fmla="*/ 7315 w 7680"/>
                <a:gd name="T63" fmla="*/ 2983 h 3188"/>
                <a:gd name="T64" fmla="*/ 7587 w 7680"/>
                <a:gd name="T65" fmla="*/ 2925 h 3188"/>
                <a:gd name="T66" fmla="*/ 7526 w 7680"/>
                <a:gd name="T67" fmla="*/ 417 h 3188"/>
                <a:gd name="T68" fmla="*/ 7246 w 7680"/>
                <a:gd name="T69" fmla="*/ 472 h 3188"/>
                <a:gd name="T70" fmla="*/ 6958 w 7680"/>
                <a:gd name="T71" fmla="*/ 467 h 3188"/>
                <a:gd name="T72" fmla="*/ 6741 w 7680"/>
                <a:gd name="T73" fmla="*/ 502 h 3188"/>
                <a:gd name="T74" fmla="*/ 6535 w 7680"/>
                <a:gd name="T75" fmla="*/ 535 h 3188"/>
                <a:gd name="T76" fmla="*/ 6271 w 7680"/>
                <a:gd name="T77" fmla="*/ 486 h 3188"/>
                <a:gd name="T78" fmla="*/ 5963 w 7680"/>
                <a:gd name="T79" fmla="*/ 504 h 3188"/>
                <a:gd name="T80" fmla="*/ 5713 w 7680"/>
                <a:gd name="T81" fmla="*/ 486 h 3188"/>
                <a:gd name="T82" fmla="*/ 5427 w 7680"/>
                <a:gd name="T83" fmla="*/ 504 h 3188"/>
                <a:gd name="T84" fmla="*/ 5147 w 7680"/>
                <a:gd name="T85" fmla="*/ 459 h 3188"/>
                <a:gd name="T86" fmla="*/ 4845 w 7680"/>
                <a:gd name="T87" fmla="*/ 469 h 3188"/>
                <a:gd name="T88" fmla="*/ 4613 w 7680"/>
                <a:gd name="T89" fmla="*/ 425 h 3188"/>
                <a:gd name="T90" fmla="*/ 4358 w 7680"/>
                <a:gd name="T91" fmla="*/ 440 h 3188"/>
                <a:gd name="T92" fmla="*/ 4115 w 7680"/>
                <a:gd name="T93" fmla="*/ 420 h 3188"/>
                <a:gd name="T94" fmla="*/ 3832 w 7680"/>
                <a:gd name="T95" fmla="*/ 467 h 3188"/>
                <a:gd name="T96" fmla="*/ 3554 w 7680"/>
                <a:gd name="T97" fmla="*/ 469 h 3188"/>
                <a:gd name="T98" fmla="*/ 3300 w 7680"/>
                <a:gd name="T99" fmla="*/ 462 h 3188"/>
                <a:gd name="T100" fmla="*/ 3022 w 7680"/>
                <a:gd name="T101" fmla="*/ 428 h 3188"/>
                <a:gd name="T102" fmla="*/ 2747 w 7680"/>
                <a:gd name="T103" fmla="*/ 417 h 3188"/>
                <a:gd name="T104" fmla="*/ 2465 w 7680"/>
                <a:gd name="T105" fmla="*/ 396 h 3188"/>
                <a:gd name="T106" fmla="*/ 2184 w 7680"/>
                <a:gd name="T107" fmla="*/ 377 h 3188"/>
                <a:gd name="T108" fmla="*/ 1923 w 7680"/>
                <a:gd name="T109" fmla="*/ 301 h 3188"/>
                <a:gd name="T110" fmla="*/ 1648 w 7680"/>
                <a:gd name="T111" fmla="*/ 285 h 3188"/>
                <a:gd name="T112" fmla="*/ 1439 w 7680"/>
                <a:gd name="T113" fmla="*/ 206 h 3188"/>
                <a:gd name="T114" fmla="*/ 1235 w 7680"/>
                <a:gd name="T115" fmla="*/ 195 h 3188"/>
                <a:gd name="T116" fmla="*/ 975 w 7680"/>
                <a:gd name="T117" fmla="*/ 106 h 3188"/>
                <a:gd name="T118" fmla="*/ 727 w 7680"/>
                <a:gd name="T119" fmla="*/ 90 h 3188"/>
                <a:gd name="T120" fmla="*/ 434 w 7680"/>
                <a:gd name="T121" fmla="*/ 75 h 3188"/>
                <a:gd name="T122" fmla="*/ 151 w 7680"/>
                <a:gd name="T123" fmla="*/ 50 h 3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680" h="3188">
                  <a:moveTo>
                    <a:pt x="10" y="2518"/>
                  </a:moveTo>
                  <a:lnTo>
                    <a:pt x="40" y="2505"/>
                  </a:lnTo>
                  <a:lnTo>
                    <a:pt x="19" y="2565"/>
                  </a:lnTo>
                  <a:lnTo>
                    <a:pt x="55" y="2524"/>
                  </a:lnTo>
                  <a:lnTo>
                    <a:pt x="68" y="2552"/>
                  </a:lnTo>
                  <a:lnTo>
                    <a:pt x="80" y="2532"/>
                  </a:lnTo>
                  <a:lnTo>
                    <a:pt x="98" y="2529"/>
                  </a:lnTo>
                  <a:lnTo>
                    <a:pt x="114" y="2540"/>
                  </a:lnTo>
                  <a:lnTo>
                    <a:pt x="129" y="2553"/>
                  </a:lnTo>
                  <a:lnTo>
                    <a:pt x="145" y="2524"/>
                  </a:lnTo>
                  <a:lnTo>
                    <a:pt x="166" y="2560"/>
                  </a:lnTo>
                  <a:lnTo>
                    <a:pt x="172" y="2505"/>
                  </a:lnTo>
                  <a:lnTo>
                    <a:pt x="190" y="2510"/>
                  </a:lnTo>
                  <a:lnTo>
                    <a:pt x="212" y="2548"/>
                  </a:lnTo>
                  <a:lnTo>
                    <a:pt x="228" y="2558"/>
                  </a:lnTo>
                  <a:lnTo>
                    <a:pt x="240" y="2528"/>
                  </a:lnTo>
                  <a:lnTo>
                    <a:pt x="262" y="2528"/>
                  </a:lnTo>
                  <a:lnTo>
                    <a:pt x="235" y="2569"/>
                  </a:lnTo>
                  <a:lnTo>
                    <a:pt x="283" y="2552"/>
                  </a:lnTo>
                  <a:lnTo>
                    <a:pt x="285" y="2560"/>
                  </a:lnTo>
                  <a:lnTo>
                    <a:pt x="296" y="2568"/>
                  </a:lnTo>
                  <a:lnTo>
                    <a:pt x="294" y="2595"/>
                  </a:lnTo>
                  <a:lnTo>
                    <a:pt x="314" y="2582"/>
                  </a:lnTo>
                  <a:lnTo>
                    <a:pt x="327" y="2579"/>
                  </a:lnTo>
                  <a:lnTo>
                    <a:pt x="330" y="2595"/>
                  </a:lnTo>
                  <a:lnTo>
                    <a:pt x="344" y="2611"/>
                  </a:lnTo>
                  <a:lnTo>
                    <a:pt x="359" y="2624"/>
                  </a:lnTo>
                  <a:lnTo>
                    <a:pt x="315" y="2644"/>
                  </a:lnTo>
                  <a:lnTo>
                    <a:pt x="304" y="2660"/>
                  </a:lnTo>
                  <a:lnTo>
                    <a:pt x="306" y="2676"/>
                  </a:lnTo>
                  <a:lnTo>
                    <a:pt x="354" y="2689"/>
                  </a:lnTo>
                  <a:lnTo>
                    <a:pt x="330" y="2706"/>
                  </a:lnTo>
                  <a:lnTo>
                    <a:pt x="338" y="2722"/>
                  </a:lnTo>
                  <a:lnTo>
                    <a:pt x="336" y="2739"/>
                  </a:lnTo>
                  <a:lnTo>
                    <a:pt x="352" y="2748"/>
                  </a:lnTo>
                  <a:lnTo>
                    <a:pt x="357" y="2760"/>
                  </a:lnTo>
                  <a:lnTo>
                    <a:pt x="380" y="2760"/>
                  </a:lnTo>
                  <a:lnTo>
                    <a:pt x="397" y="2764"/>
                  </a:lnTo>
                  <a:lnTo>
                    <a:pt x="392" y="2801"/>
                  </a:lnTo>
                  <a:lnTo>
                    <a:pt x="426" y="2793"/>
                  </a:lnTo>
                  <a:lnTo>
                    <a:pt x="396" y="2834"/>
                  </a:lnTo>
                  <a:lnTo>
                    <a:pt x="404" y="2848"/>
                  </a:lnTo>
                  <a:lnTo>
                    <a:pt x="425" y="2872"/>
                  </a:lnTo>
                  <a:lnTo>
                    <a:pt x="437" y="2840"/>
                  </a:lnTo>
                  <a:lnTo>
                    <a:pt x="462" y="2847"/>
                  </a:lnTo>
                  <a:lnTo>
                    <a:pt x="474" y="2838"/>
                  </a:lnTo>
                  <a:lnTo>
                    <a:pt x="476" y="2805"/>
                  </a:lnTo>
                  <a:lnTo>
                    <a:pt x="478" y="2835"/>
                  </a:lnTo>
                  <a:lnTo>
                    <a:pt x="500" y="2835"/>
                  </a:lnTo>
                  <a:lnTo>
                    <a:pt x="481" y="2871"/>
                  </a:lnTo>
                  <a:lnTo>
                    <a:pt x="518" y="2859"/>
                  </a:lnTo>
                  <a:lnTo>
                    <a:pt x="521" y="2869"/>
                  </a:lnTo>
                  <a:lnTo>
                    <a:pt x="553" y="2856"/>
                  </a:lnTo>
                  <a:lnTo>
                    <a:pt x="516" y="2842"/>
                  </a:lnTo>
                  <a:lnTo>
                    <a:pt x="550" y="2822"/>
                  </a:lnTo>
                  <a:lnTo>
                    <a:pt x="495" y="2805"/>
                  </a:lnTo>
                  <a:lnTo>
                    <a:pt x="539" y="2797"/>
                  </a:lnTo>
                  <a:lnTo>
                    <a:pt x="540" y="2780"/>
                  </a:lnTo>
                  <a:lnTo>
                    <a:pt x="534" y="2761"/>
                  </a:lnTo>
                  <a:lnTo>
                    <a:pt x="555" y="2763"/>
                  </a:lnTo>
                  <a:lnTo>
                    <a:pt x="545" y="2808"/>
                  </a:lnTo>
                  <a:lnTo>
                    <a:pt x="581" y="2785"/>
                  </a:lnTo>
                  <a:lnTo>
                    <a:pt x="590" y="2780"/>
                  </a:lnTo>
                  <a:lnTo>
                    <a:pt x="610" y="2809"/>
                  </a:lnTo>
                  <a:lnTo>
                    <a:pt x="630" y="2805"/>
                  </a:lnTo>
                  <a:lnTo>
                    <a:pt x="629" y="2771"/>
                  </a:lnTo>
                  <a:lnTo>
                    <a:pt x="663" y="2780"/>
                  </a:lnTo>
                  <a:lnTo>
                    <a:pt x="638" y="2727"/>
                  </a:lnTo>
                  <a:lnTo>
                    <a:pt x="656" y="2722"/>
                  </a:lnTo>
                  <a:lnTo>
                    <a:pt x="663" y="2703"/>
                  </a:lnTo>
                  <a:lnTo>
                    <a:pt x="692" y="2739"/>
                  </a:lnTo>
                  <a:lnTo>
                    <a:pt x="729" y="2721"/>
                  </a:lnTo>
                  <a:lnTo>
                    <a:pt x="675" y="2748"/>
                  </a:lnTo>
                  <a:lnTo>
                    <a:pt x="725" y="2751"/>
                  </a:lnTo>
                  <a:lnTo>
                    <a:pt x="735" y="2766"/>
                  </a:lnTo>
                  <a:lnTo>
                    <a:pt x="722" y="2771"/>
                  </a:lnTo>
                  <a:lnTo>
                    <a:pt x="746" y="2800"/>
                  </a:lnTo>
                  <a:lnTo>
                    <a:pt x="751" y="2764"/>
                  </a:lnTo>
                  <a:lnTo>
                    <a:pt x="777" y="2798"/>
                  </a:lnTo>
                  <a:lnTo>
                    <a:pt x="793" y="2793"/>
                  </a:lnTo>
                  <a:lnTo>
                    <a:pt x="804" y="2763"/>
                  </a:lnTo>
                  <a:lnTo>
                    <a:pt x="825" y="2758"/>
                  </a:lnTo>
                  <a:lnTo>
                    <a:pt x="825" y="2792"/>
                  </a:lnTo>
                  <a:lnTo>
                    <a:pt x="859" y="2774"/>
                  </a:lnTo>
                  <a:lnTo>
                    <a:pt x="872" y="2782"/>
                  </a:lnTo>
                  <a:lnTo>
                    <a:pt x="880" y="2800"/>
                  </a:lnTo>
                  <a:lnTo>
                    <a:pt x="888" y="2814"/>
                  </a:lnTo>
                  <a:lnTo>
                    <a:pt x="886" y="2832"/>
                  </a:lnTo>
                  <a:lnTo>
                    <a:pt x="865" y="2861"/>
                  </a:lnTo>
                  <a:lnTo>
                    <a:pt x="896" y="2853"/>
                  </a:lnTo>
                  <a:lnTo>
                    <a:pt x="899" y="2842"/>
                  </a:lnTo>
                  <a:lnTo>
                    <a:pt x="894" y="2816"/>
                  </a:lnTo>
                  <a:lnTo>
                    <a:pt x="912" y="2801"/>
                  </a:lnTo>
                  <a:lnTo>
                    <a:pt x="931" y="2800"/>
                  </a:lnTo>
                  <a:lnTo>
                    <a:pt x="950" y="2803"/>
                  </a:lnTo>
                  <a:lnTo>
                    <a:pt x="965" y="2771"/>
                  </a:lnTo>
                  <a:lnTo>
                    <a:pt x="984" y="2785"/>
                  </a:lnTo>
                  <a:lnTo>
                    <a:pt x="1007" y="2805"/>
                  </a:lnTo>
                  <a:lnTo>
                    <a:pt x="1007" y="2766"/>
                  </a:lnTo>
                  <a:lnTo>
                    <a:pt x="1039" y="2795"/>
                  </a:lnTo>
                  <a:lnTo>
                    <a:pt x="1052" y="2790"/>
                  </a:lnTo>
                  <a:lnTo>
                    <a:pt x="1052" y="2739"/>
                  </a:lnTo>
                  <a:lnTo>
                    <a:pt x="1068" y="2742"/>
                  </a:lnTo>
                  <a:lnTo>
                    <a:pt x="1090" y="2745"/>
                  </a:lnTo>
                  <a:lnTo>
                    <a:pt x="1105" y="2766"/>
                  </a:lnTo>
                  <a:lnTo>
                    <a:pt x="1118" y="2797"/>
                  </a:lnTo>
                  <a:lnTo>
                    <a:pt x="1140" y="2787"/>
                  </a:lnTo>
                  <a:lnTo>
                    <a:pt x="1163" y="2771"/>
                  </a:lnTo>
                  <a:lnTo>
                    <a:pt x="1143" y="2745"/>
                  </a:lnTo>
                  <a:lnTo>
                    <a:pt x="1177" y="2740"/>
                  </a:lnTo>
                  <a:lnTo>
                    <a:pt x="1188" y="2735"/>
                  </a:lnTo>
                  <a:lnTo>
                    <a:pt x="1145" y="2708"/>
                  </a:lnTo>
                  <a:lnTo>
                    <a:pt x="1179" y="2703"/>
                  </a:lnTo>
                  <a:lnTo>
                    <a:pt x="1187" y="2713"/>
                  </a:lnTo>
                  <a:lnTo>
                    <a:pt x="1211" y="2724"/>
                  </a:lnTo>
                  <a:lnTo>
                    <a:pt x="1188" y="2735"/>
                  </a:lnTo>
                  <a:lnTo>
                    <a:pt x="1193" y="2739"/>
                  </a:lnTo>
                  <a:lnTo>
                    <a:pt x="1177" y="2740"/>
                  </a:lnTo>
                  <a:lnTo>
                    <a:pt x="1158" y="2750"/>
                  </a:lnTo>
                  <a:lnTo>
                    <a:pt x="1203" y="2758"/>
                  </a:lnTo>
                  <a:lnTo>
                    <a:pt x="1182" y="2784"/>
                  </a:lnTo>
                  <a:lnTo>
                    <a:pt x="1195" y="2811"/>
                  </a:lnTo>
                  <a:lnTo>
                    <a:pt x="1219" y="2798"/>
                  </a:lnTo>
                  <a:lnTo>
                    <a:pt x="1253" y="2772"/>
                  </a:lnTo>
                  <a:lnTo>
                    <a:pt x="1248" y="2809"/>
                  </a:lnTo>
                  <a:lnTo>
                    <a:pt x="1262" y="2816"/>
                  </a:lnTo>
                  <a:lnTo>
                    <a:pt x="1267" y="2834"/>
                  </a:lnTo>
                  <a:lnTo>
                    <a:pt x="1286" y="2832"/>
                  </a:lnTo>
                  <a:lnTo>
                    <a:pt x="1309" y="2834"/>
                  </a:lnTo>
                  <a:lnTo>
                    <a:pt x="1312" y="2818"/>
                  </a:lnTo>
                  <a:lnTo>
                    <a:pt x="1299" y="2787"/>
                  </a:lnTo>
                  <a:lnTo>
                    <a:pt x="1317" y="2780"/>
                  </a:lnTo>
                  <a:lnTo>
                    <a:pt x="1344" y="2797"/>
                  </a:lnTo>
                  <a:lnTo>
                    <a:pt x="1351" y="2776"/>
                  </a:lnTo>
                  <a:lnTo>
                    <a:pt x="1365" y="2785"/>
                  </a:lnTo>
                  <a:lnTo>
                    <a:pt x="1375" y="2784"/>
                  </a:lnTo>
                  <a:lnTo>
                    <a:pt x="1377" y="2760"/>
                  </a:lnTo>
                  <a:lnTo>
                    <a:pt x="1393" y="2760"/>
                  </a:lnTo>
                  <a:lnTo>
                    <a:pt x="1415" y="2776"/>
                  </a:lnTo>
                  <a:lnTo>
                    <a:pt x="1375" y="2784"/>
                  </a:lnTo>
                  <a:lnTo>
                    <a:pt x="1375" y="2792"/>
                  </a:lnTo>
                  <a:lnTo>
                    <a:pt x="1407" y="2806"/>
                  </a:lnTo>
                  <a:lnTo>
                    <a:pt x="1394" y="2806"/>
                  </a:lnTo>
                  <a:lnTo>
                    <a:pt x="1414" y="2832"/>
                  </a:lnTo>
                  <a:lnTo>
                    <a:pt x="1418" y="2813"/>
                  </a:lnTo>
                  <a:lnTo>
                    <a:pt x="1423" y="2790"/>
                  </a:lnTo>
                  <a:lnTo>
                    <a:pt x="1426" y="2771"/>
                  </a:lnTo>
                  <a:lnTo>
                    <a:pt x="1468" y="2795"/>
                  </a:lnTo>
                  <a:lnTo>
                    <a:pt x="1442" y="2748"/>
                  </a:lnTo>
                  <a:lnTo>
                    <a:pt x="1452" y="2747"/>
                  </a:lnTo>
                  <a:lnTo>
                    <a:pt x="1442" y="2735"/>
                  </a:lnTo>
                  <a:lnTo>
                    <a:pt x="1455" y="2724"/>
                  </a:lnTo>
                  <a:lnTo>
                    <a:pt x="1479" y="2713"/>
                  </a:lnTo>
                  <a:lnTo>
                    <a:pt x="1494" y="2724"/>
                  </a:lnTo>
                  <a:lnTo>
                    <a:pt x="1487" y="2748"/>
                  </a:lnTo>
                  <a:lnTo>
                    <a:pt x="1523" y="2734"/>
                  </a:lnTo>
                  <a:lnTo>
                    <a:pt x="1516" y="2782"/>
                  </a:lnTo>
                  <a:lnTo>
                    <a:pt x="1533" y="2779"/>
                  </a:lnTo>
                  <a:lnTo>
                    <a:pt x="1553" y="2734"/>
                  </a:lnTo>
                  <a:lnTo>
                    <a:pt x="1579" y="2748"/>
                  </a:lnTo>
                  <a:lnTo>
                    <a:pt x="1578" y="2776"/>
                  </a:lnTo>
                  <a:lnTo>
                    <a:pt x="1578" y="2792"/>
                  </a:lnTo>
                  <a:lnTo>
                    <a:pt x="1561" y="2813"/>
                  </a:lnTo>
                  <a:lnTo>
                    <a:pt x="1592" y="2814"/>
                  </a:lnTo>
                  <a:lnTo>
                    <a:pt x="1573" y="2851"/>
                  </a:lnTo>
                  <a:lnTo>
                    <a:pt x="1589" y="2859"/>
                  </a:lnTo>
                  <a:lnTo>
                    <a:pt x="1606" y="2872"/>
                  </a:lnTo>
                  <a:lnTo>
                    <a:pt x="1635" y="2856"/>
                  </a:lnTo>
                  <a:lnTo>
                    <a:pt x="1650" y="2866"/>
                  </a:lnTo>
                  <a:lnTo>
                    <a:pt x="1664" y="2877"/>
                  </a:lnTo>
                  <a:lnTo>
                    <a:pt x="1685" y="2867"/>
                  </a:lnTo>
                  <a:lnTo>
                    <a:pt x="1701" y="2877"/>
                  </a:lnTo>
                  <a:lnTo>
                    <a:pt x="1727" y="2877"/>
                  </a:lnTo>
                  <a:lnTo>
                    <a:pt x="1709" y="2908"/>
                  </a:lnTo>
                  <a:lnTo>
                    <a:pt x="1717" y="2922"/>
                  </a:lnTo>
                  <a:lnTo>
                    <a:pt x="1759" y="2924"/>
                  </a:lnTo>
                  <a:lnTo>
                    <a:pt x="1738" y="2945"/>
                  </a:lnTo>
                  <a:lnTo>
                    <a:pt x="1754" y="2929"/>
                  </a:lnTo>
                  <a:lnTo>
                    <a:pt x="1772" y="2934"/>
                  </a:lnTo>
                  <a:lnTo>
                    <a:pt x="1788" y="2956"/>
                  </a:lnTo>
                  <a:lnTo>
                    <a:pt x="1798" y="2969"/>
                  </a:lnTo>
                  <a:lnTo>
                    <a:pt x="1822" y="2954"/>
                  </a:lnTo>
                  <a:lnTo>
                    <a:pt x="1840" y="2963"/>
                  </a:lnTo>
                  <a:lnTo>
                    <a:pt x="1865" y="2975"/>
                  </a:lnTo>
                  <a:lnTo>
                    <a:pt x="1825" y="3001"/>
                  </a:lnTo>
                  <a:lnTo>
                    <a:pt x="1862" y="3003"/>
                  </a:lnTo>
                  <a:lnTo>
                    <a:pt x="1853" y="2990"/>
                  </a:lnTo>
                  <a:lnTo>
                    <a:pt x="1865" y="2983"/>
                  </a:lnTo>
                  <a:lnTo>
                    <a:pt x="1896" y="2990"/>
                  </a:lnTo>
                  <a:lnTo>
                    <a:pt x="1885" y="2948"/>
                  </a:lnTo>
                  <a:lnTo>
                    <a:pt x="1904" y="2964"/>
                  </a:lnTo>
                  <a:lnTo>
                    <a:pt x="1928" y="2953"/>
                  </a:lnTo>
                  <a:lnTo>
                    <a:pt x="1923" y="2977"/>
                  </a:lnTo>
                  <a:lnTo>
                    <a:pt x="1949" y="2996"/>
                  </a:lnTo>
                  <a:lnTo>
                    <a:pt x="1984" y="2983"/>
                  </a:lnTo>
                  <a:lnTo>
                    <a:pt x="1939" y="2959"/>
                  </a:lnTo>
                  <a:lnTo>
                    <a:pt x="1923" y="2948"/>
                  </a:lnTo>
                  <a:lnTo>
                    <a:pt x="1938" y="2925"/>
                  </a:lnTo>
                  <a:lnTo>
                    <a:pt x="1939" y="2895"/>
                  </a:lnTo>
                  <a:lnTo>
                    <a:pt x="1959" y="2890"/>
                  </a:lnTo>
                  <a:lnTo>
                    <a:pt x="1991" y="2903"/>
                  </a:lnTo>
                  <a:lnTo>
                    <a:pt x="2015" y="2900"/>
                  </a:lnTo>
                  <a:lnTo>
                    <a:pt x="2007" y="2859"/>
                  </a:lnTo>
                  <a:lnTo>
                    <a:pt x="2037" y="2874"/>
                  </a:lnTo>
                  <a:lnTo>
                    <a:pt x="2037" y="2874"/>
                  </a:lnTo>
                  <a:lnTo>
                    <a:pt x="2060" y="2885"/>
                  </a:lnTo>
                  <a:lnTo>
                    <a:pt x="2062" y="2898"/>
                  </a:lnTo>
                  <a:lnTo>
                    <a:pt x="2065" y="2925"/>
                  </a:lnTo>
                  <a:lnTo>
                    <a:pt x="2078" y="2940"/>
                  </a:lnTo>
                  <a:lnTo>
                    <a:pt x="2097" y="2922"/>
                  </a:lnTo>
                  <a:lnTo>
                    <a:pt x="2111" y="2903"/>
                  </a:lnTo>
                  <a:lnTo>
                    <a:pt x="2126" y="2942"/>
                  </a:lnTo>
                  <a:lnTo>
                    <a:pt x="2136" y="2937"/>
                  </a:lnTo>
                  <a:lnTo>
                    <a:pt x="2150" y="2937"/>
                  </a:lnTo>
                  <a:lnTo>
                    <a:pt x="2173" y="2913"/>
                  </a:lnTo>
                  <a:lnTo>
                    <a:pt x="2193" y="2911"/>
                  </a:lnTo>
                  <a:lnTo>
                    <a:pt x="2197" y="2938"/>
                  </a:lnTo>
                  <a:lnTo>
                    <a:pt x="2189" y="2971"/>
                  </a:lnTo>
                  <a:lnTo>
                    <a:pt x="2227" y="2951"/>
                  </a:lnTo>
                  <a:lnTo>
                    <a:pt x="2246" y="2951"/>
                  </a:lnTo>
                  <a:lnTo>
                    <a:pt x="2253" y="2969"/>
                  </a:lnTo>
                  <a:lnTo>
                    <a:pt x="2243" y="3006"/>
                  </a:lnTo>
                  <a:lnTo>
                    <a:pt x="2275" y="2995"/>
                  </a:lnTo>
                  <a:lnTo>
                    <a:pt x="2277" y="3017"/>
                  </a:lnTo>
                  <a:lnTo>
                    <a:pt x="2283" y="3041"/>
                  </a:lnTo>
                  <a:lnTo>
                    <a:pt x="2304" y="3043"/>
                  </a:lnTo>
                  <a:lnTo>
                    <a:pt x="2328" y="3029"/>
                  </a:lnTo>
                  <a:lnTo>
                    <a:pt x="2337" y="3067"/>
                  </a:lnTo>
                  <a:lnTo>
                    <a:pt x="2357" y="3053"/>
                  </a:lnTo>
                  <a:lnTo>
                    <a:pt x="2372" y="3067"/>
                  </a:lnTo>
                  <a:lnTo>
                    <a:pt x="2385" y="3045"/>
                  </a:lnTo>
                  <a:lnTo>
                    <a:pt x="2390" y="3061"/>
                  </a:lnTo>
                  <a:lnTo>
                    <a:pt x="2402" y="3054"/>
                  </a:lnTo>
                  <a:lnTo>
                    <a:pt x="2425" y="3054"/>
                  </a:lnTo>
                  <a:lnTo>
                    <a:pt x="2423" y="3075"/>
                  </a:lnTo>
                  <a:lnTo>
                    <a:pt x="2457" y="3074"/>
                  </a:lnTo>
                  <a:lnTo>
                    <a:pt x="2447" y="3093"/>
                  </a:lnTo>
                  <a:lnTo>
                    <a:pt x="2472" y="3093"/>
                  </a:lnTo>
                  <a:lnTo>
                    <a:pt x="2472" y="3093"/>
                  </a:lnTo>
                  <a:lnTo>
                    <a:pt x="2488" y="3088"/>
                  </a:lnTo>
                  <a:lnTo>
                    <a:pt x="2513" y="3117"/>
                  </a:lnTo>
                  <a:lnTo>
                    <a:pt x="2534" y="3088"/>
                  </a:lnTo>
                  <a:lnTo>
                    <a:pt x="2541" y="3116"/>
                  </a:lnTo>
                  <a:lnTo>
                    <a:pt x="2509" y="3146"/>
                  </a:lnTo>
                  <a:lnTo>
                    <a:pt x="2542" y="3154"/>
                  </a:lnTo>
                  <a:lnTo>
                    <a:pt x="2554" y="3130"/>
                  </a:lnTo>
                  <a:lnTo>
                    <a:pt x="2575" y="3148"/>
                  </a:lnTo>
                  <a:lnTo>
                    <a:pt x="2579" y="3169"/>
                  </a:lnTo>
                  <a:lnTo>
                    <a:pt x="2599" y="3156"/>
                  </a:lnTo>
                  <a:lnTo>
                    <a:pt x="2602" y="3178"/>
                  </a:lnTo>
                  <a:lnTo>
                    <a:pt x="2634" y="3151"/>
                  </a:lnTo>
                  <a:lnTo>
                    <a:pt x="2631" y="3156"/>
                  </a:lnTo>
                  <a:lnTo>
                    <a:pt x="2645" y="3153"/>
                  </a:lnTo>
                  <a:lnTo>
                    <a:pt x="2679" y="3188"/>
                  </a:lnTo>
                  <a:lnTo>
                    <a:pt x="2674" y="3145"/>
                  </a:lnTo>
                  <a:lnTo>
                    <a:pt x="2694" y="3141"/>
                  </a:lnTo>
                  <a:lnTo>
                    <a:pt x="2719" y="3153"/>
                  </a:lnTo>
                  <a:lnTo>
                    <a:pt x="2747" y="3140"/>
                  </a:lnTo>
                  <a:lnTo>
                    <a:pt x="2745" y="3111"/>
                  </a:lnTo>
                  <a:lnTo>
                    <a:pt x="2724" y="3098"/>
                  </a:lnTo>
                  <a:lnTo>
                    <a:pt x="2734" y="3080"/>
                  </a:lnTo>
                  <a:lnTo>
                    <a:pt x="2700" y="3070"/>
                  </a:lnTo>
                  <a:lnTo>
                    <a:pt x="2705" y="3041"/>
                  </a:lnTo>
                  <a:lnTo>
                    <a:pt x="2732" y="3045"/>
                  </a:lnTo>
                  <a:lnTo>
                    <a:pt x="2750" y="3075"/>
                  </a:lnTo>
                  <a:lnTo>
                    <a:pt x="2764" y="3062"/>
                  </a:lnTo>
                  <a:lnTo>
                    <a:pt x="2761" y="3027"/>
                  </a:lnTo>
                  <a:lnTo>
                    <a:pt x="2763" y="3024"/>
                  </a:lnTo>
                  <a:lnTo>
                    <a:pt x="2792" y="3016"/>
                  </a:lnTo>
                  <a:lnTo>
                    <a:pt x="2795" y="2998"/>
                  </a:lnTo>
                  <a:lnTo>
                    <a:pt x="2785" y="2972"/>
                  </a:lnTo>
                  <a:lnTo>
                    <a:pt x="2827" y="2980"/>
                  </a:lnTo>
                  <a:lnTo>
                    <a:pt x="2829" y="2967"/>
                  </a:lnTo>
                  <a:lnTo>
                    <a:pt x="2841" y="2982"/>
                  </a:lnTo>
                  <a:lnTo>
                    <a:pt x="2861" y="2934"/>
                  </a:lnTo>
                  <a:lnTo>
                    <a:pt x="2882" y="2966"/>
                  </a:lnTo>
                  <a:lnTo>
                    <a:pt x="2864" y="2925"/>
                  </a:lnTo>
                  <a:lnTo>
                    <a:pt x="2893" y="2927"/>
                  </a:lnTo>
                  <a:lnTo>
                    <a:pt x="2907" y="2911"/>
                  </a:lnTo>
                  <a:lnTo>
                    <a:pt x="2927" y="2900"/>
                  </a:lnTo>
                  <a:lnTo>
                    <a:pt x="2944" y="2911"/>
                  </a:lnTo>
                  <a:lnTo>
                    <a:pt x="2959" y="2937"/>
                  </a:lnTo>
                  <a:lnTo>
                    <a:pt x="2973" y="2940"/>
                  </a:lnTo>
                  <a:lnTo>
                    <a:pt x="2997" y="2903"/>
                  </a:lnTo>
                  <a:lnTo>
                    <a:pt x="3001" y="2900"/>
                  </a:lnTo>
                  <a:lnTo>
                    <a:pt x="3018" y="2913"/>
                  </a:lnTo>
                  <a:lnTo>
                    <a:pt x="3015" y="2885"/>
                  </a:lnTo>
                  <a:lnTo>
                    <a:pt x="3052" y="2903"/>
                  </a:lnTo>
                  <a:lnTo>
                    <a:pt x="3065" y="2914"/>
                  </a:lnTo>
                  <a:lnTo>
                    <a:pt x="3073" y="2863"/>
                  </a:lnTo>
                  <a:lnTo>
                    <a:pt x="3089" y="2872"/>
                  </a:lnTo>
                  <a:lnTo>
                    <a:pt x="3107" y="2880"/>
                  </a:lnTo>
                  <a:lnTo>
                    <a:pt x="3116" y="2859"/>
                  </a:lnTo>
                  <a:lnTo>
                    <a:pt x="3136" y="2863"/>
                  </a:lnTo>
                  <a:lnTo>
                    <a:pt x="3152" y="2861"/>
                  </a:lnTo>
                  <a:lnTo>
                    <a:pt x="3171" y="2892"/>
                  </a:lnTo>
                  <a:lnTo>
                    <a:pt x="3179" y="2877"/>
                  </a:lnTo>
                  <a:lnTo>
                    <a:pt x="3202" y="2871"/>
                  </a:lnTo>
                  <a:lnTo>
                    <a:pt x="3194" y="2909"/>
                  </a:lnTo>
                  <a:lnTo>
                    <a:pt x="3226" y="2901"/>
                  </a:lnTo>
                  <a:lnTo>
                    <a:pt x="3242" y="2872"/>
                  </a:lnTo>
                  <a:lnTo>
                    <a:pt x="3256" y="2888"/>
                  </a:lnTo>
                  <a:lnTo>
                    <a:pt x="3272" y="2892"/>
                  </a:lnTo>
                  <a:lnTo>
                    <a:pt x="3306" y="2892"/>
                  </a:lnTo>
                  <a:lnTo>
                    <a:pt x="3261" y="2906"/>
                  </a:lnTo>
                  <a:lnTo>
                    <a:pt x="3250" y="2919"/>
                  </a:lnTo>
                  <a:lnTo>
                    <a:pt x="3266" y="2946"/>
                  </a:lnTo>
                  <a:lnTo>
                    <a:pt x="3266" y="2945"/>
                  </a:lnTo>
                  <a:lnTo>
                    <a:pt x="3282" y="2942"/>
                  </a:lnTo>
                  <a:lnTo>
                    <a:pt x="3305" y="2977"/>
                  </a:lnTo>
                  <a:lnTo>
                    <a:pt x="3319" y="2977"/>
                  </a:lnTo>
                  <a:lnTo>
                    <a:pt x="3337" y="2946"/>
                  </a:lnTo>
                  <a:lnTo>
                    <a:pt x="3353" y="2966"/>
                  </a:lnTo>
                  <a:lnTo>
                    <a:pt x="3388" y="2940"/>
                  </a:lnTo>
                  <a:lnTo>
                    <a:pt x="3382" y="2974"/>
                  </a:lnTo>
                  <a:lnTo>
                    <a:pt x="3415" y="2959"/>
                  </a:lnTo>
                  <a:lnTo>
                    <a:pt x="3406" y="2977"/>
                  </a:lnTo>
                  <a:lnTo>
                    <a:pt x="3417" y="2983"/>
                  </a:lnTo>
                  <a:lnTo>
                    <a:pt x="3417" y="2966"/>
                  </a:lnTo>
                  <a:lnTo>
                    <a:pt x="3436" y="2961"/>
                  </a:lnTo>
                  <a:lnTo>
                    <a:pt x="3420" y="2932"/>
                  </a:lnTo>
                  <a:lnTo>
                    <a:pt x="3448" y="2924"/>
                  </a:lnTo>
                  <a:lnTo>
                    <a:pt x="3459" y="2946"/>
                  </a:lnTo>
                  <a:lnTo>
                    <a:pt x="3457" y="2975"/>
                  </a:lnTo>
                  <a:lnTo>
                    <a:pt x="3480" y="2969"/>
                  </a:lnTo>
                  <a:lnTo>
                    <a:pt x="3502" y="2948"/>
                  </a:lnTo>
                  <a:lnTo>
                    <a:pt x="3517" y="2982"/>
                  </a:lnTo>
                  <a:lnTo>
                    <a:pt x="3531" y="2979"/>
                  </a:lnTo>
                  <a:lnTo>
                    <a:pt x="3549" y="2985"/>
                  </a:lnTo>
                  <a:lnTo>
                    <a:pt x="3562" y="2975"/>
                  </a:lnTo>
                  <a:lnTo>
                    <a:pt x="3575" y="2963"/>
                  </a:lnTo>
                  <a:lnTo>
                    <a:pt x="3583" y="2927"/>
                  </a:lnTo>
                  <a:lnTo>
                    <a:pt x="3616" y="2979"/>
                  </a:lnTo>
                  <a:lnTo>
                    <a:pt x="3618" y="2940"/>
                  </a:lnTo>
                  <a:lnTo>
                    <a:pt x="3634" y="2935"/>
                  </a:lnTo>
                  <a:lnTo>
                    <a:pt x="3645" y="2969"/>
                  </a:lnTo>
                  <a:lnTo>
                    <a:pt x="3668" y="2924"/>
                  </a:lnTo>
                  <a:lnTo>
                    <a:pt x="3670" y="2966"/>
                  </a:lnTo>
                  <a:lnTo>
                    <a:pt x="3690" y="2956"/>
                  </a:lnTo>
                  <a:lnTo>
                    <a:pt x="3689" y="2980"/>
                  </a:lnTo>
                  <a:lnTo>
                    <a:pt x="3726" y="2964"/>
                  </a:lnTo>
                  <a:lnTo>
                    <a:pt x="3734" y="2980"/>
                  </a:lnTo>
                  <a:lnTo>
                    <a:pt x="3744" y="2998"/>
                  </a:lnTo>
                  <a:lnTo>
                    <a:pt x="3755" y="3006"/>
                  </a:lnTo>
                  <a:lnTo>
                    <a:pt x="3766" y="3004"/>
                  </a:lnTo>
                  <a:lnTo>
                    <a:pt x="3774" y="2979"/>
                  </a:lnTo>
                  <a:lnTo>
                    <a:pt x="3797" y="3017"/>
                  </a:lnTo>
                  <a:lnTo>
                    <a:pt x="3821" y="2985"/>
                  </a:lnTo>
                  <a:lnTo>
                    <a:pt x="3801" y="3021"/>
                  </a:lnTo>
                  <a:lnTo>
                    <a:pt x="3835" y="3027"/>
                  </a:lnTo>
                  <a:lnTo>
                    <a:pt x="3801" y="3050"/>
                  </a:lnTo>
                  <a:lnTo>
                    <a:pt x="3837" y="3043"/>
                  </a:lnTo>
                  <a:lnTo>
                    <a:pt x="3835" y="3029"/>
                  </a:lnTo>
                  <a:lnTo>
                    <a:pt x="3851" y="3050"/>
                  </a:lnTo>
                  <a:lnTo>
                    <a:pt x="3867" y="3059"/>
                  </a:lnTo>
                  <a:lnTo>
                    <a:pt x="3882" y="3035"/>
                  </a:lnTo>
                  <a:lnTo>
                    <a:pt x="3896" y="3032"/>
                  </a:lnTo>
                  <a:lnTo>
                    <a:pt x="3912" y="3032"/>
                  </a:lnTo>
                  <a:lnTo>
                    <a:pt x="3928" y="3083"/>
                  </a:lnTo>
                  <a:lnTo>
                    <a:pt x="3945" y="3058"/>
                  </a:lnTo>
                  <a:lnTo>
                    <a:pt x="3959" y="3062"/>
                  </a:lnTo>
                  <a:lnTo>
                    <a:pt x="3977" y="3088"/>
                  </a:lnTo>
                  <a:lnTo>
                    <a:pt x="3988" y="3045"/>
                  </a:lnTo>
                  <a:lnTo>
                    <a:pt x="4001" y="3027"/>
                  </a:lnTo>
                  <a:lnTo>
                    <a:pt x="4023" y="3038"/>
                  </a:lnTo>
                  <a:lnTo>
                    <a:pt x="4027" y="3080"/>
                  </a:lnTo>
                  <a:lnTo>
                    <a:pt x="4059" y="3048"/>
                  </a:lnTo>
                  <a:lnTo>
                    <a:pt x="4067" y="3083"/>
                  </a:lnTo>
                  <a:lnTo>
                    <a:pt x="4076" y="3054"/>
                  </a:lnTo>
                  <a:lnTo>
                    <a:pt x="4097" y="3067"/>
                  </a:lnTo>
                  <a:lnTo>
                    <a:pt x="4104" y="3048"/>
                  </a:lnTo>
                  <a:lnTo>
                    <a:pt x="4110" y="3074"/>
                  </a:lnTo>
                  <a:lnTo>
                    <a:pt x="4137" y="3050"/>
                  </a:lnTo>
                  <a:lnTo>
                    <a:pt x="4120" y="3083"/>
                  </a:lnTo>
                  <a:lnTo>
                    <a:pt x="4142" y="3085"/>
                  </a:lnTo>
                  <a:lnTo>
                    <a:pt x="4154" y="3104"/>
                  </a:lnTo>
                  <a:lnTo>
                    <a:pt x="4179" y="3111"/>
                  </a:lnTo>
                  <a:lnTo>
                    <a:pt x="4187" y="3080"/>
                  </a:lnTo>
                  <a:lnTo>
                    <a:pt x="4207" y="3087"/>
                  </a:lnTo>
                  <a:lnTo>
                    <a:pt x="4229" y="3096"/>
                  </a:lnTo>
                  <a:lnTo>
                    <a:pt x="4234" y="3059"/>
                  </a:lnTo>
                  <a:lnTo>
                    <a:pt x="4252" y="3074"/>
                  </a:lnTo>
                  <a:lnTo>
                    <a:pt x="4255" y="3091"/>
                  </a:lnTo>
                  <a:lnTo>
                    <a:pt x="4281" y="3088"/>
                  </a:lnTo>
                  <a:lnTo>
                    <a:pt x="4298" y="3088"/>
                  </a:lnTo>
                  <a:lnTo>
                    <a:pt x="4297" y="3072"/>
                  </a:lnTo>
                  <a:lnTo>
                    <a:pt x="4311" y="3070"/>
                  </a:lnTo>
                  <a:lnTo>
                    <a:pt x="4332" y="3077"/>
                  </a:lnTo>
                  <a:lnTo>
                    <a:pt x="4359" y="3079"/>
                  </a:lnTo>
                  <a:lnTo>
                    <a:pt x="4334" y="3027"/>
                  </a:lnTo>
                  <a:lnTo>
                    <a:pt x="4359" y="3030"/>
                  </a:lnTo>
                  <a:lnTo>
                    <a:pt x="4375" y="3035"/>
                  </a:lnTo>
                  <a:lnTo>
                    <a:pt x="4385" y="3017"/>
                  </a:lnTo>
                  <a:lnTo>
                    <a:pt x="4396" y="3027"/>
                  </a:lnTo>
                  <a:lnTo>
                    <a:pt x="4427" y="3011"/>
                  </a:lnTo>
                  <a:lnTo>
                    <a:pt x="4372" y="2996"/>
                  </a:lnTo>
                  <a:lnTo>
                    <a:pt x="4427" y="2987"/>
                  </a:lnTo>
                  <a:lnTo>
                    <a:pt x="4408" y="2956"/>
                  </a:lnTo>
                  <a:lnTo>
                    <a:pt x="4438" y="2972"/>
                  </a:lnTo>
                  <a:lnTo>
                    <a:pt x="4441" y="2946"/>
                  </a:lnTo>
                  <a:lnTo>
                    <a:pt x="4474" y="2934"/>
                  </a:lnTo>
                  <a:lnTo>
                    <a:pt x="4443" y="2914"/>
                  </a:lnTo>
                  <a:lnTo>
                    <a:pt x="4441" y="2895"/>
                  </a:lnTo>
                  <a:lnTo>
                    <a:pt x="4464" y="2888"/>
                  </a:lnTo>
                  <a:lnTo>
                    <a:pt x="4470" y="2872"/>
                  </a:lnTo>
                  <a:lnTo>
                    <a:pt x="4483" y="2864"/>
                  </a:lnTo>
                  <a:lnTo>
                    <a:pt x="4501" y="2884"/>
                  </a:lnTo>
                  <a:lnTo>
                    <a:pt x="4515" y="2850"/>
                  </a:lnTo>
                  <a:lnTo>
                    <a:pt x="4533" y="2853"/>
                  </a:lnTo>
                  <a:lnTo>
                    <a:pt x="4552" y="2840"/>
                  </a:lnTo>
                  <a:lnTo>
                    <a:pt x="4565" y="2856"/>
                  </a:lnTo>
                  <a:lnTo>
                    <a:pt x="4583" y="2851"/>
                  </a:lnTo>
                  <a:lnTo>
                    <a:pt x="4596" y="2888"/>
                  </a:lnTo>
                  <a:lnTo>
                    <a:pt x="4613" y="2858"/>
                  </a:lnTo>
                  <a:lnTo>
                    <a:pt x="4631" y="2834"/>
                  </a:lnTo>
                  <a:lnTo>
                    <a:pt x="4646" y="2861"/>
                  </a:lnTo>
                  <a:lnTo>
                    <a:pt x="4663" y="2837"/>
                  </a:lnTo>
                  <a:lnTo>
                    <a:pt x="4676" y="2850"/>
                  </a:lnTo>
                  <a:lnTo>
                    <a:pt x="4699" y="2895"/>
                  </a:lnTo>
                  <a:lnTo>
                    <a:pt x="4705" y="2830"/>
                  </a:lnTo>
                  <a:lnTo>
                    <a:pt x="4721" y="2880"/>
                  </a:lnTo>
                  <a:lnTo>
                    <a:pt x="4739" y="2871"/>
                  </a:lnTo>
                  <a:lnTo>
                    <a:pt x="4737" y="2903"/>
                  </a:lnTo>
                  <a:lnTo>
                    <a:pt x="4771" y="2879"/>
                  </a:lnTo>
                  <a:lnTo>
                    <a:pt x="4790" y="2911"/>
                  </a:lnTo>
                  <a:lnTo>
                    <a:pt x="4802" y="2874"/>
                  </a:lnTo>
                  <a:lnTo>
                    <a:pt x="4819" y="2872"/>
                  </a:lnTo>
                  <a:lnTo>
                    <a:pt x="4835" y="2905"/>
                  </a:lnTo>
                  <a:lnTo>
                    <a:pt x="4853" y="2866"/>
                  </a:lnTo>
                  <a:lnTo>
                    <a:pt x="4877" y="2859"/>
                  </a:lnTo>
                  <a:lnTo>
                    <a:pt x="4869" y="2906"/>
                  </a:lnTo>
                  <a:lnTo>
                    <a:pt x="4906" y="2890"/>
                  </a:lnTo>
                  <a:lnTo>
                    <a:pt x="4921" y="2892"/>
                  </a:lnTo>
                  <a:lnTo>
                    <a:pt x="4929" y="2908"/>
                  </a:lnTo>
                  <a:lnTo>
                    <a:pt x="4945" y="2919"/>
                  </a:lnTo>
                  <a:lnTo>
                    <a:pt x="4964" y="2940"/>
                  </a:lnTo>
                  <a:lnTo>
                    <a:pt x="4982" y="2924"/>
                  </a:lnTo>
                  <a:lnTo>
                    <a:pt x="4995" y="2916"/>
                  </a:lnTo>
                  <a:lnTo>
                    <a:pt x="4993" y="2895"/>
                  </a:lnTo>
                  <a:lnTo>
                    <a:pt x="5004" y="2885"/>
                  </a:lnTo>
                  <a:lnTo>
                    <a:pt x="5019" y="2859"/>
                  </a:lnTo>
                  <a:lnTo>
                    <a:pt x="5035" y="2864"/>
                  </a:lnTo>
                  <a:lnTo>
                    <a:pt x="5052" y="2869"/>
                  </a:lnTo>
                  <a:lnTo>
                    <a:pt x="5064" y="2887"/>
                  </a:lnTo>
                  <a:lnTo>
                    <a:pt x="5077" y="2893"/>
                  </a:lnTo>
                  <a:lnTo>
                    <a:pt x="5102" y="2874"/>
                  </a:lnTo>
                  <a:lnTo>
                    <a:pt x="5102" y="2890"/>
                  </a:lnTo>
                  <a:lnTo>
                    <a:pt x="5109" y="2879"/>
                  </a:lnTo>
                  <a:lnTo>
                    <a:pt x="5120" y="2869"/>
                  </a:lnTo>
                  <a:lnTo>
                    <a:pt x="5144" y="2871"/>
                  </a:lnTo>
                  <a:lnTo>
                    <a:pt x="5142" y="2861"/>
                  </a:lnTo>
                  <a:lnTo>
                    <a:pt x="5147" y="2871"/>
                  </a:lnTo>
                  <a:lnTo>
                    <a:pt x="5144" y="2871"/>
                  </a:lnTo>
                  <a:lnTo>
                    <a:pt x="5144" y="2872"/>
                  </a:lnTo>
                  <a:lnTo>
                    <a:pt x="5181" y="2858"/>
                  </a:lnTo>
                  <a:lnTo>
                    <a:pt x="5162" y="2906"/>
                  </a:lnTo>
                  <a:lnTo>
                    <a:pt x="5197" y="2871"/>
                  </a:lnTo>
                  <a:lnTo>
                    <a:pt x="5196" y="2864"/>
                  </a:lnTo>
                  <a:lnTo>
                    <a:pt x="5234" y="2895"/>
                  </a:lnTo>
                  <a:lnTo>
                    <a:pt x="5233" y="2853"/>
                  </a:lnTo>
                  <a:lnTo>
                    <a:pt x="5265" y="2895"/>
                  </a:lnTo>
                  <a:lnTo>
                    <a:pt x="5274" y="2876"/>
                  </a:lnTo>
                  <a:lnTo>
                    <a:pt x="5294" y="2879"/>
                  </a:lnTo>
                  <a:lnTo>
                    <a:pt x="5307" y="2866"/>
                  </a:lnTo>
                  <a:lnTo>
                    <a:pt x="5324" y="2864"/>
                  </a:lnTo>
                  <a:lnTo>
                    <a:pt x="5332" y="2819"/>
                  </a:lnTo>
                  <a:lnTo>
                    <a:pt x="5340" y="2864"/>
                  </a:lnTo>
                  <a:lnTo>
                    <a:pt x="5356" y="2869"/>
                  </a:lnTo>
                  <a:lnTo>
                    <a:pt x="5379" y="2859"/>
                  </a:lnTo>
                  <a:lnTo>
                    <a:pt x="5397" y="2864"/>
                  </a:lnTo>
                  <a:lnTo>
                    <a:pt x="5416" y="2863"/>
                  </a:lnTo>
                  <a:lnTo>
                    <a:pt x="5432" y="2848"/>
                  </a:lnTo>
                  <a:lnTo>
                    <a:pt x="5446" y="2877"/>
                  </a:lnTo>
                  <a:lnTo>
                    <a:pt x="5467" y="2892"/>
                  </a:lnTo>
                  <a:lnTo>
                    <a:pt x="5471" y="2850"/>
                  </a:lnTo>
                  <a:lnTo>
                    <a:pt x="5501" y="2874"/>
                  </a:lnTo>
                  <a:lnTo>
                    <a:pt x="5493" y="2821"/>
                  </a:lnTo>
                  <a:lnTo>
                    <a:pt x="5525" y="2853"/>
                  </a:lnTo>
                  <a:lnTo>
                    <a:pt x="5538" y="2861"/>
                  </a:lnTo>
                  <a:lnTo>
                    <a:pt x="5553" y="2809"/>
                  </a:lnTo>
                  <a:lnTo>
                    <a:pt x="5569" y="2827"/>
                  </a:lnTo>
                  <a:lnTo>
                    <a:pt x="5590" y="2851"/>
                  </a:lnTo>
                  <a:lnTo>
                    <a:pt x="5606" y="2853"/>
                  </a:lnTo>
                  <a:lnTo>
                    <a:pt x="5618" y="2848"/>
                  </a:lnTo>
                  <a:lnTo>
                    <a:pt x="5631" y="2847"/>
                  </a:lnTo>
                  <a:lnTo>
                    <a:pt x="5647" y="2805"/>
                  </a:lnTo>
                  <a:lnTo>
                    <a:pt x="5662" y="2832"/>
                  </a:lnTo>
                  <a:lnTo>
                    <a:pt x="5675" y="2845"/>
                  </a:lnTo>
                  <a:lnTo>
                    <a:pt x="5709" y="2818"/>
                  </a:lnTo>
                  <a:lnTo>
                    <a:pt x="5712" y="2855"/>
                  </a:lnTo>
                  <a:lnTo>
                    <a:pt x="5728" y="2877"/>
                  </a:lnTo>
                  <a:lnTo>
                    <a:pt x="5744" y="2867"/>
                  </a:lnTo>
                  <a:lnTo>
                    <a:pt x="5754" y="2871"/>
                  </a:lnTo>
                  <a:lnTo>
                    <a:pt x="5773" y="2856"/>
                  </a:lnTo>
                  <a:lnTo>
                    <a:pt x="5774" y="2892"/>
                  </a:lnTo>
                  <a:lnTo>
                    <a:pt x="5802" y="2880"/>
                  </a:lnTo>
                  <a:lnTo>
                    <a:pt x="5821" y="2880"/>
                  </a:lnTo>
                  <a:lnTo>
                    <a:pt x="5831" y="2832"/>
                  </a:lnTo>
                  <a:lnTo>
                    <a:pt x="5847" y="2830"/>
                  </a:lnTo>
                  <a:lnTo>
                    <a:pt x="5873" y="2874"/>
                  </a:lnTo>
                  <a:lnTo>
                    <a:pt x="5887" y="2853"/>
                  </a:lnTo>
                  <a:lnTo>
                    <a:pt x="5905" y="2850"/>
                  </a:lnTo>
                  <a:lnTo>
                    <a:pt x="5918" y="2863"/>
                  </a:lnTo>
                  <a:lnTo>
                    <a:pt x="5918" y="2890"/>
                  </a:lnTo>
                  <a:lnTo>
                    <a:pt x="5938" y="2906"/>
                  </a:lnTo>
                  <a:lnTo>
                    <a:pt x="5961" y="2863"/>
                  </a:lnTo>
                  <a:lnTo>
                    <a:pt x="5985" y="2911"/>
                  </a:lnTo>
                  <a:lnTo>
                    <a:pt x="6012" y="2853"/>
                  </a:lnTo>
                  <a:lnTo>
                    <a:pt x="6027" y="2884"/>
                  </a:lnTo>
                  <a:lnTo>
                    <a:pt x="6027" y="2901"/>
                  </a:lnTo>
                  <a:lnTo>
                    <a:pt x="6027" y="2919"/>
                  </a:lnTo>
                  <a:lnTo>
                    <a:pt x="6011" y="2953"/>
                  </a:lnTo>
                  <a:lnTo>
                    <a:pt x="6046" y="2925"/>
                  </a:lnTo>
                  <a:lnTo>
                    <a:pt x="6061" y="2934"/>
                  </a:lnTo>
                  <a:lnTo>
                    <a:pt x="6072" y="2946"/>
                  </a:lnTo>
                  <a:lnTo>
                    <a:pt x="6085" y="2956"/>
                  </a:lnTo>
                  <a:lnTo>
                    <a:pt x="6098" y="2983"/>
                  </a:lnTo>
                  <a:lnTo>
                    <a:pt x="6114" y="2954"/>
                  </a:lnTo>
                  <a:lnTo>
                    <a:pt x="6136" y="2940"/>
                  </a:lnTo>
                  <a:lnTo>
                    <a:pt x="6151" y="2959"/>
                  </a:lnTo>
                  <a:lnTo>
                    <a:pt x="6151" y="2980"/>
                  </a:lnTo>
                  <a:lnTo>
                    <a:pt x="6159" y="2995"/>
                  </a:lnTo>
                  <a:lnTo>
                    <a:pt x="6165" y="3008"/>
                  </a:lnTo>
                  <a:lnTo>
                    <a:pt x="6178" y="3016"/>
                  </a:lnTo>
                  <a:lnTo>
                    <a:pt x="6204" y="3006"/>
                  </a:lnTo>
                  <a:lnTo>
                    <a:pt x="6199" y="3037"/>
                  </a:lnTo>
                  <a:lnTo>
                    <a:pt x="6223" y="3046"/>
                  </a:lnTo>
                  <a:lnTo>
                    <a:pt x="6218" y="2995"/>
                  </a:lnTo>
                  <a:lnTo>
                    <a:pt x="6234" y="2988"/>
                  </a:lnTo>
                  <a:lnTo>
                    <a:pt x="6262" y="3011"/>
                  </a:lnTo>
                  <a:lnTo>
                    <a:pt x="6270" y="2990"/>
                  </a:lnTo>
                  <a:lnTo>
                    <a:pt x="6291" y="3004"/>
                  </a:lnTo>
                  <a:lnTo>
                    <a:pt x="6297" y="2967"/>
                  </a:lnTo>
                  <a:lnTo>
                    <a:pt x="6320" y="3014"/>
                  </a:lnTo>
                  <a:lnTo>
                    <a:pt x="6328" y="2966"/>
                  </a:lnTo>
                  <a:lnTo>
                    <a:pt x="6349" y="2995"/>
                  </a:lnTo>
                  <a:lnTo>
                    <a:pt x="6368" y="2972"/>
                  </a:lnTo>
                  <a:lnTo>
                    <a:pt x="6379" y="3009"/>
                  </a:lnTo>
                  <a:lnTo>
                    <a:pt x="6402" y="2979"/>
                  </a:lnTo>
                  <a:lnTo>
                    <a:pt x="6410" y="3024"/>
                  </a:lnTo>
                  <a:lnTo>
                    <a:pt x="6437" y="2974"/>
                  </a:lnTo>
                  <a:lnTo>
                    <a:pt x="6447" y="3004"/>
                  </a:lnTo>
                  <a:lnTo>
                    <a:pt x="6453" y="3032"/>
                  </a:lnTo>
                  <a:lnTo>
                    <a:pt x="6471" y="3027"/>
                  </a:lnTo>
                  <a:lnTo>
                    <a:pt x="6488" y="3025"/>
                  </a:lnTo>
                  <a:lnTo>
                    <a:pt x="6508" y="3000"/>
                  </a:lnTo>
                  <a:lnTo>
                    <a:pt x="6519" y="3008"/>
                  </a:lnTo>
                  <a:lnTo>
                    <a:pt x="6538" y="3006"/>
                  </a:lnTo>
                  <a:lnTo>
                    <a:pt x="6559" y="3035"/>
                  </a:lnTo>
                  <a:lnTo>
                    <a:pt x="6583" y="2993"/>
                  </a:lnTo>
                  <a:lnTo>
                    <a:pt x="6583" y="3035"/>
                  </a:lnTo>
                  <a:lnTo>
                    <a:pt x="6601" y="3014"/>
                  </a:lnTo>
                  <a:lnTo>
                    <a:pt x="6591" y="2995"/>
                  </a:lnTo>
                  <a:lnTo>
                    <a:pt x="6612" y="2995"/>
                  </a:lnTo>
                  <a:lnTo>
                    <a:pt x="6648" y="3011"/>
                  </a:lnTo>
                  <a:lnTo>
                    <a:pt x="6667" y="3012"/>
                  </a:lnTo>
                  <a:lnTo>
                    <a:pt x="6677" y="2987"/>
                  </a:lnTo>
                  <a:lnTo>
                    <a:pt x="6680" y="2966"/>
                  </a:lnTo>
                  <a:lnTo>
                    <a:pt x="6691" y="2954"/>
                  </a:lnTo>
                  <a:lnTo>
                    <a:pt x="6657" y="2930"/>
                  </a:lnTo>
                  <a:lnTo>
                    <a:pt x="6685" y="2946"/>
                  </a:lnTo>
                  <a:lnTo>
                    <a:pt x="6699" y="2925"/>
                  </a:lnTo>
                  <a:lnTo>
                    <a:pt x="6694" y="2956"/>
                  </a:lnTo>
                  <a:lnTo>
                    <a:pt x="6738" y="2932"/>
                  </a:lnTo>
                  <a:lnTo>
                    <a:pt x="6736" y="2959"/>
                  </a:lnTo>
                  <a:lnTo>
                    <a:pt x="6755" y="2946"/>
                  </a:lnTo>
                  <a:lnTo>
                    <a:pt x="6760" y="2966"/>
                  </a:lnTo>
                  <a:lnTo>
                    <a:pt x="6775" y="2943"/>
                  </a:lnTo>
                  <a:lnTo>
                    <a:pt x="6796" y="2990"/>
                  </a:lnTo>
                  <a:lnTo>
                    <a:pt x="6794" y="2938"/>
                  </a:lnTo>
                  <a:lnTo>
                    <a:pt x="6831" y="2975"/>
                  </a:lnTo>
                  <a:lnTo>
                    <a:pt x="6847" y="2967"/>
                  </a:lnTo>
                  <a:lnTo>
                    <a:pt x="6852" y="2946"/>
                  </a:lnTo>
                  <a:lnTo>
                    <a:pt x="6876" y="2953"/>
                  </a:lnTo>
                  <a:lnTo>
                    <a:pt x="6892" y="2950"/>
                  </a:lnTo>
                  <a:lnTo>
                    <a:pt x="6886" y="2905"/>
                  </a:lnTo>
                  <a:lnTo>
                    <a:pt x="6892" y="2942"/>
                  </a:lnTo>
                  <a:lnTo>
                    <a:pt x="6906" y="2951"/>
                  </a:lnTo>
                  <a:lnTo>
                    <a:pt x="6940" y="2925"/>
                  </a:lnTo>
                  <a:lnTo>
                    <a:pt x="6937" y="2966"/>
                  </a:lnTo>
                  <a:lnTo>
                    <a:pt x="6958" y="2966"/>
                  </a:lnTo>
                  <a:lnTo>
                    <a:pt x="6974" y="2942"/>
                  </a:lnTo>
                  <a:lnTo>
                    <a:pt x="6985" y="2954"/>
                  </a:lnTo>
                  <a:lnTo>
                    <a:pt x="6977" y="2924"/>
                  </a:lnTo>
                  <a:lnTo>
                    <a:pt x="7011" y="2930"/>
                  </a:lnTo>
                  <a:lnTo>
                    <a:pt x="7025" y="2932"/>
                  </a:lnTo>
                  <a:lnTo>
                    <a:pt x="7037" y="2927"/>
                  </a:lnTo>
                  <a:lnTo>
                    <a:pt x="7029" y="2959"/>
                  </a:lnTo>
                  <a:lnTo>
                    <a:pt x="7040" y="2971"/>
                  </a:lnTo>
                  <a:lnTo>
                    <a:pt x="7069" y="2972"/>
                  </a:lnTo>
                  <a:lnTo>
                    <a:pt x="7077" y="2935"/>
                  </a:lnTo>
                  <a:lnTo>
                    <a:pt x="7111" y="2956"/>
                  </a:lnTo>
                  <a:lnTo>
                    <a:pt x="7122" y="2945"/>
                  </a:lnTo>
                  <a:lnTo>
                    <a:pt x="7127" y="2903"/>
                  </a:lnTo>
                  <a:lnTo>
                    <a:pt x="7149" y="2942"/>
                  </a:lnTo>
                  <a:lnTo>
                    <a:pt x="7164" y="2917"/>
                  </a:lnTo>
                  <a:lnTo>
                    <a:pt x="7180" y="2927"/>
                  </a:lnTo>
                  <a:lnTo>
                    <a:pt x="7164" y="2958"/>
                  </a:lnTo>
                  <a:lnTo>
                    <a:pt x="7214" y="2938"/>
                  </a:lnTo>
                  <a:lnTo>
                    <a:pt x="7175" y="2987"/>
                  </a:lnTo>
                  <a:lnTo>
                    <a:pt x="7207" y="2988"/>
                  </a:lnTo>
                  <a:lnTo>
                    <a:pt x="7217" y="2954"/>
                  </a:lnTo>
                  <a:lnTo>
                    <a:pt x="7233" y="2954"/>
                  </a:lnTo>
                  <a:lnTo>
                    <a:pt x="7255" y="2971"/>
                  </a:lnTo>
                  <a:lnTo>
                    <a:pt x="7275" y="2945"/>
                  </a:lnTo>
                  <a:lnTo>
                    <a:pt x="7288" y="2956"/>
                  </a:lnTo>
                  <a:lnTo>
                    <a:pt x="7299" y="2988"/>
                  </a:lnTo>
                  <a:lnTo>
                    <a:pt x="7315" y="2983"/>
                  </a:lnTo>
                  <a:lnTo>
                    <a:pt x="7329" y="2996"/>
                  </a:lnTo>
                  <a:lnTo>
                    <a:pt x="7347" y="2979"/>
                  </a:lnTo>
                  <a:lnTo>
                    <a:pt x="7362" y="2969"/>
                  </a:lnTo>
                  <a:lnTo>
                    <a:pt x="7378" y="2972"/>
                  </a:lnTo>
                  <a:lnTo>
                    <a:pt x="7387" y="2961"/>
                  </a:lnTo>
                  <a:lnTo>
                    <a:pt x="7402" y="2958"/>
                  </a:lnTo>
                  <a:lnTo>
                    <a:pt x="7437" y="2977"/>
                  </a:lnTo>
                  <a:lnTo>
                    <a:pt x="7436" y="2940"/>
                  </a:lnTo>
                  <a:lnTo>
                    <a:pt x="7447" y="2917"/>
                  </a:lnTo>
                  <a:lnTo>
                    <a:pt x="7461" y="2909"/>
                  </a:lnTo>
                  <a:lnTo>
                    <a:pt x="7484" y="2943"/>
                  </a:lnTo>
                  <a:lnTo>
                    <a:pt x="7518" y="2924"/>
                  </a:lnTo>
                  <a:lnTo>
                    <a:pt x="7530" y="2932"/>
                  </a:lnTo>
                  <a:lnTo>
                    <a:pt x="7537" y="2950"/>
                  </a:lnTo>
                  <a:lnTo>
                    <a:pt x="7532" y="2979"/>
                  </a:lnTo>
                  <a:lnTo>
                    <a:pt x="7540" y="2956"/>
                  </a:lnTo>
                  <a:lnTo>
                    <a:pt x="7548" y="2937"/>
                  </a:lnTo>
                  <a:lnTo>
                    <a:pt x="7563" y="2921"/>
                  </a:lnTo>
                  <a:lnTo>
                    <a:pt x="7587" y="2925"/>
                  </a:lnTo>
                  <a:lnTo>
                    <a:pt x="7609" y="2935"/>
                  </a:lnTo>
                  <a:lnTo>
                    <a:pt x="7624" y="2913"/>
                  </a:lnTo>
                  <a:lnTo>
                    <a:pt x="7645" y="2921"/>
                  </a:lnTo>
                  <a:lnTo>
                    <a:pt x="7661" y="2922"/>
                  </a:lnTo>
                  <a:lnTo>
                    <a:pt x="7667" y="2927"/>
                  </a:lnTo>
                  <a:lnTo>
                    <a:pt x="7675" y="2917"/>
                  </a:lnTo>
                  <a:lnTo>
                    <a:pt x="7680" y="2919"/>
                  </a:lnTo>
                  <a:lnTo>
                    <a:pt x="7680" y="414"/>
                  </a:lnTo>
                  <a:lnTo>
                    <a:pt x="7670" y="409"/>
                  </a:lnTo>
                  <a:lnTo>
                    <a:pt x="7638" y="448"/>
                  </a:lnTo>
                  <a:lnTo>
                    <a:pt x="7656" y="393"/>
                  </a:lnTo>
                  <a:lnTo>
                    <a:pt x="7614" y="422"/>
                  </a:lnTo>
                  <a:lnTo>
                    <a:pt x="7609" y="417"/>
                  </a:lnTo>
                  <a:lnTo>
                    <a:pt x="7598" y="390"/>
                  </a:lnTo>
                  <a:lnTo>
                    <a:pt x="7580" y="380"/>
                  </a:lnTo>
                  <a:lnTo>
                    <a:pt x="7569" y="404"/>
                  </a:lnTo>
                  <a:lnTo>
                    <a:pt x="7553" y="402"/>
                  </a:lnTo>
                  <a:lnTo>
                    <a:pt x="7535" y="380"/>
                  </a:lnTo>
                  <a:lnTo>
                    <a:pt x="7526" y="417"/>
                  </a:lnTo>
                  <a:lnTo>
                    <a:pt x="7514" y="430"/>
                  </a:lnTo>
                  <a:lnTo>
                    <a:pt x="7487" y="401"/>
                  </a:lnTo>
                  <a:lnTo>
                    <a:pt x="7479" y="423"/>
                  </a:lnTo>
                  <a:lnTo>
                    <a:pt x="7477" y="452"/>
                  </a:lnTo>
                  <a:lnTo>
                    <a:pt x="7456" y="451"/>
                  </a:lnTo>
                  <a:lnTo>
                    <a:pt x="7439" y="480"/>
                  </a:lnTo>
                  <a:lnTo>
                    <a:pt x="7419" y="441"/>
                  </a:lnTo>
                  <a:lnTo>
                    <a:pt x="7392" y="460"/>
                  </a:lnTo>
                  <a:lnTo>
                    <a:pt x="7386" y="423"/>
                  </a:lnTo>
                  <a:lnTo>
                    <a:pt x="7376" y="457"/>
                  </a:lnTo>
                  <a:lnTo>
                    <a:pt x="7350" y="409"/>
                  </a:lnTo>
                  <a:lnTo>
                    <a:pt x="7336" y="423"/>
                  </a:lnTo>
                  <a:lnTo>
                    <a:pt x="7318" y="423"/>
                  </a:lnTo>
                  <a:lnTo>
                    <a:pt x="7313" y="459"/>
                  </a:lnTo>
                  <a:lnTo>
                    <a:pt x="7294" y="443"/>
                  </a:lnTo>
                  <a:lnTo>
                    <a:pt x="7281" y="436"/>
                  </a:lnTo>
                  <a:lnTo>
                    <a:pt x="7263" y="460"/>
                  </a:lnTo>
                  <a:lnTo>
                    <a:pt x="7247" y="451"/>
                  </a:lnTo>
                  <a:lnTo>
                    <a:pt x="7246" y="472"/>
                  </a:lnTo>
                  <a:lnTo>
                    <a:pt x="7209" y="452"/>
                  </a:lnTo>
                  <a:lnTo>
                    <a:pt x="7209" y="475"/>
                  </a:lnTo>
                  <a:lnTo>
                    <a:pt x="7198" y="477"/>
                  </a:lnTo>
                  <a:lnTo>
                    <a:pt x="7185" y="467"/>
                  </a:lnTo>
                  <a:lnTo>
                    <a:pt x="7181" y="525"/>
                  </a:lnTo>
                  <a:lnTo>
                    <a:pt x="7154" y="483"/>
                  </a:lnTo>
                  <a:lnTo>
                    <a:pt x="7146" y="510"/>
                  </a:lnTo>
                  <a:lnTo>
                    <a:pt x="7128" y="512"/>
                  </a:lnTo>
                  <a:lnTo>
                    <a:pt x="7117" y="538"/>
                  </a:lnTo>
                  <a:lnTo>
                    <a:pt x="7103" y="506"/>
                  </a:lnTo>
                  <a:lnTo>
                    <a:pt x="7079" y="546"/>
                  </a:lnTo>
                  <a:lnTo>
                    <a:pt x="7059" y="538"/>
                  </a:lnTo>
                  <a:lnTo>
                    <a:pt x="7038" y="533"/>
                  </a:lnTo>
                  <a:lnTo>
                    <a:pt x="7045" y="496"/>
                  </a:lnTo>
                  <a:lnTo>
                    <a:pt x="7014" y="512"/>
                  </a:lnTo>
                  <a:lnTo>
                    <a:pt x="7016" y="494"/>
                  </a:lnTo>
                  <a:lnTo>
                    <a:pt x="7005" y="489"/>
                  </a:lnTo>
                  <a:lnTo>
                    <a:pt x="6997" y="520"/>
                  </a:lnTo>
                  <a:lnTo>
                    <a:pt x="6958" y="467"/>
                  </a:lnTo>
                  <a:lnTo>
                    <a:pt x="6968" y="512"/>
                  </a:lnTo>
                  <a:lnTo>
                    <a:pt x="6966" y="531"/>
                  </a:lnTo>
                  <a:lnTo>
                    <a:pt x="6924" y="509"/>
                  </a:lnTo>
                  <a:lnTo>
                    <a:pt x="6931" y="554"/>
                  </a:lnTo>
                  <a:lnTo>
                    <a:pt x="6923" y="517"/>
                  </a:lnTo>
                  <a:lnTo>
                    <a:pt x="6894" y="535"/>
                  </a:lnTo>
                  <a:lnTo>
                    <a:pt x="6884" y="523"/>
                  </a:lnTo>
                  <a:lnTo>
                    <a:pt x="6882" y="525"/>
                  </a:lnTo>
                  <a:lnTo>
                    <a:pt x="6886" y="530"/>
                  </a:lnTo>
                  <a:lnTo>
                    <a:pt x="6844" y="507"/>
                  </a:lnTo>
                  <a:lnTo>
                    <a:pt x="6829" y="514"/>
                  </a:lnTo>
                  <a:lnTo>
                    <a:pt x="6837" y="551"/>
                  </a:lnTo>
                  <a:lnTo>
                    <a:pt x="6820" y="518"/>
                  </a:lnTo>
                  <a:lnTo>
                    <a:pt x="6804" y="556"/>
                  </a:lnTo>
                  <a:lnTo>
                    <a:pt x="6789" y="539"/>
                  </a:lnTo>
                  <a:lnTo>
                    <a:pt x="6775" y="538"/>
                  </a:lnTo>
                  <a:lnTo>
                    <a:pt x="6760" y="536"/>
                  </a:lnTo>
                  <a:lnTo>
                    <a:pt x="6739" y="543"/>
                  </a:lnTo>
                  <a:lnTo>
                    <a:pt x="6741" y="502"/>
                  </a:lnTo>
                  <a:lnTo>
                    <a:pt x="6723" y="515"/>
                  </a:lnTo>
                  <a:lnTo>
                    <a:pt x="6709" y="525"/>
                  </a:lnTo>
                  <a:lnTo>
                    <a:pt x="6694" y="554"/>
                  </a:lnTo>
                  <a:lnTo>
                    <a:pt x="6697" y="504"/>
                  </a:lnTo>
                  <a:lnTo>
                    <a:pt x="6677" y="509"/>
                  </a:lnTo>
                  <a:lnTo>
                    <a:pt x="6651" y="528"/>
                  </a:lnTo>
                  <a:lnTo>
                    <a:pt x="6652" y="535"/>
                  </a:lnTo>
                  <a:lnTo>
                    <a:pt x="6648" y="531"/>
                  </a:lnTo>
                  <a:lnTo>
                    <a:pt x="6643" y="533"/>
                  </a:lnTo>
                  <a:lnTo>
                    <a:pt x="6644" y="528"/>
                  </a:lnTo>
                  <a:lnTo>
                    <a:pt x="6617" y="509"/>
                  </a:lnTo>
                  <a:lnTo>
                    <a:pt x="6601" y="510"/>
                  </a:lnTo>
                  <a:lnTo>
                    <a:pt x="6601" y="543"/>
                  </a:lnTo>
                  <a:lnTo>
                    <a:pt x="6588" y="527"/>
                  </a:lnTo>
                  <a:lnTo>
                    <a:pt x="6575" y="518"/>
                  </a:lnTo>
                  <a:lnTo>
                    <a:pt x="6551" y="522"/>
                  </a:lnTo>
                  <a:lnTo>
                    <a:pt x="6556" y="477"/>
                  </a:lnTo>
                  <a:lnTo>
                    <a:pt x="6543" y="512"/>
                  </a:lnTo>
                  <a:lnTo>
                    <a:pt x="6535" y="535"/>
                  </a:lnTo>
                  <a:lnTo>
                    <a:pt x="6503" y="499"/>
                  </a:lnTo>
                  <a:lnTo>
                    <a:pt x="6493" y="535"/>
                  </a:lnTo>
                  <a:lnTo>
                    <a:pt x="6476" y="502"/>
                  </a:lnTo>
                  <a:lnTo>
                    <a:pt x="6463" y="501"/>
                  </a:lnTo>
                  <a:lnTo>
                    <a:pt x="6451" y="489"/>
                  </a:lnTo>
                  <a:lnTo>
                    <a:pt x="6429" y="512"/>
                  </a:lnTo>
                  <a:lnTo>
                    <a:pt x="6414" y="533"/>
                  </a:lnTo>
                  <a:lnTo>
                    <a:pt x="6394" y="485"/>
                  </a:lnTo>
                  <a:lnTo>
                    <a:pt x="6390" y="541"/>
                  </a:lnTo>
                  <a:lnTo>
                    <a:pt x="6371" y="488"/>
                  </a:lnTo>
                  <a:lnTo>
                    <a:pt x="6358" y="496"/>
                  </a:lnTo>
                  <a:lnTo>
                    <a:pt x="6345" y="481"/>
                  </a:lnTo>
                  <a:lnTo>
                    <a:pt x="6321" y="506"/>
                  </a:lnTo>
                  <a:lnTo>
                    <a:pt x="6313" y="509"/>
                  </a:lnTo>
                  <a:lnTo>
                    <a:pt x="6295" y="509"/>
                  </a:lnTo>
                  <a:lnTo>
                    <a:pt x="6289" y="525"/>
                  </a:lnTo>
                  <a:lnTo>
                    <a:pt x="6271" y="554"/>
                  </a:lnTo>
                  <a:lnTo>
                    <a:pt x="6244" y="539"/>
                  </a:lnTo>
                  <a:lnTo>
                    <a:pt x="6271" y="486"/>
                  </a:lnTo>
                  <a:lnTo>
                    <a:pt x="6225" y="515"/>
                  </a:lnTo>
                  <a:lnTo>
                    <a:pt x="6236" y="469"/>
                  </a:lnTo>
                  <a:lnTo>
                    <a:pt x="6213" y="499"/>
                  </a:lnTo>
                  <a:lnTo>
                    <a:pt x="6197" y="504"/>
                  </a:lnTo>
                  <a:lnTo>
                    <a:pt x="6181" y="457"/>
                  </a:lnTo>
                  <a:lnTo>
                    <a:pt x="6167" y="485"/>
                  </a:lnTo>
                  <a:lnTo>
                    <a:pt x="6152" y="506"/>
                  </a:lnTo>
                  <a:lnTo>
                    <a:pt x="6135" y="514"/>
                  </a:lnTo>
                  <a:lnTo>
                    <a:pt x="6123" y="464"/>
                  </a:lnTo>
                  <a:lnTo>
                    <a:pt x="6107" y="469"/>
                  </a:lnTo>
                  <a:lnTo>
                    <a:pt x="6090" y="457"/>
                  </a:lnTo>
                  <a:lnTo>
                    <a:pt x="6070" y="460"/>
                  </a:lnTo>
                  <a:lnTo>
                    <a:pt x="6061" y="514"/>
                  </a:lnTo>
                  <a:lnTo>
                    <a:pt x="6048" y="506"/>
                  </a:lnTo>
                  <a:lnTo>
                    <a:pt x="6027" y="498"/>
                  </a:lnTo>
                  <a:lnTo>
                    <a:pt x="6025" y="533"/>
                  </a:lnTo>
                  <a:lnTo>
                    <a:pt x="5996" y="536"/>
                  </a:lnTo>
                  <a:lnTo>
                    <a:pt x="5974" y="525"/>
                  </a:lnTo>
                  <a:lnTo>
                    <a:pt x="5963" y="504"/>
                  </a:lnTo>
                  <a:lnTo>
                    <a:pt x="5950" y="469"/>
                  </a:lnTo>
                  <a:lnTo>
                    <a:pt x="5938" y="518"/>
                  </a:lnTo>
                  <a:lnTo>
                    <a:pt x="5922" y="525"/>
                  </a:lnTo>
                  <a:lnTo>
                    <a:pt x="5903" y="496"/>
                  </a:lnTo>
                  <a:lnTo>
                    <a:pt x="5908" y="481"/>
                  </a:lnTo>
                  <a:lnTo>
                    <a:pt x="5861" y="515"/>
                  </a:lnTo>
                  <a:lnTo>
                    <a:pt x="5864" y="489"/>
                  </a:lnTo>
                  <a:lnTo>
                    <a:pt x="5855" y="483"/>
                  </a:lnTo>
                  <a:lnTo>
                    <a:pt x="5842" y="486"/>
                  </a:lnTo>
                  <a:lnTo>
                    <a:pt x="5824" y="465"/>
                  </a:lnTo>
                  <a:lnTo>
                    <a:pt x="5805" y="465"/>
                  </a:lnTo>
                  <a:lnTo>
                    <a:pt x="5784" y="472"/>
                  </a:lnTo>
                  <a:lnTo>
                    <a:pt x="5792" y="506"/>
                  </a:lnTo>
                  <a:lnTo>
                    <a:pt x="5774" y="509"/>
                  </a:lnTo>
                  <a:lnTo>
                    <a:pt x="5758" y="506"/>
                  </a:lnTo>
                  <a:lnTo>
                    <a:pt x="5744" y="517"/>
                  </a:lnTo>
                  <a:lnTo>
                    <a:pt x="5731" y="506"/>
                  </a:lnTo>
                  <a:lnTo>
                    <a:pt x="5725" y="485"/>
                  </a:lnTo>
                  <a:lnTo>
                    <a:pt x="5713" y="486"/>
                  </a:lnTo>
                  <a:lnTo>
                    <a:pt x="5699" y="480"/>
                  </a:lnTo>
                  <a:lnTo>
                    <a:pt x="5700" y="456"/>
                  </a:lnTo>
                  <a:lnTo>
                    <a:pt x="5676" y="443"/>
                  </a:lnTo>
                  <a:lnTo>
                    <a:pt x="5657" y="489"/>
                  </a:lnTo>
                  <a:lnTo>
                    <a:pt x="5641" y="488"/>
                  </a:lnTo>
                  <a:lnTo>
                    <a:pt x="5623" y="486"/>
                  </a:lnTo>
                  <a:lnTo>
                    <a:pt x="5610" y="501"/>
                  </a:lnTo>
                  <a:lnTo>
                    <a:pt x="5586" y="469"/>
                  </a:lnTo>
                  <a:lnTo>
                    <a:pt x="5573" y="515"/>
                  </a:lnTo>
                  <a:lnTo>
                    <a:pt x="5554" y="499"/>
                  </a:lnTo>
                  <a:lnTo>
                    <a:pt x="5540" y="491"/>
                  </a:lnTo>
                  <a:lnTo>
                    <a:pt x="5532" y="464"/>
                  </a:lnTo>
                  <a:lnTo>
                    <a:pt x="5516" y="478"/>
                  </a:lnTo>
                  <a:lnTo>
                    <a:pt x="5498" y="478"/>
                  </a:lnTo>
                  <a:lnTo>
                    <a:pt x="5485" y="501"/>
                  </a:lnTo>
                  <a:lnTo>
                    <a:pt x="5467" y="481"/>
                  </a:lnTo>
                  <a:lnTo>
                    <a:pt x="5453" y="506"/>
                  </a:lnTo>
                  <a:lnTo>
                    <a:pt x="5438" y="489"/>
                  </a:lnTo>
                  <a:lnTo>
                    <a:pt x="5427" y="504"/>
                  </a:lnTo>
                  <a:lnTo>
                    <a:pt x="5413" y="517"/>
                  </a:lnTo>
                  <a:lnTo>
                    <a:pt x="5387" y="525"/>
                  </a:lnTo>
                  <a:lnTo>
                    <a:pt x="5392" y="478"/>
                  </a:lnTo>
                  <a:lnTo>
                    <a:pt x="5372" y="480"/>
                  </a:lnTo>
                  <a:lnTo>
                    <a:pt x="5355" y="478"/>
                  </a:lnTo>
                  <a:lnTo>
                    <a:pt x="5352" y="451"/>
                  </a:lnTo>
                  <a:lnTo>
                    <a:pt x="5335" y="435"/>
                  </a:lnTo>
                  <a:lnTo>
                    <a:pt x="5316" y="446"/>
                  </a:lnTo>
                  <a:lnTo>
                    <a:pt x="5295" y="469"/>
                  </a:lnTo>
                  <a:lnTo>
                    <a:pt x="5284" y="443"/>
                  </a:lnTo>
                  <a:lnTo>
                    <a:pt x="5268" y="446"/>
                  </a:lnTo>
                  <a:lnTo>
                    <a:pt x="5255" y="481"/>
                  </a:lnTo>
                  <a:lnTo>
                    <a:pt x="5239" y="465"/>
                  </a:lnTo>
                  <a:lnTo>
                    <a:pt x="5215" y="452"/>
                  </a:lnTo>
                  <a:lnTo>
                    <a:pt x="5204" y="472"/>
                  </a:lnTo>
                  <a:lnTo>
                    <a:pt x="5189" y="480"/>
                  </a:lnTo>
                  <a:lnTo>
                    <a:pt x="5167" y="456"/>
                  </a:lnTo>
                  <a:lnTo>
                    <a:pt x="5157" y="470"/>
                  </a:lnTo>
                  <a:lnTo>
                    <a:pt x="5147" y="459"/>
                  </a:lnTo>
                  <a:lnTo>
                    <a:pt x="5114" y="488"/>
                  </a:lnTo>
                  <a:lnTo>
                    <a:pt x="5101" y="478"/>
                  </a:lnTo>
                  <a:lnTo>
                    <a:pt x="5099" y="441"/>
                  </a:lnTo>
                  <a:lnTo>
                    <a:pt x="5073" y="460"/>
                  </a:lnTo>
                  <a:lnTo>
                    <a:pt x="5065" y="449"/>
                  </a:lnTo>
                  <a:lnTo>
                    <a:pt x="5041" y="428"/>
                  </a:lnTo>
                  <a:lnTo>
                    <a:pt x="5024" y="430"/>
                  </a:lnTo>
                  <a:lnTo>
                    <a:pt x="5017" y="449"/>
                  </a:lnTo>
                  <a:lnTo>
                    <a:pt x="4990" y="475"/>
                  </a:lnTo>
                  <a:lnTo>
                    <a:pt x="4991" y="433"/>
                  </a:lnTo>
                  <a:lnTo>
                    <a:pt x="4972" y="423"/>
                  </a:lnTo>
                  <a:lnTo>
                    <a:pt x="4951" y="431"/>
                  </a:lnTo>
                  <a:lnTo>
                    <a:pt x="4935" y="435"/>
                  </a:lnTo>
                  <a:lnTo>
                    <a:pt x="4922" y="451"/>
                  </a:lnTo>
                  <a:lnTo>
                    <a:pt x="4896" y="433"/>
                  </a:lnTo>
                  <a:lnTo>
                    <a:pt x="4879" y="438"/>
                  </a:lnTo>
                  <a:lnTo>
                    <a:pt x="4880" y="489"/>
                  </a:lnTo>
                  <a:lnTo>
                    <a:pt x="4861" y="481"/>
                  </a:lnTo>
                  <a:lnTo>
                    <a:pt x="4845" y="469"/>
                  </a:lnTo>
                  <a:lnTo>
                    <a:pt x="4827" y="485"/>
                  </a:lnTo>
                  <a:lnTo>
                    <a:pt x="4805" y="486"/>
                  </a:lnTo>
                  <a:lnTo>
                    <a:pt x="4800" y="457"/>
                  </a:lnTo>
                  <a:lnTo>
                    <a:pt x="4782" y="456"/>
                  </a:lnTo>
                  <a:lnTo>
                    <a:pt x="4782" y="431"/>
                  </a:lnTo>
                  <a:lnTo>
                    <a:pt x="4760" y="433"/>
                  </a:lnTo>
                  <a:lnTo>
                    <a:pt x="4729" y="441"/>
                  </a:lnTo>
                  <a:lnTo>
                    <a:pt x="4739" y="404"/>
                  </a:lnTo>
                  <a:lnTo>
                    <a:pt x="4732" y="423"/>
                  </a:lnTo>
                  <a:lnTo>
                    <a:pt x="4695" y="411"/>
                  </a:lnTo>
                  <a:lnTo>
                    <a:pt x="4732" y="462"/>
                  </a:lnTo>
                  <a:lnTo>
                    <a:pt x="4707" y="459"/>
                  </a:lnTo>
                  <a:lnTo>
                    <a:pt x="4687" y="456"/>
                  </a:lnTo>
                  <a:lnTo>
                    <a:pt x="4676" y="443"/>
                  </a:lnTo>
                  <a:lnTo>
                    <a:pt x="4658" y="477"/>
                  </a:lnTo>
                  <a:lnTo>
                    <a:pt x="4650" y="444"/>
                  </a:lnTo>
                  <a:lnTo>
                    <a:pt x="4654" y="428"/>
                  </a:lnTo>
                  <a:lnTo>
                    <a:pt x="4620" y="441"/>
                  </a:lnTo>
                  <a:lnTo>
                    <a:pt x="4613" y="425"/>
                  </a:lnTo>
                  <a:lnTo>
                    <a:pt x="4589" y="448"/>
                  </a:lnTo>
                  <a:lnTo>
                    <a:pt x="4585" y="433"/>
                  </a:lnTo>
                  <a:lnTo>
                    <a:pt x="4564" y="402"/>
                  </a:lnTo>
                  <a:lnTo>
                    <a:pt x="4556" y="440"/>
                  </a:lnTo>
                  <a:lnTo>
                    <a:pt x="4538" y="438"/>
                  </a:lnTo>
                  <a:lnTo>
                    <a:pt x="4509" y="412"/>
                  </a:lnTo>
                  <a:lnTo>
                    <a:pt x="4507" y="430"/>
                  </a:lnTo>
                  <a:lnTo>
                    <a:pt x="4491" y="433"/>
                  </a:lnTo>
                  <a:lnTo>
                    <a:pt x="4474" y="427"/>
                  </a:lnTo>
                  <a:lnTo>
                    <a:pt x="4457" y="419"/>
                  </a:lnTo>
                  <a:lnTo>
                    <a:pt x="4451" y="388"/>
                  </a:lnTo>
                  <a:lnTo>
                    <a:pt x="4435" y="382"/>
                  </a:lnTo>
                  <a:lnTo>
                    <a:pt x="4419" y="423"/>
                  </a:lnTo>
                  <a:lnTo>
                    <a:pt x="4417" y="425"/>
                  </a:lnTo>
                  <a:lnTo>
                    <a:pt x="4372" y="407"/>
                  </a:lnTo>
                  <a:lnTo>
                    <a:pt x="4395" y="446"/>
                  </a:lnTo>
                  <a:lnTo>
                    <a:pt x="4372" y="438"/>
                  </a:lnTo>
                  <a:lnTo>
                    <a:pt x="4369" y="475"/>
                  </a:lnTo>
                  <a:lnTo>
                    <a:pt x="4358" y="440"/>
                  </a:lnTo>
                  <a:lnTo>
                    <a:pt x="4332" y="460"/>
                  </a:lnTo>
                  <a:lnTo>
                    <a:pt x="4316" y="459"/>
                  </a:lnTo>
                  <a:lnTo>
                    <a:pt x="4313" y="441"/>
                  </a:lnTo>
                  <a:lnTo>
                    <a:pt x="4308" y="414"/>
                  </a:lnTo>
                  <a:lnTo>
                    <a:pt x="4289" y="419"/>
                  </a:lnTo>
                  <a:lnTo>
                    <a:pt x="4271" y="401"/>
                  </a:lnTo>
                  <a:lnTo>
                    <a:pt x="4247" y="402"/>
                  </a:lnTo>
                  <a:lnTo>
                    <a:pt x="4261" y="448"/>
                  </a:lnTo>
                  <a:lnTo>
                    <a:pt x="4245" y="449"/>
                  </a:lnTo>
                  <a:lnTo>
                    <a:pt x="4226" y="435"/>
                  </a:lnTo>
                  <a:lnTo>
                    <a:pt x="4202" y="460"/>
                  </a:lnTo>
                  <a:lnTo>
                    <a:pt x="4184" y="460"/>
                  </a:lnTo>
                  <a:lnTo>
                    <a:pt x="4183" y="454"/>
                  </a:lnTo>
                  <a:lnTo>
                    <a:pt x="4160" y="449"/>
                  </a:lnTo>
                  <a:lnTo>
                    <a:pt x="4165" y="478"/>
                  </a:lnTo>
                  <a:lnTo>
                    <a:pt x="4134" y="460"/>
                  </a:lnTo>
                  <a:lnTo>
                    <a:pt x="4131" y="446"/>
                  </a:lnTo>
                  <a:lnTo>
                    <a:pt x="4126" y="428"/>
                  </a:lnTo>
                  <a:lnTo>
                    <a:pt x="4115" y="420"/>
                  </a:lnTo>
                  <a:lnTo>
                    <a:pt x="4088" y="428"/>
                  </a:lnTo>
                  <a:lnTo>
                    <a:pt x="4072" y="428"/>
                  </a:lnTo>
                  <a:lnTo>
                    <a:pt x="4059" y="465"/>
                  </a:lnTo>
                  <a:lnTo>
                    <a:pt x="4043" y="425"/>
                  </a:lnTo>
                  <a:lnTo>
                    <a:pt x="4023" y="433"/>
                  </a:lnTo>
                  <a:lnTo>
                    <a:pt x="4019" y="402"/>
                  </a:lnTo>
                  <a:lnTo>
                    <a:pt x="4004" y="383"/>
                  </a:lnTo>
                  <a:lnTo>
                    <a:pt x="3978" y="414"/>
                  </a:lnTo>
                  <a:lnTo>
                    <a:pt x="3969" y="383"/>
                  </a:lnTo>
                  <a:lnTo>
                    <a:pt x="3956" y="427"/>
                  </a:lnTo>
                  <a:lnTo>
                    <a:pt x="3928" y="409"/>
                  </a:lnTo>
                  <a:lnTo>
                    <a:pt x="3908" y="411"/>
                  </a:lnTo>
                  <a:lnTo>
                    <a:pt x="3898" y="422"/>
                  </a:lnTo>
                  <a:lnTo>
                    <a:pt x="3930" y="465"/>
                  </a:lnTo>
                  <a:lnTo>
                    <a:pt x="3893" y="444"/>
                  </a:lnTo>
                  <a:lnTo>
                    <a:pt x="3887" y="467"/>
                  </a:lnTo>
                  <a:lnTo>
                    <a:pt x="3871" y="481"/>
                  </a:lnTo>
                  <a:lnTo>
                    <a:pt x="3866" y="435"/>
                  </a:lnTo>
                  <a:lnTo>
                    <a:pt x="3832" y="467"/>
                  </a:lnTo>
                  <a:lnTo>
                    <a:pt x="3827" y="440"/>
                  </a:lnTo>
                  <a:lnTo>
                    <a:pt x="3821" y="414"/>
                  </a:lnTo>
                  <a:lnTo>
                    <a:pt x="3803" y="406"/>
                  </a:lnTo>
                  <a:lnTo>
                    <a:pt x="3787" y="399"/>
                  </a:lnTo>
                  <a:lnTo>
                    <a:pt x="3763" y="415"/>
                  </a:lnTo>
                  <a:lnTo>
                    <a:pt x="3734" y="394"/>
                  </a:lnTo>
                  <a:lnTo>
                    <a:pt x="3745" y="452"/>
                  </a:lnTo>
                  <a:lnTo>
                    <a:pt x="3710" y="417"/>
                  </a:lnTo>
                  <a:lnTo>
                    <a:pt x="3697" y="420"/>
                  </a:lnTo>
                  <a:lnTo>
                    <a:pt x="3686" y="438"/>
                  </a:lnTo>
                  <a:lnTo>
                    <a:pt x="3668" y="462"/>
                  </a:lnTo>
                  <a:lnTo>
                    <a:pt x="3653" y="440"/>
                  </a:lnTo>
                  <a:lnTo>
                    <a:pt x="3642" y="425"/>
                  </a:lnTo>
                  <a:lnTo>
                    <a:pt x="3626" y="456"/>
                  </a:lnTo>
                  <a:lnTo>
                    <a:pt x="3604" y="422"/>
                  </a:lnTo>
                  <a:lnTo>
                    <a:pt x="3605" y="449"/>
                  </a:lnTo>
                  <a:lnTo>
                    <a:pt x="3602" y="469"/>
                  </a:lnTo>
                  <a:lnTo>
                    <a:pt x="3576" y="435"/>
                  </a:lnTo>
                  <a:lnTo>
                    <a:pt x="3554" y="469"/>
                  </a:lnTo>
                  <a:lnTo>
                    <a:pt x="3546" y="448"/>
                  </a:lnTo>
                  <a:lnTo>
                    <a:pt x="3533" y="462"/>
                  </a:lnTo>
                  <a:lnTo>
                    <a:pt x="3510" y="436"/>
                  </a:lnTo>
                  <a:lnTo>
                    <a:pt x="3525" y="477"/>
                  </a:lnTo>
                  <a:lnTo>
                    <a:pt x="3504" y="475"/>
                  </a:lnTo>
                  <a:lnTo>
                    <a:pt x="3483" y="489"/>
                  </a:lnTo>
                  <a:lnTo>
                    <a:pt x="3457" y="481"/>
                  </a:lnTo>
                  <a:lnTo>
                    <a:pt x="3448" y="469"/>
                  </a:lnTo>
                  <a:lnTo>
                    <a:pt x="3446" y="448"/>
                  </a:lnTo>
                  <a:lnTo>
                    <a:pt x="3438" y="440"/>
                  </a:lnTo>
                  <a:lnTo>
                    <a:pt x="3430" y="452"/>
                  </a:lnTo>
                  <a:lnTo>
                    <a:pt x="3422" y="477"/>
                  </a:lnTo>
                  <a:lnTo>
                    <a:pt x="3395" y="464"/>
                  </a:lnTo>
                  <a:lnTo>
                    <a:pt x="3372" y="435"/>
                  </a:lnTo>
                  <a:lnTo>
                    <a:pt x="3364" y="478"/>
                  </a:lnTo>
                  <a:lnTo>
                    <a:pt x="3343" y="494"/>
                  </a:lnTo>
                  <a:lnTo>
                    <a:pt x="3330" y="460"/>
                  </a:lnTo>
                  <a:lnTo>
                    <a:pt x="3308" y="481"/>
                  </a:lnTo>
                  <a:lnTo>
                    <a:pt x="3300" y="462"/>
                  </a:lnTo>
                  <a:lnTo>
                    <a:pt x="3277" y="443"/>
                  </a:lnTo>
                  <a:lnTo>
                    <a:pt x="3272" y="477"/>
                  </a:lnTo>
                  <a:lnTo>
                    <a:pt x="3256" y="448"/>
                  </a:lnTo>
                  <a:lnTo>
                    <a:pt x="3258" y="441"/>
                  </a:lnTo>
                  <a:lnTo>
                    <a:pt x="3206" y="469"/>
                  </a:lnTo>
                  <a:lnTo>
                    <a:pt x="3208" y="446"/>
                  </a:lnTo>
                  <a:lnTo>
                    <a:pt x="3208" y="415"/>
                  </a:lnTo>
                  <a:lnTo>
                    <a:pt x="3182" y="414"/>
                  </a:lnTo>
                  <a:lnTo>
                    <a:pt x="3176" y="440"/>
                  </a:lnTo>
                  <a:lnTo>
                    <a:pt x="3160" y="459"/>
                  </a:lnTo>
                  <a:lnTo>
                    <a:pt x="3152" y="423"/>
                  </a:lnTo>
                  <a:lnTo>
                    <a:pt x="3116" y="452"/>
                  </a:lnTo>
                  <a:lnTo>
                    <a:pt x="3112" y="428"/>
                  </a:lnTo>
                  <a:lnTo>
                    <a:pt x="3099" y="391"/>
                  </a:lnTo>
                  <a:lnTo>
                    <a:pt x="3083" y="417"/>
                  </a:lnTo>
                  <a:lnTo>
                    <a:pt x="3068" y="419"/>
                  </a:lnTo>
                  <a:lnTo>
                    <a:pt x="3052" y="420"/>
                  </a:lnTo>
                  <a:lnTo>
                    <a:pt x="3038" y="428"/>
                  </a:lnTo>
                  <a:lnTo>
                    <a:pt x="3022" y="428"/>
                  </a:lnTo>
                  <a:lnTo>
                    <a:pt x="3005" y="440"/>
                  </a:lnTo>
                  <a:lnTo>
                    <a:pt x="2991" y="399"/>
                  </a:lnTo>
                  <a:lnTo>
                    <a:pt x="2970" y="407"/>
                  </a:lnTo>
                  <a:lnTo>
                    <a:pt x="2952" y="420"/>
                  </a:lnTo>
                  <a:lnTo>
                    <a:pt x="2959" y="467"/>
                  </a:lnTo>
                  <a:lnTo>
                    <a:pt x="2925" y="431"/>
                  </a:lnTo>
                  <a:lnTo>
                    <a:pt x="2901" y="473"/>
                  </a:lnTo>
                  <a:lnTo>
                    <a:pt x="2901" y="427"/>
                  </a:lnTo>
                  <a:lnTo>
                    <a:pt x="2886" y="423"/>
                  </a:lnTo>
                  <a:lnTo>
                    <a:pt x="2867" y="422"/>
                  </a:lnTo>
                  <a:lnTo>
                    <a:pt x="2841" y="425"/>
                  </a:lnTo>
                  <a:lnTo>
                    <a:pt x="2838" y="388"/>
                  </a:lnTo>
                  <a:lnTo>
                    <a:pt x="2833" y="422"/>
                  </a:lnTo>
                  <a:lnTo>
                    <a:pt x="2800" y="401"/>
                  </a:lnTo>
                  <a:lnTo>
                    <a:pt x="2795" y="420"/>
                  </a:lnTo>
                  <a:lnTo>
                    <a:pt x="2788" y="438"/>
                  </a:lnTo>
                  <a:lnTo>
                    <a:pt x="2795" y="406"/>
                  </a:lnTo>
                  <a:lnTo>
                    <a:pt x="2764" y="419"/>
                  </a:lnTo>
                  <a:lnTo>
                    <a:pt x="2747" y="417"/>
                  </a:lnTo>
                  <a:lnTo>
                    <a:pt x="2745" y="388"/>
                  </a:lnTo>
                  <a:lnTo>
                    <a:pt x="2722" y="386"/>
                  </a:lnTo>
                  <a:lnTo>
                    <a:pt x="2703" y="377"/>
                  </a:lnTo>
                  <a:lnTo>
                    <a:pt x="2698" y="422"/>
                  </a:lnTo>
                  <a:lnTo>
                    <a:pt x="2684" y="436"/>
                  </a:lnTo>
                  <a:lnTo>
                    <a:pt x="2666" y="419"/>
                  </a:lnTo>
                  <a:lnTo>
                    <a:pt x="2648" y="412"/>
                  </a:lnTo>
                  <a:lnTo>
                    <a:pt x="2644" y="446"/>
                  </a:lnTo>
                  <a:lnTo>
                    <a:pt x="2623" y="443"/>
                  </a:lnTo>
                  <a:lnTo>
                    <a:pt x="2603" y="462"/>
                  </a:lnTo>
                  <a:lnTo>
                    <a:pt x="2595" y="404"/>
                  </a:lnTo>
                  <a:lnTo>
                    <a:pt x="2566" y="444"/>
                  </a:lnTo>
                  <a:lnTo>
                    <a:pt x="2557" y="420"/>
                  </a:lnTo>
                  <a:lnTo>
                    <a:pt x="2539" y="422"/>
                  </a:lnTo>
                  <a:lnTo>
                    <a:pt x="2528" y="446"/>
                  </a:lnTo>
                  <a:lnTo>
                    <a:pt x="2509" y="462"/>
                  </a:lnTo>
                  <a:lnTo>
                    <a:pt x="2497" y="422"/>
                  </a:lnTo>
                  <a:lnTo>
                    <a:pt x="2470" y="454"/>
                  </a:lnTo>
                  <a:lnTo>
                    <a:pt x="2465" y="396"/>
                  </a:lnTo>
                  <a:lnTo>
                    <a:pt x="2446" y="409"/>
                  </a:lnTo>
                  <a:lnTo>
                    <a:pt x="2435" y="448"/>
                  </a:lnTo>
                  <a:lnTo>
                    <a:pt x="2420" y="406"/>
                  </a:lnTo>
                  <a:lnTo>
                    <a:pt x="2407" y="409"/>
                  </a:lnTo>
                  <a:lnTo>
                    <a:pt x="2386" y="412"/>
                  </a:lnTo>
                  <a:lnTo>
                    <a:pt x="2374" y="382"/>
                  </a:lnTo>
                  <a:lnTo>
                    <a:pt x="2353" y="399"/>
                  </a:lnTo>
                  <a:lnTo>
                    <a:pt x="2333" y="391"/>
                  </a:lnTo>
                  <a:lnTo>
                    <a:pt x="2324" y="411"/>
                  </a:lnTo>
                  <a:lnTo>
                    <a:pt x="2312" y="402"/>
                  </a:lnTo>
                  <a:lnTo>
                    <a:pt x="2308" y="380"/>
                  </a:lnTo>
                  <a:lnTo>
                    <a:pt x="2272" y="402"/>
                  </a:lnTo>
                  <a:lnTo>
                    <a:pt x="2274" y="353"/>
                  </a:lnTo>
                  <a:lnTo>
                    <a:pt x="2250" y="382"/>
                  </a:lnTo>
                  <a:lnTo>
                    <a:pt x="2226" y="398"/>
                  </a:lnTo>
                  <a:lnTo>
                    <a:pt x="2219" y="370"/>
                  </a:lnTo>
                  <a:lnTo>
                    <a:pt x="2197" y="375"/>
                  </a:lnTo>
                  <a:lnTo>
                    <a:pt x="2193" y="325"/>
                  </a:lnTo>
                  <a:lnTo>
                    <a:pt x="2184" y="377"/>
                  </a:lnTo>
                  <a:lnTo>
                    <a:pt x="2158" y="362"/>
                  </a:lnTo>
                  <a:lnTo>
                    <a:pt x="2140" y="388"/>
                  </a:lnTo>
                  <a:lnTo>
                    <a:pt x="2115" y="377"/>
                  </a:lnTo>
                  <a:lnTo>
                    <a:pt x="2131" y="343"/>
                  </a:lnTo>
                  <a:lnTo>
                    <a:pt x="2134" y="320"/>
                  </a:lnTo>
                  <a:lnTo>
                    <a:pt x="2099" y="353"/>
                  </a:lnTo>
                  <a:lnTo>
                    <a:pt x="2094" y="341"/>
                  </a:lnTo>
                  <a:lnTo>
                    <a:pt x="2087" y="361"/>
                  </a:lnTo>
                  <a:lnTo>
                    <a:pt x="2057" y="328"/>
                  </a:lnTo>
                  <a:lnTo>
                    <a:pt x="2052" y="370"/>
                  </a:lnTo>
                  <a:lnTo>
                    <a:pt x="2041" y="338"/>
                  </a:lnTo>
                  <a:lnTo>
                    <a:pt x="2015" y="361"/>
                  </a:lnTo>
                  <a:lnTo>
                    <a:pt x="2017" y="307"/>
                  </a:lnTo>
                  <a:lnTo>
                    <a:pt x="1989" y="353"/>
                  </a:lnTo>
                  <a:lnTo>
                    <a:pt x="1984" y="299"/>
                  </a:lnTo>
                  <a:lnTo>
                    <a:pt x="1960" y="332"/>
                  </a:lnTo>
                  <a:lnTo>
                    <a:pt x="1951" y="314"/>
                  </a:lnTo>
                  <a:lnTo>
                    <a:pt x="1926" y="317"/>
                  </a:lnTo>
                  <a:lnTo>
                    <a:pt x="1923" y="301"/>
                  </a:lnTo>
                  <a:lnTo>
                    <a:pt x="1898" y="290"/>
                  </a:lnTo>
                  <a:lnTo>
                    <a:pt x="1907" y="330"/>
                  </a:lnTo>
                  <a:lnTo>
                    <a:pt x="1862" y="301"/>
                  </a:lnTo>
                  <a:lnTo>
                    <a:pt x="1867" y="319"/>
                  </a:lnTo>
                  <a:lnTo>
                    <a:pt x="1859" y="325"/>
                  </a:lnTo>
                  <a:lnTo>
                    <a:pt x="1848" y="317"/>
                  </a:lnTo>
                  <a:lnTo>
                    <a:pt x="1832" y="312"/>
                  </a:lnTo>
                  <a:lnTo>
                    <a:pt x="1819" y="324"/>
                  </a:lnTo>
                  <a:lnTo>
                    <a:pt x="1814" y="309"/>
                  </a:lnTo>
                  <a:lnTo>
                    <a:pt x="1796" y="283"/>
                  </a:lnTo>
                  <a:lnTo>
                    <a:pt x="1780" y="303"/>
                  </a:lnTo>
                  <a:lnTo>
                    <a:pt x="1775" y="267"/>
                  </a:lnTo>
                  <a:lnTo>
                    <a:pt x="1745" y="309"/>
                  </a:lnTo>
                  <a:lnTo>
                    <a:pt x="1737" y="296"/>
                  </a:lnTo>
                  <a:lnTo>
                    <a:pt x="1727" y="317"/>
                  </a:lnTo>
                  <a:lnTo>
                    <a:pt x="1698" y="269"/>
                  </a:lnTo>
                  <a:lnTo>
                    <a:pt x="1688" y="296"/>
                  </a:lnTo>
                  <a:lnTo>
                    <a:pt x="1684" y="274"/>
                  </a:lnTo>
                  <a:lnTo>
                    <a:pt x="1648" y="285"/>
                  </a:lnTo>
                  <a:lnTo>
                    <a:pt x="1643" y="277"/>
                  </a:lnTo>
                  <a:lnTo>
                    <a:pt x="1632" y="259"/>
                  </a:lnTo>
                  <a:lnTo>
                    <a:pt x="1631" y="288"/>
                  </a:lnTo>
                  <a:lnTo>
                    <a:pt x="1616" y="293"/>
                  </a:lnTo>
                  <a:lnTo>
                    <a:pt x="1590" y="304"/>
                  </a:lnTo>
                  <a:lnTo>
                    <a:pt x="1581" y="275"/>
                  </a:lnTo>
                  <a:lnTo>
                    <a:pt x="1566" y="266"/>
                  </a:lnTo>
                  <a:lnTo>
                    <a:pt x="1590" y="228"/>
                  </a:lnTo>
                  <a:lnTo>
                    <a:pt x="1560" y="235"/>
                  </a:lnTo>
                  <a:lnTo>
                    <a:pt x="1544" y="237"/>
                  </a:lnTo>
                  <a:lnTo>
                    <a:pt x="1544" y="267"/>
                  </a:lnTo>
                  <a:lnTo>
                    <a:pt x="1508" y="232"/>
                  </a:lnTo>
                  <a:lnTo>
                    <a:pt x="1508" y="283"/>
                  </a:lnTo>
                  <a:lnTo>
                    <a:pt x="1484" y="283"/>
                  </a:lnTo>
                  <a:lnTo>
                    <a:pt x="1468" y="282"/>
                  </a:lnTo>
                  <a:lnTo>
                    <a:pt x="1460" y="251"/>
                  </a:lnTo>
                  <a:lnTo>
                    <a:pt x="1431" y="251"/>
                  </a:lnTo>
                  <a:lnTo>
                    <a:pt x="1442" y="224"/>
                  </a:lnTo>
                  <a:lnTo>
                    <a:pt x="1439" y="206"/>
                  </a:lnTo>
                  <a:lnTo>
                    <a:pt x="1430" y="183"/>
                  </a:lnTo>
                  <a:lnTo>
                    <a:pt x="1415" y="211"/>
                  </a:lnTo>
                  <a:lnTo>
                    <a:pt x="1388" y="190"/>
                  </a:lnTo>
                  <a:lnTo>
                    <a:pt x="1385" y="199"/>
                  </a:lnTo>
                  <a:lnTo>
                    <a:pt x="1388" y="198"/>
                  </a:lnTo>
                  <a:lnTo>
                    <a:pt x="1375" y="217"/>
                  </a:lnTo>
                  <a:lnTo>
                    <a:pt x="1380" y="208"/>
                  </a:lnTo>
                  <a:lnTo>
                    <a:pt x="1385" y="199"/>
                  </a:lnTo>
                  <a:lnTo>
                    <a:pt x="1332" y="214"/>
                  </a:lnTo>
                  <a:lnTo>
                    <a:pt x="1333" y="193"/>
                  </a:lnTo>
                  <a:lnTo>
                    <a:pt x="1341" y="166"/>
                  </a:lnTo>
                  <a:lnTo>
                    <a:pt x="1322" y="172"/>
                  </a:lnTo>
                  <a:lnTo>
                    <a:pt x="1304" y="185"/>
                  </a:lnTo>
                  <a:lnTo>
                    <a:pt x="1293" y="167"/>
                  </a:lnTo>
                  <a:lnTo>
                    <a:pt x="1272" y="162"/>
                  </a:lnTo>
                  <a:lnTo>
                    <a:pt x="1250" y="161"/>
                  </a:lnTo>
                  <a:lnTo>
                    <a:pt x="1262" y="198"/>
                  </a:lnTo>
                  <a:lnTo>
                    <a:pt x="1246" y="201"/>
                  </a:lnTo>
                  <a:lnTo>
                    <a:pt x="1235" y="195"/>
                  </a:lnTo>
                  <a:lnTo>
                    <a:pt x="1229" y="193"/>
                  </a:lnTo>
                  <a:lnTo>
                    <a:pt x="1221" y="174"/>
                  </a:lnTo>
                  <a:lnTo>
                    <a:pt x="1180" y="206"/>
                  </a:lnTo>
                  <a:lnTo>
                    <a:pt x="1180" y="175"/>
                  </a:lnTo>
                  <a:lnTo>
                    <a:pt x="1168" y="164"/>
                  </a:lnTo>
                  <a:lnTo>
                    <a:pt x="1147" y="175"/>
                  </a:lnTo>
                  <a:lnTo>
                    <a:pt x="1129" y="182"/>
                  </a:lnTo>
                  <a:lnTo>
                    <a:pt x="1118" y="166"/>
                  </a:lnTo>
                  <a:lnTo>
                    <a:pt x="1108" y="177"/>
                  </a:lnTo>
                  <a:lnTo>
                    <a:pt x="1103" y="179"/>
                  </a:lnTo>
                  <a:lnTo>
                    <a:pt x="1082" y="167"/>
                  </a:lnTo>
                  <a:lnTo>
                    <a:pt x="1066" y="162"/>
                  </a:lnTo>
                  <a:lnTo>
                    <a:pt x="1049" y="193"/>
                  </a:lnTo>
                  <a:lnTo>
                    <a:pt x="1069" y="143"/>
                  </a:lnTo>
                  <a:lnTo>
                    <a:pt x="1026" y="156"/>
                  </a:lnTo>
                  <a:lnTo>
                    <a:pt x="1003" y="153"/>
                  </a:lnTo>
                  <a:lnTo>
                    <a:pt x="1020" y="114"/>
                  </a:lnTo>
                  <a:lnTo>
                    <a:pt x="995" y="114"/>
                  </a:lnTo>
                  <a:lnTo>
                    <a:pt x="975" y="106"/>
                  </a:lnTo>
                  <a:lnTo>
                    <a:pt x="967" y="151"/>
                  </a:lnTo>
                  <a:lnTo>
                    <a:pt x="941" y="151"/>
                  </a:lnTo>
                  <a:lnTo>
                    <a:pt x="928" y="140"/>
                  </a:lnTo>
                  <a:lnTo>
                    <a:pt x="925" y="140"/>
                  </a:lnTo>
                  <a:lnTo>
                    <a:pt x="909" y="116"/>
                  </a:lnTo>
                  <a:lnTo>
                    <a:pt x="884" y="108"/>
                  </a:lnTo>
                  <a:lnTo>
                    <a:pt x="875" y="137"/>
                  </a:lnTo>
                  <a:lnTo>
                    <a:pt x="843" y="137"/>
                  </a:lnTo>
                  <a:lnTo>
                    <a:pt x="872" y="96"/>
                  </a:lnTo>
                  <a:lnTo>
                    <a:pt x="825" y="108"/>
                  </a:lnTo>
                  <a:lnTo>
                    <a:pt x="844" y="69"/>
                  </a:lnTo>
                  <a:lnTo>
                    <a:pt x="822" y="98"/>
                  </a:lnTo>
                  <a:lnTo>
                    <a:pt x="806" y="109"/>
                  </a:lnTo>
                  <a:lnTo>
                    <a:pt x="796" y="46"/>
                  </a:lnTo>
                  <a:lnTo>
                    <a:pt x="770" y="93"/>
                  </a:lnTo>
                  <a:lnTo>
                    <a:pt x="762" y="67"/>
                  </a:lnTo>
                  <a:lnTo>
                    <a:pt x="746" y="63"/>
                  </a:lnTo>
                  <a:lnTo>
                    <a:pt x="720" y="53"/>
                  </a:lnTo>
                  <a:lnTo>
                    <a:pt x="727" y="90"/>
                  </a:lnTo>
                  <a:lnTo>
                    <a:pt x="714" y="100"/>
                  </a:lnTo>
                  <a:lnTo>
                    <a:pt x="695" y="75"/>
                  </a:lnTo>
                  <a:lnTo>
                    <a:pt x="672" y="103"/>
                  </a:lnTo>
                  <a:lnTo>
                    <a:pt x="682" y="59"/>
                  </a:lnTo>
                  <a:lnTo>
                    <a:pt x="648" y="85"/>
                  </a:lnTo>
                  <a:lnTo>
                    <a:pt x="635" y="95"/>
                  </a:lnTo>
                  <a:lnTo>
                    <a:pt x="621" y="77"/>
                  </a:lnTo>
                  <a:lnTo>
                    <a:pt x="608" y="98"/>
                  </a:lnTo>
                  <a:lnTo>
                    <a:pt x="589" y="58"/>
                  </a:lnTo>
                  <a:lnTo>
                    <a:pt x="574" y="63"/>
                  </a:lnTo>
                  <a:lnTo>
                    <a:pt x="555" y="45"/>
                  </a:lnTo>
                  <a:lnTo>
                    <a:pt x="539" y="51"/>
                  </a:lnTo>
                  <a:lnTo>
                    <a:pt x="534" y="109"/>
                  </a:lnTo>
                  <a:lnTo>
                    <a:pt x="507" y="114"/>
                  </a:lnTo>
                  <a:lnTo>
                    <a:pt x="492" y="87"/>
                  </a:lnTo>
                  <a:lnTo>
                    <a:pt x="484" y="67"/>
                  </a:lnTo>
                  <a:lnTo>
                    <a:pt x="476" y="40"/>
                  </a:lnTo>
                  <a:lnTo>
                    <a:pt x="447" y="87"/>
                  </a:lnTo>
                  <a:lnTo>
                    <a:pt x="434" y="75"/>
                  </a:lnTo>
                  <a:lnTo>
                    <a:pt x="420" y="63"/>
                  </a:lnTo>
                  <a:lnTo>
                    <a:pt x="407" y="50"/>
                  </a:lnTo>
                  <a:lnTo>
                    <a:pt x="394" y="38"/>
                  </a:lnTo>
                  <a:lnTo>
                    <a:pt x="381" y="22"/>
                  </a:lnTo>
                  <a:lnTo>
                    <a:pt x="365" y="48"/>
                  </a:lnTo>
                  <a:lnTo>
                    <a:pt x="346" y="1"/>
                  </a:lnTo>
                  <a:lnTo>
                    <a:pt x="333" y="35"/>
                  </a:lnTo>
                  <a:lnTo>
                    <a:pt x="325" y="13"/>
                  </a:lnTo>
                  <a:lnTo>
                    <a:pt x="314" y="0"/>
                  </a:lnTo>
                  <a:lnTo>
                    <a:pt x="288" y="19"/>
                  </a:lnTo>
                  <a:lnTo>
                    <a:pt x="275" y="24"/>
                  </a:lnTo>
                  <a:lnTo>
                    <a:pt x="259" y="24"/>
                  </a:lnTo>
                  <a:lnTo>
                    <a:pt x="251" y="45"/>
                  </a:lnTo>
                  <a:lnTo>
                    <a:pt x="240" y="51"/>
                  </a:lnTo>
                  <a:lnTo>
                    <a:pt x="214" y="34"/>
                  </a:lnTo>
                  <a:lnTo>
                    <a:pt x="187" y="16"/>
                  </a:lnTo>
                  <a:lnTo>
                    <a:pt x="182" y="46"/>
                  </a:lnTo>
                  <a:lnTo>
                    <a:pt x="169" y="59"/>
                  </a:lnTo>
                  <a:lnTo>
                    <a:pt x="151" y="50"/>
                  </a:lnTo>
                  <a:lnTo>
                    <a:pt x="142" y="43"/>
                  </a:lnTo>
                  <a:lnTo>
                    <a:pt x="121" y="38"/>
                  </a:lnTo>
                  <a:lnTo>
                    <a:pt x="106" y="30"/>
                  </a:lnTo>
                  <a:lnTo>
                    <a:pt x="106" y="17"/>
                  </a:lnTo>
                  <a:lnTo>
                    <a:pt x="85" y="5"/>
                  </a:lnTo>
                  <a:lnTo>
                    <a:pt x="71" y="14"/>
                  </a:lnTo>
                  <a:lnTo>
                    <a:pt x="68" y="48"/>
                  </a:lnTo>
                  <a:lnTo>
                    <a:pt x="53" y="59"/>
                  </a:lnTo>
                  <a:lnTo>
                    <a:pt x="19" y="25"/>
                  </a:lnTo>
                  <a:lnTo>
                    <a:pt x="10" y="29"/>
                  </a:lnTo>
                  <a:lnTo>
                    <a:pt x="3" y="25"/>
                  </a:lnTo>
                  <a:lnTo>
                    <a:pt x="0" y="29"/>
                  </a:lnTo>
                  <a:lnTo>
                    <a:pt x="0" y="2518"/>
                  </a:lnTo>
                  <a:lnTo>
                    <a:pt x="10" y="2518"/>
                  </a:lnTo>
                  <a:close/>
                </a:path>
              </a:pathLst>
            </a:custGeom>
            <a:solidFill>
              <a:srgbClr val="F5F5F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75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F01D5261-34A6-4CAE-BCEA-F2185EE8E9CF}"/>
                </a:ext>
              </a:extLst>
            </p:cNvPr>
            <p:cNvSpPr/>
            <p:nvPr/>
          </p:nvSpPr>
          <p:spPr bwMode="auto">
            <a:xfrm>
              <a:off x="4130540" y="4178093"/>
              <a:ext cx="1854260" cy="1249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numCol="1" spcCol="72000" rtlCol="0" anchor="ctr">
              <a:sp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800">
                  <a:solidFill>
                    <a:srgbClr val="00000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Quelle: Ruth Berschens, Handelsblatt</a:t>
              </a:r>
            </a:p>
          </p:txBody>
        </p:sp>
        <p:sp>
          <p:nvSpPr>
            <p:cNvPr id="316" name="Rectangle 5">
              <a:extLst>
                <a:ext uri="{FF2B5EF4-FFF2-40B4-BE49-F238E27FC236}">
                  <a16:creationId xmlns:a16="http://schemas.microsoft.com/office/drawing/2014/main" id="{32769F54-B8ED-4FC0-95EB-025ADA544835}"/>
                </a:ext>
              </a:extLst>
            </p:cNvPr>
            <p:cNvSpPr/>
            <p:nvPr/>
          </p:nvSpPr>
          <p:spPr bwMode="auto">
            <a:xfrm>
              <a:off x="4123816" y="3828991"/>
              <a:ext cx="3754846" cy="29647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54000" rIns="0" bIns="54000" numCol="1" spcCol="72000" rtlCol="0" anchor="ctr">
              <a:sp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200" b="1" dirty="0">
                  <a:solidFill>
                    <a:srgbClr val="00000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er Fall Wirecard schadet Deutschland und Europa</a:t>
              </a:r>
            </a:p>
          </p:txBody>
        </p:sp>
        <p:sp>
          <p:nvSpPr>
            <p:cNvPr id="325" name="Rectangle 6">
              <a:extLst>
                <a:ext uri="{FF2B5EF4-FFF2-40B4-BE49-F238E27FC236}">
                  <a16:creationId xmlns:a16="http://schemas.microsoft.com/office/drawing/2014/main" id="{BC85012F-33EB-404A-8C0D-E58233EC3EBA}"/>
                </a:ext>
              </a:extLst>
            </p:cNvPr>
            <p:cNvSpPr/>
            <p:nvPr/>
          </p:nvSpPr>
          <p:spPr bwMode="auto">
            <a:xfrm>
              <a:off x="4120359" y="3580183"/>
              <a:ext cx="3398981" cy="19618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54000" rIns="0" bIns="54000" numCol="1" spcCol="72000" rtlCol="0" anchor="ctr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800">
                  <a:solidFill>
                    <a:srgbClr val="000000"/>
                  </a:solidFill>
                  <a:latin typeface="+mj-lt"/>
                  <a:ea typeface="Arial Unicode MS" panose="020B0604020202020204" pitchFamily="34" charset="-128"/>
                  <a:cs typeface="Consolas" panose="020B0609020204030204" pitchFamily="49" charset="0"/>
                </a:rPr>
                <a:t>24. Juni 2020    „Fake in Germany“ </a:t>
              </a:r>
            </a:p>
          </p:txBody>
        </p:sp>
      </p:grp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77B592A3-0953-4145-9FE0-864985FC9AC7}"/>
              </a:ext>
            </a:extLst>
          </p:cNvPr>
          <p:cNvGrpSpPr/>
          <p:nvPr/>
        </p:nvGrpSpPr>
        <p:grpSpPr>
          <a:xfrm>
            <a:off x="8599642" y="2978721"/>
            <a:ext cx="2899323" cy="1244070"/>
            <a:chOff x="8555443" y="3283559"/>
            <a:chExt cx="2899323" cy="1244070"/>
          </a:xfrm>
        </p:grpSpPr>
        <p:sp>
          <p:nvSpPr>
            <p:cNvPr id="312" name="Grafik 5">
              <a:extLst>
                <a:ext uri="{FF2B5EF4-FFF2-40B4-BE49-F238E27FC236}">
                  <a16:creationId xmlns:a16="http://schemas.microsoft.com/office/drawing/2014/main" id="{3E677C43-F056-430E-8F36-B5D1404D76B4}"/>
                </a:ext>
              </a:extLst>
            </p:cNvPr>
            <p:cNvSpPr>
              <a:spLocks/>
            </p:cNvSpPr>
            <p:nvPr/>
          </p:nvSpPr>
          <p:spPr>
            <a:xfrm>
              <a:off x="8555443" y="3283559"/>
              <a:ext cx="2899323" cy="1244070"/>
            </a:xfrm>
            <a:custGeom>
              <a:avLst/>
              <a:gdLst>
                <a:gd name="connsiteX0" fmla="*/ 0 w 11363325"/>
                <a:gd name="connsiteY0" fmla="*/ 0 h 3495675"/>
                <a:gd name="connsiteX1" fmla="*/ 0 w 11363325"/>
                <a:gd name="connsiteY1" fmla="*/ 2568226 h 3495675"/>
                <a:gd name="connsiteX2" fmla="*/ 19336 w 11363325"/>
                <a:gd name="connsiteY2" fmla="*/ 2547080 h 3495675"/>
                <a:gd name="connsiteX3" fmla="*/ 91535 w 11363325"/>
                <a:gd name="connsiteY3" fmla="*/ 2541841 h 3495675"/>
                <a:gd name="connsiteX4" fmla="*/ 102775 w 11363325"/>
                <a:gd name="connsiteY4" fmla="*/ 2636520 h 3495675"/>
                <a:gd name="connsiteX5" fmla="*/ 78772 w 11363325"/>
                <a:gd name="connsiteY5" fmla="*/ 2749677 h 3495675"/>
                <a:gd name="connsiteX6" fmla="*/ 210312 w 11363325"/>
                <a:gd name="connsiteY6" fmla="*/ 2682907 h 3495675"/>
                <a:gd name="connsiteX7" fmla="*/ 278511 w 11363325"/>
                <a:gd name="connsiteY7" fmla="*/ 2680145 h 3495675"/>
                <a:gd name="connsiteX8" fmla="*/ 299847 w 11363325"/>
                <a:gd name="connsiteY8" fmla="*/ 2746153 h 3495675"/>
                <a:gd name="connsiteX9" fmla="*/ 268700 w 11363325"/>
                <a:gd name="connsiteY9" fmla="*/ 2873407 h 3495675"/>
                <a:gd name="connsiteX10" fmla="*/ 378619 w 11363325"/>
                <a:gd name="connsiteY10" fmla="*/ 2834164 h 3495675"/>
                <a:gd name="connsiteX11" fmla="*/ 383381 w 11363325"/>
                <a:gd name="connsiteY11" fmla="*/ 2910840 h 3495675"/>
                <a:gd name="connsiteX12" fmla="*/ 404241 w 11363325"/>
                <a:gd name="connsiteY12" fmla="*/ 2994470 h 3495675"/>
                <a:gd name="connsiteX13" fmla="*/ 479108 w 11363325"/>
                <a:gd name="connsiteY13" fmla="*/ 3001995 h 3495675"/>
                <a:gd name="connsiteX14" fmla="*/ 559308 w 11363325"/>
                <a:gd name="connsiteY14" fmla="*/ 2948559 h 3495675"/>
                <a:gd name="connsiteX15" fmla="*/ 590169 w 11363325"/>
                <a:gd name="connsiteY15" fmla="*/ 3082671 h 3495675"/>
                <a:gd name="connsiteX16" fmla="*/ 659035 w 11363325"/>
                <a:gd name="connsiteY16" fmla="*/ 3032570 h 3495675"/>
                <a:gd name="connsiteX17" fmla="*/ 714089 w 11363325"/>
                <a:gd name="connsiteY17" fmla="*/ 3084005 h 3495675"/>
                <a:gd name="connsiteX18" fmla="*/ 758285 w 11363325"/>
                <a:gd name="connsiteY18" fmla="*/ 3006757 h 3495675"/>
                <a:gd name="connsiteX19" fmla="*/ 775811 w 11363325"/>
                <a:gd name="connsiteY19" fmla="*/ 3059621 h 3495675"/>
                <a:gd name="connsiteX20" fmla="*/ 819722 w 11363325"/>
                <a:gd name="connsiteY20" fmla="*/ 3041714 h 3495675"/>
                <a:gd name="connsiteX21" fmla="*/ 893350 w 11363325"/>
                <a:gd name="connsiteY21" fmla="*/ 3040952 h 3495675"/>
                <a:gd name="connsiteX22" fmla="*/ 892112 w 11363325"/>
                <a:gd name="connsiteY22" fmla="*/ 3111532 h 3495675"/>
                <a:gd name="connsiteX23" fmla="*/ 1005364 w 11363325"/>
                <a:gd name="connsiteY23" fmla="*/ 3103721 h 3495675"/>
                <a:gd name="connsiteX24" fmla="*/ 976027 w 11363325"/>
                <a:gd name="connsiteY24" fmla="*/ 3173063 h 3495675"/>
                <a:gd name="connsiteX25" fmla="*/ 1054703 w 11363325"/>
                <a:gd name="connsiteY25" fmla="*/ 3175159 h 3495675"/>
                <a:gd name="connsiteX26" fmla="*/ 1054703 w 11363325"/>
                <a:gd name="connsiteY26" fmla="*/ 3175064 h 3495675"/>
                <a:gd name="connsiteX27" fmla="*/ 1111472 w 11363325"/>
                <a:gd name="connsiteY27" fmla="*/ 3158490 h 3495675"/>
                <a:gd name="connsiteX28" fmla="*/ 1200245 w 11363325"/>
                <a:gd name="connsiteY28" fmla="*/ 3255550 h 3495675"/>
                <a:gd name="connsiteX29" fmla="*/ 1274255 w 11363325"/>
                <a:gd name="connsiteY29" fmla="*/ 3154775 h 3495675"/>
                <a:gd name="connsiteX30" fmla="*/ 1294067 w 11363325"/>
                <a:gd name="connsiteY30" fmla="*/ 3253073 h 3495675"/>
                <a:gd name="connsiteX31" fmla="*/ 1185577 w 11363325"/>
                <a:gd name="connsiteY31" fmla="*/ 3354800 h 3495675"/>
                <a:gd name="connsiteX32" fmla="*/ 1302639 w 11363325"/>
                <a:gd name="connsiteY32" fmla="*/ 3385947 h 3495675"/>
                <a:gd name="connsiteX33" fmla="*/ 1340072 w 11363325"/>
                <a:gd name="connsiteY33" fmla="*/ 3302127 h 3495675"/>
                <a:gd name="connsiteX34" fmla="*/ 1414367 w 11363325"/>
                <a:gd name="connsiteY34" fmla="*/ 3363087 h 3495675"/>
                <a:gd name="connsiteX35" fmla="*/ 1432274 w 11363325"/>
                <a:gd name="connsiteY35" fmla="*/ 3434048 h 3495675"/>
                <a:gd name="connsiteX36" fmla="*/ 1498759 w 11363325"/>
                <a:gd name="connsiteY36" fmla="*/ 3388043 h 3495675"/>
                <a:gd name="connsiteX37" fmla="*/ 1507712 w 11363325"/>
                <a:gd name="connsiteY37" fmla="*/ 3467386 h 3495675"/>
                <a:gd name="connsiteX38" fmla="*/ 1620488 w 11363325"/>
                <a:gd name="connsiteY38" fmla="*/ 3370803 h 3495675"/>
                <a:gd name="connsiteX39" fmla="*/ 1609725 w 11363325"/>
                <a:gd name="connsiteY39" fmla="*/ 3390233 h 3495675"/>
                <a:gd name="connsiteX40" fmla="*/ 1657922 w 11363325"/>
                <a:gd name="connsiteY40" fmla="*/ 3376041 h 3495675"/>
                <a:gd name="connsiteX41" fmla="*/ 1776032 w 11363325"/>
                <a:gd name="connsiteY41" fmla="*/ 3499295 h 3495675"/>
                <a:gd name="connsiteX42" fmla="*/ 1755553 w 11363325"/>
                <a:gd name="connsiteY42" fmla="*/ 3349657 h 3495675"/>
                <a:gd name="connsiteX43" fmla="*/ 1822990 w 11363325"/>
                <a:gd name="connsiteY43" fmla="*/ 3340227 h 3495675"/>
                <a:gd name="connsiteX44" fmla="*/ 1915192 w 11363325"/>
                <a:gd name="connsiteY44" fmla="*/ 3379661 h 3495675"/>
                <a:gd name="connsiteX45" fmla="*/ 2007680 w 11363325"/>
                <a:gd name="connsiteY45" fmla="*/ 3332703 h 3495675"/>
                <a:gd name="connsiteX46" fmla="*/ 2005870 w 11363325"/>
                <a:gd name="connsiteY46" fmla="*/ 3231261 h 3495675"/>
                <a:gd name="connsiteX47" fmla="*/ 1929193 w 11363325"/>
                <a:gd name="connsiteY47" fmla="*/ 3188684 h 3495675"/>
                <a:gd name="connsiteX48" fmla="*/ 1961960 w 11363325"/>
                <a:gd name="connsiteY48" fmla="*/ 3130677 h 3495675"/>
                <a:gd name="connsiteX49" fmla="*/ 1847850 w 11363325"/>
                <a:gd name="connsiteY49" fmla="*/ 3093625 h 3495675"/>
                <a:gd name="connsiteX50" fmla="*/ 1863281 w 11363325"/>
                <a:gd name="connsiteY50" fmla="*/ 2997137 h 3495675"/>
                <a:gd name="connsiteX51" fmla="*/ 1957673 w 11363325"/>
                <a:gd name="connsiteY51" fmla="*/ 3006471 h 3495675"/>
                <a:gd name="connsiteX52" fmla="*/ 2019776 w 11363325"/>
                <a:gd name="connsiteY52" fmla="*/ 3112484 h 3495675"/>
                <a:gd name="connsiteX53" fmla="*/ 2068830 w 11363325"/>
                <a:gd name="connsiteY53" fmla="*/ 3065526 h 3495675"/>
                <a:gd name="connsiteX54" fmla="*/ 2061020 w 11363325"/>
                <a:gd name="connsiteY54" fmla="*/ 2944559 h 3495675"/>
                <a:gd name="connsiteX55" fmla="*/ 2064639 w 11363325"/>
                <a:gd name="connsiteY55" fmla="*/ 2930938 h 3495675"/>
                <a:gd name="connsiteX56" fmla="*/ 2164461 w 11363325"/>
                <a:gd name="connsiteY56" fmla="*/ 2904935 h 3495675"/>
                <a:gd name="connsiteX57" fmla="*/ 2174462 w 11363325"/>
                <a:gd name="connsiteY57" fmla="*/ 2844737 h 3495675"/>
                <a:gd name="connsiteX58" fmla="*/ 2144363 w 11363325"/>
                <a:gd name="connsiteY58" fmla="*/ 2754535 h 3495675"/>
                <a:gd name="connsiteX59" fmla="*/ 2286476 w 11363325"/>
                <a:gd name="connsiteY59" fmla="*/ 2780538 h 3495675"/>
                <a:gd name="connsiteX60" fmla="*/ 2292858 w 11363325"/>
                <a:gd name="connsiteY60" fmla="*/ 2739485 h 3495675"/>
                <a:gd name="connsiteX61" fmla="*/ 2337340 w 11363325"/>
                <a:gd name="connsiteY61" fmla="*/ 2786729 h 3495675"/>
                <a:gd name="connsiteX62" fmla="*/ 2405253 w 11363325"/>
                <a:gd name="connsiteY62" fmla="*/ 2622518 h 3495675"/>
                <a:gd name="connsiteX63" fmla="*/ 2478405 w 11363325"/>
                <a:gd name="connsiteY63" fmla="*/ 2735390 h 3495675"/>
                <a:gd name="connsiteX64" fmla="*/ 2416683 w 11363325"/>
                <a:gd name="connsiteY64" fmla="*/ 2594324 h 3495675"/>
                <a:gd name="connsiteX65" fmla="*/ 2517743 w 11363325"/>
                <a:gd name="connsiteY65" fmla="*/ 2600516 h 3495675"/>
                <a:gd name="connsiteX66" fmla="*/ 2563273 w 11363325"/>
                <a:gd name="connsiteY66" fmla="*/ 2546033 h 3495675"/>
                <a:gd name="connsiteX67" fmla="*/ 2633948 w 11363325"/>
                <a:gd name="connsiteY67" fmla="*/ 2504980 h 3495675"/>
                <a:gd name="connsiteX68" fmla="*/ 2691194 w 11363325"/>
                <a:gd name="connsiteY68" fmla="*/ 2545271 h 3495675"/>
                <a:gd name="connsiteX69" fmla="*/ 2742724 w 11363325"/>
                <a:gd name="connsiteY69" fmla="*/ 2633186 h 3495675"/>
                <a:gd name="connsiteX70" fmla="*/ 2794635 w 11363325"/>
                <a:gd name="connsiteY70" fmla="*/ 2642045 h 3495675"/>
                <a:gd name="connsiteX71" fmla="*/ 2876931 w 11363325"/>
                <a:gd name="connsiteY71" fmla="*/ 2517077 h 3495675"/>
                <a:gd name="connsiteX72" fmla="*/ 2886551 w 11363325"/>
                <a:gd name="connsiteY72" fmla="*/ 2505170 h 3495675"/>
                <a:gd name="connsiteX73" fmla="*/ 2947226 w 11363325"/>
                <a:gd name="connsiteY73" fmla="*/ 2548033 h 3495675"/>
                <a:gd name="connsiteX74" fmla="*/ 2941034 w 11363325"/>
                <a:gd name="connsiteY74" fmla="*/ 2456593 h 3495675"/>
                <a:gd name="connsiteX75" fmla="*/ 3068670 w 11363325"/>
                <a:gd name="connsiteY75" fmla="*/ 2516600 h 3495675"/>
                <a:gd name="connsiteX76" fmla="*/ 3110674 w 11363325"/>
                <a:gd name="connsiteY76" fmla="*/ 2553272 h 3495675"/>
                <a:gd name="connsiteX77" fmla="*/ 3139916 w 11363325"/>
                <a:gd name="connsiteY77" fmla="*/ 2377821 h 3495675"/>
                <a:gd name="connsiteX78" fmla="*/ 3192304 w 11363325"/>
                <a:gd name="connsiteY78" fmla="*/ 2410873 h 3495675"/>
                <a:gd name="connsiteX79" fmla="*/ 3257264 w 11363325"/>
                <a:gd name="connsiteY79" fmla="*/ 2440496 h 3495675"/>
                <a:gd name="connsiteX80" fmla="*/ 3289173 w 11363325"/>
                <a:gd name="connsiteY80" fmla="*/ 2366772 h 3495675"/>
                <a:gd name="connsiteX81" fmla="*/ 3355181 w 11363325"/>
                <a:gd name="connsiteY81" fmla="*/ 2377535 h 3495675"/>
                <a:gd name="connsiteX82" fmla="*/ 3412141 w 11363325"/>
                <a:gd name="connsiteY82" fmla="*/ 2373249 h 3495675"/>
                <a:gd name="connsiteX83" fmla="*/ 3476244 w 11363325"/>
                <a:gd name="connsiteY83" fmla="*/ 2477643 h 3495675"/>
                <a:gd name="connsiteX84" fmla="*/ 3508153 w 11363325"/>
                <a:gd name="connsiteY84" fmla="*/ 2424208 h 3495675"/>
                <a:gd name="connsiteX85" fmla="*/ 3585115 w 11363325"/>
                <a:gd name="connsiteY85" fmla="*/ 2405539 h 3495675"/>
                <a:gd name="connsiteX86" fmla="*/ 3557207 w 11363325"/>
                <a:gd name="connsiteY86" fmla="*/ 2539937 h 3495675"/>
                <a:gd name="connsiteX87" fmla="*/ 3666839 w 11363325"/>
                <a:gd name="connsiteY87" fmla="*/ 2508980 h 3495675"/>
                <a:gd name="connsiteX88" fmla="*/ 3724466 w 11363325"/>
                <a:gd name="connsiteY88" fmla="*/ 2408777 h 3495675"/>
                <a:gd name="connsiteX89" fmla="*/ 3774948 w 11363325"/>
                <a:gd name="connsiteY89" fmla="*/ 2464308 h 3495675"/>
                <a:gd name="connsiteX90" fmla="*/ 3826859 w 11363325"/>
                <a:gd name="connsiteY90" fmla="*/ 2478215 h 3495675"/>
                <a:gd name="connsiteX91" fmla="*/ 3947351 w 11363325"/>
                <a:gd name="connsiteY91" fmla="*/ 2479358 h 3495675"/>
                <a:gd name="connsiteX92" fmla="*/ 3789998 w 11363325"/>
                <a:gd name="connsiteY92" fmla="*/ 2525745 h 3495675"/>
                <a:gd name="connsiteX93" fmla="*/ 3752945 w 11363325"/>
                <a:gd name="connsiteY93" fmla="*/ 2572417 h 3495675"/>
                <a:gd name="connsiteX94" fmla="*/ 3806190 w 11363325"/>
                <a:gd name="connsiteY94" fmla="*/ 2666048 h 3495675"/>
                <a:gd name="connsiteX95" fmla="*/ 3809714 w 11363325"/>
                <a:gd name="connsiteY95" fmla="*/ 2662714 h 3495675"/>
                <a:gd name="connsiteX96" fmla="*/ 3865340 w 11363325"/>
                <a:gd name="connsiteY96" fmla="*/ 2649379 h 3495675"/>
                <a:gd name="connsiteX97" fmla="*/ 3939826 w 11363325"/>
                <a:gd name="connsiteY97" fmla="*/ 2774537 h 3495675"/>
                <a:gd name="connsiteX98" fmla="*/ 3989165 w 11363325"/>
                <a:gd name="connsiteY98" fmla="*/ 2772632 h 3495675"/>
                <a:gd name="connsiteX99" fmla="*/ 4054126 w 11363325"/>
                <a:gd name="connsiteY99" fmla="*/ 2664333 h 3495675"/>
                <a:gd name="connsiteX100" fmla="*/ 4105942 w 11363325"/>
                <a:gd name="connsiteY100" fmla="*/ 2733866 h 3495675"/>
                <a:gd name="connsiteX101" fmla="*/ 4232720 w 11363325"/>
                <a:gd name="connsiteY101" fmla="*/ 2643949 h 3495675"/>
                <a:gd name="connsiteX102" fmla="*/ 4207002 w 11363325"/>
                <a:gd name="connsiteY102" fmla="*/ 2763203 h 3495675"/>
                <a:gd name="connsiteX103" fmla="*/ 4325112 w 11363325"/>
                <a:gd name="connsiteY103" fmla="*/ 2712339 h 3495675"/>
                <a:gd name="connsiteX104" fmla="*/ 4293394 w 11363325"/>
                <a:gd name="connsiteY104" fmla="*/ 2770441 h 3495675"/>
                <a:gd name="connsiteX105" fmla="*/ 4329780 w 11363325"/>
                <a:gd name="connsiteY105" fmla="*/ 2794540 h 3495675"/>
                <a:gd name="connsiteX106" fmla="*/ 4331018 w 11363325"/>
                <a:gd name="connsiteY106" fmla="*/ 2734532 h 3495675"/>
                <a:gd name="connsiteX107" fmla="*/ 4397121 w 11363325"/>
                <a:gd name="connsiteY107" fmla="*/ 2718149 h 3495675"/>
                <a:gd name="connsiteX108" fmla="*/ 4338923 w 11363325"/>
                <a:gd name="connsiteY108" fmla="*/ 2617946 h 3495675"/>
                <a:gd name="connsiteX109" fmla="*/ 4433507 w 11363325"/>
                <a:gd name="connsiteY109" fmla="*/ 2586419 h 3495675"/>
                <a:gd name="connsiteX110" fmla="*/ 4473321 w 11363325"/>
                <a:gd name="connsiteY110" fmla="*/ 2668143 h 3495675"/>
                <a:gd name="connsiteX111" fmla="*/ 4467987 w 11363325"/>
                <a:gd name="connsiteY111" fmla="*/ 2766155 h 3495675"/>
                <a:gd name="connsiteX112" fmla="*/ 4549521 w 11363325"/>
                <a:gd name="connsiteY112" fmla="*/ 2746058 h 3495675"/>
                <a:gd name="connsiteX113" fmla="*/ 4628293 w 11363325"/>
                <a:gd name="connsiteY113" fmla="*/ 2674144 h 3495675"/>
                <a:gd name="connsiteX114" fmla="*/ 4675347 w 11363325"/>
                <a:gd name="connsiteY114" fmla="*/ 2786824 h 3495675"/>
                <a:gd name="connsiteX115" fmla="*/ 4728020 w 11363325"/>
                <a:gd name="connsiteY115" fmla="*/ 2775299 h 3495675"/>
                <a:gd name="connsiteX116" fmla="*/ 4784598 w 11363325"/>
                <a:gd name="connsiteY116" fmla="*/ 2799683 h 3495675"/>
                <a:gd name="connsiteX117" fmla="*/ 4829937 w 11363325"/>
                <a:gd name="connsiteY117" fmla="*/ 2765298 h 3495675"/>
                <a:gd name="connsiteX118" fmla="*/ 4878229 w 11363325"/>
                <a:gd name="connsiteY118" fmla="*/ 2720626 h 3495675"/>
                <a:gd name="connsiteX119" fmla="*/ 4904804 w 11363325"/>
                <a:gd name="connsiteY119" fmla="*/ 2598611 h 3495675"/>
                <a:gd name="connsiteX120" fmla="*/ 5019771 w 11363325"/>
                <a:gd name="connsiteY120" fmla="*/ 2779966 h 3495675"/>
                <a:gd name="connsiteX121" fmla="*/ 5027962 w 11363325"/>
                <a:gd name="connsiteY121" fmla="*/ 2644140 h 3495675"/>
                <a:gd name="connsiteX122" fmla="*/ 5083874 w 11363325"/>
                <a:gd name="connsiteY122" fmla="*/ 2629757 h 3495675"/>
                <a:gd name="connsiteX123" fmla="*/ 5119497 w 11363325"/>
                <a:gd name="connsiteY123" fmla="*/ 2744915 h 3495675"/>
                <a:gd name="connsiteX124" fmla="*/ 5197317 w 11363325"/>
                <a:gd name="connsiteY124" fmla="*/ 2591276 h 3495675"/>
                <a:gd name="connsiteX125" fmla="*/ 5202841 w 11363325"/>
                <a:gd name="connsiteY125" fmla="*/ 2732437 h 3495675"/>
                <a:gd name="connsiteX126" fmla="*/ 5277231 w 11363325"/>
                <a:gd name="connsiteY126" fmla="*/ 2699576 h 3495675"/>
                <a:gd name="connsiteX127" fmla="*/ 5273802 w 11363325"/>
                <a:gd name="connsiteY127" fmla="*/ 2781110 h 3495675"/>
                <a:gd name="connsiteX128" fmla="*/ 5398389 w 11363325"/>
                <a:gd name="connsiteY128" fmla="*/ 2727865 h 3495675"/>
                <a:gd name="connsiteX129" fmla="*/ 5428203 w 11363325"/>
                <a:gd name="connsiteY129" fmla="*/ 2786348 h 3495675"/>
                <a:gd name="connsiteX130" fmla="*/ 5460969 w 11363325"/>
                <a:gd name="connsiteY130" fmla="*/ 2842546 h 3495675"/>
                <a:gd name="connsiteX131" fmla="*/ 5500688 w 11363325"/>
                <a:gd name="connsiteY131" fmla="*/ 2872740 h 3495675"/>
                <a:gd name="connsiteX132" fmla="*/ 5535740 w 11363325"/>
                <a:gd name="connsiteY132" fmla="*/ 2865691 h 3495675"/>
                <a:gd name="connsiteX133" fmla="*/ 5566982 w 11363325"/>
                <a:gd name="connsiteY133" fmla="*/ 2777204 h 3495675"/>
                <a:gd name="connsiteX134" fmla="*/ 5644134 w 11363325"/>
                <a:gd name="connsiteY134" fmla="*/ 2910459 h 3495675"/>
                <a:gd name="connsiteX135" fmla="*/ 5638610 w 11363325"/>
                <a:gd name="connsiteY135" fmla="*/ 2917889 h 3495675"/>
                <a:gd name="connsiteX136" fmla="*/ 5649659 w 11363325"/>
                <a:gd name="connsiteY136" fmla="*/ 2919984 h 3495675"/>
                <a:gd name="connsiteX137" fmla="*/ 5657088 w 11363325"/>
                <a:gd name="connsiteY137" fmla="*/ 2932748 h 3495675"/>
                <a:gd name="connsiteX138" fmla="*/ 5662517 w 11363325"/>
                <a:gd name="connsiteY138" fmla="*/ 2922461 h 3495675"/>
                <a:gd name="connsiteX139" fmla="*/ 5778723 w 11363325"/>
                <a:gd name="connsiteY139" fmla="*/ 2944845 h 3495675"/>
                <a:gd name="connsiteX140" fmla="*/ 5660612 w 11363325"/>
                <a:gd name="connsiteY140" fmla="*/ 3022854 h 3495675"/>
                <a:gd name="connsiteX141" fmla="*/ 5781675 w 11363325"/>
                <a:gd name="connsiteY141" fmla="*/ 3000851 h 3495675"/>
                <a:gd name="connsiteX142" fmla="*/ 5779389 w 11363325"/>
                <a:gd name="connsiteY142" fmla="*/ 2953131 h 3495675"/>
                <a:gd name="connsiteX143" fmla="*/ 5835586 w 11363325"/>
                <a:gd name="connsiteY143" fmla="*/ 3020473 h 3495675"/>
                <a:gd name="connsiteX144" fmla="*/ 5890260 w 11363325"/>
                <a:gd name="connsiteY144" fmla="*/ 3056001 h 3495675"/>
                <a:gd name="connsiteX145" fmla="*/ 5937980 w 11363325"/>
                <a:gd name="connsiteY145" fmla="*/ 2973896 h 3495675"/>
                <a:gd name="connsiteX146" fmla="*/ 5989796 w 11363325"/>
                <a:gd name="connsiteY146" fmla="*/ 2964466 h 3495675"/>
                <a:gd name="connsiteX147" fmla="*/ 6043422 w 11363325"/>
                <a:gd name="connsiteY147" fmla="*/ 2964085 h 3495675"/>
                <a:gd name="connsiteX148" fmla="*/ 6100667 w 11363325"/>
                <a:gd name="connsiteY148" fmla="*/ 3137249 h 3495675"/>
                <a:gd name="connsiteX149" fmla="*/ 6154865 w 11363325"/>
                <a:gd name="connsiteY149" fmla="*/ 3053239 h 3495675"/>
                <a:gd name="connsiteX150" fmla="*/ 6206585 w 11363325"/>
                <a:gd name="connsiteY150" fmla="*/ 3067812 h 3495675"/>
                <a:gd name="connsiteX151" fmla="*/ 6266021 w 11363325"/>
                <a:gd name="connsiteY151" fmla="*/ 3155156 h 3495675"/>
                <a:gd name="connsiteX152" fmla="*/ 6308122 w 11363325"/>
                <a:gd name="connsiteY152" fmla="*/ 3008757 h 3495675"/>
                <a:gd name="connsiteX153" fmla="*/ 6352604 w 11363325"/>
                <a:gd name="connsiteY153" fmla="*/ 2945225 h 3495675"/>
                <a:gd name="connsiteX154" fmla="*/ 6431852 w 11363325"/>
                <a:gd name="connsiteY154" fmla="*/ 2983802 h 3495675"/>
                <a:gd name="connsiteX155" fmla="*/ 6442805 w 11363325"/>
                <a:gd name="connsiteY155" fmla="*/ 3129153 h 3495675"/>
                <a:gd name="connsiteX156" fmla="*/ 6550343 w 11363325"/>
                <a:gd name="connsiteY156" fmla="*/ 3018949 h 3495675"/>
                <a:gd name="connsiteX157" fmla="*/ 6579394 w 11363325"/>
                <a:gd name="connsiteY157" fmla="*/ 3141059 h 3495675"/>
                <a:gd name="connsiteX158" fmla="*/ 6610446 w 11363325"/>
                <a:gd name="connsiteY158" fmla="*/ 3038094 h 3495675"/>
                <a:gd name="connsiteX159" fmla="*/ 6685217 w 11363325"/>
                <a:gd name="connsiteY159" fmla="*/ 3083338 h 3495675"/>
                <a:gd name="connsiteX160" fmla="*/ 6709124 w 11363325"/>
                <a:gd name="connsiteY160" fmla="*/ 3018187 h 3495675"/>
                <a:gd name="connsiteX161" fmla="*/ 6730365 w 11363325"/>
                <a:gd name="connsiteY161" fmla="*/ 3103912 h 3495675"/>
                <a:gd name="connsiteX162" fmla="*/ 6825139 w 11363325"/>
                <a:gd name="connsiteY162" fmla="*/ 3023140 h 3495675"/>
                <a:gd name="connsiteX163" fmla="*/ 6762941 w 11363325"/>
                <a:gd name="connsiteY163" fmla="*/ 3139821 h 3495675"/>
                <a:gd name="connsiteX164" fmla="*/ 6843522 w 11363325"/>
                <a:gd name="connsiteY164" fmla="*/ 3145822 h 3495675"/>
                <a:gd name="connsiteX165" fmla="*/ 6879812 w 11363325"/>
                <a:gd name="connsiteY165" fmla="*/ 3212592 h 3495675"/>
                <a:gd name="connsiteX166" fmla="*/ 6966680 w 11363325"/>
                <a:gd name="connsiteY166" fmla="*/ 3236405 h 3495675"/>
                <a:gd name="connsiteX167" fmla="*/ 6997732 w 11363325"/>
                <a:gd name="connsiteY167" fmla="*/ 3128963 h 3495675"/>
                <a:gd name="connsiteX168" fmla="*/ 7064693 w 11363325"/>
                <a:gd name="connsiteY168" fmla="*/ 3150013 h 3495675"/>
                <a:gd name="connsiteX169" fmla="*/ 7140035 w 11363325"/>
                <a:gd name="connsiteY169" fmla="*/ 3183350 h 3495675"/>
                <a:gd name="connsiteX170" fmla="*/ 7155847 w 11363325"/>
                <a:gd name="connsiteY170" fmla="*/ 3057144 h 3495675"/>
                <a:gd name="connsiteX171" fmla="*/ 7217569 w 11363325"/>
                <a:gd name="connsiteY171" fmla="*/ 3106007 h 3495675"/>
                <a:gd name="connsiteX172" fmla="*/ 7228523 w 11363325"/>
                <a:gd name="connsiteY172" fmla="*/ 3169539 h 3495675"/>
                <a:gd name="connsiteX173" fmla="*/ 7318724 w 11363325"/>
                <a:gd name="connsiteY173" fmla="*/ 3154395 h 3495675"/>
                <a:gd name="connsiteX174" fmla="*/ 7378636 w 11363325"/>
                <a:gd name="connsiteY174" fmla="*/ 3157252 h 3495675"/>
                <a:gd name="connsiteX175" fmla="*/ 7376541 w 11363325"/>
                <a:gd name="connsiteY175" fmla="*/ 3102007 h 3495675"/>
                <a:gd name="connsiteX176" fmla="*/ 7427881 w 11363325"/>
                <a:gd name="connsiteY176" fmla="*/ 3095435 h 3495675"/>
                <a:gd name="connsiteX177" fmla="*/ 7499414 w 11363325"/>
                <a:gd name="connsiteY177" fmla="*/ 3116771 h 3495675"/>
                <a:gd name="connsiteX178" fmla="*/ 7593616 w 11363325"/>
                <a:gd name="connsiteY178" fmla="*/ 3121247 h 3495675"/>
                <a:gd name="connsiteX179" fmla="*/ 7505319 w 11363325"/>
                <a:gd name="connsiteY179" fmla="*/ 2943701 h 3495675"/>
                <a:gd name="connsiteX180" fmla="*/ 7592283 w 11363325"/>
                <a:gd name="connsiteY180" fmla="*/ 2956465 h 3495675"/>
                <a:gd name="connsiteX181" fmla="*/ 7650576 w 11363325"/>
                <a:gd name="connsiteY181" fmla="*/ 2972467 h 3495675"/>
                <a:gd name="connsiteX182" fmla="*/ 7683627 w 11363325"/>
                <a:gd name="connsiteY182" fmla="*/ 2913126 h 3495675"/>
                <a:gd name="connsiteX183" fmla="*/ 7722394 w 11363325"/>
                <a:gd name="connsiteY183" fmla="*/ 2943511 h 3495675"/>
                <a:gd name="connsiteX184" fmla="*/ 7827169 w 11363325"/>
                <a:gd name="connsiteY184" fmla="*/ 2891409 h 3495675"/>
                <a:gd name="connsiteX185" fmla="*/ 7635907 w 11363325"/>
                <a:gd name="connsiteY185" fmla="*/ 2838545 h 3495675"/>
                <a:gd name="connsiteX186" fmla="*/ 7828121 w 11363325"/>
                <a:gd name="connsiteY186" fmla="*/ 2805779 h 3495675"/>
                <a:gd name="connsiteX187" fmla="*/ 7762494 w 11363325"/>
                <a:gd name="connsiteY187" fmla="*/ 2701671 h 3495675"/>
                <a:gd name="connsiteX188" fmla="*/ 7867936 w 11363325"/>
                <a:gd name="connsiteY188" fmla="*/ 2752725 h 3495675"/>
                <a:gd name="connsiteX189" fmla="*/ 7875556 w 11363325"/>
                <a:gd name="connsiteY189" fmla="*/ 2668810 h 3495675"/>
                <a:gd name="connsiteX190" fmla="*/ 7986999 w 11363325"/>
                <a:gd name="connsiteY190" fmla="*/ 2623185 h 3495675"/>
                <a:gd name="connsiteX191" fmla="*/ 7884605 w 11363325"/>
                <a:gd name="connsiteY191" fmla="*/ 2554129 h 3495675"/>
                <a:gd name="connsiteX192" fmla="*/ 7876699 w 11363325"/>
                <a:gd name="connsiteY192" fmla="*/ 2488787 h 3495675"/>
                <a:gd name="connsiteX193" fmla="*/ 7953280 w 11363325"/>
                <a:gd name="connsiteY193" fmla="*/ 2466975 h 3495675"/>
                <a:gd name="connsiteX194" fmla="*/ 7977569 w 11363325"/>
                <a:gd name="connsiteY194" fmla="*/ 2409825 h 3495675"/>
                <a:gd name="connsiteX195" fmla="*/ 8022622 w 11363325"/>
                <a:gd name="connsiteY195" fmla="*/ 2384393 h 3495675"/>
                <a:gd name="connsiteX196" fmla="*/ 8080344 w 11363325"/>
                <a:gd name="connsiteY196" fmla="*/ 2448020 h 3495675"/>
                <a:gd name="connsiteX197" fmla="*/ 8132636 w 11363325"/>
                <a:gd name="connsiteY197" fmla="*/ 2333816 h 3495675"/>
                <a:gd name="connsiteX198" fmla="*/ 8196167 w 11363325"/>
                <a:gd name="connsiteY198" fmla="*/ 2343055 h 3495675"/>
                <a:gd name="connsiteX199" fmla="*/ 8258556 w 11363325"/>
                <a:gd name="connsiteY199" fmla="*/ 2300288 h 3495675"/>
                <a:gd name="connsiteX200" fmla="*/ 8308181 w 11363325"/>
                <a:gd name="connsiteY200" fmla="*/ 2355723 h 3495675"/>
                <a:gd name="connsiteX201" fmla="*/ 8366760 w 11363325"/>
                <a:gd name="connsiteY201" fmla="*/ 2337626 h 3495675"/>
                <a:gd name="connsiteX202" fmla="*/ 8412670 w 11363325"/>
                <a:gd name="connsiteY202" fmla="*/ 2463165 h 3495675"/>
                <a:gd name="connsiteX203" fmla="*/ 8475059 w 11363325"/>
                <a:gd name="connsiteY203" fmla="*/ 2357533 h 3495675"/>
                <a:gd name="connsiteX204" fmla="*/ 8535638 w 11363325"/>
                <a:gd name="connsiteY204" fmla="*/ 2278952 h 3495675"/>
                <a:gd name="connsiteX205" fmla="*/ 8584216 w 11363325"/>
                <a:gd name="connsiteY205" fmla="*/ 2373249 h 3495675"/>
                <a:gd name="connsiteX206" fmla="*/ 8644985 w 11363325"/>
                <a:gd name="connsiteY206" fmla="*/ 2288096 h 3495675"/>
                <a:gd name="connsiteX207" fmla="*/ 8691372 w 11363325"/>
                <a:gd name="connsiteY207" fmla="*/ 2334863 h 3495675"/>
                <a:gd name="connsiteX208" fmla="*/ 8765000 w 11363325"/>
                <a:gd name="connsiteY208" fmla="*/ 2487359 h 3495675"/>
                <a:gd name="connsiteX209" fmla="*/ 8790623 w 11363325"/>
                <a:gd name="connsiteY209" fmla="*/ 2265712 h 3495675"/>
                <a:gd name="connsiteX210" fmla="*/ 8843010 w 11363325"/>
                <a:gd name="connsiteY210" fmla="*/ 2436876 h 3495675"/>
                <a:gd name="connsiteX211" fmla="*/ 8906446 w 11363325"/>
                <a:gd name="connsiteY211" fmla="*/ 2404396 h 3495675"/>
                <a:gd name="connsiteX212" fmla="*/ 8903303 w 11363325"/>
                <a:gd name="connsiteY212" fmla="*/ 2516981 h 3495675"/>
                <a:gd name="connsiteX213" fmla="*/ 9019413 w 11363325"/>
                <a:gd name="connsiteY213" fmla="*/ 2434400 h 3495675"/>
                <a:gd name="connsiteX214" fmla="*/ 9086564 w 11363325"/>
                <a:gd name="connsiteY214" fmla="*/ 2541270 h 3495675"/>
                <a:gd name="connsiteX215" fmla="*/ 9122759 w 11363325"/>
                <a:gd name="connsiteY215" fmla="*/ 2414016 h 3495675"/>
                <a:gd name="connsiteX216" fmla="*/ 9184100 w 11363325"/>
                <a:gd name="connsiteY216" fmla="*/ 2409063 h 3495675"/>
                <a:gd name="connsiteX217" fmla="*/ 9242393 w 11363325"/>
                <a:gd name="connsiteY217" fmla="*/ 2520410 h 3495675"/>
                <a:gd name="connsiteX218" fmla="*/ 9300972 w 11363325"/>
                <a:gd name="connsiteY218" fmla="*/ 2389537 h 3495675"/>
                <a:gd name="connsiteX219" fmla="*/ 9385268 w 11363325"/>
                <a:gd name="connsiteY219" fmla="*/ 2362772 h 3495675"/>
                <a:gd name="connsiteX220" fmla="*/ 9360027 w 11363325"/>
                <a:gd name="connsiteY220" fmla="*/ 2527268 h 3495675"/>
                <a:gd name="connsiteX221" fmla="*/ 9484805 w 11363325"/>
                <a:gd name="connsiteY221" fmla="*/ 2473833 h 3495675"/>
                <a:gd name="connsiteX222" fmla="*/ 9536430 w 11363325"/>
                <a:gd name="connsiteY222" fmla="*/ 2477453 h 3495675"/>
                <a:gd name="connsiteX223" fmla="*/ 9564148 w 11363325"/>
                <a:gd name="connsiteY223" fmla="*/ 2533269 h 3495675"/>
                <a:gd name="connsiteX224" fmla="*/ 9616726 w 11363325"/>
                <a:gd name="connsiteY224" fmla="*/ 2570798 h 3495675"/>
                <a:gd name="connsiteX225" fmla="*/ 9686258 w 11363325"/>
                <a:gd name="connsiteY225" fmla="*/ 2645759 h 3495675"/>
                <a:gd name="connsiteX226" fmla="*/ 9744646 w 11363325"/>
                <a:gd name="connsiteY226" fmla="*/ 2589943 h 3495675"/>
                <a:gd name="connsiteX227" fmla="*/ 9790462 w 11363325"/>
                <a:gd name="connsiteY227" fmla="*/ 2561463 h 3495675"/>
                <a:gd name="connsiteX228" fmla="*/ 9787985 w 11363325"/>
                <a:gd name="connsiteY228" fmla="*/ 2486025 h 3495675"/>
                <a:gd name="connsiteX229" fmla="*/ 9823418 w 11363325"/>
                <a:gd name="connsiteY229" fmla="*/ 2454212 h 3495675"/>
                <a:gd name="connsiteX230" fmla="*/ 9873805 w 11363325"/>
                <a:gd name="connsiteY230" fmla="*/ 2365724 h 3495675"/>
                <a:gd name="connsiteX231" fmla="*/ 9928956 w 11363325"/>
                <a:gd name="connsiteY231" fmla="*/ 2379726 h 3495675"/>
                <a:gd name="connsiteX232" fmla="*/ 9994202 w 11363325"/>
                <a:gd name="connsiteY232" fmla="*/ 2399348 h 3495675"/>
                <a:gd name="connsiteX233" fmla="*/ 10029634 w 11363325"/>
                <a:gd name="connsiteY233" fmla="*/ 2462498 h 3495675"/>
                <a:gd name="connsiteX234" fmla="*/ 10074212 w 11363325"/>
                <a:gd name="connsiteY234" fmla="*/ 2483930 h 3495675"/>
                <a:gd name="connsiteX235" fmla="*/ 10165461 w 11363325"/>
                <a:gd name="connsiteY235" fmla="*/ 2416397 h 3495675"/>
                <a:gd name="connsiteX236" fmla="*/ 10164699 w 11363325"/>
                <a:gd name="connsiteY236" fmla="*/ 2471547 h 3495675"/>
                <a:gd name="connsiteX237" fmla="*/ 10189178 w 11363325"/>
                <a:gd name="connsiteY237" fmla="*/ 2433828 h 3495675"/>
                <a:gd name="connsiteX238" fmla="*/ 10224897 w 11363325"/>
                <a:gd name="connsiteY238" fmla="*/ 2398109 h 3495675"/>
                <a:gd name="connsiteX239" fmla="*/ 10310051 w 11363325"/>
                <a:gd name="connsiteY239" fmla="*/ 2404015 h 3495675"/>
                <a:gd name="connsiteX240" fmla="*/ 10311765 w 11363325"/>
                <a:gd name="connsiteY240" fmla="*/ 2411349 h 3495675"/>
                <a:gd name="connsiteX241" fmla="*/ 10438734 w 11363325"/>
                <a:gd name="connsiteY241" fmla="*/ 2362391 h 3495675"/>
                <a:gd name="connsiteX242" fmla="*/ 10370820 w 11363325"/>
                <a:gd name="connsiteY242" fmla="*/ 2528888 h 3495675"/>
                <a:gd name="connsiteX243" fmla="*/ 10491883 w 11363325"/>
                <a:gd name="connsiteY243" fmla="*/ 2405539 h 3495675"/>
                <a:gd name="connsiteX244" fmla="*/ 10486359 w 11363325"/>
                <a:gd name="connsiteY244" fmla="*/ 2384774 h 3495675"/>
                <a:gd name="connsiteX245" fmla="*/ 10622852 w 11363325"/>
                <a:gd name="connsiteY245" fmla="*/ 2485263 h 3495675"/>
                <a:gd name="connsiteX246" fmla="*/ 10613897 w 11363325"/>
                <a:gd name="connsiteY246" fmla="*/ 2343055 h 3495675"/>
                <a:gd name="connsiteX247" fmla="*/ 10724769 w 11363325"/>
                <a:gd name="connsiteY247" fmla="*/ 2486692 h 3495675"/>
                <a:gd name="connsiteX248" fmla="*/ 10763250 w 11363325"/>
                <a:gd name="connsiteY248" fmla="*/ 2421350 h 3495675"/>
                <a:gd name="connsiteX249" fmla="*/ 10827830 w 11363325"/>
                <a:gd name="connsiteY249" fmla="*/ 2432018 h 3495675"/>
                <a:gd name="connsiteX250" fmla="*/ 10874026 w 11363325"/>
                <a:gd name="connsiteY250" fmla="*/ 2385536 h 3495675"/>
                <a:gd name="connsiteX251" fmla="*/ 10932795 w 11363325"/>
                <a:gd name="connsiteY251" fmla="*/ 2380202 h 3495675"/>
                <a:gd name="connsiteX252" fmla="*/ 10960228 w 11363325"/>
                <a:gd name="connsiteY252" fmla="*/ 2225421 h 3495675"/>
                <a:gd name="connsiteX253" fmla="*/ 10986992 w 11363325"/>
                <a:gd name="connsiteY253" fmla="*/ 2382869 h 3495675"/>
                <a:gd name="connsiteX254" fmla="*/ 11046809 w 11363325"/>
                <a:gd name="connsiteY254" fmla="*/ 2397062 h 3495675"/>
                <a:gd name="connsiteX255" fmla="*/ 11124534 w 11363325"/>
                <a:gd name="connsiteY255" fmla="*/ 2365534 h 3495675"/>
                <a:gd name="connsiteX256" fmla="*/ 11182445 w 11363325"/>
                <a:gd name="connsiteY256" fmla="*/ 2383155 h 3495675"/>
                <a:gd name="connsiteX257" fmla="*/ 11250454 w 11363325"/>
                <a:gd name="connsiteY257" fmla="*/ 2375249 h 3495675"/>
                <a:gd name="connsiteX258" fmla="*/ 11303508 w 11363325"/>
                <a:gd name="connsiteY258" fmla="*/ 2327243 h 3495675"/>
                <a:gd name="connsiteX259" fmla="*/ 11356467 w 11363325"/>
                <a:gd name="connsiteY259" fmla="*/ 2424494 h 3495675"/>
                <a:gd name="connsiteX260" fmla="*/ 11372564 w 11363325"/>
                <a:gd name="connsiteY260" fmla="*/ 2435924 h 3495675"/>
                <a:gd name="connsiteX261" fmla="*/ 11372564 w 11363325"/>
                <a:gd name="connsiteY261" fmla="*/ 0 h 3495675"/>
                <a:gd name="connsiteX262" fmla="*/ 0 w 11363325"/>
                <a:gd name="connsiteY262" fmla="*/ 0 h 3495675"/>
                <a:gd name="connsiteX263" fmla="*/ 7624191 w 11363325"/>
                <a:gd name="connsiteY263" fmla="*/ 2067973 h 3495675"/>
                <a:gd name="connsiteX264" fmla="*/ 7586187 w 11363325"/>
                <a:gd name="connsiteY264" fmla="*/ 1943672 h 3495675"/>
                <a:gd name="connsiteX265" fmla="*/ 7601522 w 11363325"/>
                <a:gd name="connsiteY265" fmla="*/ 1930813 h 3495675"/>
                <a:gd name="connsiteX266" fmla="*/ 7634669 w 11363325"/>
                <a:gd name="connsiteY266" fmla="*/ 1941100 h 3495675"/>
                <a:gd name="connsiteX267" fmla="*/ 7624191 w 11363325"/>
                <a:gd name="connsiteY267" fmla="*/ 2067973 h 3495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</a:cxnLst>
              <a:rect l="l" t="t" r="r" b="b"/>
              <a:pathLst>
                <a:path w="11363325" h="3495675">
                  <a:moveTo>
                    <a:pt x="0" y="0"/>
                  </a:moveTo>
                  <a:lnTo>
                    <a:pt x="0" y="2568226"/>
                  </a:lnTo>
                  <a:lnTo>
                    <a:pt x="19336" y="2547080"/>
                  </a:lnTo>
                  <a:lnTo>
                    <a:pt x="91535" y="2541841"/>
                  </a:lnTo>
                  <a:lnTo>
                    <a:pt x="102775" y="2636520"/>
                  </a:lnTo>
                  <a:lnTo>
                    <a:pt x="78772" y="2749677"/>
                  </a:lnTo>
                  <a:lnTo>
                    <a:pt x="210312" y="2682907"/>
                  </a:lnTo>
                  <a:lnTo>
                    <a:pt x="278511" y="2680145"/>
                  </a:lnTo>
                  <a:lnTo>
                    <a:pt x="299847" y="2746153"/>
                  </a:lnTo>
                  <a:lnTo>
                    <a:pt x="268700" y="2873407"/>
                  </a:lnTo>
                  <a:lnTo>
                    <a:pt x="378619" y="2834164"/>
                  </a:lnTo>
                  <a:lnTo>
                    <a:pt x="383381" y="2910840"/>
                  </a:lnTo>
                  <a:lnTo>
                    <a:pt x="404241" y="2994470"/>
                  </a:lnTo>
                  <a:lnTo>
                    <a:pt x="479108" y="3001995"/>
                  </a:lnTo>
                  <a:lnTo>
                    <a:pt x="559308" y="2948559"/>
                  </a:lnTo>
                  <a:lnTo>
                    <a:pt x="590169" y="3082671"/>
                  </a:lnTo>
                  <a:lnTo>
                    <a:pt x="659035" y="3032570"/>
                  </a:lnTo>
                  <a:lnTo>
                    <a:pt x="714089" y="3084005"/>
                  </a:lnTo>
                  <a:lnTo>
                    <a:pt x="758285" y="3006757"/>
                  </a:lnTo>
                  <a:lnTo>
                    <a:pt x="775811" y="3059621"/>
                  </a:lnTo>
                  <a:lnTo>
                    <a:pt x="819722" y="3041714"/>
                  </a:lnTo>
                  <a:lnTo>
                    <a:pt x="893350" y="3040952"/>
                  </a:lnTo>
                  <a:lnTo>
                    <a:pt x="892112" y="3111532"/>
                  </a:lnTo>
                  <a:lnTo>
                    <a:pt x="1005364" y="3103721"/>
                  </a:lnTo>
                  <a:lnTo>
                    <a:pt x="976027" y="3173063"/>
                  </a:lnTo>
                  <a:lnTo>
                    <a:pt x="1054703" y="3175159"/>
                  </a:lnTo>
                  <a:lnTo>
                    <a:pt x="1054703" y="3175064"/>
                  </a:lnTo>
                  <a:lnTo>
                    <a:pt x="1111472" y="3158490"/>
                  </a:lnTo>
                  <a:lnTo>
                    <a:pt x="1200245" y="3255550"/>
                  </a:lnTo>
                  <a:lnTo>
                    <a:pt x="1274255" y="3154775"/>
                  </a:lnTo>
                  <a:lnTo>
                    <a:pt x="1294067" y="3253073"/>
                  </a:lnTo>
                  <a:lnTo>
                    <a:pt x="1185577" y="3354800"/>
                  </a:lnTo>
                  <a:lnTo>
                    <a:pt x="1302639" y="3385947"/>
                  </a:lnTo>
                  <a:lnTo>
                    <a:pt x="1340072" y="3302127"/>
                  </a:lnTo>
                  <a:lnTo>
                    <a:pt x="1414367" y="3363087"/>
                  </a:lnTo>
                  <a:lnTo>
                    <a:pt x="1432274" y="3434048"/>
                  </a:lnTo>
                  <a:lnTo>
                    <a:pt x="1498759" y="3388043"/>
                  </a:lnTo>
                  <a:lnTo>
                    <a:pt x="1507712" y="3467386"/>
                  </a:lnTo>
                  <a:lnTo>
                    <a:pt x="1620488" y="3370803"/>
                  </a:lnTo>
                  <a:lnTo>
                    <a:pt x="1609725" y="3390233"/>
                  </a:lnTo>
                  <a:lnTo>
                    <a:pt x="1657922" y="3376041"/>
                  </a:lnTo>
                  <a:lnTo>
                    <a:pt x="1776032" y="3499295"/>
                  </a:lnTo>
                  <a:lnTo>
                    <a:pt x="1755553" y="3349657"/>
                  </a:lnTo>
                  <a:lnTo>
                    <a:pt x="1822990" y="3340227"/>
                  </a:lnTo>
                  <a:lnTo>
                    <a:pt x="1915192" y="3379661"/>
                  </a:lnTo>
                  <a:lnTo>
                    <a:pt x="2007680" y="3332703"/>
                  </a:lnTo>
                  <a:lnTo>
                    <a:pt x="2005870" y="3231261"/>
                  </a:lnTo>
                  <a:lnTo>
                    <a:pt x="1929193" y="3188684"/>
                  </a:lnTo>
                  <a:lnTo>
                    <a:pt x="1961960" y="3130677"/>
                  </a:lnTo>
                  <a:lnTo>
                    <a:pt x="1847850" y="3093625"/>
                  </a:lnTo>
                  <a:lnTo>
                    <a:pt x="1863281" y="2997137"/>
                  </a:lnTo>
                  <a:lnTo>
                    <a:pt x="1957673" y="3006471"/>
                  </a:lnTo>
                  <a:lnTo>
                    <a:pt x="2019776" y="3112484"/>
                  </a:lnTo>
                  <a:lnTo>
                    <a:pt x="2068830" y="3065526"/>
                  </a:lnTo>
                  <a:lnTo>
                    <a:pt x="2061020" y="2944559"/>
                  </a:lnTo>
                  <a:lnTo>
                    <a:pt x="2064639" y="2930938"/>
                  </a:lnTo>
                  <a:lnTo>
                    <a:pt x="2164461" y="2904935"/>
                  </a:lnTo>
                  <a:lnTo>
                    <a:pt x="2174462" y="2844737"/>
                  </a:lnTo>
                  <a:lnTo>
                    <a:pt x="2144363" y="2754535"/>
                  </a:lnTo>
                  <a:lnTo>
                    <a:pt x="2286476" y="2780538"/>
                  </a:lnTo>
                  <a:lnTo>
                    <a:pt x="2292858" y="2739485"/>
                  </a:lnTo>
                  <a:lnTo>
                    <a:pt x="2337340" y="2786729"/>
                  </a:lnTo>
                  <a:lnTo>
                    <a:pt x="2405253" y="2622518"/>
                  </a:lnTo>
                  <a:lnTo>
                    <a:pt x="2478405" y="2735390"/>
                  </a:lnTo>
                  <a:lnTo>
                    <a:pt x="2416683" y="2594324"/>
                  </a:lnTo>
                  <a:lnTo>
                    <a:pt x="2517743" y="2600516"/>
                  </a:lnTo>
                  <a:lnTo>
                    <a:pt x="2563273" y="2546033"/>
                  </a:lnTo>
                  <a:lnTo>
                    <a:pt x="2633948" y="2504980"/>
                  </a:lnTo>
                  <a:lnTo>
                    <a:pt x="2691194" y="2545271"/>
                  </a:lnTo>
                  <a:lnTo>
                    <a:pt x="2742724" y="2633186"/>
                  </a:lnTo>
                  <a:lnTo>
                    <a:pt x="2794635" y="2642045"/>
                  </a:lnTo>
                  <a:lnTo>
                    <a:pt x="2876931" y="2517077"/>
                  </a:lnTo>
                  <a:lnTo>
                    <a:pt x="2886551" y="2505170"/>
                  </a:lnTo>
                  <a:lnTo>
                    <a:pt x="2947226" y="2548033"/>
                  </a:lnTo>
                  <a:lnTo>
                    <a:pt x="2941034" y="2456593"/>
                  </a:lnTo>
                  <a:lnTo>
                    <a:pt x="3068670" y="2516600"/>
                  </a:lnTo>
                  <a:lnTo>
                    <a:pt x="3110674" y="2553272"/>
                  </a:lnTo>
                  <a:lnTo>
                    <a:pt x="3139916" y="2377821"/>
                  </a:lnTo>
                  <a:lnTo>
                    <a:pt x="3192304" y="2410873"/>
                  </a:lnTo>
                  <a:lnTo>
                    <a:pt x="3257264" y="2440496"/>
                  </a:lnTo>
                  <a:lnTo>
                    <a:pt x="3289173" y="2366772"/>
                  </a:lnTo>
                  <a:lnTo>
                    <a:pt x="3355181" y="2377535"/>
                  </a:lnTo>
                  <a:lnTo>
                    <a:pt x="3412141" y="2373249"/>
                  </a:lnTo>
                  <a:lnTo>
                    <a:pt x="3476244" y="2477643"/>
                  </a:lnTo>
                  <a:lnTo>
                    <a:pt x="3508153" y="2424208"/>
                  </a:lnTo>
                  <a:lnTo>
                    <a:pt x="3585115" y="2405539"/>
                  </a:lnTo>
                  <a:lnTo>
                    <a:pt x="3557207" y="2539937"/>
                  </a:lnTo>
                  <a:lnTo>
                    <a:pt x="3666839" y="2508980"/>
                  </a:lnTo>
                  <a:lnTo>
                    <a:pt x="3724466" y="2408777"/>
                  </a:lnTo>
                  <a:lnTo>
                    <a:pt x="3774948" y="2464308"/>
                  </a:lnTo>
                  <a:lnTo>
                    <a:pt x="3826859" y="2478215"/>
                  </a:lnTo>
                  <a:lnTo>
                    <a:pt x="3947351" y="2479358"/>
                  </a:lnTo>
                  <a:lnTo>
                    <a:pt x="3789998" y="2525745"/>
                  </a:lnTo>
                  <a:lnTo>
                    <a:pt x="3752945" y="2572417"/>
                  </a:lnTo>
                  <a:lnTo>
                    <a:pt x="3806190" y="2666048"/>
                  </a:lnTo>
                  <a:lnTo>
                    <a:pt x="3809714" y="2662714"/>
                  </a:lnTo>
                  <a:lnTo>
                    <a:pt x="3865340" y="2649379"/>
                  </a:lnTo>
                  <a:lnTo>
                    <a:pt x="3939826" y="2774537"/>
                  </a:lnTo>
                  <a:lnTo>
                    <a:pt x="3989165" y="2772632"/>
                  </a:lnTo>
                  <a:lnTo>
                    <a:pt x="4054126" y="2664333"/>
                  </a:lnTo>
                  <a:lnTo>
                    <a:pt x="4105942" y="2733866"/>
                  </a:lnTo>
                  <a:lnTo>
                    <a:pt x="4232720" y="2643949"/>
                  </a:lnTo>
                  <a:lnTo>
                    <a:pt x="4207002" y="2763203"/>
                  </a:lnTo>
                  <a:lnTo>
                    <a:pt x="4325112" y="2712339"/>
                  </a:lnTo>
                  <a:lnTo>
                    <a:pt x="4293394" y="2770441"/>
                  </a:lnTo>
                  <a:lnTo>
                    <a:pt x="4329780" y="2794540"/>
                  </a:lnTo>
                  <a:lnTo>
                    <a:pt x="4331018" y="2734532"/>
                  </a:lnTo>
                  <a:lnTo>
                    <a:pt x="4397121" y="2718149"/>
                  </a:lnTo>
                  <a:lnTo>
                    <a:pt x="4338923" y="2617946"/>
                  </a:lnTo>
                  <a:lnTo>
                    <a:pt x="4433507" y="2586419"/>
                  </a:lnTo>
                  <a:lnTo>
                    <a:pt x="4473321" y="2668143"/>
                  </a:lnTo>
                  <a:lnTo>
                    <a:pt x="4467987" y="2766155"/>
                  </a:lnTo>
                  <a:lnTo>
                    <a:pt x="4549521" y="2746058"/>
                  </a:lnTo>
                  <a:lnTo>
                    <a:pt x="4628293" y="2674144"/>
                  </a:lnTo>
                  <a:lnTo>
                    <a:pt x="4675347" y="2786824"/>
                  </a:lnTo>
                  <a:lnTo>
                    <a:pt x="4728020" y="2775299"/>
                  </a:lnTo>
                  <a:lnTo>
                    <a:pt x="4784598" y="2799683"/>
                  </a:lnTo>
                  <a:lnTo>
                    <a:pt x="4829937" y="2765298"/>
                  </a:lnTo>
                  <a:lnTo>
                    <a:pt x="4878229" y="2720626"/>
                  </a:lnTo>
                  <a:lnTo>
                    <a:pt x="4904804" y="2598611"/>
                  </a:lnTo>
                  <a:lnTo>
                    <a:pt x="5019771" y="2779966"/>
                  </a:lnTo>
                  <a:lnTo>
                    <a:pt x="5027962" y="2644140"/>
                  </a:lnTo>
                  <a:lnTo>
                    <a:pt x="5083874" y="2629757"/>
                  </a:lnTo>
                  <a:lnTo>
                    <a:pt x="5119497" y="2744915"/>
                  </a:lnTo>
                  <a:lnTo>
                    <a:pt x="5197317" y="2591276"/>
                  </a:lnTo>
                  <a:lnTo>
                    <a:pt x="5202841" y="2732437"/>
                  </a:lnTo>
                  <a:lnTo>
                    <a:pt x="5277231" y="2699576"/>
                  </a:lnTo>
                  <a:lnTo>
                    <a:pt x="5273802" y="2781110"/>
                  </a:lnTo>
                  <a:lnTo>
                    <a:pt x="5398389" y="2727865"/>
                  </a:lnTo>
                  <a:lnTo>
                    <a:pt x="5428203" y="2786348"/>
                  </a:lnTo>
                  <a:lnTo>
                    <a:pt x="5460969" y="2842546"/>
                  </a:lnTo>
                  <a:lnTo>
                    <a:pt x="5500688" y="2872740"/>
                  </a:lnTo>
                  <a:lnTo>
                    <a:pt x="5535740" y="2865691"/>
                  </a:lnTo>
                  <a:lnTo>
                    <a:pt x="5566982" y="2777204"/>
                  </a:lnTo>
                  <a:lnTo>
                    <a:pt x="5644134" y="2910459"/>
                  </a:lnTo>
                  <a:lnTo>
                    <a:pt x="5638610" y="2917889"/>
                  </a:lnTo>
                  <a:lnTo>
                    <a:pt x="5649659" y="2919984"/>
                  </a:lnTo>
                  <a:lnTo>
                    <a:pt x="5657088" y="2932748"/>
                  </a:lnTo>
                  <a:lnTo>
                    <a:pt x="5662517" y="2922461"/>
                  </a:lnTo>
                  <a:lnTo>
                    <a:pt x="5778723" y="2944845"/>
                  </a:lnTo>
                  <a:lnTo>
                    <a:pt x="5660612" y="3022854"/>
                  </a:lnTo>
                  <a:lnTo>
                    <a:pt x="5781675" y="3000851"/>
                  </a:lnTo>
                  <a:lnTo>
                    <a:pt x="5779389" y="2953131"/>
                  </a:lnTo>
                  <a:lnTo>
                    <a:pt x="5835586" y="3020473"/>
                  </a:lnTo>
                  <a:lnTo>
                    <a:pt x="5890260" y="3056001"/>
                  </a:lnTo>
                  <a:lnTo>
                    <a:pt x="5937980" y="2973896"/>
                  </a:lnTo>
                  <a:lnTo>
                    <a:pt x="5989796" y="2964466"/>
                  </a:lnTo>
                  <a:lnTo>
                    <a:pt x="6043422" y="2964085"/>
                  </a:lnTo>
                  <a:lnTo>
                    <a:pt x="6100667" y="3137249"/>
                  </a:lnTo>
                  <a:lnTo>
                    <a:pt x="6154865" y="3053239"/>
                  </a:lnTo>
                  <a:lnTo>
                    <a:pt x="6206585" y="3067812"/>
                  </a:lnTo>
                  <a:lnTo>
                    <a:pt x="6266021" y="3155156"/>
                  </a:lnTo>
                  <a:lnTo>
                    <a:pt x="6308122" y="3008757"/>
                  </a:lnTo>
                  <a:lnTo>
                    <a:pt x="6352604" y="2945225"/>
                  </a:lnTo>
                  <a:lnTo>
                    <a:pt x="6431852" y="2983802"/>
                  </a:lnTo>
                  <a:lnTo>
                    <a:pt x="6442805" y="3129153"/>
                  </a:lnTo>
                  <a:lnTo>
                    <a:pt x="6550343" y="3018949"/>
                  </a:lnTo>
                  <a:lnTo>
                    <a:pt x="6579394" y="3141059"/>
                  </a:lnTo>
                  <a:lnTo>
                    <a:pt x="6610446" y="3038094"/>
                  </a:lnTo>
                  <a:lnTo>
                    <a:pt x="6685217" y="3083338"/>
                  </a:lnTo>
                  <a:lnTo>
                    <a:pt x="6709124" y="3018187"/>
                  </a:lnTo>
                  <a:lnTo>
                    <a:pt x="6730365" y="3103912"/>
                  </a:lnTo>
                  <a:lnTo>
                    <a:pt x="6825139" y="3023140"/>
                  </a:lnTo>
                  <a:lnTo>
                    <a:pt x="6762941" y="3139821"/>
                  </a:lnTo>
                  <a:lnTo>
                    <a:pt x="6843522" y="3145822"/>
                  </a:lnTo>
                  <a:lnTo>
                    <a:pt x="6879812" y="3212592"/>
                  </a:lnTo>
                  <a:lnTo>
                    <a:pt x="6966680" y="3236405"/>
                  </a:lnTo>
                  <a:lnTo>
                    <a:pt x="6997732" y="3128963"/>
                  </a:lnTo>
                  <a:lnTo>
                    <a:pt x="7064693" y="3150013"/>
                  </a:lnTo>
                  <a:lnTo>
                    <a:pt x="7140035" y="3183350"/>
                  </a:lnTo>
                  <a:lnTo>
                    <a:pt x="7155847" y="3057144"/>
                  </a:lnTo>
                  <a:lnTo>
                    <a:pt x="7217569" y="3106007"/>
                  </a:lnTo>
                  <a:lnTo>
                    <a:pt x="7228523" y="3169539"/>
                  </a:lnTo>
                  <a:lnTo>
                    <a:pt x="7318724" y="3154395"/>
                  </a:lnTo>
                  <a:lnTo>
                    <a:pt x="7378636" y="3157252"/>
                  </a:lnTo>
                  <a:lnTo>
                    <a:pt x="7376541" y="3102007"/>
                  </a:lnTo>
                  <a:lnTo>
                    <a:pt x="7427881" y="3095435"/>
                  </a:lnTo>
                  <a:lnTo>
                    <a:pt x="7499414" y="3116771"/>
                  </a:lnTo>
                  <a:lnTo>
                    <a:pt x="7593616" y="3121247"/>
                  </a:lnTo>
                  <a:lnTo>
                    <a:pt x="7505319" y="2943701"/>
                  </a:lnTo>
                  <a:lnTo>
                    <a:pt x="7592283" y="2956465"/>
                  </a:lnTo>
                  <a:lnTo>
                    <a:pt x="7650576" y="2972467"/>
                  </a:lnTo>
                  <a:lnTo>
                    <a:pt x="7683627" y="2913126"/>
                  </a:lnTo>
                  <a:lnTo>
                    <a:pt x="7722394" y="2943511"/>
                  </a:lnTo>
                  <a:lnTo>
                    <a:pt x="7827169" y="2891409"/>
                  </a:lnTo>
                  <a:lnTo>
                    <a:pt x="7635907" y="2838545"/>
                  </a:lnTo>
                  <a:lnTo>
                    <a:pt x="7828121" y="2805779"/>
                  </a:lnTo>
                  <a:lnTo>
                    <a:pt x="7762494" y="2701671"/>
                  </a:lnTo>
                  <a:lnTo>
                    <a:pt x="7867936" y="2752725"/>
                  </a:lnTo>
                  <a:lnTo>
                    <a:pt x="7875556" y="2668810"/>
                  </a:lnTo>
                  <a:lnTo>
                    <a:pt x="7986999" y="2623185"/>
                  </a:lnTo>
                  <a:lnTo>
                    <a:pt x="7884605" y="2554129"/>
                  </a:lnTo>
                  <a:lnTo>
                    <a:pt x="7876699" y="2488787"/>
                  </a:lnTo>
                  <a:lnTo>
                    <a:pt x="7953280" y="2466975"/>
                  </a:lnTo>
                  <a:lnTo>
                    <a:pt x="7977569" y="2409825"/>
                  </a:lnTo>
                  <a:lnTo>
                    <a:pt x="8022622" y="2384393"/>
                  </a:lnTo>
                  <a:lnTo>
                    <a:pt x="8080344" y="2448020"/>
                  </a:lnTo>
                  <a:lnTo>
                    <a:pt x="8132636" y="2333816"/>
                  </a:lnTo>
                  <a:lnTo>
                    <a:pt x="8196167" y="2343055"/>
                  </a:lnTo>
                  <a:lnTo>
                    <a:pt x="8258556" y="2300288"/>
                  </a:lnTo>
                  <a:lnTo>
                    <a:pt x="8308181" y="2355723"/>
                  </a:lnTo>
                  <a:lnTo>
                    <a:pt x="8366760" y="2337626"/>
                  </a:lnTo>
                  <a:lnTo>
                    <a:pt x="8412670" y="2463165"/>
                  </a:lnTo>
                  <a:lnTo>
                    <a:pt x="8475059" y="2357533"/>
                  </a:lnTo>
                  <a:lnTo>
                    <a:pt x="8535638" y="2278952"/>
                  </a:lnTo>
                  <a:lnTo>
                    <a:pt x="8584216" y="2373249"/>
                  </a:lnTo>
                  <a:lnTo>
                    <a:pt x="8644985" y="2288096"/>
                  </a:lnTo>
                  <a:lnTo>
                    <a:pt x="8691372" y="2334863"/>
                  </a:lnTo>
                  <a:lnTo>
                    <a:pt x="8765000" y="2487359"/>
                  </a:lnTo>
                  <a:lnTo>
                    <a:pt x="8790623" y="2265712"/>
                  </a:lnTo>
                  <a:lnTo>
                    <a:pt x="8843010" y="2436876"/>
                  </a:lnTo>
                  <a:lnTo>
                    <a:pt x="8906446" y="2404396"/>
                  </a:lnTo>
                  <a:lnTo>
                    <a:pt x="8903303" y="2516981"/>
                  </a:lnTo>
                  <a:lnTo>
                    <a:pt x="9019413" y="2434400"/>
                  </a:lnTo>
                  <a:lnTo>
                    <a:pt x="9086564" y="2541270"/>
                  </a:lnTo>
                  <a:lnTo>
                    <a:pt x="9122759" y="2414016"/>
                  </a:lnTo>
                  <a:lnTo>
                    <a:pt x="9184100" y="2409063"/>
                  </a:lnTo>
                  <a:lnTo>
                    <a:pt x="9242393" y="2520410"/>
                  </a:lnTo>
                  <a:lnTo>
                    <a:pt x="9300972" y="2389537"/>
                  </a:lnTo>
                  <a:lnTo>
                    <a:pt x="9385268" y="2362772"/>
                  </a:lnTo>
                  <a:lnTo>
                    <a:pt x="9360027" y="2527268"/>
                  </a:lnTo>
                  <a:lnTo>
                    <a:pt x="9484805" y="2473833"/>
                  </a:lnTo>
                  <a:lnTo>
                    <a:pt x="9536430" y="2477453"/>
                  </a:lnTo>
                  <a:lnTo>
                    <a:pt x="9564148" y="2533269"/>
                  </a:lnTo>
                  <a:lnTo>
                    <a:pt x="9616726" y="2570798"/>
                  </a:lnTo>
                  <a:lnTo>
                    <a:pt x="9686258" y="2645759"/>
                  </a:lnTo>
                  <a:lnTo>
                    <a:pt x="9744646" y="2589943"/>
                  </a:lnTo>
                  <a:lnTo>
                    <a:pt x="9790462" y="2561463"/>
                  </a:lnTo>
                  <a:lnTo>
                    <a:pt x="9787985" y="2486025"/>
                  </a:lnTo>
                  <a:lnTo>
                    <a:pt x="9823418" y="2454212"/>
                  </a:lnTo>
                  <a:lnTo>
                    <a:pt x="9873805" y="2365724"/>
                  </a:lnTo>
                  <a:lnTo>
                    <a:pt x="9928956" y="2379726"/>
                  </a:lnTo>
                  <a:lnTo>
                    <a:pt x="9994202" y="2399348"/>
                  </a:lnTo>
                  <a:lnTo>
                    <a:pt x="10029634" y="2462498"/>
                  </a:lnTo>
                  <a:lnTo>
                    <a:pt x="10074212" y="2483930"/>
                  </a:lnTo>
                  <a:lnTo>
                    <a:pt x="10165461" y="2416397"/>
                  </a:lnTo>
                  <a:lnTo>
                    <a:pt x="10164699" y="2471547"/>
                  </a:lnTo>
                  <a:lnTo>
                    <a:pt x="10189178" y="2433828"/>
                  </a:lnTo>
                  <a:lnTo>
                    <a:pt x="10224897" y="2398109"/>
                  </a:lnTo>
                  <a:lnTo>
                    <a:pt x="10310051" y="2404015"/>
                  </a:lnTo>
                  <a:lnTo>
                    <a:pt x="10311765" y="2411349"/>
                  </a:lnTo>
                  <a:lnTo>
                    <a:pt x="10438734" y="2362391"/>
                  </a:lnTo>
                  <a:lnTo>
                    <a:pt x="10370820" y="2528888"/>
                  </a:lnTo>
                  <a:lnTo>
                    <a:pt x="10491883" y="2405539"/>
                  </a:lnTo>
                  <a:lnTo>
                    <a:pt x="10486359" y="2384774"/>
                  </a:lnTo>
                  <a:lnTo>
                    <a:pt x="10622852" y="2485263"/>
                  </a:lnTo>
                  <a:lnTo>
                    <a:pt x="10613897" y="2343055"/>
                  </a:lnTo>
                  <a:lnTo>
                    <a:pt x="10724769" y="2486692"/>
                  </a:lnTo>
                  <a:lnTo>
                    <a:pt x="10763250" y="2421350"/>
                  </a:lnTo>
                  <a:lnTo>
                    <a:pt x="10827830" y="2432018"/>
                  </a:lnTo>
                  <a:lnTo>
                    <a:pt x="10874026" y="2385536"/>
                  </a:lnTo>
                  <a:lnTo>
                    <a:pt x="10932795" y="2380202"/>
                  </a:lnTo>
                  <a:lnTo>
                    <a:pt x="10960228" y="2225421"/>
                  </a:lnTo>
                  <a:lnTo>
                    <a:pt x="10986992" y="2382869"/>
                  </a:lnTo>
                  <a:lnTo>
                    <a:pt x="11046809" y="2397062"/>
                  </a:lnTo>
                  <a:lnTo>
                    <a:pt x="11124534" y="2365534"/>
                  </a:lnTo>
                  <a:lnTo>
                    <a:pt x="11182445" y="2383155"/>
                  </a:lnTo>
                  <a:lnTo>
                    <a:pt x="11250454" y="2375249"/>
                  </a:lnTo>
                  <a:lnTo>
                    <a:pt x="11303508" y="2327243"/>
                  </a:lnTo>
                  <a:lnTo>
                    <a:pt x="11356467" y="2424494"/>
                  </a:lnTo>
                  <a:lnTo>
                    <a:pt x="11372564" y="2435924"/>
                  </a:lnTo>
                  <a:lnTo>
                    <a:pt x="11372564" y="0"/>
                  </a:lnTo>
                  <a:lnTo>
                    <a:pt x="0" y="0"/>
                  </a:lnTo>
                  <a:close/>
                  <a:moveTo>
                    <a:pt x="7624191" y="2067973"/>
                  </a:moveTo>
                  <a:lnTo>
                    <a:pt x="7586187" y="1943672"/>
                  </a:lnTo>
                  <a:lnTo>
                    <a:pt x="7601522" y="1930813"/>
                  </a:lnTo>
                  <a:lnTo>
                    <a:pt x="7634669" y="1941100"/>
                  </a:lnTo>
                  <a:lnTo>
                    <a:pt x="7624191" y="2067973"/>
                  </a:lnTo>
                  <a:close/>
                </a:path>
              </a:pathLst>
            </a:custGeom>
            <a:solidFill>
              <a:srgbClr val="F5F5F0"/>
            </a:solidFill>
            <a:ln w="9525" cap="flat">
              <a:noFill/>
              <a:prstDash val="solid"/>
              <a:miter/>
            </a:ln>
            <a:effectLst>
              <a:outerShdw blurRad="50800" dist="38100" dir="2700000" algn="tl" rotWithShape="0">
                <a:prstClr val="black">
                  <a:alpha val="7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FA131D55-4A6F-46AD-9D51-E1CCAC5D00B8}"/>
                </a:ext>
              </a:extLst>
            </p:cNvPr>
            <p:cNvGrpSpPr/>
            <p:nvPr/>
          </p:nvGrpSpPr>
          <p:grpSpPr>
            <a:xfrm>
              <a:off x="8655913" y="3284984"/>
              <a:ext cx="2670536" cy="862634"/>
              <a:chOff x="8655913" y="3284984"/>
              <a:chExt cx="2670536" cy="862634"/>
            </a:xfrm>
          </p:grpSpPr>
          <p:sp>
            <p:nvSpPr>
              <p:cNvPr id="317" name="Rechteck 316">
                <a:extLst>
                  <a:ext uri="{FF2B5EF4-FFF2-40B4-BE49-F238E27FC236}">
                    <a16:creationId xmlns:a16="http://schemas.microsoft.com/office/drawing/2014/main" id="{62689B7A-BAC1-46C4-8F0D-DF689D8A07B1}"/>
                  </a:ext>
                </a:extLst>
              </p:cNvPr>
              <p:cNvSpPr/>
              <p:nvPr/>
            </p:nvSpPr>
            <p:spPr bwMode="auto">
              <a:xfrm>
                <a:off x="8655913" y="3922631"/>
                <a:ext cx="1151551" cy="22498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numCol="1" spcCol="72000" rtlCol="0" anchor="ctr">
                <a:noAutofit/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en-US" sz="800" dirty="0">
                    <a:solidFill>
                      <a:schemeClr val="tx1"/>
                    </a:solidFill>
                    <a:latin typeface="+mj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Quelle: tagesschau.de</a:t>
                </a:r>
              </a:p>
            </p:txBody>
          </p:sp>
          <p:sp>
            <p:nvSpPr>
              <p:cNvPr id="326" name="Rectangle 5">
                <a:extLst>
                  <a:ext uri="{FF2B5EF4-FFF2-40B4-BE49-F238E27FC236}">
                    <a16:creationId xmlns:a16="http://schemas.microsoft.com/office/drawing/2014/main" id="{EB3721E1-363E-4828-A712-222849AC8A87}"/>
                  </a:ext>
                </a:extLst>
              </p:cNvPr>
              <p:cNvSpPr/>
              <p:nvPr/>
            </p:nvSpPr>
            <p:spPr bwMode="auto">
              <a:xfrm>
                <a:off x="8655913" y="3452093"/>
                <a:ext cx="2670536" cy="499611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wrap="square" lIns="0" tIns="54000" rIns="0" bIns="54000" numCol="1" spcCol="72000" rtlCol="0" anchor="ctr">
                <a:spAutoFit/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de-DE" sz="1200" b="1" dirty="0">
                    <a:solidFill>
                      <a:schemeClr val="tx1"/>
                    </a:solidFill>
                  </a:rPr>
                  <a:t>Noch kein Durchbruch beim Ausbau </a:t>
                </a:r>
                <a:br>
                  <a:rPr lang="de-DE" sz="1200" b="1" dirty="0">
                    <a:solidFill>
                      <a:schemeClr val="tx1"/>
                    </a:solidFill>
                  </a:rPr>
                </a:br>
                <a:r>
                  <a:rPr lang="de-DE" sz="1200" b="1" dirty="0">
                    <a:solidFill>
                      <a:schemeClr val="tx1"/>
                    </a:solidFill>
                  </a:rPr>
                  <a:t>des schnellen Mobilfunknetzes</a:t>
                </a:r>
                <a:endParaRPr lang="de-DE" sz="1200" b="1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27" name="Rectangle 6">
                <a:extLst>
                  <a:ext uri="{FF2B5EF4-FFF2-40B4-BE49-F238E27FC236}">
                    <a16:creationId xmlns:a16="http://schemas.microsoft.com/office/drawing/2014/main" id="{BBCAE5A1-06B5-44CD-B8DB-426CA15F10BC}"/>
                  </a:ext>
                </a:extLst>
              </p:cNvPr>
              <p:cNvSpPr/>
              <p:nvPr/>
            </p:nvSpPr>
            <p:spPr bwMode="auto">
              <a:xfrm>
                <a:off x="8655913" y="3284984"/>
                <a:ext cx="2561742" cy="19618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wrap="square" lIns="0" tIns="54000" rIns="0" bIns="54000" numCol="1" spcCol="72000" rtlCol="0" anchor="ctr">
                <a:noAutofit/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de-DE" sz="800" dirty="0">
                    <a:solidFill>
                      <a:schemeClr val="tx1"/>
                    </a:solidFill>
                    <a:latin typeface="+mj-lt"/>
                    <a:ea typeface="Arial Unicode MS" panose="020B0604020202020204" pitchFamily="34" charset="-128"/>
                    <a:cs typeface="Consolas" panose="020B0609020204030204" pitchFamily="49" charset="0"/>
                  </a:rPr>
                  <a:t>12. Juni 2020    „5G-Lizenzen kosteten 6,5 Mrd. EURO“ </a:t>
                </a:r>
              </a:p>
            </p:txBody>
          </p:sp>
        </p:grp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E9E720A6-3AAC-4582-B091-82FBF88CFE08}"/>
              </a:ext>
            </a:extLst>
          </p:cNvPr>
          <p:cNvGrpSpPr/>
          <p:nvPr/>
        </p:nvGrpSpPr>
        <p:grpSpPr>
          <a:xfrm>
            <a:off x="994389" y="4878056"/>
            <a:ext cx="4198420" cy="1700855"/>
            <a:chOff x="772352" y="4788485"/>
            <a:chExt cx="4198420" cy="1700855"/>
          </a:xfrm>
        </p:grpSpPr>
        <p:sp>
          <p:nvSpPr>
            <p:cNvPr id="63" name="Grafik 5">
              <a:extLst>
                <a:ext uri="{FF2B5EF4-FFF2-40B4-BE49-F238E27FC236}">
                  <a16:creationId xmlns:a16="http://schemas.microsoft.com/office/drawing/2014/main" id="{3365F8D8-07E8-408F-B7CA-BF5845569A71}"/>
                </a:ext>
              </a:extLst>
            </p:cNvPr>
            <p:cNvSpPr>
              <a:spLocks/>
            </p:cNvSpPr>
            <p:nvPr/>
          </p:nvSpPr>
          <p:spPr>
            <a:xfrm>
              <a:off x="772352" y="4788485"/>
              <a:ext cx="4196758" cy="1700855"/>
            </a:xfrm>
            <a:custGeom>
              <a:avLst/>
              <a:gdLst>
                <a:gd name="connsiteX0" fmla="*/ 0 w 11363325"/>
                <a:gd name="connsiteY0" fmla="*/ 0 h 3495675"/>
                <a:gd name="connsiteX1" fmla="*/ 0 w 11363325"/>
                <a:gd name="connsiteY1" fmla="*/ 2568226 h 3495675"/>
                <a:gd name="connsiteX2" fmla="*/ 19336 w 11363325"/>
                <a:gd name="connsiteY2" fmla="*/ 2547080 h 3495675"/>
                <a:gd name="connsiteX3" fmla="*/ 91535 w 11363325"/>
                <a:gd name="connsiteY3" fmla="*/ 2541841 h 3495675"/>
                <a:gd name="connsiteX4" fmla="*/ 102775 w 11363325"/>
                <a:gd name="connsiteY4" fmla="*/ 2636520 h 3495675"/>
                <a:gd name="connsiteX5" fmla="*/ 78772 w 11363325"/>
                <a:gd name="connsiteY5" fmla="*/ 2749677 h 3495675"/>
                <a:gd name="connsiteX6" fmla="*/ 210312 w 11363325"/>
                <a:gd name="connsiteY6" fmla="*/ 2682907 h 3495675"/>
                <a:gd name="connsiteX7" fmla="*/ 278511 w 11363325"/>
                <a:gd name="connsiteY7" fmla="*/ 2680145 h 3495675"/>
                <a:gd name="connsiteX8" fmla="*/ 299847 w 11363325"/>
                <a:gd name="connsiteY8" fmla="*/ 2746153 h 3495675"/>
                <a:gd name="connsiteX9" fmla="*/ 268700 w 11363325"/>
                <a:gd name="connsiteY9" fmla="*/ 2873407 h 3495675"/>
                <a:gd name="connsiteX10" fmla="*/ 378619 w 11363325"/>
                <a:gd name="connsiteY10" fmla="*/ 2834164 h 3495675"/>
                <a:gd name="connsiteX11" fmla="*/ 383381 w 11363325"/>
                <a:gd name="connsiteY11" fmla="*/ 2910840 h 3495675"/>
                <a:gd name="connsiteX12" fmla="*/ 404241 w 11363325"/>
                <a:gd name="connsiteY12" fmla="*/ 2994470 h 3495675"/>
                <a:gd name="connsiteX13" fmla="*/ 479108 w 11363325"/>
                <a:gd name="connsiteY13" fmla="*/ 3001995 h 3495675"/>
                <a:gd name="connsiteX14" fmla="*/ 559308 w 11363325"/>
                <a:gd name="connsiteY14" fmla="*/ 2948559 h 3495675"/>
                <a:gd name="connsiteX15" fmla="*/ 590169 w 11363325"/>
                <a:gd name="connsiteY15" fmla="*/ 3082671 h 3495675"/>
                <a:gd name="connsiteX16" fmla="*/ 659035 w 11363325"/>
                <a:gd name="connsiteY16" fmla="*/ 3032570 h 3495675"/>
                <a:gd name="connsiteX17" fmla="*/ 714089 w 11363325"/>
                <a:gd name="connsiteY17" fmla="*/ 3084005 h 3495675"/>
                <a:gd name="connsiteX18" fmla="*/ 758285 w 11363325"/>
                <a:gd name="connsiteY18" fmla="*/ 3006757 h 3495675"/>
                <a:gd name="connsiteX19" fmla="*/ 775811 w 11363325"/>
                <a:gd name="connsiteY19" fmla="*/ 3059621 h 3495675"/>
                <a:gd name="connsiteX20" fmla="*/ 819722 w 11363325"/>
                <a:gd name="connsiteY20" fmla="*/ 3041714 h 3495675"/>
                <a:gd name="connsiteX21" fmla="*/ 893350 w 11363325"/>
                <a:gd name="connsiteY21" fmla="*/ 3040952 h 3495675"/>
                <a:gd name="connsiteX22" fmla="*/ 892112 w 11363325"/>
                <a:gd name="connsiteY22" fmla="*/ 3111532 h 3495675"/>
                <a:gd name="connsiteX23" fmla="*/ 1005364 w 11363325"/>
                <a:gd name="connsiteY23" fmla="*/ 3103721 h 3495675"/>
                <a:gd name="connsiteX24" fmla="*/ 976027 w 11363325"/>
                <a:gd name="connsiteY24" fmla="*/ 3173063 h 3495675"/>
                <a:gd name="connsiteX25" fmla="*/ 1054703 w 11363325"/>
                <a:gd name="connsiteY25" fmla="*/ 3175159 h 3495675"/>
                <a:gd name="connsiteX26" fmla="*/ 1054703 w 11363325"/>
                <a:gd name="connsiteY26" fmla="*/ 3175064 h 3495675"/>
                <a:gd name="connsiteX27" fmla="*/ 1111472 w 11363325"/>
                <a:gd name="connsiteY27" fmla="*/ 3158490 h 3495675"/>
                <a:gd name="connsiteX28" fmla="*/ 1200245 w 11363325"/>
                <a:gd name="connsiteY28" fmla="*/ 3255550 h 3495675"/>
                <a:gd name="connsiteX29" fmla="*/ 1274255 w 11363325"/>
                <a:gd name="connsiteY29" fmla="*/ 3154775 h 3495675"/>
                <a:gd name="connsiteX30" fmla="*/ 1294067 w 11363325"/>
                <a:gd name="connsiteY30" fmla="*/ 3253073 h 3495675"/>
                <a:gd name="connsiteX31" fmla="*/ 1185577 w 11363325"/>
                <a:gd name="connsiteY31" fmla="*/ 3354800 h 3495675"/>
                <a:gd name="connsiteX32" fmla="*/ 1302639 w 11363325"/>
                <a:gd name="connsiteY32" fmla="*/ 3385947 h 3495675"/>
                <a:gd name="connsiteX33" fmla="*/ 1340072 w 11363325"/>
                <a:gd name="connsiteY33" fmla="*/ 3302127 h 3495675"/>
                <a:gd name="connsiteX34" fmla="*/ 1414367 w 11363325"/>
                <a:gd name="connsiteY34" fmla="*/ 3363087 h 3495675"/>
                <a:gd name="connsiteX35" fmla="*/ 1432274 w 11363325"/>
                <a:gd name="connsiteY35" fmla="*/ 3434048 h 3495675"/>
                <a:gd name="connsiteX36" fmla="*/ 1498759 w 11363325"/>
                <a:gd name="connsiteY36" fmla="*/ 3388043 h 3495675"/>
                <a:gd name="connsiteX37" fmla="*/ 1507712 w 11363325"/>
                <a:gd name="connsiteY37" fmla="*/ 3467386 h 3495675"/>
                <a:gd name="connsiteX38" fmla="*/ 1620488 w 11363325"/>
                <a:gd name="connsiteY38" fmla="*/ 3370803 h 3495675"/>
                <a:gd name="connsiteX39" fmla="*/ 1609725 w 11363325"/>
                <a:gd name="connsiteY39" fmla="*/ 3390233 h 3495675"/>
                <a:gd name="connsiteX40" fmla="*/ 1657922 w 11363325"/>
                <a:gd name="connsiteY40" fmla="*/ 3376041 h 3495675"/>
                <a:gd name="connsiteX41" fmla="*/ 1776032 w 11363325"/>
                <a:gd name="connsiteY41" fmla="*/ 3499295 h 3495675"/>
                <a:gd name="connsiteX42" fmla="*/ 1755553 w 11363325"/>
                <a:gd name="connsiteY42" fmla="*/ 3349657 h 3495675"/>
                <a:gd name="connsiteX43" fmla="*/ 1822990 w 11363325"/>
                <a:gd name="connsiteY43" fmla="*/ 3340227 h 3495675"/>
                <a:gd name="connsiteX44" fmla="*/ 1915192 w 11363325"/>
                <a:gd name="connsiteY44" fmla="*/ 3379661 h 3495675"/>
                <a:gd name="connsiteX45" fmla="*/ 2007680 w 11363325"/>
                <a:gd name="connsiteY45" fmla="*/ 3332703 h 3495675"/>
                <a:gd name="connsiteX46" fmla="*/ 2005870 w 11363325"/>
                <a:gd name="connsiteY46" fmla="*/ 3231261 h 3495675"/>
                <a:gd name="connsiteX47" fmla="*/ 1929193 w 11363325"/>
                <a:gd name="connsiteY47" fmla="*/ 3188684 h 3495675"/>
                <a:gd name="connsiteX48" fmla="*/ 1961960 w 11363325"/>
                <a:gd name="connsiteY48" fmla="*/ 3130677 h 3495675"/>
                <a:gd name="connsiteX49" fmla="*/ 1847850 w 11363325"/>
                <a:gd name="connsiteY49" fmla="*/ 3093625 h 3495675"/>
                <a:gd name="connsiteX50" fmla="*/ 1863281 w 11363325"/>
                <a:gd name="connsiteY50" fmla="*/ 2997137 h 3495675"/>
                <a:gd name="connsiteX51" fmla="*/ 1957673 w 11363325"/>
                <a:gd name="connsiteY51" fmla="*/ 3006471 h 3495675"/>
                <a:gd name="connsiteX52" fmla="*/ 2019776 w 11363325"/>
                <a:gd name="connsiteY52" fmla="*/ 3112484 h 3495675"/>
                <a:gd name="connsiteX53" fmla="*/ 2068830 w 11363325"/>
                <a:gd name="connsiteY53" fmla="*/ 3065526 h 3495675"/>
                <a:gd name="connsiteX54" fmla="*/ 2061020 w 11363325"/>
                <a:gd name="connsiteY54" fmla="*/ 2944559 h 3495675"/>
                <a:gd name="connsiteX55" fmla="*/ 2064639 w 11363325"/>
                <a:gd name="connsiteY55" fmla="*/ 2930938 h 3495675"/>
                <a:gd name="connsiteX56" fmla="*/ 2164461 w 11363325"/>
                <a:gd name="connsiteY56" fmla="*/ 2904935 h 3495675"/>
                <a:gd name="connsiteX57" fmla="*/ 2174462 w 11363325"/>
                <a:gd name="connsiteY57" fmla="*/ 2844737 h 3495675"/>
                <a:gd name="connsiteX58" fmla="*/ 2144363 w 11363325"/>
                <a:gd name="connsiteY58" fmla="*/ 2754535 h 3495675"/>
                <a:gd name="connsiteX59" fmla="*/ 2286476 w 11363325"/>
                <a:gd name="connsiteY59" fmla="*/ 2780538 h 3495675"/>
                <a:gd name="connsiteX60" fmla="*/ 2292858 w 11363325"/>
                <a:gd name="connsiteY60" fmla="*/ 2739485 h 3495675"/>
                <a:gd name="connsiteX61" fmla="*/ 2337340 w 11363325"/>
                <a:gd name="connsiteY61" fmla="*/ 2786729 h 3495675"/>
                <a:gd name="connsiteX62" fmla="*/ 2405253 w 11363325"/>
                <a:gd name="connsiteY62" fmla="*/ 2622518 h 3495675"/>
                <a:gd name="connsiteX63" fmla="*/ 2478405 w 11363325"/>
                <a:gd name="connsiteY63" fmla="*/ 2735390 h 3495675"/>
                <a:gd name="connsiteX64" fmla="*/ 2416683 w 11363325"/>
                <a:gd name="connsiteY64" fmla="*/ 2594324 h 3495675"/>
                <a:gd name="connsiteX65" fmla="*/ 2517743 w 11363325"/>
                <a:gd name="connsiteY65" fmla="*/ 2600516 h 3495675"/>
                <a:gd name="connsiteX66" fmla="*/ 2563273 w 11363325"/>
                <a:gd name="connsiteY66" fmla="*/ 2546033 h 3495675"/>
                <a:gd name="connsiteX67" fmla="*/ 2633948 w 11363325"/>
                <a:gd name="connsiteY67" fmla="*/ 2504980 h 3495675"/>
                <a:gd name="connsiteX68" fmla="*/ 2691194 w 11363325"/>
                <a:gd name="connsiteY68" fmla="*/ 2545271 h 3495675"/>
                <a:gd name="connsiteX69" fmla="*/ 2742724 w 11363325"/>
                <a:gd name="connsiteY69" fmla="*/ 2633186 h 3495675"/>
                <a:gd name="connsiteX70" fmla="*/ 2794635 w 11363325"/>
                <a:gd name="connsiteY70" fmla="*/ 2642045 h 3495675"/>
                <a:gd name="connsiteX71" fmla="*/ 2876931 w 11363325"/>
                <a:gd name="connsiteY71" fmla="*/ 2517077 h 3495675"/>
                <a:gd name="connsiteX72" fmla="*/ 2886551 w 11363325"/>
                <a:gd name="connsiteY72" fmla="*/ 2505170 h 3495675"/>
                <a:gd name="connsiteX73" fmla="*/ 2947226 w 11363325"/>
                <a:gd name="connsiteY73" fmla="*/ 2548033 h 3495675"/>
                <a:gd name="connsiteX74" fmla="*/ 2941034 w 11363325"/>
                <a:gd name="connsiteY74" fmla="*/ 2456593 h 3495675"/>
                <a:gd name="connsiteX75" fmla="*/ 3068670 w 11363325"/>
                <a:gd name="connsiteY75" fmla="*/ 2516600 h 3495675"/>
                <a:gd name="connsiteX76" fmla="*/ 3110674 w 11363325"/>
                <a:gd name="connsiteY76" fmla="*/ 2553272 h 3495675"/>
                <a:gd name="connsiteX77" fmla="*/ 3139916 w 11363325"/>
                <a:gd name="connsiteY77" fmla="*/ 2377821 h 3495675"/>
                <a:gd name="connsiteX78" fmla="*/ 3192304 w 11363325"/>
                <a:gd name="connsiteY78" fmla="*/ 2410873 h 3495675"/>
                <a:gd name="connsiteX79" fmla="*/ 3257264 w 11363325"/>
                <a:gd name="connsiteY79" fmla="*/ 2440496 h 3495675"/>
                <a:gd name="connsiteX80" fmla="*/ 3289173 w 11363325"/>
                <a:gd name="connsiteY80" fmla="*/ 2366772 h 3495675"/>
                <a:gd name="connsiteX81" fmla="*/ 3355181 w 11363325"/>
                <a:gd name="connsiteY81" fmla="*/ 2377535 h 3495675"/>
                <a:gd name="connsiteX82" fmla="*/ 3412141 w 11363325"/>
                <a:gd name="connsiteY82" fmla="*/ 2373249 h 3495675"/>
                <a:gd name="connsiteX83" fmla="*/ 3476244 w 11363325"/>
                <a:gd name="connsiteY83" fmla="*/ 2477643 h 3495675"/>
                <a:gd name="connsiteX84" fmla="*/ 3508153 w 11363325"/>
                <a:gd name="connsiteY84" fmla="*/ 2424208 h 3495675"/>
                <a:gd name="connsiteX85" fmla="*/ 3585115 w 11363325"/>
                <a:gd name="connsiteY85" fmla="*/ 2405539 h 3495675"/>
                <a:gd name="connsiteX86" fmla="*/ 3557207 w 11363325"/>
                <a:gd name="connsiteY86" fmla="*/ 2539937 h 3495675"/>
                <a:gd name="connsiteX87" fmla="*/ 3666839 w 11363325"/>
                <a:gd name="connsiteY87" fmla="*/ 2508980 h 3495675"/>
                <a:gd name="connsiteX88" fmla="*/ 3724466 w 11363325"/>
                <a:gd name="connsiteY88" fmla="*/ 2408777 h 3495675"/>
                <a:gd name="connsiteX89" fmla="*/ 3774948 w 11363325"/>
                <a:gd name="connsiteY89" fmla="*/ 2464308 h 3495675"/>
                <a:gd name="connsiteX90" fmla="*/ 3826859 w 11363325"/>
                <a:gd name="connsiteY90" fmla="*/ 2478215 h 3495675"/>
                <a:gd name="connsiteX91" fmla="*/ 3947351 w 11363325"/>
                <a:gd name="connsiteY91" fmla="*/ 2479358 h 3495675"/>
                <a:gd name="connsiteX92" fmla="*/ 3789998 w 11363325"/>
                <a:gd name="connsiteY92" fmla="*/ 2525745 h 3495675"/>
                <a:gd name="connsiteX93" fmla="*/ 3752945 w 11363325"/>
                <a:gd name="connsiteY93" fmla="*/ 2572417 h 3495675"/>
                <a:gd name="connsiteX94" fmla="*/ 3806190 w 11363325"/>
                <a:gd name="connsiteY94" fmla="*/ 2666048 h 3495675"/>
                <a:gd name="connsiteX95" fmla="*/ 3809714 w 11363325"/>
                <a:gd name="connsiteY95" fmla="*/ 2662714 h 3495675"/>
                <a:gd name="connsiteX96" fmla="*/ 3865340 w 11363325"/>
                <a:gd name="connsiteY96" fmla="*/ 2649379 h 3495675"/>
                <a:gd name="connsiteX97" fmla="*/ 3939826 w 11363325"/>
                <a:gd name="connsiteY97" fmla="*/ 2774537 h 3495675"/>
                <a:gd name="connsiteX98" fmla="*/ 3989165 w 11363325"/>
                <a:gd name="connsiteY98" fmla="*/ 2772632 h 3495675"/>
                <a:gd name="connsiteX99" fmla="*/ 4054126 w 11363325"/>
                <a:gd name="connsiteY99" fmla="*/ 2664333 h 3495675"/>
                <a:gd name="connsiteX100" fmla="*/ 4105942 w 11363325"/>
                <a:gd name="connsiteY100" fmla="*/ 2733866 h 3495675"/>
                <a:gd name="connsiteX101" fmla="*/ 4232720 w 11363325"/>
                <a:gd name="connsiteY101" fmla="*/ 2643949 h 3495675"/>
                <a:gd name="connsiteX102" fmla="*/ 4207002 w 11363325"/>
                <a:gd name="connsiteY102" fmla="*/ 2763203 h 3495675"/>
                <a:gd name="connsiteX103" fmla="*/ 4325112 w 11363325"/>
                <a:gd name="connsiteY103" fmla="*/ 2712339 h 3495675"/>
                <a:gd name="connsiteX104" fmla="*/ 4293394 w 11363325"/>
                <a:gd name="connsiteY104" fmla="*/ 2770441 h 3495675"/>
                <a:gd name="connsiteX105" fmla="*/ 4329780 w 11363325"/>
                <a:gd name="connsiteY105" fmla="*/ 2794540 h 3495675"/>
                <a:gd name="connsiteX106" fmla="*/ 4331018 w 11363325"/>
                <a:gd name="connsiteY106" fmla="*/ 2734532 h 3495675"/>
                <a:gd name="connsiteX107" fmla="*/ 4397121 w 11363325"/>
                <a:gd name="connsiteY107" fmla="*/ 2718149 h 3495675"/>
                <a:gd name="connsiteX108" fmla="*/ 4338923 w 11363325"/>
                <a:gd name="connsiteY108" fmla="*/ 2617946 h 3495675"/>
                <a:gd name="connsiteX109" fmla="*/ 4433507 w 11363325"/>
                <a:gd name="connsiteY109" fmla="*/ 2586419 h 3495675"/>
                <a:gd name="connsiteX110" fmla="*/ 4473321 w 11363325"/>
                <a:gd name="connsiteY110" fmla="*/ 2668143 h 3495675"/>
                <a:gd name="connsiteX111" fmla="*/ 4467987 w 11363325"/>
                <a:gd name="connsiteY111" fmla="*/ 2766155 h 3495675"/>
                <a:gd name="connsiteX112" fmla="*/ 4549521 w 11363325"/>
                <a:gd name="connsiteY112" fmla="*/ 2746058 h 3495675"/>
                <a:gd name="connsiteX113" fmla="*/ 4628293 w 11363325"/>
                <a:gd name="connsiteY113" fmla="*/ 2674144 h 3495675"/>
                <a:gd name="connsiteX114" fmla="*/ 4675347 w 11363325"/>
                <a:gd name="connsiteY114" fmla="*/ 2786824 h 3495675"/>
                <a:gd name="connsiteX115" fmla="*/ 4728020 w 11363325"/>
                <a:gd name="connsiteY115" fmla="*/ 2775299 h 3495675"/>
                <a:gd name="connsiteX116" fmla="*/ 4784598 w 11363325"/>
                <a:gd name="connsiteY116" fmla="*/ 2799683 h 3495675"/>
                <a:gd name="connsiteX117" fmla="*/ 4829937 w 11363325"/>
                <a:gd name="connsiteY117" fmla="*/ 2765298 h 3495675"/>
                <a:gd name="connsiteX118" fmla="*/ 4878229 w 11363325"/>
                <a:gd name="connsiteY118" fmla="*/ 2720626 h 3495675"/>
                <a:gd name="connsiteX119" fmla="*/ 4904804 w 11363325"/>
                <a:gd name="connsiteY119" fmla="*/ 2598611 h 3495675"/>
                <a:gd name="connsiteX120" fmla="*/ 5019771 w 11363325"/>
                <a:gd name="connsiteY120" fmla="*/ 2779966 h 3495675"/>
                <a:gd name="connsiteX121" fmla="*/ 5027962 w 11363325"/>
                <a:gd name="connsiteY121" fmla="*/ 2644140 h 3495675"/>
                <a:gd name="connsiteX122" fmla="*/ 5083874 w 11363325"/>
                <a:gd name="connsiteY122" fmla="*/ 2629757 h 3495675"/>
                <a:gd name="connsiteX123" fmla="*/ 5119497 w 11363325"/>
                <a:gd name="connsiteY123" fmla="*/ 2744915 h 3495675"/>
                <a:gd name="connsiteX124" fmla="*/ 5197317 w 11363325"/>
                <a:gd name="connsiteY124" fmla="*/ 2591276 h 3495675"/>
                <a:gd name="connsiteX125" fmla="*/ 5202841 w 11363325"/>
                <a:gd name="connsiteY125" fmla="*/ 2732437 h 3495675"/>
                <a:gd name="connsiteX126" fmla="*/ 5277231 w 11363325"/>
                <a:gd name="connsiteY126" fmla="*/ 2699576 h 3495675"/>
                <a:gd name="connsiteX127" fmla="*/ 5273802 w 11363325"/>
                <a:gd name="connsiteY127" fmla="*/ 2781110 h 3495675"/>
                <a:gd name="connsiteX128" fmla="*/ 5398389 w 11363325"/>
                <a:gd name="connsiteY128" fmla="*/ 2727865 h 3495675"/>
                <a:gd name="connsiteX129" fmla="*/ 5428203 w 11363325"/>
                <a:gd name="connsiteY129" fmla="*/ 2786348 h 3495675"/>
                <a:gd name="connsiteX130" fmla="*/ 5460969 w 11363325"/>
                <a:gd name="connsiteY130" fmla="*/ 2842546 h 3495675"/>
                <a:gd name="connsiteX131" fmla="*/ 5500688 w 11363325"/>
                <a:gd name="connsiteY131" fmla="*/ 2872740 h 3495675"/>
                <a:gd name="connsiteX132" fmla="*/ 5535740 w 11363325"/>
                <a:gd name="connsiteY132" fmla="*/ 2865691 h 3495675"/>
                <a:gd name="connsiteX133" fmla="*/ 5566982 w 11363325"/>
                <a:gd name="connsiteY133" fmla="*/ 2777204 h 3495675"/>
                <a:gd name="connsiteX134" fmla="*/ 5644134 w 11363325"/>
                <a:gd name="connsiteY134" fmla="*/ 2910459 h 3495675"/>
                <a:gd name="connsiteX135" fmla="*/ 5638610 w 11363325"/>
                <a:gd name="connsiteY135" fmla="*/ 2917889 h 3495675"/>
                <a:gd name="connsiteX136" fmla="*/ 5649659 w 11363325"/>
                <a:gd name="connsiteY136" fmla="*/ 2919984 h 3495675"/>
                <a:gd name="connsiteX137" fmla="*/ 5657088 w 11363325"/>
                <a:gd name="connsiteY137" fmla="*/ 2932748 h 3495675"/>
                <a:gd name="connsiteX138" fmla="*/ 5662517 w 11363325"/>
                <a:gd name="connsiteY138" fmla="*/ 2922461 h 3495675"/>
                <a:gd name="connsiteX139" fmla="*/ 5778723 w 11363325"/>
                <a:gd name="connsiteY139" fmla="*/ 2944845 h 3495675"/>
                <a:gd name="connsiteX140" fmla="*/ 5660612 w 11363325"/>
                <a:gd name="connsiteY140" fmla="*/ 3022854 h 3495675"/>
                <a:gd name="connsiteX141" fmla="*/ 5781675 w 11363325"/>
                <a:gd name="connsiteY141" fmla="*/ 3000851 h 3495675"/>
                <a:gd name="connsiteX142" fmla="*/ 5779389 w 11363325"/>
                <a:gd name="connsiteY142" fmla="*/ 2953131 h 3495675"/>
                <a:gd name="connsiteX143" fmla="*/ 5835586 w 11363325"/>
                <a:gd name="connsiteY143" fmla="*/ 3020473 h 3495675"/>
                <a:gd name="connsiteX144" fmla="*/ 5890260 w 11363325"/>
                <a:gd name="connsiteY144" fmla="*/ 3056001 h 3495675"/>
                <a:gd name="connsiteX145" fmla="*/ 5937980 w 11363325"/>
                <a:gd name="connsiteY145" fmla="*/ 2973896 h 3495675"/>
                <a:gd name="connsiteX146" fmla="*/ 5989796 w 11363325"/>
                <a:gd name="connsiteY146" fmla="*/ 2964466 h 3495675"/>
                <a:gd name="connsiteX147" fmla="*/ 6043422 w 11363325"/>
                <a:gd name="connsiteY147" fmla="*/ 2964085 h 3495675"/>
                <a:gd name="connsiteX148" fmla="*/ 6100667 w 11363325"/>
                <a:gd name="connsiteY148" fmla="*/ 3137249 h 3495675"/>
                <a:gd name="connsiteX149" fmla="*/ 6154865 w 11363325"/>
                <a:gd name="connsiteY149" fmla="*/ 3053239 h 3495675"/>
                <a:gd name="connsiteX150" fmla="*/ 6206585 w 11363325"/>
                <a:gd name="connsiteY150" fmla="*/ 3067812 h 3495675"/>
                <a:gd name="connsiteX151" fmla="*/ 6266021 w 11363325"/>
                <a:gd name="connsiteY151" fmla="*/ 3155156 h 3495675"/>
                <a:gd name="connsiteX152" fmla="*/ 6308122 w 11363325"/>
                <a:gd name="connsiteY152" fmla="*/ 3008757 h 3495675"/>
                <a:gd name="connsiteX153" fmla="*/ 6352604 w 11363325"/>
                <a:gd name="connsiteY153" fmla="*/ 2945225 h 3495675"/>
                <a:gd name="connsiteX154" fmla="*/ 6431852 w 11363325"/>
                <a:gd name="connsiteY154" fmla="*/ 2983802 h 3495675"/>
                <a:gd name="connsiteX155" fmla="*/ 6442805 w 11363325"/>
                <a:gd name="connsiteY155" fmla="*/ 3129153 h 3495675"/>
                <a:gd name="connsiteX156" fmla="*/ 6550343 w 11363325"/>
                <a:gd name="connsiteY156" fmla="*/ 3018949 h 3495675"/>
                <a:gd name="connsiteX157" fmla="*/ 6579394 w 11363325"/>
                <a:gd name="connsiteY157" fmla="*/ 3141059 h 3495675"/>
                <a:gd name="connsiteX158" fmla="*/ 6610446 w 11363325"/>
                <a:gd name="connsiteY158" fmla="*/ 3038094 h 3495675"/>
                <a:gd name="connsiteX159" fmla="*/ 6685217 w 11363325"/>
                <a:gd name="connsiteY159" fmla="*/ 3083338 h 3495675"/>
                <a:gd name="connsiteX160" fmla="*/ 6709124 w 11363325"/>
                <a:gd name="connsiteY160" fmla="*/ 3018187 h 3495675"/>
                <a:gd name="connsiteX161" fmla="*/ 6730365 w 11363325"/>
                <a:gd name="connsiteY161" fmla="*/ 3103912 h 3495675"/>
                <a:gd name="connsiteX162" fmla="*/ 6825139 w 11363325"/>
                <a:gd name="connsiteY162" fmla="*/ 3023140 h 3495675"/>
                <a:gd name="connsiteX163" fmla="*/ 6762941 w 11363325"/>
                <a:gd name="connsiteY163" fmla="*/ 3139821 h 3495675"/>
                <a:gd name="connsiteX164" fmla="*/ 6843522 w 11363325"/>
                <a:gd name="connsiteY164" fmla="*/ 3145822 h 3495675"/>
                <a:gd name="connsiteX165" fmla="*/ 6879812 w 11363325"/>
                <a:gd name="connsiteY165" fmla="*/ 3212592 h 3495675"/>
                <a:gd name="connsiteX166" fmla="*/ 6966680 w 11363325"/>
                <a:gd name="connsiteY166" fmla="*/ 3236405 h 3495675"/>
                <a:gd name="connsiteX167" fmla="*/ 6997732 w 11363325"/>
                <a:gd name="connsiteY167" fmla="*/ 3128963 h 3495675"/>
                <a:gd name="connsiteX168" fmla="*/ 7064693 w 11363325"/>
                <a:gd name="connsiteY168" fmla="*/ 3150013 h 3495675"/>
                <a:gd name="connsiteX169" fmla="*/ 7140035 w 11363325"/>
                <a:gd name="connsiteY169" fmla="*/ 3183350 h 3495675"/>
                <a:gd name="connsiteX170" fmla="*/ 7155847 w 11363325"/>
                <a:gd name="connsiteY170" fmla="*/ 3057144 h 3495675"/>
                <a:gd name="connsiteX171" fmla="*/ 7217569 w 11363325"/>
                <a:gd name="connsiteY171" fmla="*/ 3106007 h 3495675"/>
                <a:gd name="connsiteX172" fmla="*/ 7228523 w 11363325"/>
                <a:gd name="connsiteY172" fmla="*/ 3169539 h 3495675"/>
                <a:gd name="connsiteX173" fmla="*/ 7318724 w 11363325"/>
                <a:gd name="connsiteY173" fmla="*/ 3154395 h 3495675"/>
                <a:gd name="connsiteX174" fmla="*/ 7378636 w 11363325"/>
                <a:gd name="connsiteY174" fmla="*/ 3157252 h 3495675"/>
                <a:gd name="connsiteX175" fmla="*/ 7376541 w 11363325"/>
                <a:gd name="connsiteY175" fmla="*/ 3102007 h 3495675"/>
                <a:gd name="connsiteX176" fmla="*/ 7427881 w 11363325"/>
                <a:gd name="connsiteY176" fmla="*/ 3095435 h 3495675"/>
                <a:gd name="connsiteX177" fmla="*/ 7499414 w 11363325"/>
                <a:gd name="connsiteY177" fmla="*/ 3116771 h 3495675"/>
                <a:gd name="connsiteX178" fmla="*/ 7593616 w 11363325"/>
                <a:gd name="connsiteY178" fmla="*/ 3121247 h 3495675"/>
                <a:gd name="connsiteX179" fmla="*/ 7505319 w 11363325"/>
                <a:gd name="connsiteY179" fmla="*/ 2943701 h 3495675"/>
                <a:gd name="connsiteX180" fmla="*/ 7592283 w 11363325"/>
                <a:gd name="connsiteY180" fmla="*/ 2956465 h 3495675"/>
                <a:gd name="connsiteX181" fmla="*/ 7650576 w 11363325"/>
                <a:gd name="connsiteY181" fmla="*/ 2972467 h 3495675"/>
                <a:gd name="connsiteX182" fmla="*/ 7683627 w 11363325"/>
                <a:gd name="connsiteY182" fmla="*/ 2913126 h 3495675"/>
                <a:gd name="connsiteX183" fmla="*/ 7722394 w 11363325"/>
                <a:gd name="connsiteY183" fmla="*/ 2943511 h 3495675"/>
                <a:gd name="connsiteX184" fmla="*/ 7827169 w 11363325"/>
                <a:gd name="connsiteY184" fmla="*/ 2891409 h 3495675"/>
                <a:gd name="connsiteX185" fmla="*/ 7635907 w 11363325"/>
                <a:gd name="connsiteY185" fmla="*/ 2838545 h 3495675"/>
                <a:gd name="connsiteX186" fmla="*/ 7828121 w 11363325"/>
                <a:gd name="connsiteY186" fmla="*/ 2805779 h 3495675"/>
                <a:gd name="connsiteX187" fmla="*/ 7762494 w 11363325"/>
                <a:gd name="connsiteY187" fmla="*/ 2701671 h 3495675"/>
                <a:gd name="connsiteX188" fmla="*/ 7867936 w 11363325"/>
                <a:gd name="connsiteY188" fmla="*/ 2752725 h 3495675"/>
                <a:gd name="connsiteX189" fmla="*/ 7875556 w 11363325"/>
                <a:gd name="connsiteY189" fmla="*/ 2668810 h 3495675"/>
                <a:gd name="connsiteX190" fmla="*/ 7986999 w 11363325"/>
                <a:gd name="connsiteY190" fmla="*/ 2623185 h 3495675"/>
                <a:gd name="connsiteX191" fmla="*/ 7884605 w 11363325"/>
                <a:gd name="connsiteY191" fmla="*/ 2554129 h 3495675"/>
                <a:gd name="connsiteX192" fmla="*/ 7876699 w 11363325"/>
                <a:gd name="connsiteY192" fmla="*/ 2488787 h 3495675"/>
                <a:gd name="connsiteX193" fmla="*/ 7953280 w 11363325"/>
                <a:gd name="connsiteY193" fmla="*/ 2466975 h 3495675"/>
                <a:gd name="connsiteX194" fmla="*/ 7977569 w 11363325"/>
                <a:gd name="connsiteY194" fmla="*/ 2409825 h 3495675"/>
                <a:gd name="connsiteX195" fmla="*/ 8022622 w 11363325"/>
                <a:gd name="connsiteY195" fmla="*/ 2384393 h 3495675"/>
                <a:gd name="connsiteX196" fmla="*/ 8080344 w 11363325"/>
                <a:gd name="connsiteY196" fmla="*/ 2448020 h 3495675"/>
                <a:gd name="connsiteX197" fmla="*/ 8132636 w 11363325"/>
                <a:gd name="connsiteY197" fmla="*/ 2333816 h 3495675"/>
                <a:gd name="connsiteX198" fmla="*/ 8196167 w 11363325"/>
                <a:gd name="connsiteY198" fmla="*/ 2343055 h 3495675"/>
                <a:gd name="connsiteX199" fmla="*/ 8258556 w 11363325"/>
                <a:gd name="connsiteY199" fmla="*/ 2300288 h 3495675"/>
                <a:gd name="connsiteX200" fmla="*/ 8308181 w 11363325"/>
                <a:gd name="connsiteY200" fmla="*/ 2355723 h 3495675"/>
                <a:gd name="connsiteX201" fmla="*/ 8366760 w 11363325"/>
                <a:gd name="connsiteY201" fmla="*/ 2337626 h 3495675"/>
                <a:gd name="connsiteX202" fmla="*/ 8412670 w 11363325"/>
                <a:gd name="connsiteY202" fmla="*/ 2463165 h 3495675"/>
                <a:gd name="connsiteX203" fmla="*/ 8475059 w 11363325"/>
                <a:gd name="connsiteY203" fmla="*/ 2357533 h 3495675"/>
                <a:gd name="connsiteX204" fmla="*/ 8535638 w 11363325"/>
                <a:gd name="connsiteY204" fmla="*/ 2278952 h 3495675"/>
                <a:gd name="connsiteX205" fmla="*/ 8584216 w 11363325"/>
                <a:gd name="connsiteY205" fmla="*/ 2373249 h 3495675"/>
                <a:gd name="connsiteX206" fmla="*/ 8644985 w 11363325"/>
                <a:gd name="connsiteY206" fmla="*/ 2288096 h 3495675"/>
                <a:gd name="connsiteX207" fmla="*/ 8691372 w 11363325"/>
                <a:gd name="connsiteY207" fmla="*/ 2334863 h 3495675"/>
                <a:gd name="connsiteX208" fmla="*/ 8765000 w 11363325"/>
                <a:gd name="connsiteY208" fmla="*/ 2487359 h 3495675"/>
                <a:gd name="connsiteX209" fmla="*/ 8790623 w 11363325"/>
                <a:gd name="connsiteY209" fmla="*/ 2265712 h 3495675"/>
                <a:gd name="connsiteX210" fmla="*/ 8843010 w 11363325"/>
                <a:gd name="connsiteY210" fmla="*/ 2436876 h 3495675"/>
                <a:gd name="connsiteX211" fmla="*/ 8906446 w 11363325"/>
                <a:gd name="connsiteY211" fmla="*/ 2404396 h 3495675"/>
                <a:gd name="connsiteX212" fmla="*/ 8903303 w 11363325"/>
                <a:gd name="connsiteY212" fmla="*/ 2516981 h 3495675"/>
                <a:gd name="connsiteX213" fmla="*/ 9019413 w 11363325"/>
                <a:gd name="connsiteY213" fmla="*/ 2434400 h 3495675"/>
                <a:gd name="connsiteX214" fmla="*/ 9086564 w 11363325"/>
                <a:gd name="connsiteY214" fmla="*/ 2541270 h 3495675"/>
                <a:gd name="connsiteX215" fmla="*/ 9122759 w 11363325"/>
                <a:gd name="connsiteY215" fmla="*/ 2414016 h 3495675"/>
                <a:gd name="connsiteX216" fmla="*/ 9184100 w 11363325"/>
                <a:gd name="connsiteY216" fmla="*/ 2409063 h 3495675"/>
                <a:gd name="connsiteX217" fmla="*/ 9242393 w 11363325"/>
                <a:gd name="connsiteY217" fmla="*/ 2520410 h 3495675"/>
                <a:gd name="connsiteX218" fmla="*/ 9300972 w 11363325"/>
                <a:gd name="connsiteY218" fmla="*/ 2389537 h 3495675"/>
                <a:gd name="connsiteX219" fmla="*/ 9385268 w 11363325"/>
                <a:gd name="connsiteY219" fmla="*/ 2362772 h 3495675"/>
                <a:gd name="connsiteX220" fmla="*/ 9360027 w 11363325"/>
                <a:gd name="connsiteY220" fmla="*/ 2527268 h 3495675"/>
                <a:gd name="connsiteX221" fmla="*/ 9484805 w 11363325"/>
                <a:gd name="connsiteY221" fmla="*/ 2473833 h 3495675"/>
                <a:gd name="connsiteX222" fmla="*/ 9536430 w 11363325"/>
                <a:gd name="connsiteY222" fmla="*/ 2477453 h 3495675"/>
                <a:gd name="connsiteX223" fmla="*/ 9564148 w 11363325"/>
                <a:gd name="connsiteY223" fmla="*/ 2533269 h 3495675"/>
                <a:gd name="connsiteX224" fmla="*/ 9616726 w 11363325"/>
                <a:gd name="connsiteY224" fmla="*/ 2570798 h 3495675"/>
                <a:gd name="connsiteX225" fmla="*/ 9686258 w 11363325"/>
                <a:gd name="connsiteY225" fmla="*/ 2645759 h 3495675"/>
                <a:gd name="connsiteX226" fmla="*/ 9744646 w 11363325"/>
                <a:gd name="connsiteY226" fmla="*/ 2589943 h 3495675"/>
                <a:gd name="connsiteX227" fmla="*/ 9790462 w 11363325"/>
                <a:gd name="connsiteY227" fmla="*/ 2561463 h 3495675"/>
                <a:gd name="connsiteX228" fmla="*/ 9787985 w 11363325"/>
                <a:gd name="connsiteY228" fmla="*/ 2486025 h 3495675"/>
                <a:gd name="connsiteX229" fmla="*/ 9823418 w 11363325"/>
                <a:gd name="connsiteY229" fmla="*/ 2454212 h 3495675"/>
                <a:gd name="connsiteX230" fmla="*/ 9873805 w 11363325"/>
                <a:gd name="connsiteY230" fmla="*/ 2365724 h 3495675"/>
                <a:gd name="connsiteX231" fmla="*/ 9928956 w 11363325"/>
                <a:gd name="connsiteY231" fmla="*/ 2379726 h 3495675"/>
                <a:gd name="connsiteX232" fmla="*/ 9994202 w 11363325"/>
                <a:gd name="connsiteY232" fmla="*/ 2399348 h 3495675"/>
                <a:gd name="connsiteX233" fmla="*/ 10029634 w 11363325"/>
                <a:gd name="connsiteY233" fmla="*/ 2462498 h 3495675"/>
                <a:gd name="connsiteX234" fmla="*/ 10074212 w 11363325"/>
                <a:gd name="connsiteY234" fmla="*/ 2483930 h 3495675"/>
                <a:gd name="connsiteX235" fmla="*/ 10165461 w 11363325"/>
                <a:gd name="connsiteY235" fmla="*/ 2416397 h 3495675"/>
                <a:gd name="connsiteX236" fmla="*/ 10164699 w 11363325"/>
                <a:gd name="connsiteY236" fmla="*/ 2471547 h 3495675"/>
                <a:gd name="connsiteX237" fmla="*/ 10189178 w 11363325"/>
                <a:gd name="connsiteY237" fmla="*/ 2433828 h 3495675"/>
                <a:gd name="connsiteX238" fmla="*/ 10224897 w 11363325"/>
                <a:gd name="connsiteY238" fmla="*/ 2398109 h 3495675"/>
                <a:gd name="connsiteX239" fmla="*/ 10310051 w 11363325"/>
                <a:gd name="connsiteY239" fmla="*/ 2404015 h 3495675"/>
                <a:gd name="connsiteX240" fmla="*/ 10311765 w 11363325"/>
                <a:gd name="connsiteY240" fmla="*/ 2411349 h 3495675"/>
                <a:gd name="connsiteX241" fmla="*/ 10438734 w 11363325"/>
                <a:gd name="connsiteY241" fmla="*/ 2362391 h 3495675"/>
                <a:gd name="connsiteX242" fmla="*/ 10370820 w 11363325"/>
                <a:gd name="connsiteY242" fmla="*/ 2528888 h 3495675"/>
                <a:gd name="connsiteX243" fmla="*/ 10491883 w 11363325"/>
                <a:gd name="connsiteY243" fmla="*/ 2405539 h 3495675"/>
                <a:gd name="connsiteX244" fmla="*/ 10486359 w 11363325"/>
                <a:gd name="connsiteY244" fmla="*/ 2384774 h 3495675"/>
                <a:gd name="connsiteX245" fmla="*/ 10622852 w 11363325"/>
                <a:gd name="connsiteY245" fmla="*/ 2485263 h 3495675"/>
                <a:gd name="connsiteX246" fmla="*/ 10613897 w 11363325"/>
                <a:gd name="connsiteY246" fmla="*/ 2343055 h 3495675"/>
                <a:gd name="connsiteX247" fmla="*/ 10724769 w 11363325"/>
                <a:gd name="connsiteY247" fmla="*/ 2486692 h 3495675"/>
                <a:gd name="connsiteX248" fmla="*/ 10763250 w 11363325"/>
                <a:gd name="connsiteY248" fmla="*/ 2421350 h 3495675"/>
                <a:gd name="connsiteX249" fmla="*/ 10827830 w 11363325"/>
                <a:gd name="connsiteY249" fmla="*/ 2432018 h 3495675"/>
                <a:gd name="connsiteX250" fmla="*/ 10874026 w 11363325"/>
                <a:gd name="connsiteY250" fmla="*/ 2385536 h 3495675"/>
                <a:gd name="connsiteX251" fmla="*/ 10932795 w 11363325"/>
                <a:gd name="connsiteY251" fmla="*/ 2380202 h 3495675"/>
                <a:gd name="connsiteX252" fmla="*/ 10960228 w 11363325"/>
                <a:gd name="connsiteY252" fmla="*/ 2225421 h 3495675"/>
                <a:gd name="connsiteX253" fmla="*/ 10986992 w 11363325"/>
                <a:gd name="connsiteY253" fmla="*/ 2382869 h 3495675"/>
                <a:gd name="connsiteX254" fmla="*/ 11046809 w 11363325"/>
                <a:gd name="connsiteY254" fmla="*/ 2397062 h 3495675"/>
                <a:gd name="connsiteX255" fmla="*/ 11124534 w 11363325"/>
                <a:gd name="connsiteY255" fmla="*/ 2365534 h 3495675"/>
                <a:gd name="connsiteX256" fmla="*/ 11182445 w 11363325"/>
                <a:gd name="connsiteY256" fmla="*/ 2383155 h 3495675"/>
                <a:gd name="connsiteX257" fmla="*/ 11250454 w 11363325"/>
                <a:gd name="connsiteY257" fmla="*/ 2375249 h 3495675"/>
                <a:gd name="connsiteX258" fmla="*/ 11303508 w 11363325"/>
                <a:gd name="connsiteY258" fmla="*/ 2327243 h 3495675"/>
                <a:gd name="connsiteX259" fmla="*/ 11356467 w 11363325"/>
                <a:gd name="connsiteY259" fmla="*/ 2424494 h 3495675"/>
                <a:gd name="connsiteX260" fmla="*/ 11372564 w 11363325"/>
                <a:gd name="connsiteY260" fmla="*/ 2435924 h 3495675"/>
                <a:gd name="connsiteX261" fmla="*/ 11372564 w 11363325"/>
                <a:gd name="connsiteY261" fmla="*/ 0 h 3495675"/>
                <a:gd name="connsiteX262" fmla="*/ 0 w 11363325"/>
                <a:gd name="connsiteY262" fmla="*/ 0 h 3495675"/>
                <a:gd name="connsiteX263" fmla="*/ 7624191 w 11363325"/>
                <a:gd name="connsiteY263" fmla="*/ 2067973 h 3495675"/>
                <a:gd name="connsiteX264" fmla="*/ 7586187 w 11363325"/>
                <a:gd name="connsiteY264" fmla="*/ 1943672 h 3495675"/>
                <a:gd name="connsiteX265" fmla="*/ 7601522 w 11363325"/>
                <a:gd name="connsiteY265" fmla="*/ 1930813 h 3495675"/>
                <a:gd name="connsiteX266" fmla="*/ 7634669 w 11363325"/>
                <a:gd name="connsiteY266" fmla="*/ 1941100 h 3495675"/>
                <a:gd name="connsiteX267" fmla="*/ 7624191 w 11363325"/>
                <a:gd name="connsiteY267" fmla="*/ 2067973 h 3495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</a:cxnLst>
              <a:rect l="l" t="t" r="r" b="b"/>
              <a:pathLst>
                <a:path w="11363325" h="3495675">
                  <a:moveTo>
                    <a:pt x="0" y="0"/>
                  </a:moveTo>
                  <a:lnTo>
                    <a:pt x="0" y="2568226"/>
                  </a:lnTo>
                  <a:lnTo>
                    <a:pt x="19336" y="2547080"/>
                  </a:lnTo>
                  <a:lnTo>
                    <a:pt x="91535" y="2541841"/>
                  </a:lnTo>
                  <a:lnTo>
                    <a:pt x="102775" y="2636520"/>
                  </a:lnTo>
                  <a:lnTo>
                    <a:pt x="78772" y="2749677"/>
                  </a:lnTo>
                  <a:lnTo>
                    <a:pt x="210312" y="2682907"/>
                  </a:lnTo>
                  <a:lnTo>
                    <a:pt x="278511" y="2680145"/>
                  </a:lnTo>
                  <a:lnTo>
                    <a:pt x="299847" y="2746153"/>
                  </a:lnTo>
                  <a:lnTo>
                    <a:pt x="268700" y="2873407"/>
                  </a:lnTo>
                  <a:lnTo>
                    <a:pt x="378619" y="2834164"/>
                  </a:lnTo>
                  <a:lnTo>
                    <a:pt x="383381" y="2910840"/>
                  </a:lnTo>
                  <a:lnTo>
                    <a:pt x="404241" y="2994470"/>
                  </a:lnTo>
                  <a:lnTo>
                    <a:pt x="479108" y="3001995"/>
                  </a:lnTo>
                  <a:lnTo>
                    <a:pt x="559308" y="2948559"/>
                  </a:lnTo>
                  <a:lnTo>
                    <a:pt x="590169" y="3082671"/>
                  </a:lnTo>
                  <a:lnTo>
                    <a:pt x="659035" y="3032570"/>
                  </a:lnTo>
                  <a:lnTo>
                    <a:pt x="714089" y="3084005"/>
                  </a:lnTo>
                  <a:lnTo>
                    <a:pt x="758285" y="3006757"/>
                  </a:lnTo>
                  <a:lnTo>
                    <a:pt x="775811" y="3059621"/>
                  </a:lnTo>
                  <a:lnTo>
                    <a:pt x="819722" y="3041714"/>
                  </a:lnTo>
                  <a:lnTo>
                    <a:pt x="893350" y="3040952"/>
                  </a:lnTo>
                  <a:lnTo>
                    <a:pt x="892112" y="3111532"/>
                  </a:lnTo>
                  <a:lnTo>
                    <a:pt x="1005364" y="3103721"/>
                  </a:lnTo>
                  <a:lnTo>
                    <a:pt x="976027" y="3173063"/>
                  </a:lnTo>
                  <a:lnTo>
                    <a:pt x="1054703" y="3175159"/>
                  </a:lnTo>
                  <a:lnTo>
                    <a:pt x="1054703" y="3175064"/>
                  </a:lnTo>
                  <a:lnTo>
                    <a:pt x="1111472" y="3158490"/>
                  </a:lnTo>
                  <a:lnTo>
                    <a:pt x="1200245" y="3255550"/>
                  </a:lnTo>
                  <a:lnTo>
                    <a:pt x="1274255" y="3154775"/>
                  </a:lnTo>
                  <a:lnTo>
                    <a:pt x="1294067" y="3253073"/>
                  </a:lnTo>
                  <a:lnTo>
                    <a:pt x="1185577" y="3354800"/>
                  </a:lnTo>
                  <a:lnTo>
                    <a:pt x="1302639" y="3385947"/>
                  </a:lnTo>
                  <a:lnTo>
                    <a:pt x="1340072" y="3302127"/>
                  </a:lnTo>
                  <a:lnTo>
                    <a:pt x="1414367" y="3363087"/>
                  </a:lnTo>
                  <a:lnTo>
                    <a:pt x="1432274" y="3434048"/>
                  </a:lnTo>
                  <a:lnTo>
                    <a:pt x="1498759" y="3388043"/>
                  </a:lnTo>
                  <a:lnTo>
                    <a:pt x="1507712" y="3467386"/>
                  </a:lnTo>
                  <a:lnTo>
                    <a:pt x="1620488" y="3370803"/>
                  </a:lnTo>
                  <a:lnTo>
                    <a:pt x="1609725" y="3390233"/>
                  </a:lnTo>
                  <a:lnTo>
                    <a:pt x="1657922" y="3376041"/>
                  </a:lnTo>
                  <a:lnTo>
                    <a:pt x="1776032" y="3499295"/>
                  </a:lnTo>
                  <a:lnTo>
                    <a:pt x="1755553" y="3349657"/>
                  </a:lnTo>
                  <a:lnTo>
                    <a:pt x="1822990" y="3340227"/>
                  </a:lnTo>
                  <a:lnTo>
                    <a:pt x="1915192" y="3379661"/>
                  </a:lnTo>
                  <a:lnTo>
                    <a:pt x="2007680" y="3332703"/>
                  </a:lnTo>
                  <a:lnTo>
                    <a:pt x="2005870" y="3231261"/>
                  </a:lnTo>
                  <a:lnTo>
                    <a:pt x="1929193" y="3188684"/>
                  </a:lnTo>
                  <a:lnTo>
                    <a:pt x="1961960" y="3130677"/>
                  </a:lnTo>
                  <a:lnTo>
                    <a:pt x="1847850" y="3093625"/>
                  </a:lnTo>
                  <a:lnTo>
                    <a:pt x="1863281" y="2997137"/>
                  </a:lnTo>
                  <a:lnTo>
                    <a:pt x="1957673" y="3006471"/>
                  </a:lnTo>
                  <a:lnTo>
                    <a:pt x="2019776" y="3112484"/>
                  </a:lnTo>
                  <a:lnTo>
                    <a:pt x="2068830" y="3065526"/>
                  </a:lnTo>
                  <a:lnTo>
                    <a:pt x="2061020" y="2944559"/>
                  </a:lnTo>
                  <a:lnTo>
                    <a:pt x="2064639" y="2930938"/>
                  </a:lnTo>
                  <a:lnTo>
                    <a:pt x="2164461" y="2904935"/>
                  </a:lnTo>
                  <a:lnTo>
                    <a:pt x="2174462" y="2844737"/>
                  </a:lnTo>
                  <a:lnTo>
                    <a:pt x="2144363" y="2754535"/>
                  </a:lnTo>
                  <a:lnTo>
                    <a:pt x="2286476" y="2780538"/>
                  </a:lnTo>
                  <a:lnTo>
                    <a:pt x="2292858" y="2739485"/>
                  </a:lnTo>
                  <a:lnTo>
                    <a:pt x="2337340" y="2786729"/>
                  </a:lnTo>
                  <a:lnTo>
                    <a:pt x="2405253" y="2622518"/>
                  </a:lnTo>
                  <a:lnTo>
                    <a:pt x="2478405" y="2735390"/>
                  </a:lnTo>
                  <a:lnTo>
                    <a:pt x="2416683" y="2594324"/>
                  </a:lnTo>
                  <a:lnTo>
                    <a:pt x="2517743" y="2600516"/>
                  </a:lnTo>
                  <a:lnTo>
                    <a:pt x="2563273" y="2546033"/>
                  </a:lnTo>
                  <a:lnTo>
                    <a:pt x="2633948" y="2504980"/>
                  </a:lnTo>
                  <a:lnTo>
                    <a:pt x="2691194" y="2545271"/>
                  </a:lnTo>
                  <a:lnTo>
                    <a:pt x="2742724" y="2633186"/>
                  </a:lnTo>
                  <a:lnTo>
                    <a:pt x="2794635" y="2642045"/>
                  </a:lnTo>
                  <a:lnTo>
                    <a:pt x="2876931" y="2517077"/>
                  </a:lnTo>
                  <a:lnTo>
                    <a:pt x="2886551" y="2505170"/>
                  </a:lnTo>
                  <a:lnTo>
                    <a:pt x="2947226" y="2548033"/>
                  </a:lnTo>
                  <a:lnTo>
                    <a:pt x="2941034" y="2456593"/>
                  </a:lnTo>
                  <a:lnTo>
                    <a:pt x="3068670" y="2516600"/>
                  </a:lnTo>
                  <a:lnTo>
                    <a:pt x="3110674" y="2553272"/>
                  </a:lnTo>
                  <a:lnTo>
                    <a:pt x="3139916" y="2377821"/>
                  </a:lnTo>
                  <a:lnTo>
                    <a:pt x="3192304" y="2410873"/>
                  </a:lnTo>
                  <a:lnTo>
                    <a:pt x="3257264" y="2440496"/>
                  </a:lnTo>
                  <a:lnTo>
                    <a:pt x="3289173" y="2366772"/>
                  </a:lnTo>
                  <a:lnTo>
                    <a:pt x="3355181" y="2377535"/>
                  </a:lnTo>
                  <a:lnTo>
                    <a:pt x="3412141" y="2373249"/>
                  </a:lnTo>
                  <a:lnTo>
                    <a:pt x="3476244" y="2477643"/>
                  </a:lnTo>
                  <a:lnTo>
                    <a:pt x="3508153" y="2424208"/>
                  </a:lnTo>
                  <a:lnTo>
                    <a:pt x="3585115" y="2405539"/>
                  </a:lnTo>
                  <a:lnTo>
                    <a:pt x="3557207" y="2539937"/>
                  </a:lnTo>
                  <a:lnTo>
                    <a:pt x="3666839" y="2508980"/>
                  </a:lnTo>
                  <a:lnTo>
                    <a:pt x="3724466" y="2408777"/>
                  </a:lnTo>
                  <a:lnTo>
                    <a:pt x="3774948" y="2464308"/>
                  </a:lnTo>
                  <a:lnTo>
                    <a:pt x="3826859" y="2478215"/>
                  </a:lnTo>
                  <a:lnTo>
                    <a:pt x="3947351" y="2479358"/>
                  </a:lnTo>
                  <a:lnTo>
                    <a:pt x="3789998" y="2525745"/>
                  </a:lnTo>
                  <a:lnTo>
                    <a:pt x="3752945" y="2572417"/>
                  </a:lnTo>
                  <a:lnTo>
                    <a:pt x="3806190" y="2666048"/>
                  </a:lnTo>
                  <a:lnTo>
                    <a:pt x="3809714" y="2662714"/>
                  </a:lnTo>
                  <a:lnTo>
                    <a:pt x="3865340" y="2649379"/>
                  </a:lnTo>
                  <a:lnTo>
                    <a:pt x="3939826" y="2774537"/>
                  </a:lnTo>
                  <a:lnTo>
                    <a:pt x="3989165" y="2772632"/>
                  </a:lnTo>
                  <a:lnTo>
                    <a:pt x="4054126" y="2664333"/>
                  </a:lnTo>
                  <a:lnTo>
                    <a:pt x="4105942" y="2733866"/>
                  </a:lnTo>
                  <a:lnTo>
                    <a:pt x="4232720" y="2643949"/>
                  </a:lnTo>
                  <a:lnTo>
                    <a:pt x="4207002" y="2763203"/>
                  </a:lnTo>
                  <a:lnTo>
                    <a:pt x="4325112" y="2712339"/>
                  </a:lnTo>
                  <a:lnTo>
                    <a:pt x="4293394" y="2770441"/>
                  </a:lnTo>
                  <a:lnTo>
                    <a:pt x="4329780" y="2794540"/>
                  </a:lnTo>
                  <a:lnTo>
                    <a:pt x="4331018" y="2734532"/>
                  </a:lnTo>
                  <a:lnTo>
                    <a:pt x="4397121" y="2718149"/>
                  </a:lnTo>
                  <a:lnTo>
                    <a:pt x="4338923" y="2617946"/>
                  </a:lnTo>
                  <a:lnTo>
                    <a:pt x="4433507" y="2586419"/>
                  </a:lnTo>
                  <a:lnTo>
                    <a:pt x="4473321" y="2668143"/>
                  </a:lnTo>
                  <a:lnTo>
                    <a:pt x="4467987" y="2766155"/>
                  </a:lnTo>
                  <a:lnTo>
                    <a:pt x="4549521" y="2746058"/>
                  </a:lnTo>
                  <a:lnTo>
                    <a:pt x="4628293" y="2674144"/>
                  </a:lnTo>
                  <a:lnTo>
                    <a:pt x="4675347" y="2786824"/>
                  </a:lnTo>
                  <a:lnTo>
                    <a:pt x="4728020" y="2775299"/>
                  </a:lnTo>
                  <a:lnTo>
                    <a:pt x="4784598" y="2799683"/>
                  </a:lnTo>
                  <a:lnTo>
                    <a:pt x="4829937" y="2765298"/>
                  </a:lnTo>
                  <a:lnTo>
                    <a:pt x="4878229" y="2720626"/>
                  </a:lnTo>
                  <a:lnTo>
                    <a:pt x="4904804" y="2598611"/>
                  </a:lnTo>
                  <a:lnTo>
                    <a:pt x="5019771" y="2779966"/>
                  </a:lnTo>
                  <a:lnTo>
                    <a:pt x="5027962" y="2644140"/>
                  </a:lnTo>
                  <a:lnTo>
                    <a:pt x="5083874" y="2629757"/>
                  </a:lnTo>
                  <a:lnTo>
                    <a:pt x="5119497" y="2744915"/>
                  </a:lnTo>
                  <a:lnTo>
                    <a:pt x="5197317" y="2591276"/>
                  </a:lnTo>
                  <a:lnTo>
                    <a:pt x="5202841" y="2732437"/>
                  </a:lnTo>
                  <a:lnTo>
                    <a:pt x="5277231" y="2699576"/>
                  </a:lnTo>
                  <a:lnTo>
                    <a:pt x="5273802" y="2781110"/>
                  </a:lnTo>
                  <a:lnTo>
                    <a:pt x="5398389" y="2727865"/>
                  </a:lnTo>
                  <a:lnTo>
                    <a:pt x="5428203" y="2786348"/>
                  </a:lnTo>
                  <a:lnTo>
                    <a:pt x="5460969" y="2842546"/>
                  </a:lnTo>
                  <a:lnTo>
                    <a:pt x="5500688" y="2872740"/>
                  </a:lnTo>
                  <a:lnTo>
                    <a:pt x="5535740" y="2865691"/>
                  </a:lnTo>
                  <a:lnTo>
                    <a:pt x="5566982" y="2777204"/>
                  </a:lnTo>
                  <a:lnTo>
                    <a:pt x="5644134" y="2910459"/>
                  </a:lnTo>
                  <a:lnTo>
                    <a:pt x="5638610" y="2917889"/>
                  </a:lnTo>
                  <a:lnTo>
                    <a:pt x="5649659" y="2919984"/>
                  </a:lnTo>
                  <a:lnTo>
                    <a:pt x="5657088" y="2932748"/>
                  </a:lnTo>
                  <a:lnTo>
                    <a:pt x="5662517" y="2922461"/>
                  </a:lnTo>
                  <a:lnTo>
                    <a:pt x="5778723" y="2944845"/>
                  </a:lnTo>
                  <a:lnTo>
                    <a:pt x="5660612" y="3022854"/>
                  </a:lnTo>
                  <a:lnTo>
                    <a:pt x="5781675" y="3000851"/>
                  </a:lnTo>
                  <a:lnTo>
                    <a:pt x="5779389" y="2953131"/>
                  </a:lnTo>
                  <a:lnTo>
                    <a:pt x="5835586" y="3020473"/>
                  </a:lnTo>
                  <a:lnTo>
                    <a:pt x="5890260" y="3056001"/>
                  </a:lnTo>
                  <a:lnTo>
                    <a:pt x="5937980" y="2973896"/>
                  </a:lnTo>
                  <a:lnTo>
                    <a:pt x="5989796" y="2964466"/>
                  </a:lnTo>
                  <a:lnTo>
                    <a:pt x="6043422" y="2964085"/>
                  </a:lnTo>
                  <a:lnTo>
                    <a:pt x="6100667" y="3137249"/>
                  </a:lnTo>
                  <a:lnTo>
                    <a:pt x="6154865" y="3053239"/>
                  </a:lnTo>
                  <a:lnTo>
                    <a:pt x="6206585" y="3067812"/>
                  </a:lnTo>
                  <a:lnTo>
                    <a:pt x="6266021" y="3155156"/>
                  </a:lnTo>
                  <a:lnTo>
                    <a:pt x="6308122" y="3008757"/>
                  </a:lnTo>
                  <a:lnTo>
                    <a:pt x="6352604" y="2945225"/>
                  </a:lnTo>
                  <a:lnTo>
                    <a:pt x="6431852" y="2983802"/>
                  </a:lnTo>
                  <a:lnTo>
                    <a:pt x="6442805" y="3129153"/>
                  </a:lnTo>
                  <a:lnTo>
                    <a:pt x="6550343" y="3018949"/>
                  </a:lnTo>
                  <a:lnTo>
                    <a:pt x="6579394" y="3141059"/>
                  </a:lnTo>
                  <a:lnTo>
                    <a:pt x="6610446" y="3038094"/>
                  </a:lnTo>
                  <a:lnTo>
                    <a:pt x="6685217" y="3083338"/>
                  </a:lnTo>
                  <a:lnTo>
                    <a:pt x="6709124" y="3018187"/>
                  </a:lnTo>
                  <a:lnTo>
                    <a:pt x="6730365" y="3103912"/>
                  </a:lnTo>
                  <a:lnTo>
                    <a:pt x="6825139" y="3023140"/>
                  </a:lnTo>
                  <a:lnTo>
                    <a:pt x="6762941" y="3139821"/>
                  </a:lnTo>
                  <a:lnTo>
                    <a:pt x="6843522" y="3145822"/>
                  </a:lnTo>
                  <a:lnTo>
                    <a:pt x="6879812" y="3212592"/>
                  </a:lnTo>
                  <a:lnTo>
                    <a:pt x="6966680" y="3236405"/>
                  </a:lnTo>
                  <a:lnTo>
                    <a:pt x="6997732" y="3128963"/>
                  </a:lnTo>
                  <a:lnTo>
                    <a:pt x="7064693" y="3150013"/>
                  </a:lnTo>
                  <a:lnTo>
                    <a:pt x="7140035" y="3183350"/>
                  </a:lnTo>
                  <a:lnTo>
                    <a:pt x="7155847" y="3057144"/>
                  </a:lnTo>
                  <a:lnTo>
                    <a:pt x="7217569" y="3106007"/>
                  </a:lnTo>
                  <a:lnTo>
                    <a:pt x="7228523" y="3169539"/>
                  </a:lnTo>
                  <a:lnTo>
                    <a:pt x="7318724" y="3154395"/>
                  </a:lnTo>
                  <a:lnTo>
                    <a:pt x="7378636" y="3157252"/>
                  </a:lnTo>
                  <a:lnTo>
                    <a:pt x="7376541" y="3102007"/>
                  </a:lnTo>
                  <a:lnTo>
                    <a:pt x="7427881" y="3095435"/>
                  </a:lnTo>
                  <a:lnTo>
                    <a:pt x="7499414" y="3116771"/>
                  </a:lnTo>
                  <a:lnTo>
                    <a:pt x="7593616" y="3121247"/>
                  </a:lnTo>
                  <a:lnTo>
                    <a:pt x="7505319" y="2943701"/>
                  </a:lnTo>
                  <a:lnTo>
                    <a:pt x="7592283" y="2956465"/>
                  </a:lnTo>
                  <a:lnTo>
                    <a:pt x="7650576" y="2972467"/>
                  </a:lnTo>
                  <a:lnTo>
                    <a:pt x="7683627" y="2913126"/>
                  </a:lnTo>
                  <a:lnTo>
                    <a:pt x="7722394" y="2943511"/>
                  </a:lnTo>
                  <a:lnTo>
                    <a:pt x="7827169" y="2891409"/>
                  </a:lnTo>
                  <a:lnTo>
                    <a:pt x="7635907" y="2838545"/>
                  </a:lnTo>
                  <a:lnTo>
                    <a:pt x="7828121" y="2805779"/>
                  </a:lnTo>
                  <a:lnTo>
                    <a:pt x="7762494" y="2701671"/>
                  </a:lnTo>
                  <a:lnTo>
                    <a:pt x="7867936" y="2752725"/>
                  </a:lnTo>
                  <a:lnTo>
                    <a:pt x="7875556" y="2668810"/>
                  </a:lnTo>
                  <a:lnTo>
                    <a:pt x="7986999" y="2623185"/>
                  </a:lnTo>
                  <a:lnTo>
                    <a:pt x="7884605" y="2554129"/>
                  </a:lnTo>
                  <a:lnTo>
                    <a:pt x="7876699" y="2488787"/>
                  </a:lnTo>
                  <a:lnTo>
                    <a:pt x="7953280" y="2466975"/>
                  </a:lnTo>
                  <a:lnTo>
                    <a:pt x="7977569" y="2409825"/>
                  </a:lnTo>
                  <a:lnTo>
                    <a:pt x="8022622" y="2384393"/>
                  </a:lnTo>
                  <a:lnTo>
                    <a:pt x="8080344" y="2448020"/>
                  </a:lnTo>
                  <a:lnTo>
                    <a:pt x="8132636" y="2333816"/>
                  </a:lnTo>
                  <a:lnTo>
                    <a:pt x="8196167" y="2343055"/>
                  </a:lnTo>
                  <a:lnTo>
                    <a:pt x="8258556" y="2300288"/>
                  </a:lnTo>
                  <a:lnTo>
                    <a:pt x="8308181" y="2355723"/>
                  </a:lnTo>
                  <a:lnTo>
                    <a:pt x="8366760" y="2337626"/>
                  </a:lnTo>
                  <a:lnTo>
                    <a:pt x="8412670" y="2463165"/>
                  </a:lnTo>
                  <a:lnTo>
                    <a:pt x="8475059" y="2357533"/>
                  </a:lnTo>
                  <a:lnTo>
                    <a:pt x="8535638" y="2278952"/>
                  </a:lnTo>
                  <a:lnTo>
                    <a:pt x="8584216" y="2373249"/>
                  </a:lnTo>
                  <a:lnTo>
                    <a:pt x="8644985" y="2288096"/>
                  </a:lnTo>
                  <a:lnTo>
                    <a:pt x="8691372" y="2334863"/>
                  </a:lnTo>
                  <a:lnTo>
                    <a:pt x="8765000" y="2487359"/>
                  </a:lnTo>
                  <a:lnTo>
                    <a:pt x="8790623" y="2265712"/>
                  </a:lnTo>
                  <a:lnTo>
                    <a:pt x="8843010" y="2436876"/>
                  </a:lnTo>
                  <a:lnTo>
                    <a:pt x="8906446" y="2404396"/>
                  </a:lnTo>
                  <a:lnTo>
                    <a:pt x="8903303" y="2516981"/>
                  </a:lnTo>
                  <a:lnTo>
                    <a:pt x="9019413" y="2434400"/>
                  </a:lnTo>
                  <a:lnTo>
                    <a:pt x="9086564" y="2541270"/>
                  </a:lnTo>
                  <a:lnTo>
                    <a:pt x="9122759" y="2414016"/>
                  </a:lnTo>
                  <a:lnTo>
                    <a:pt x="9184100" y="2409063"/>
                  </a:lnTo>
                  <a:lnTo>
                    <a:pt x="9242393" y="2520410"/>
                  </a:lnTo>
                  <a:lnTo>
                    <a:pt x="9300972" y="2389537"/>
                  </a:lnTo>
                  <a:lnTo>
                    <a:pt x="9385268" y="2362772"/>
                  </a:lnTo>
                  <a:lnTo>
                    <a:pt x="9360027" y="2527268"/>
                  </a:lnTo>
                  <a:lnTo>
                    <a:pt x="9484805" y="2473833"/>
                  </a:lnTo>
                  <a:lnTo>
                    <a:pt x="9536430" y="2477453"/>
                  </a:lnTo>
                  <a:lnTo>
                    <a:pt x="9564148" y="2533269"/>
                  </a:lnTo>
                  <a:lnTo>
                    <a:pt x="9616726" y="2570798"/>
                  </a:lnTo>
                  <a:lnTo>
                    <a:pt x="9686258" y="2645759"/>
                  </a:lnTo>
                  <a:lnTo>
                    <a:pt x="9744646" y="2589943"/>
                  </a:lnTo>
                  <a:lnTo>
                    <a:pt x="9790462" y="2561463"/>
                  </a:lnTo>
                  <a:lnTo>
                    <a:pt x="9787985" y="2486025"/>
                  </a:lnTo>
                  <a:lnTo>
                    <a:pt x="9823418" y="2454212"/>
                  </a:lnTo>
                  <a:lnTo>
                    <a:pt x="9873805" y="2365724"/>
                  </a:lnTo>
                  <a:lnTo>
                    <a:pt x="9928956" y="2379726"/>
                  </a:lnTo>
                  <a:lnTo>
                    <a:pt x="9994202" y="2399348"/>
                  </a:lnTo>
                  <a:lnTo>
                    <a:pt x="10029634" y="2462498"/>
                  </a:lnTo>
                  <a:lnTo>
                    <a:pt x="10074212" y="2483930"/>
                  </a:lnTo>
                  <a:lnTo>
                    <a:pt x="10165461" y="2416397"/>
                  </a:lnTo>
                  <a:lnTo>
                    <a:pt x="10164699" y="2471547"/>
                  </a:lnTo>
                  <a:lnTo>
                    <a:pt x="10189178" y="2433828"/>
                  </a:lnTo>
                  <a:lnTo>
                    <a:pt x="10224897" y="2398109"/>
                  </a:lnTo>
                  <a:lnTo>
                    <a:pt x="10310051" y="2404015"/>
                  </a:lnTo>
                  <a:lnTo>
                    <a:pt x="10311765" y="2411349"/>
                  </a:lnTo>
                  <a:lnTo>
                    <a:pt x="10438734" y="2362391"/>
                  </a:lnTo>
                  <a:lnTo>
                    <a:pt x="10370820" y="2528888"/>
                  </a:lnTo>
                  <a:lnTo>
                    <a:pt x="10491883" y="2405539"/>
                  </a:lnTo>
                  <a:lnTo>
                    <a:pt x="10486359" y="2384774"/>
                  </a:lnTo>
                  <a:lnTo>
                    <a:pt x="10622852" y="2485263"/>
                  </a:lnTo>
                  <a:lnTo>
                    <a:pt x="10613897" y="2343055"/>
                  </a:lnTo>
                  <a:lnTo>
                    <a:pt x="10724769" y="2486692"/>
                  </a:lnTo>
                  <a:lnTo>
                    <a:pt x="10763250" y="2421350"/>
                  </a:lnTo>
                  <a:lnTo>
                    <a:pt x="10827830" y="2432018"/>
                  </a:lnTo>
                  <a:lnTo>
                    <a:pt x="10874026" y="2385536"/>
                  </a:lnTo>
                  <a:lnTo>
                    <a:pt x="10932795" y="2380202"/>
                  </a:lnTo>
                  <a:lnTo>
                    <a:pt x="10960228" y="2225421"/>
                  </a:lnTo>
                  <a:lnTo>
                    <a:pt x="10986992" y="2382869"/>
                  </a:lnTo>
                  <a:lnTo>
                    <a:pt x="11046809" y="2397062"/>
                  </a:lnTo>
                  <a:lnTo>
                    <a:pt x="11124534" y="2365534"/>
                  </a:lnTo>
                  <a:lnTo>
                    <a:pt x="11182445" y="2383155"/>
                  </a:lnTo>
                  <a:lnTo>
                    <a:pt x="11250454" y="2375249"/>
                  </a:lnTo>
                  <a:lnTo>
                    <a:pt x="11303508" y="2327243"/>
                  </a:lnTo>
                  <a:lnTo>
                    <a:pt x="11356467" y="2424494"/>
                  </a:lnTo>
                  <a:lnTo>
                    <a:pt x="11372564" y="2435924"/>
                  </a:lnTo>
                  <a:lnTo>
                    <a:pt x="11372564" y="0"/>
                  </a:lnTo>
                  <a:lnTo>
                    <a:pt x="0" y="0"/>
                  </a:lnTo>
                  <a:close/>
                  <a:moveTo>
                    <a:pt x="7624191" y="2067973"/>
                  </a:moveTo>
                  <a:lnTo>
                    <a:pt x="7586187" y="1943672"/>
                  </a:lnTo>
                  <a:lnTo>
                    <a:pt x="7601522" y="1930813"/>
                  </a:lnTo>
                  <a:lnTo>
                    <a:pt x="7634669" y="1941100"/>
                  </a:lnTo>
                  <a:lnTo>
                    <a:pt x="7624191" y="2067973"/>
                  </a:lnTo>
                  <a:close/>
                </a:path>
              </a:pathLst>
            </a:custGeom>
            <a:solidFill>
              <a:srgbClr val="F5F5F0"/>
            </a:solidFill>
            <a:ln w="9525" cap="flat">
              <a:noFill/>
              <a:prstDash val="solid"/>
              <a:miter/>
            </a:ln>
            <a:effectLst>
              <a:outerShdw blurRad="50800" dist="38100" dir="2700000" algn="tl" rotWithShape="0">
                <a:prstClr val="black">
                  <a:alpha val="7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A5913220-DCA6-4BFE-A2C1-040E4E5F7A2A}"/>
                </a:ext>
              </a:extLst>
            </p:cNvPr>
            <p:cNvSpPr/>
            <p:nvPr/>
          </p:nvSpPr>
          <p:spPr bwMode="auto">
            <a:xfrm>
              <a:off x="853527" y="5709558"/>
              <a:ext cx="1871461" cy="2641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800" dirty="0">
                  <a:solidFill>
                    <a:schemeClr val="tx1"/>
                  </a:solidFill>
                  <a:latin typeface="+mj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Quelle: EUROSTAT – Beitrag in der faz</a:t>
              </a:r>
            </a:p>
          </p:txBody>
        </p:sp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A3C44B8D-B44A-4CBD-8C4B-B344B49AFD72}"/>
                </a:ext>
              </a:extLst>
            </p:cNvPr>
            <p:cNvSpPr/>
            <p:nvPr/>
          </p:nvSpPr>
          <p:spPr>
            <a:xfrm>
              <a:off x="853527" y="4867052"/>
              <a:ext cx="1950855" cy="215444"/>
            </a:xfrm>
            <a:prstGeom prst="rect">
              <a:avLst/>
            </a:prstGeom>
          </p:spPr>
          <p:txBody>
            <a:bodyPr wrap="none" lIns="0" rIns="0">
              <a:spAutoFit/>
            </a:bodyPr>
            <a:lstStyle/>
            <a:p>
              <a:r>
                <a:rPr lang="de-DE" sz="800" dirty="0">
                  <a:solidFill>
                    <a:schemeClr val="tx1"/>
                  </a:solidFill>
                  <a:latin typeface="+mj-lt"/>
                </a:rPr>
                <a:t>22.06.2020 EU stagniert beim Klimaschutz</a:t>
              </a:r>
            </a:p>
          </p:txBody>
        </p:sp>
        <p:sp>
          <p:nvSpPr>
            <p:cNvPr id="328" name="Rectangle 5">
              <a:extLst>
                <a:ext uri="{FF2B5EF4-FFF2-40B4-BE49-F238E27FC236}">
                  <a16:creationId xmlns:a16="http://schemas.microsoft.com/office/drawing/2014/main" id="{D491D9A5-04BB-489A-9B18-182BD12CC8A9}"/>
                </a:ext>
              </a:extLst>
            </p:cNvPr>
            <p:cNvSpPr/>
            <p:nvPr/>
          </p:nvSpPr>
          <p:spPr bwMode="auto">
            <a:xfrm>
              <a:off x="853527" y="5044656"/>
              <a:ext cx="4117245" cy="70274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54000" rIns="0" bIns="54000" numCol="1" spcCol="72000" rtlCol="0" anchor="ctr">
              <a:sp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200" b="1" dirty="0">
                  <a:solidFill>
                    <a:schemeClr val="tx1"/>
                  </a:solidFill>
                </a:rPr>
                <a:t>EU verpasst ihr Ziel, bis 2030 40 Prozent weniger Treibhausgasen auszustoßen. Wissenschaftler fordern einen allgemeinen CO2-Preis in Europa</a:t>
              </a:r>
              <a:endParaRPr lang="de-DE" sz="1200" b="1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6C2CB0B9-B1B2-4F9A-A774-B56FD7176D31}"/>
              </a:ext>
            </a:extLst>
          </p:cNvPr>
          <p:cNvGrpSpPr/>
          <p:nvPr/>
        </p:nvGrpSpPr>
        <p:grpSpPr>
          <a:xfrm>
            <a:off x="615676" y="2916967"/>
            <a:ext cx="2835755" cy="1623355"/>
            <a:chOff x="615676" y="2916967"/>
            <a:chExt cx="2835755" cy="1623355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C3B74B06-5021-4FC2-B4AD-2A2451CF6739}"/>
                </a:ext>
              </a:extLst>
            </p:cNvPr>
            <p:cNvGrpSpPr/>
            <p:nvPr/>
          </p:nvGrpSpPr>
          <p:grpSpPr>
            <a:xfrm>
              <a:off x="615676" y="2916967"/>
              <a:ext cx="2835755" cy="1623355"/>
              <a:chOff x="5847561" y="4057588"/>
              <a:chExt cx="3688184" cy="1791675"/>
            </a:xfrm>
            <a:effectLst>
              <a:outerShdw blurRad="88900" dist="50800" dir="5400000" algn="ctr" rotWithShape="0">
                <a:schemeClr val="bg2">
                  <a:lumMod val="75000"/>
                  <a:alpha val="70000"/>
                </a:schemeClr>
              </a:outerShdw>
            </a:effectLst>
          </p:grpSpPr>
          <p:sp>
            <p:nvSpPr>
              <p:cNvPr id="83" name="Freeform 79">
                <a:extLst>
                  <a:ext uri="{FF2B5EF4-FFF2-40B4-BE49-F238E27FC236}">
                    <a16:creationId xmlns:a16="http://schemas.microsoft.com/office/drawing/2014/main" id="{6E878D83-0BFA-429A-B79F-6DFB1CC2749F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5847561" y="4057588"/>
                <a:ext cx="3688184" cy="1791675"/>
              </a:xfrm>
              <a:custGeom>
                <a:avLst/>
                <a:gdLst>
                  <a:gd name="T0" fmla="*/ 283 w 7680"/>
                  <a:gd name="T1" fmla="*/ 2552 h 3188"/>
                  <a:gd name="T2" fmla="*/ 397 w 7680"/>
                  <a:gd name="T3" fmla="*/ 2764 h 3188"/>
                  <a:gd name="T4" fmla="*/ 539 w 7680"/>
                  <a:gd name="T5" fmla="*/ 2797 h 3188"/>
                  <a:gd name="T6" fmla="*/ 722 w 7680"/>
                  <a:gd name="T7" fmla="*/ 2771 h 3188"/>
                  <a:gd name="T8" fmla="*/ 950 w 7680"/>
                  <a:gd name="T9" fmla="*/ 2803 h 3188"/>
                  <a:gd name="T10" fmla="*/ 1187 w 7680"/>
                  <a:gd name="T11" fmla="*/ 2713 h 3188"/>
                  <a:gd name="T12" fmla="*/ 1344 w 7680"/>
                  <a:gd name="T13" fmla="*/ 2797 h 3188"/>
                  <a:gd name="T14" fmla="*/ 1455 w 7680"/>
                  <a:gd name="T15" fmla="*/ 2724 h 3188"/>
                  <a:gd name="T16" fmla="*/ 1685 w 7680"/>
                  <a:gd name="T17" fmla="*/ 2867 h 3188"/>
                  <a:gd name="T18" fmla="*/ 1885 w 7680"/>
                  <a:gd name="T19" fmla="*/ 2948 h 3188"/>
                  <a:gd name="T20" fmla="*/ 2078 w 7680"/>
                  <a:gd name="T21" fmla="*/ 2940 h 3188"/>
                  <a:gd name="T22" fmla="*/ 2337 w 7680"/>
                  <a:gd name="T23" fmla="*/ 3067 h 3188"/>
                  <a:gd name="T24" fmla="*/ 2575 w 7680"/>
                  <a:gd name="T25" fmla="*/ 3148 h 3188"/>
                  <a:gd name="T26" fmla="*/ 2764 w 7680"/>
                  <a:gd name="T27" fmla="*/ 3062 h 3188"/>
                  <a:gd name="T28" fmla="*/ 3001 w 7680"/>
                  <a:gd name="T29" fmla="*/ 2900 h 3188"/>
                  <a:gd name="T30" fmla="*/ 3306 w 7680"/>
                  <a:gd name="T31" fmla="*/ 2892 h 3188"/>
                  <a:gd name="T32" fmla="*/ 3459 w 7680"/>
                  <a:gd name="T33" fmla="*/ 2946 h 3188"/>
                  <a:gd name="T34" fmla="*/ 3734 w 7680"/>
                  <a:gd name="T35" fmla="*/ 2980 h 3188"/>
                  <a:gd name="T36" fmla="*/ 3959 w 7680"/>
                  <a:gd name="T37" fmla="*/ 3062 h 3188"/>
                  <a:gd name="T38" fmla="*/ 4229 w 7680"/>
                  <a:gd name="T39" fmla="*/ 3096 h 3188"/>
                  <a:gd name="T40" fmla="*/ 4438 w 7680"/>
                  <a:gd name="T41" fmla="*/ 2972 h 3188"/>
                  <a:gd name="T42" fmla="*/ 4676 w 7680"/>
                  <a:gd name="T43" fmla="*/ 2850 h 3188"/>
                  <a:gd name="T44" fmla="*/ 4982 w 7680"/>
                  <a:gd name="T45" fmla="*/ 2924 h 3188"/>
                  <a:gd name="T46" fmla="*/ 5162 w 7680"/>
                  <a:gd name="T47" fmla="*/ 2906 h 3188"/>
                  <a:gd name="T48" fmla="*/ 5471 w 7680"/>
                  <a:gd name="T49" fmla="*/ 2850 h 3188"/>
                  <a:gd name="T50" fmla="*/ 5773 w 7680"/>
                  <a:gd name="T51" fmla="*/ 2856 h 3188"/>
                  <a:gd name="T52" fmla="*/ 6046 w 7680"/>
                  <a:gd name="T53" fmla="*/ 2925 h 3188"/>
                  <a:gd name="T54" fmla="*/ 6291 w 7680"/>
                  <a:gd name="T55" fmla="*/ 3004 h 3188"/>
                  <a:gd name="T56" fmla="*/ 6583 w 7680"/>
                  <a:gd name="T57" fmla="*/ 3035 h 3188"/>
                  <a:gd name="T58" fmla="*/ 6794 w 7680"/>
                  <a:gd name="T59" fmla="*/ 2938 h 3188"/>
                  <a:gd name="T60" fmla="*/ 7040 w 7680"/>
                  <a:gd name="T61" fmla="*/ 2971 h 3188"/>
                  <a:gd name="T62" fmla="*/ 7315 w 7680"/>
                  <a:gd name="T63" fmla="*/ 2983 h 3188"/>
                  <a:gd name="T64" fmla="*/ 7587 w 7680"/>
                  <a:gd name="T65" fmla="*/ 2925 h 3188"/>
                  <a:gd name="T66" fmla="*/ 7526 w 7680"/>
                  <a:gd name="T67" fmla="*/ 417 h 3188"/>
                  <a:gd name="T68" fmla="*/ 7246 w 7680"/>
                  <a:gd name="T69" fmla="*/ 472 h 3188"/>
                  <a:gd name="T70" fmla="*/ 6958 w 7680"/>
                  <a:gd name="T71" fmla="*/ 467 h 3188"/>
                  <a:gd name="T72" fmla="*/ 6741 w 7680"/>
                  <a:gd name="T73" fmla="*/ 502 h 3188"/>
                  <a:gd name="T74" fmla="*/ 6535 w 7680"/>
                  <a:gd name="T75" fmla="*/ 535 h 3188"/>
                  <a:gd name="T76" fmla="*/ 6271 w 7680"/>
                  <a:gd name="T77" fmla="*/ 486 h 3188"/>
                  <a:gd name="T78" fmla="*/ 5963 w 7680"/>
                  <a:gd name="T79" fmla="*/ 504 h 3188"/>
                  <a:gd name="T80" fmla="*/ 5713 w 7680"/>
                  <a:gd name="T81" fmla="*/ 486 h 3188"/>
                  <a:gd name="T82" fmla="*/ 5427 w 7680"/>
                  <a:gd name="T83" fmla="*/ 504 h 3188"/>
                  <a:gd name="T84" fmla="*/ 5147 w 7680"/>
                  <a:gd name="T85" fmla="*/ 459 h 3188"/>
                  <a:gd name="T86" fmla="*/ 4845 w 7680"/>
                  <a:gd name="T87" fmla="*/ 469 h 3188"/>
                  <a:gd name="T88" fmla="*/ 4613 w 7680"/>
                  <a:gd name="T89" fmla="*/ 425 h 3188"/>
                  <a:gd name="T90" fmla="*/ 4358 w 7680"/>
                  <a:gd name="T91" fmla="*/ 440 h 3188"/>
                  <a:gd name="T92" fmla="*/ 4115 w 7680"/>
                  <a:gd name="T93" fmla="*/ 420 h 3188"/>
                  <a:gd name="T94" fmla="*/ 3832 w 7680"/>
                  <a:gd name="T95" fmla="*/ 467 h 3188"/>
                  <a:gd name="T96" fmla="*/ 3554 w 7680"/>
                  <a:gd name="T97" fmla="*/ 469 h 3188"/>
                  <a:gd name="T98" fmla="*/ 3300 w 7680"/>
                  <a:gd name="T99" fmla="*/ 462 h 3188"/>
                  <a:gd name="T100" fmla="*/ 3022 w 7680"/>
                  <a:gd name="T101" fmla="*/ 428 h 3188"/>
                  <a:gd name="T102" fmla="*/ 2747 w 7680"/>
                  <a:gd name="T103" fmla="*/ 417 h 3188"/>
                  <a:gd name="T104" fmla="*/ 2465 w 7680"/>
                  <a:gd name="T105" fmla="*/ 396 h 3188"/>
                  <a:gd name="T106" fmla="*/ 2184 w 7680"/>
                  <a:gd name="T107" fmla="*/ 377 h 3188"/>
                  <a:gd name="T108" fmla="*/ 1923 w 7680"/>
                  <a:gd name="T109" fmla="*/ 301 h 3188"/>
                  <a:gd name="T110" fmla="*/ 1648 w 7680"/>
                  <a:gd name="T111" fmla="*/ 285 h 3188"/>
                  <a:gd name="T112" fmla="*/ 1439 w 7680"/>
                  <a:gd name="T113" fmla="*/ 206 h 3188"/>
                  <a:gd name="T114" fmla="*/ 1235 w 7680"/>
                  <a:gd name="T115" fmla="*/ 195 h 3188"/>
                  <a:gd name="T116" fmla="*/ 975 w 7680"/>
                  <a:gd name="T117" fmla="*/ 106 h 3188"/>
                  <a:gd name="T118" fmla="*/ 727 w 7680"/>
                  <a:gd name="T119" fmla="*/ 90 h 3188"/>
                  <a:gd name="T120" fmla="*/ 434 w 7680"/>
                  <a:gd name="T121" fmla="*/ 75 h 3188"/>
                  <a:gd name="T122" fmla="*/ 151 w 7680"/>
                  <a:gd name="T123" fmla="*/ 50 h 3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680" h="3188">
                    <a:moveTo>
                      <a:pt x="10" y="2518"/>
                    </a:moveTo>
                    <a:lnTo>
                      <a:pt x="40" y="2505"/>
                    </a:lnTo>
                    <a:lnTo>
                      <a:pt x="19" y="2565"/>
                    </a:lnTo>
                    <a:lnTo>
                      <a:pt x="55" y="2524"/>
                    </a:lnTo>
                    <a:lnTo>
                      <a:pt x="68" y="2552"/>
                    </a:lnTo>
                    <a:lnTo>
                      <a:pt x="80" y="2532"/>
                    </a:lnTo>
                    <a:lnTo>
                      <a:pt x="98" y="2529"/>
                    </a:lnTo>
                    <a:lnTo>
                      <a:pt x="114" y="2540"/>
                    </a:lnTo>
                    <a:lnTo>
                      <a:pt x="129" y="2553"/>
                    </a:lnTo>
                    <a:lnTo>
                      <a:pt x="145" y="2524"/>
                    </a:lnTo>
                    <a:lnTo>
                      <a:pt x="166" y="2560"/>
                    </a:lnTo>
                    <a:lnTo>
                      <a:pt x="172" y="2505"/>
                    </a:lnTo>
                    <a:lnTo>
                      <a:pt x="190" y="2510"/>
                    </a:lnTo>
                    <a:lnTo>
                      <a:pt x="212" y="2548"/>
                    </a:lnTo>
                    <a:lnTo>
                      <a:pt x="228" y="2558"/>
                    </a:lnTo>
                    <a:lnTo>
                      <a:pt x="240" y="2528"/>
                    </a:lnTo>
                    <a:lnTo>
                      <a:pt x="262" y="2528"/>
                    </a:lnTo>
                    <a:lnTo>
                      <a:pt x="235" y="2569"/>
                    </a:lnTo>
                    <a:lnTo>
                      <a:pt x="283" y="2552"/>
                    </a:lnTo>
                    <a:lnTo>
                      <a:pt x="285" y="2560"/>
                    </a:lnTo>
                    <a:lnTo>
                      <a:pt x="296" y="2568"/>
                    </a:lnTo>
                    <a:lnTo>
                      <a:pt x="294" y="2595"/>
                    </a:lnTo>
                    <a:lnTo>
                      <a:pt x="314" y="2582"/>
                    </a:lnTo>
                    <a:lnTo>
                      <a:pt x="327" y="2579"/>
                    </a:lnTo>
                    <a:lnTo>
                      <a:pt x="330" y="2595"/>
                    </a:lnTo>
                    <a:lnTo>
                      <a:pt x="344" y="2611"/>
                    </a:lnTo>
                    <a:lnTo>
                      <a:pt x="359" y="2624"/>
                    </a:lnTo>
                    <a:lnTo>
                      <a:pt x="315" y="2644"/>
                    </a:lnTo>
                    <a:lnTo>
                      <a:pt x="304" y="2660"/>
                    </a:lnTo>
                    <a:lnTo>
                      <a:pt x="306" y="2676"/>
                    </a:lnTo>
                    <a:lnTo>
                      <a:pt x="354" y="2689"/>
                    </a:lnTo>
                    <a:lnTo>
                      <a:pt x="330" y="2706"/>
                    </a:lnTo>
                    <a:lnTo>
                      <a:pt x="338" y="2722"/>
                    </a:lnTo>
                    <a:lnTo>
                      <a:pt x="336" y="2739"/>
                    </a:lnTo>
                    <a:lnTo>
                      <a:pt x="352" y="2748"/>
                    </a:lnTo>
                    <a:lnTo>
                      <a:pt x="357" y="2760"/>
                    </a:lnTo>
                    <a:lnTo>
                      <a:pt x="380" y="2760"/>
                    </a:lnTo>
                    <a:lnTo>
                      <a:pt x="397" y="2764"/>
                    </a:lnTo>
                    <a:lnTo>
                      <a:pt x="392" y="2801"/>
                    </a:lnTo>
                    <a:lnTo>
                      <a:pt x="426" y="2793"/>
                    </a:lnTo>
                    <a:lnTo>
                      <a:pt x="396" y="2834"/>
                    </a:lnTo>
                    <a:lnTo>
                      <a:pt x="404" y="2848"/>
                    </a:lnTo>
                    <a:lnTo>
                      <a:pt x="425" y="2872"/>
                    </a:lnTo>
                    <a:lnTo>
                      <a:pt x="437" y="2840"/>
                    </a:lnTo>
                    <a:lnTo>
                      <a:pt x="462" y="2847"/>
                    </a:lnTo>
                    <a:lnTo>
                      <a:pt x="474" y="2838"/>
                    </a:lnTo>
                    <a:lnTo>
                      <a:pt x="476" y="2805"/>
                    </a:lnTo>
                    <a:lnTo>
                      <a:pt x="478" y="2835"/>
                    </a:lnTo>
                    <a:lnTo>
                      <a:pt x="500" y="2835"/>
                    </a:lnTo>
                    <a:lnTo>
                      <a:pt x="481" y="2871"/>
                    </a:lnTo>
                    <a:lnTo>
                      <a:pt x="518" y="2859"/>
                    </a:lnTo>
                    <a:lnTo>
                      <a:pt x="521" y="2869"/>
                    </a:lnTo>
                    <a:lnTo>
                      <a:pt x="553" y="2856"/>
                    </a:lnTo>
                    <a:lnTo>
                      <a:pt x="516" y="2842"/>
                    </a:lnTo>
                    <a:lnTo>
                      <a:pt x="550" y="2822"/>
                    </a:lnTo>
                    <a:lnTo>
                      <a:pt x="495" y="2805"/>
                    </a:lnTo>
                    <a:lnTo>
                      <a:pt x="539" y="2797"/>
                    </a:lnTo>
                    <a:lnTo>
                      <a:pt x="540" y="2780"/>
                    </a:lnTo>
                    <a:lnTo>
                      <a:pt x="534" y="2761"/>
                    </a:lnTo>
                    <a:lnTo>
                      <a:pt x="555" y="2763"/>
                    </a:lnTo>
                    <a:lnTo>
                      <a:pt x="545" y="2808"/>
                    </a:lnTo>
                    <a:lnTo>
                      <a:pt x="581" y="2785"/>
                    </a:lnTo>
                    <a:lnTo>
                      <a:pt x="590" y="2780"/>
                    </a:lnTo>
                    <a:lnTo>
                      <a:pt x="610" y="2809"/>
                    </a:lnTo>
                    <a:lnTo>
                      <a:pt x="630" y="2805"/>
                    </a:lnTo>
                    <a:lnTo>
                      <a:pt x="629" y="2771"/>
                    </a:lnTo>
                    <a:lnTo>
                      <a:pt x="663" y="2780"/>
                    </a:lnTo>
                    <a:lnTo>
                      <a:pt x="638" y="2727"/>
                    </a:lnTo>
                    <a:lnTo>
                      <a:pt x="656" y="2722"/>
                    </a:lnTo>
                    <a:lnTo>
                      <a:pt x="663" y="2703"/>
                    </a:lnTo>
                    <a:lnTo>
                      <a:pt x="692" y="2739"/>
                    </a:lnTo>
                    <a:lnTo>
                      <a:pt x="729" y="2721"/>
                    </a:lnTo>
                    <a:lnTo>
                      <a:pt x="675" y="2748"/>
                    </a:lnTo>
                    <a:lnTo>
                      <a:pt x="725" y="2751"/>
                    </a:lnTo>
                    <a:lnTo>
                      <a:pt x="735" y="2766"/>
                    </a:lnTo>
                    <a:lnTo>
                      <a:pt x="722" y="2771"/>
                    </a:lnTo>
                    <a:lnTo>
                      <a:pt x="746" y="2800"/>
                    </a:lnTo>
                    <a:lnTo>
                      <a:pt x="751" y="2764"/>
                    </a:lnTo>
                    <a:lnTo>
                      <a:pt x="777" y="2798"/>
                    </a:lnTo>
                    <a:lnTo>
                      <a:pt x="793" y="2793"/>
                    </a:lnTo>
                    <a:lnTo>
                      <a:pt x="804" y="2763"/>
                    </a:lnTo>
                    <a:lnTo>
                      <a:pt x="825" y="2758"/>
                    </a:lnTo>
                    <a:lnTo>
                      <a:pt x="825" y="2792"/>
                    </a:lnTo>
                    <a:lnTo>
                      <a:pt x="859" y="2774"/>
                    </a:lnTo>
                    <a:lnTo>
                      <a:pt x="872" y="2782"/>
                    </a:lnTo>
                    <a:lnTo>
                      <a:pt x="880" y="2800"/>
                    </a:lnTo>
                    <a:lnTo>
                      <a:pt x="888" y="2814"/>
                    </a:lnTo>
                    <a:lnTo>
                      <a:pt x="886" y="2832"/>
                    </a:lnTo>
                    <a:lnTo>
                      <a:pt x="865" y="2861"/>
                    </a:lnTo>
                    <a:lnTo>
                      <a:pt x="896" y="2853"/>
                    </a:lnTo>
                    <a:lnTo>
                      <a:pt x="899" y="2842"/>
                    </a:lnTo>
                    <a:lnTo>
                      <a:pt x="894" y="2816"/>
                    </a:lnTo>
                    <a:lnTo>
                      <a:pt x="912" y="2801"/>
                    </a:lnTo>
                    <a:lnTo>
                      <a:pt x="931" y="2800"/>
                    </a:lnTo>
                    <a:lnTo>
                      <a:pt x="950" y="2803"/>
                    </a:lnTo>
                    <a:lnTo>
                      <a:pt x="965" y="2771"/>
                    </a:lnTo>
                    <a:lnTo>
                      <a:pt x="984" y="2785"/>
                    </a:lnTo>
                    <a:lnTo>
                      <a:pt x="1007" y="2805"/>
                    </a:lnTo>
                    <a:lnTo>
                      <a:pt x="1007" y="2766"/>
                    </a:lnTo>
                    <a:lnTo>
                      <a:pt x="1039" y="2795"/>
                    </a:lnTo>
                    <a:lnTo>
                      <a:pt x="1052" y="2790"/>
                    </a:lnTo>
                    <a:lnTo>
                      <a:pt x="1052" y="2739"/>
                    </a:lnTo>
                    <a:lnTo>
                      <a:pt x="1068" y="2742"/>
                    </a:lnTo>
                    <a:lnTo>
                      <a:pt x="1090" y="2745"/>
                    </a:lnTo>
                    <a:lnTo>
                      <a:pt x="1105" y="2766"/>
                    </a:lnTo>
                    <a:lnTo>
                      <a:pt x="1118" y="2797"/>
                    </a:lnTo>
                    <a:lnTo>
                      <a:pt x="1140" y="2787"/>
                    </a:lnTo>
                    <a:lnTo>
                      <a:pt x="1163" y="2771"/>
                    </a:lnTo>
                    <a:lnTo>
                      <a:pt x="1143" y="2745"/>
                    </a:lnTo>
                    <a:lnTo>
                      <a:pt x="1177" y="2740"/>
                    </a:lnTo>
                    <a:lnTo>
                      <a:pt x="1188" y="2735"/>
                    </a:lnTo>
                    <a:lnTo>
                      <a:pt x="1145" y="2708"/>
                    </a:lnTo>
                    <a:lnTo>
                      <a:pt x="1179" y="2703"/>
                    </a:lnTo>
                    <a:lnTo>
                      <a:pt x="1187" y="2713"/>
                    </a:lnTo>
                    <a:lnTo>
                      <a:pt x="1211" y="2724"/>
                    </a:lnTo>
                    <a:lnTo>
                      <a:pt x="1188" y="2735"/>
                    </a:lnTo>
                    <a:lnTo>
                      <a:pt x="1193" y="2739"/>
                    </a:lnTo>
                    <a:lnTo>
                      <a:pt x="1177" y="2740"/>
                    </a:lnTo>
                    <a:lnTo>
                      <a:pt x="1158" y="2750"/>
                    </a:lnTo>
                    <a:lnTo>
                      <a:pt x="1203" y="2758"/>
                    </a:lnTo>
                    <a:lnTo>
                      <a:pt x="1182" y="2784"/>
                    </a:lnTo>
                    <a:lnTo>
                      <a:pt x="1195" y="2811"/>
                    </a:lnTo>
                    <a:lnTo>
                      <a:pt x="1219" y="2798"/>
                    </a:lnTo>
                    <a:lnTo>
                      <a:pt x="1253" y="2772"/>
                    </a:lnTo>
                    <a:lnTo>
                      <a:pt x="1248" y="2809"/>
                    </a:lnTo>
                    <a:lnTo>
                      <a:pt x="1262" y="2816"/>
                    </a:lnTo>
                    <a:lnTo>
                      <a:pt x="1267" y="2834"/>
                    </a:lnTo>
                    <a:lnTo>
                      <a:pt x="1286" y="2832"/>
                    </a:lnTo>
                    <a:lnTo>
                      <a:pt x="1309" y="2834"/>
                    </a:lnTo>
                    <a:lnTo>
                      <a:pt x="1312" y="2818"/>
                    </a:lnTo>
                    <a:lnTo>
                      <a:pt x="1299" y="2787"/>
                    </a:lnTo>
                    <a:lnTo>
                      <a:pt x="1317" y="2780"/>
                    </a:lnTo>
                    <a:lnTo>
                      <a:pt x="1344" y="2797"/>
                    </a:lnTo>
                    <a:lnTo>
                      <a:pt x="1351" y="2776"/>
                    </a:lnTo>
                    <a:lnTo>
                      <a:pt x="1365" y="2785"/>
                    </a:lnTo>
                    <a:lnTo>
                      <a:pt x="1375" y="2784"/>
                    </a:lnTo>
                    <a:lnTo>
                      <a:pt x="1377" y="2760"/>
                    </a:lnTo>
                    <a:lnTo>
                      <a:pt x="1393" y="2760"/>
                    </a:lnTo>
                    <a:lnTo>
                      <a:pt x="1415" y="2776"/>
                    </a:lnTo>
                    <a:lnTo>
                      <a:pt x="1375" y="2784"/>
                    </a:lnTo>
                    <a:lnTo>
                      <a:pt x="1375" y="2792"/>
                    </a:lnTo>
                    <a:lnTo>
                      <a:pt x="1407" y="2806"/>
                    </a:lnTo>
                    <a:lnTo>
                      <a:pt x="1394" y="2806"/>
                    </a:lnTo>
                    <a:lnTo>
                      <a:pt x="1414" y="2832"/>
                    </a:lnTo>
                    <a:lnTo>
                      <a:pt x="1418" y="2813"/>
                    </a:lnTo>
                    <a:lnTo>
                      <a:pt x="1423" y="2790"/>
                    </a:lnTo>
                    <a:lnTo>
                      <a:pt x="1426" y="2771"/>
                    </a:lnTo>
                    <a:lnTo>
                      <a:pt x="1468" y="2795"/>
                    </a:lnTo>
                    <a:lnTo>
                      <a:pt x="1442" y="2748"/>
                    </a:lnTo>
                    <a:lnTo>
                      <a:pt x="1452" y="2747"/>
                    </a:lnTo>
                    <a:lnTo>
                      <a:pt x="1442" y="2735"/>
                    </a:lnTo>
                    <a:lnTo>
                      <a:pt x="1455" y="2724"/>
                    </a:lnTo>
                    <a:lnTo>
                      <a:pt x="1479" y="2713"/>
                    </a:lnTo>
                    <a:lnTo>
                      <a:pt x="1494" y="2724"/>
                    </a:lnTo>
                    <a:lnTo>
                      <a:pt x="1487" y="2748"/>
                    </a:lnTo>
                    <a:lnTo>
                      <a:pt x="1523" y="2734"/>
                    </a:lnTo>
                    <a:lnTo>
                      <a:pt x="1516" y="2782"/>
                    </a:lnTo>
                    <a:lnTo>
                      <a:pt x="1533" y="2779"/>
                    </a:lnTo>
                    <a:lnTo>
                      <a:pt x="1553" y="2734"/>
                    </a:lnTo>
                    <a:lnTo>
                      <a:pt x="1579" y="2748"/>
                    </a:lnTo>
                    <a:lnTo>
                      <a:pt x="1578" y="2776"/>
                    </a:lnTo>
                    <a:lnTo>
                      <a:pt x="1578" y="2792"/>
                    </a:lnTo>
                    <a:lnTo>
                      <a:pt x="1561" y="2813"/>
                    </a:lnTo>
                    <a:lnTo>
                      <a:pt x="1592" y="2814"/>
                    </a:lnTo>
                    <a:lnTo>
                      <a:pt x="1573" y="2851"/>
                    </a:lnTo>
                    <a:lnTo>
                      <a:pt x="1589" y="2859"/>
                    </a:lnTo>
                    <a:lnTo>
                      <a:pt x="1606" y="2872"/>
                    </a:lnTo>
                    <a:lnTo>
                      <a:pt x="1635" y="2856"/>
                    </a:lnTo>
                    <a:lnTo>
                      <a:pt x="1650" y="2866"/>
                    </a:lnTo>
                    <a:lnTo>
                      <a:pt x="1664" y="2877"/>
                    </a:lnTo>
                    <a:lnTo>
                      <a:pt x="1685" y="2867"/>
                    </a:lnTo>
                    <a:lnTo>
                      <a:pt x="1701" y="2877"/>
                    </a:lnTo>
                    <a:lnTo>
                      <a:pt x="1727" y="2877"/>
                    </a:lnTo>
                    <a:lnTo>
                      <a:pt x="1709" y="2908"/>
                    </a:lnTo>
                    <a:lnTo>
                      <a:pt x="1717" y="2922"/>
                    </a:lnTo>
                    <a:lnTo>
                      <a:pt x="1759" y="2924"/>
                    </a:lnTo>
                    <a:lnTo>
                      <a:pt x="1738" y="2945"/>
                    </a:lnTo>
                    <a:lnTo>
                      <a:pt x="1754" y="2929"/>
                    </a:lnTo>
                    <a:lnTo>
                      <a:pt x="1772" y="2934"/>
                    </a:lnTo>
                    <a:lnTo>
                      <a:pt x="1788" y="2956"/>
                    </a:lnTo>
                    <a:lnTo>
                      <a:pt x="1798" y="2969"/>
                    </a:lnTo>
                    <a:lnTo>
                      <a:pt x="1822" y="2954"/>
                    </a:lnTo>
                    <a:lnTo>
                      <a:pt x="1840" y="2963"/>
                    </a:lnTo>
                    <a:lnTo>
                      <a:pt x="1865" y="2975"/>
                    </a:lnTo>
                    <a:lnTo>
                      <a:pt x="1825" y="3001"/>
                    </a:lnTo>
                    <a:lnTo>
                      <a:pt x="1862" y="3003"/>
                    </a:lnTo>
                    <a:lnTo>
                      <a:pt x="1853" y="2990"/>
                    </a:lnTo>
                    <a:lnTo>
                      <a:pt x="1865" y="2983"/>
                    </a:lnTo>
                    <a:lnTo>
                      <a:pt x="1896" y="2990"/>
                    </a:lnTo>
                    <a:lnTo>
                      <a:pt x="1885" y="2948"/>
                    </a:lnTo>
                    <a:lnTo>
                      <a:pt x="1904" y="2964"/>
                    </a:lnTo>
                    <a:lnTo>
                      <a:pt x="1928" y="2953"/>
                    </a:lnTo>
                    <a:lnTo>
                      <a:pt x="1923" y="2977"/>
                    </a:lnTo>
                    <a:lnTo>
                      <a:pt x="1949" y="2996"/>
                    </a:lnTo>
                    <a:lnTo>
                      <a:pt x="1984" y="2983"/>
                    </a:lnTo>
                    <a:lnTo>
                      <a:pt x="1939" y="2959"/>
                    </a:lnTo>
                    <a:lnTo>
                      <a:pt x="1923" y="2948"/>
                    </a:lnTo>
                    <a:lnTo>
                      <a:pt x="1938" y="2925"/>
                    </a:lnTo>
                    <a:lnTo>
                      <a:pt x="1939" y="2895"/>
                    </a:lnTo>
                    <a:lnTo>
                      <a:pt x="1959" y="2890"/>
                    </a:lnTo>
                    <a:lnTo>
                      <a:pt x="1991" y="2903"/>
                    </a:lnTo>
                    <a:lnTo>
                      <a:pt x="2015" y="2900"/>
                    </a:lnTo>
                    <a:lnTo>
                      <a:pt x="2007" y="2859"/>
                    </a:lnTo>
                    <a:lnTo>
                      <a:pt x="2037" y="2874"/>
                    </a:lnTo>
                    <a:lnTo>
                      <a:pt x="2037" y="2874"/>
                    </a:lnTo>
                    <a:lnTo>
                      <a:pt x="2060" y="2885"/>
                    </a:lnTo>
                    <a:lnTo>
                      <a:pt x="2062" y="2898"/>
                    </a:lnTo>
                    <a:lnTo>
                      <a:pt x="2065" y="2925"/>
                    </a:lnTo>
                    <a:lnTo>
                      <a:pt x="2078" y="2940"/>
                    </a:lnTo>
                    <a:lnTo>
                      <a:pt x="2097" y="2922"/>
                    </a:lnTo>
                    <a:lnTo>
                      <a:pt x="2111" y="2903"/>
                    </a:lnTo>
                    <a:lnTo>
                      <a:pt x="2126" y="2942"/>
                    </a:lnTo>
                    <a:lnTo>
                      <a:pt x="2136" y="2937"/>
                    </a:lnTo>
                    <a:lnTo>
                      <a:pt x="2150" y="2937"/>
                    </a:lnTo>
                    <a:lnTo>
                      <a:pt x="2173" y="2913"/>
                    </a:lnTo>
                    <a:lnTo>
                      <a:pt x="2193" y="2911"/>
                    </a:lnTo>
                    <a:lnTo>
                      <a:pt x="2197" y="2938"/>
                    </a:lnTo>
                    <a:lnTo>
                      <a:pt x="2189" y="2971"/>
                    </a:lnTo>
                    <a:lnTo>
                      <a:pt x="2227" y="2951"/>
                    </a:lnTo>
                    <a:lnTo>
                      <a:pt x="2246" y="2951"/>
                    </a:lnTo>
                    <a:lnTo>
                      <a:pt x="2253" y="2969"/>
                    </a:lnTo>
                    <a:lnTo>
                      <a:pt x="2243" y="3006"/>
                    </a:lnTo>
                    <a:lnTo>
                      <a:pt x="2275" y="2995"/>
                    </a:lnTo>
                    <a:lnTo>
                      <a:pt x="2277" y="3017"/>
                    </a:lnTo>
                    <a:lnTo>
                      <a:pt x="2283" y="3041"/>
                    </a:lnTo>
                    <a:lnTo>
                      <a:pt x="2304" y="3043"/>
                    </a:lnTo>
                    <a:lnTo>
                      <a:pt x="2328" y="3029"/>
                    </a:lnTo>
                    <a:lnTo>
                      <a:pt x="2337" y="3067"/>
                    </a:lnTo>
                    <a:lnTo>
                      <a:pt x="2357" y="3053"/>
                    </a:lnTo>
                    <a:lnTo>
                      <a:pt x="2372" y="3067"/>
                    </a:lnTo>
                    <a:lnTo>
                      <a:pt x="2385" y="3045"/>
                    </a:lnTo>
                    <a:lnTo>
                      <a:pt x="2390" y="3061"/>
                    </a:lnTo>
                    <a:lnTo>
                      <a:pt x="2402" y="3054"/>
                    </a:lnTo>
                    <a:lnTo>
                      <a:pt x="2425" y="3054"/>
                    </a:lnTo>
                    <a:lnTo>
                      <a:pt x="2423" y="3075"/>
                    </a:lnTo>
                    <a:lnTo>
                      <a:pt x="2457" y="3074"/>
                    </a:lnTo>
                    <a:lnTo>
                      <a:pt x="2447" y="3093"/>
                    </a:lnTo>
                    <a:lnTo>
                      <a:pt x="2472" y="3093"/>
                    </a:lnTo>
                    <a:lnTo>
                      <a:pt x="2472" y="3093"/>
                    </a:lnTo>
                    <a:lnTo>
                      <a:pt x="2488" y="3088"/>
                    </a:lnTo>
                    <a:lnTo>
                      <a:pt x="2513" y="3117"/>
                    </a:lnTo>
                    <a:lnTo>
                      <a:pt x="2534" y="3088"/>
                    </a:lnTo>
                    <a:lnTo>
                      <a:pt x="2541" y="3116"/>
                    </a:lnTo>
                    <a:lnTo>
                      <a:pt x="2509" y="3146"/>
                    </a:lnTo>
                    <a:lnTo>
                      <a:pt x="2542" y="3154"/>
                    </a:lnTo>
                    <a:lnTo>
                      <a:pt x="2554" y="3130"/>
                    </a:lnTo>
                    <a:lnTo>
                      <a:pt x="2575" y="3148"/>
                    </a:lnTo>
                    <a:lnTo>
                      <a:pt x="2579" y="3169"/>
                    </a:lnTo>
                    <a:lnTo>
                      <a:pt x="2599" y="3156"/>
                    </a:lnTo>
                    <a:lnTo>
                      <a:pt x="2602" y="3178"/>
                    </a:lnTo>
                    <a:lnTo>
                      <a:pt x="2634" y="3151"/>
                    </a:lnTo>
                    <a:lnTo>
                      <a:pt x="2631" y="3156"/>
                    </a:lnTo>
                    <a:lnTo>
                      <a:pt x="2645" y="3153"/>
                    </a:lnTo>
                    <a:lnTo>
                      <a:pt x="2679" y="3188"/>
                    </a:lnTo>
                    <a:lnTo>
                      <a:pt x="2674" y="3145"/>
                    </a:lnTo>
                    <a:lnTo>
                      <a:pt x="2694" y="3141"/>
                    </a:lnTo>
                    <a:lnTo>
                      <a:pt x="2719" y="3153"/>
                    </a:lnTo>
                    <a:lnTo>
                      <a:pt x="2747" y="3140"/>
                    </a:lnTo>
                    <a:lnTo>
                      <a:pt x="2745" y="3111"/>
                    </a:lnTo>
                    <a:lnTo>
                      <a:pt x="2724" y="3098"/>
                    </a:lnTo>
                    <a:lnTo>
                      <a:pt x="2734" y="3080"/>
                    </a:lnTo>
                    <a:lnTo>
                      <a:pt x="2700" y="3070"/>
                    </a:lnTo>
                    <a:lnTo>
                      <a:pt x="2705" y="3041"/>
                    </a:lnTo>
                    <a:lnTo>
                      <a:pt x="2732" y="3045"/>
                    </a:lnTo>
                    <a:lnTo>
                      <a:pt x="2750" y="3075"/>
                    </a:lnTo>
                    <a:lnTo>
                      <a:pt x="2764" y="3062"/>
                    </a:lnTo>
                    <a:lnTo>
                      <a:pt x="2761" y="3027"/>
                    </a:lnTo>
                    <a:lnTo>
                      <a:pt x="2763" y="3024"/>
                    </a:lnTo>
                    <a:lnTo>
                      <a:pt x="2792" y="3016"/>
                    </a:lnTo>
                    <a:lnTo>
                      <a:pt x="2795" y="2998"/>
                    </a:lnTo>
                    <a:lnTo>
                      <a:pt x="2785" y="2972"/>
                    </a:lnTo>
                    <a:lnTo>
                      <a:pt x="2827" y="2980"/>
                    </a:lnTo>
                    <a:lnTo>
                      <a:pt x="2829" y="2967"/>
                    </a:lnTo>
                    <a:lnTo>
                      <a:pt x="2841" y="2982"/>
                    </a:lnTo>
                    <a:lnTo>
                      <a:pt x="2861" y="2934"/>
                    </a:lnTo>
                    <a:lnTo>
                      <a:pt x="2882" y="2966"/>
                    </a:lnTo>
                    <a:lnTo>
                      <a:pt x="2864" y="2925"/>
                    </a:lnTo>
                    <a:lnTo>
                      <a:pt x="2893" y="2927"/>
                    </a:lnTo>
                    <a:lnTo>
                      <a:pt x="2907" y="2911"/>
                    </a:lnTo>
                    <a:lnTo>
                      <a:pt x="2927" y="2900"/>
                    </a:lnTo>
                    <a:lnTo>
                      <a:pt x="2944" y="2911"/>
                    </a:lnTo>
                    <a:lnTo>
                      <a:pt x="2959" y="2937"/>
                    </a:lnTo>
                    <a:lnTo>
                      <a:pt x="2973" y="2940"/>
                    </a:lnTo>
                    <a:lnTo>
                      <a:pt x="2997" y="2903"/>
                    </a:lnTo>
                    <a:lnTo>
                      <a:pt x="3001" y="2900"/>
                    </a:lnTo>
                    <a:lnTo>
                      <a:pt x="3018" y="2913"/>
                    </a:lnTo>
                    <a:lnTo>
                      <a:pt x="3015" y="2885"/>
                    </a:lnTo>
                    <a:lnTo>
                      <a:pt x="3052" y="2903"/>
                    </a:lnTo>
                    <a:lnTo>
                      <a:pt x="3065" y="2914"/>
                    </a:lnTo>
                    <a:lnTo>
                      <a:pt x="3073" y="2863"/>
                    </a:lnTo>
                    <a:lnTo>
                      <a:pt x="3089" y="2872"/>
                    </a:lnTo>
                    <a:lnTo>
                      <a:pt x="3107" y="2880"/>
                    </a:lnTo>
                    <a:lnTo>
                      <a:pt x="3116" y="2859"/>
                    </a:lnTo>
                    <a:lnTo>
                      <a:pt x="3136" y="2863"/>
                    </a:lnTo>
                    <a:lnTo>
                      <a:pt x="3152" y="2861"/>
                    </a:lnTo>
                    <a:lnTo>
                      <a:pt x="3171" y="2892"/>
                    </a:lnTo>
                    <a:lnTo>
                      <a:pt x="3179" y="2877"/>
                    </a:lnTo>
                    <a:lnTo>
                      <a:pt x="3202" y="2871"/>
                    </a:lnTo>
                    <a:lnTo>
                      <a:pt x="3194" y="2909"/>
                    </a:lnTo>
                    <a:lnTo>
                      <a:pt x="3226" y="2901"/>
                    </a:lnTo>
                    <a:lnTo>
                      <a:pt x="3242" y="2872"/>
                    </a:lnTo>
                    <a:lnTo>
                      <a:pt x="3256" y="2888"/>
                    </a:lnTo>
                    <a:lnTo>
                      <a:pt x="3272" y="2892"/>
                    </a:lnTo>
                    <a:lnTo>
                      <a:pt x="3306" y="2892"/>
                    </a:lnTo>
                    <a:lnTo>
                      <a:pt x="3261" y="2906"/>
                    </a:lnTo>
                    <a:lnTo>
                      <a:pt x="3250" y="2919"/>
                    </a:lnTo>
                    <a:lnTo>
                      <a:pt x="3266" y="2946"/>
                    </a:lnTo>
                    <a:lnTo>
                      <a:pt x="3266" y="2945"/>
                    </a:lnTo>
                    <a:lnTo>
                      <a:pt x="3282" y="2942"/>
                    </a:lnTo>
                    <a:lnTo>
                      <a:pt x="3305" y="2977"/>
                    </a:lnTo>
                    <a:lnTo>
                      <a:pt x="3319" y="2977"/>
                    </a:lnTo>
                    <a:lnTo>
                      <a:pt x="3337" y="2946"/>
                    </a:lnTo>
                    <a:lnTo>
                      <a:pt x="3353" y="2966"/>
                    </a:lnTo>
                    <a:lnTo>
                      <a:pt x="3388" y="2940"/>
                    </a:lnTo>
                    <a:lnTo>
                      <a:pt x="3382" y="2974"/>
                    </a:lnTo>
                    <a:lnTo>
                      <a:pt x="3415" y="2959"/>
                    </a:lnTo>
                    <a:lnTo>
                      <a:pt x="3406" y="2977"/>
                    </a:lnTo>
                    <a:lnTo>
                      <a:pt x="3417" y="2983"/>
                    </a:lnTo>
                    <a:lnTo>
                      <a:pt x="3417" y="2966"/>
                    </a:lnTo>
                    <a:lnTo>
                      <a:pt x="3436" y="2961"/>
                    </a:lnTo>
                    <a:lnTo>
                      <a:pt x="3420" y="2932"/>
                    </a:lnTo>
                    <a:lnTo>
                      <a:pt x="3448" y="2924"/>
                    </a:lnTo>
                    <a:lnTo>
                      <a:pt x="3459" y="2946"/>
                    </a:lnTo>
                    <a:lnTo>
                      <a:pt x="3457" y="2975"/>
                    </a:lnTo>
                    <a:lnTo>
                      <a:pt x="3480" y="2969"/>
                    </a:lnTo>
                    <a:lnTo>
                      <a:pt x="3502" y="2948"/>
                    </a:lnTo>
                    <a:lnTo>
                      <a:pt x="3517" y="2982"/>
                    </a:lnTo>
                    <a:lnTo>
                      <a:pt x="3531" y="2979"/>
                    </a:lnTo>
                    <a:lnTo>
                      <a:pt x="3549" y="2985"/>
                    </a:lnTo>
                    <a:lnTo>
                      <a:pt x="3562" y="2975"/>
                    </a:lnTo>
                    <a:lnTo>
                      <a:pt x="3575" y="2963"/>
                    </a:lnTo>
                    <a:lnTo>
                      <a:pt x="3583" y="2927"/>
                    </a:lnTo>
                    <a:lnTo>
                      <a:pt x="3616" y="2979"/>
                    </a:lnTo>
                    <a:lnTo>
                      <a:pt x="3618" y="2940"/>
                    </a:lnTo>
                    <a:lnTo>
                      <a:pt x="3634" y="2935"/>
                    </a:lnTo>
                    <a:lnTo>
                      <a:pt x="3645" y="2969"/>
                    </a:lnTo>
                    <a:lnTo>
                      <a:pt x="3668" y="2924"/>
                    </a:lnTo>
                    <a:lnTo>
                      <a:pt x="3670" y="2966"/>
                    </a:lnTo>
                    <a:lnTo>
                      <a:pt x="3690" y="2956"/>
                    </a:lnTo>
                    <a:lnTo>
                      <a:pt x="3689" y="2980"/>
                    </a:lnTo>
                    <a:lnTo>
                      <a:pt x="3726" y="2964"/>
                    </a:lnTo>
                    <a:lnTo>
                      <a:pt x="3734" y="2980"/>
                    </a:lnTo>
                    <a:lnTo>
                      <a:pt x="3744" y="2998"/>
                    </a:lnTo>
                    <a:lnTo>
                      <a:pt x="3755" y="3006"/>
                    </a:lnTo>
                    <a:lnTo>
                      <a:pt x="3766" y="3004"/>
                    </a:lnTo>
                    <a:lnTo>
                      <a:pt x="3774" y="2979"/>
                    </a:lnTo>
                    <a:lnTo>
                      <a:pt x="3797" y="3017"/>
                    </a:lnTo>
                    <a:lnTo>
                      <a:pt x="3821" y="2985"/>
                    </a:lnTo>
                    <a:lnTo>
                      <a:pt x="3801" y="3021"/>
                    </a:lnTo>
                    <a:lnTo>
                      <a:pt x="3835" y="3027"/>
                    </a:lnTo>
                    <a:lnTo>
                      <a:pt x="3801" y="3050"/>
                    </a:lnTo>
                    <a:lnTo>
                      <a:pt x="3837" y="3043"/>
                    </a:lnTo>
                    <a:lnTo>
                      <a:pt x="3835" y="3029"/>
                    </a:lnTo>
                    <a:lnTo>
                      <a:pt x="3851" y="3050"/>
                    </a:lnTo>
                    <a:lnTo>
                      <a:pt x="3867" y="3059"/>
                    </a:lnTo>
                    <a:lnTo>
                      <a:pt x="3882" y="3035"/>
                    </a:lnTo>
                    <a:lnTo>
                      <a:pt x="3896" y="3032"/>
                    </a:lnTo>
                    <a:lnTo>
                      <a:pt x="3912" y="3032"/>
                    </a:lnTo>
                    <a:lnTo>
                      <a:pt x="3928" y="3083"/>
                    </a:lnTo>
                    <a:lnTo>
                      <a:pt x="3945" y="3058"/>
                    </a:lnTo>
                    <a:lnTo>
                      <a:pt x="3959" y="3062"/>
                    </a:lnTo>
                    <a:lnTo>
                      <a:pt x="3977" y="3088"/>
                    </a:lnTo>
                    <a:lnTo>
                      <a:pt x="3988" y="3045"/>
                    </a:lnTo>
                    <a:lnTo>
                      <a:pt x="4001" y="3027"/>
                    </a:lnTo>
                    <a:lnTo>
                      <a:pt x="4023" y="3038"/>
                    </a:lnTo>
                    <a:lnTo>
                      <a:pt x="4027" y="3080"/>
                    </a:lnTo>
                    <a:lnTo>
                      <a:pt x="4059" y="3048"/>
                    </a:lnTo>
                    <a:lnTo>
                      <a:pt x="4067" y="3083"/>
                    </a:lnTo>
                    <a:lnTo>
                      <a:pt x="4076" y="3054"/>
                    </a:lnTo>
                    <a:lnTo>
                      <a:pt x="4097" y="3067"/>
                    </a:lnTo>
                    <a:lnTo>
                      <a:pt x="4104" y="3048"/>
                    </a:lnTo>
                    <a:lnTo>
                      <a:pt x="4110" y="3074"/>
                    </a:lnTo>
                    <a:lnTo>
                      <a:pt x="4137" y="3050"/>
                    </a:lnTo>
                    <a:lnTo>
                      <a:pt x="4120" y="3083"/>
                    </a:lnTo>
                    <a:lnTo>
                      <a:pt x="4142" y="3085"/>
                    </a:lnTo>
                    <a:lnTo>
                      <a:pt x="4154" y="3104"/>
                    </a:lnTo>
                    <a:lnTo>
                      <a:pt x="4179" y="3111"/>
                    </a:lnTo>
                    <a:lnTo>
                      <a:pt x="4187" y="3080"/>
                    </a:lnTo>
                    <a:lnTo>
                      <a:pt x="4207" y="3087"/>
                    </a:lnTo>
                    <a:lnTo>
                      <a:pt x="4229" y="3096"/>
                    </a:lnTo>
                    <a:lnTo>
                      <a:pt x="4234" y="3059"/>
                    </a:lnTo>
                    <a:lnTo>
                      <a:pt x="4252" y="3074"/>
                    </a:lnTo>
                    <a:lnTo>
                      <a:pt x="4255" y="3091"/>
                    </a:lnTo>
                    <a:lnTo>
                      <a:pt x="4281" y="3088"/>
                    </a:lnTo>
                    <a:lnTo>
                      <a:pt x="4298" y="3088"/>
                    </a:lnTo>
                    <a:lnTo>
                      <a:pt x="4297" y="3072"/>
                    </a:lnTo>
                    <a:lnTo>
                      <a:pt x="4311" y="3070"/>
                    </a:lnTo>
                    <a:lnTo>
                      <a:pt x="4332" y="3077"/>
                    </a:lnTo>
                    <a:lnTo>
                      <a:pt x="4359" y="3079"/>
                    </a:lnTo>
                    <a:lnTo>
                      <a:pt x="4334" y="3027"/>
                    </a:lnTo>
                    <a:lnTo>
                      <a:pt x="4359" y="3030"/>
                    </a:lnTo>
                    <a:lnTo>
                      <a:pt x="4375" y="3035"/>
                    </a:lnTo>
                    <a:lnTo>
                      <a:pt x="4385" y="3017"/>
                    </a:lnTo>
                    <a:lnTo>
                      <a:pt x="4396" y="3027"/>
                    </a:lnTo>
                    <a:lnTo>
                      <a:pt x="4427" y="3011"/>
                    </a:lnTo>
                    <a:lnTo>
                      <a:pt x="4372" y="2996"/>
                    </a:lnTo>
                    <a:lnTo>
                      <a:pt x="4427" y="2987"/>
                    </a:lnTo>
                    <a:lnTo>
                      <a:pt x="4408" y="2956"/>
                    </a:lnTo>
                    <a:lnTo>
                      <a:pt x="4438" y="2972"/>
                    </a:lnTo>
                    <a:lnTo>
                      <a:pt x="4441" y="2946"/>
                    </a:lnTo>
                    <a:lnTo>
                      <a:pt x="4474" y="2934"/>
                    </a:lnTo>
                    <a:lnTo>
                      <a:pt x="4443" y="2914"/>
                    </a:lnTo>
                    <a:lnTo>
                      <a:pt x="4441" y="2895"/>
                    </a:lnTo>
                    <a:lnTo>
                      <a:pt x="4464" y="2888"/>
                    </a:lnTo>
                    <a:lnTo>
                      <a:pt x="4470" y="2872"/>
                    </a:lnTo>
                    <a:lnTo>
                      <a:pt x="4483" y="2864"/>
                    </a:lnTo>
                    <a:lnTo>
                      <a:pt x="4501" y="2884"/>
                    </a:lnTo>
                    <a:lnTo>
                      <a:pt x="4515" y="2850"/>
                    </a:lnTo>
                    <a:lnTo>
                      <a:pt x="4533" y="2853"/>
                    </a:lnTo>
                    <a:lnTo>
                      <a:pt x="4552" y="2840"/>
                    </a:lnTo>
                    <a:lnTo>
                      <a:pt x="4565" y="2856"/>
                    </a:lnTo>
                    <a:lnTo>
                      <a:pt x="4583" y="2851"/>
                    </a:lnTo>
                    <a:lnTo>
                      <a:pt x="4596" y="2888"/>
                    </a:lnTo>
                    <a:lnTo>
                      <a:pt x="4613" y="2858"/>
                    </a:lnTo>
                    <a:lnTo>
                      <a:pt x="4631" y="2834"/>
                    </a:lnTo>
                    <a:lnTo>
                      <a:pt x="4646" y="2861"/>
                    </a:lnTo>
                    <a:lnTo>
                      <a:pt x="4663" y="2837"/>
                    </a:lnTo>
                    <a:lnTo>
                      <a:pt x="4676" y="2850"/>
                    </a:lnTo>
                    <a:lnTo>
                      <a:pt x="4699" y="2895"/>
                    </a:lnTo>
                    <a:lnTo>
                      <a:pt x="4705" y="2830"/>
                    </a:lnTo>
                    <a:lnTo>
                      <a:pt x="4721" y="2880"/>
                    </a:lnTo>
                    <a:lnTo>
                      <a:pt x="4739" y="2871"/>
                    </a:lnTo>
                    <a:lnTo>
                      <a:pt x="4737" y="2903"/>
                    </a:lnTo>
                    <a:lnTo>
                      <a:pt x="4771" y="2879"/>
                    </a:lnTo>
                    <a:lnTo>
                      <a:pt x="4790" y="2911"/>
                    </a:lnTo>
                    <a:lnTo>
                      <a:pt x="4802" y="2874"/>
                    </a:lnTo>
                    <a:lnTo>
                      <a:pt x="4819" y="2872"/>
                    </a:lnTo>
                    <a:lnTo>
                      <a:pt x="4835" y="2905"/>
                    </a:lnTo>
                    <a:lnTo>
                      <a:pt x="4853" y="2866"/>
                    </a:lnTo>
                    <a:lnTo>
                      <a:pt x="4877" y="2859"/>
                    </a:lnTo>
                    <a:lnTo>
                      <a:pt x="4869" y="2906"/>
                    </a:lnTo>
                    <a:lnTo>
                      <a:pt x="4906" y="2890"/>
                    </a:lnTo>
                    <a:lnTo>
                      <a:pt x="4921" y="2892"/>
                    </a:lnTo>
                    <a:lnTo>
                      <a:pt x="4929" y="2908"/>
                    </a:lnTo>
                    <a:lnTo>
                      <a:pt x="4945" y="2919"/>
                    </a:lnTo>
                    <a:lnTo>
                      <a:pt x="4964" y="2940"/>
                    </a:lnTo>
                    <a:lnTo>
                      <a:pt x="4982" y="2924"/>
                    </a:lnTo>
                    <a:lnTo>
                      <a:pt x="4995" y="2916"/>
                    </a:lnTo>
                    <a:lnTo>
                      <a:pt x="4993" y="2895"/>
                    </a:lnTo>
                    <a:lnTo>
                      <a:pt x="5004" y="2885"/>
                    </a:lnTo>
                    <a:lnTo>
                      <a:pt x="5019" y="2859"/>
                    </a:lnTo>
                    <a:lnTo>
                      <a:pt x="5035" y="2864"/>
                    </a:lnTo>
                    <a:lnTo>
                      <a:pt x="5052" y="2869"/>
                    </a:lnTo>
                    <a:lnTo>
                      <a:pt x="5064" y="2887"/>
                    </a:lnTo>
                    <a:lnTo>
                      <a:pt x="5077" y="2893"/>
                    </a:lnTo>
                    <a:lnTo>
                      <a:pt x="5102" y="2874"/>
                    </a:lnTo>
                    <a:lnTo>
                      <a:pt x="5102" y="2890"/>
                    </a:lnTo>
                    <a:lnTo>
                      <a:pt x="5109" y="2879"/>
                    </a:lnTo>
                    <a:lnTo>
                      <a:pt x="5120" y="2869"/>
                    </a:lnTo>
                    <a:lnTo>
                      <a:pt x="5144" y="2871"/>
                    </a:lnTo>
                    <a:lnTo>
                      <a:pt x="5142" y="2861"/>
                    </a:lnTo>
                    <a:lnTo>
                      <a:pt x="5147" y="2871"/>
                    </a:lnTo>
                    <a:lnTo>
                      <a:pt x="5144" y="2871"/>
                    </a:lnTo>
                    <a:lnTo>
                      <a:pt x="5144" y="2872"/>
                    </a:lnTo>
                    <a:lnTo>
                      <a:pt x="5181" y="2858"/>
                    </a:lnTo>
                    <a:lnTo>
                      <a:pt x="5162" y="2906"/>
                    </a:lnTo>
                    <a:lnTo>
                      <a:pt x="5197" y="2871"/>
                    </a:lnTo>
                    <a:lnTo>
                      <a:pt x="5196" y="2864"/>
                    </a:lnTo>
                    <a:lnTo>
                      <a:pt x="5234" y="2895"/>
                    </a:lnTo>
                    <a:lnTo>
                      <a:pt x="5233" y="2853"/>
                    </a:lnTo>
                    <a:lnTo>
                      <a:pt x="5265" y="2895"/>
                    </a:lnTo>
                    <a:lnTo>
                      <a:pt x="5274" y="2876"/>
                    </a:lnTo>
                    <a:lnTo>
                      <a:pt x="5294" y="2879"/>
                    </a:lnTo>
                    <a:lnTo>
                      <a:pt x="5307" y="2866"/>
                    </a:lnTo>
                    <a:lnTo>
                      <a:pt x="5324" y="2864"/>
                    </a:lnTo>
                    <a:lnTo>
                      <a:pt x="5332" y="2819"/>
                    </a:lnTo>
                    <a:lnTo>
                      <a:pt x="5340" y="2864"/>
                    </a:lnTo>
                    <a:lnTo>
                      <a:pt x="5356" y="2869"/>
                    </a:lnTo>
                    <a:lnTo>
                      <a:pt x="5379" y="2859"/>
                    </a:lnTo>
                    <a:lnTo>
                      <a:pt x="5397" y="2864"/>
                    </a:lnTo>
                    <a:lnTo>
                      <a:pt x="5416" y="2863"/>
                    </a:lnTo>
                    <a:lnTo>
                      <a:pt x="5432" y="2848"/>
                    </a:lnTo>
                    <a:lnTo>
                      <a:pt x="5446" y="2877"/>
                    </a:lnTo>
                    <a:lnTo>
                      <a:pt x="5467" y="2892"/>
                    </a:lnTo>
                    <a:lnTo>
                      <a:pt x="5471" y="2850"/>
                    </a:lnTo>
                    <a:lnTo>
                      <a:pt x="5501" y="2874"/>
                    </a:lnTo>
                    <a:lnTo>
                      <a:pt x="5493" y="2821"/>
                    </a:lnTo>
                    <a:lnTo>
                      <a:pt x="5525" y="2853"/>
                    </a:lnTo>
                    <a:lnTo>
                      <a:pt x="5538" y="2861"/>
                    </a:lnTo>
                    <a:lnTo>
                      <a:pt x="5553" y="2809"/>
                    </a:lnTo>
                    <a:lnTo>
                      <a:pt x="5569" y="2827"/>
                    </a:lnTo>
                    <a:lnTo>
                      <a:pt x="5590" y="2851"/>
                    </a:lnTo>
                    <a:lnTo>
                      <a:pt x="5606" y="2853"/>
                    </a:lnTo>
                    <a:lnTo>
                      <a:pt x="5618" y="2848"/>
                    </a:lnTo>
                    <a:lnTo>
                      <a:pt x="5631" y="2847"/>
                    </a:lnTo>
                    <a:lnTo>
                      <a:pt x="5647" y="2805"/>
                    </a:lnTo>
                    <a:lnTo>
                      <a:pt x="5662" y="2832"/>
                    </a:lnTo>
                    <a:lnTo>
                      <a:pt x="5675" y="2845"/>
                    </a:lnTo>
                    <a:lnTo>
                      <a:pt x="5709" y="2818"/>
                    </a:lnTo>
                    <a:lnTo>
                      <a:pt x="5712" y="2855"/>
                    </a:lnTo>
                    <a:lnTo>
                      <a:pt x="5728" y="2877"/>
                    </a:lnTo>
                    <a:lnTo>
                      <a:pt x="5744" y="2867"/>
                    </a:lnTo>
                    <a:lnTo>
                      <a:pt x="5754" y="2871"/>
                    </a:lnTo>
                    <a:lnTo>
                      <a:pt x="5773" y="2856"/>
                    </a:lnTo>
                    <a:lnTo>
                      <a:pt x="5774" y="2892"/>
                    </a:lnTo>
                    <a:lnTo>
                      <a:pt x="5802" y="2880"/>
                    </a:lnTo>
                    <a:lnTo>
                      <a:pt x="5821" y="2880"/>
                    </a:lnTo>
                    <a:lnTo>
                      <a:pt x="5831" y="2832"/>
                    </a:lnTo>
                    <a:lnTo>
                      <a:pt x="5847" y="2830"/>
                    </a:lnTo>
                    <a:lnTo>
                      <a:pt x="5873" y="2874"/>
                    </a:lnTo>
                    <a:lnTo>
                      <a:pt x="5887" y="2853"/>
                    </a:lnTo>
                    <a:lnTo>
                      <a:pt x="5905" y="2850"/>
                    </a:lnTo>
                    <a:lnTo>
                      <a:pt x="5918" y="2863"/>
                    </a:lnTo>
                    <a:lnTo>
                      <a:pt x="5918" y="2890"/>
                    </a:lnTo>
                    <a:lnTo>
                      <a:pt x="5938" y="2906"/>
                    </a:lnTo>
                    <a:lnTo>
                      <a:pt x="5961" y="2863"/>
                    </a:lnTo>
                    <a:lnTo>
                      <a:pt x="5985" y="2911"/>
                    </a:lnTo>
                    <a:lnTo>
                      <a:pt x="6012" y="2853"/>
                    </a:lnTo>
                    <a:lnTo>
                      <a:pt x="6027" y="2884"/>
                    </a:lnTo>
                    <a:lnTo>
                      <a:pt x="6027" y="2901"/>
                    </a:lnTo>
                    <a:lnTo>
                      <a:pt x="6027" y="2919"/>
                    </a:lnTo>
                    <a:lnTo>
                      <a:pt x="6011" y="2953"/>
                    </a:lnTo>
                    <a:lnTo>
                      <a:pt x="6046" y="2925"/>
                    </a:lnTo>
                    <a:lnTo>
                      <a:pt x="6061" y="2934"/>
                    </a:lnTo>
                    <a:lnTo>
                      <a:pt x="6072" y="2946"/>
                    </a:lnTo>
                    <a:lnTo>
                      <a:pt x="6085" y="2956"/>
                    </a:lnTo>
                    <a:lnTo>
                      <a:pt x="6098" y="2983"/>
                    </a:lnTo>
                    <a:lnTo>
                      <a:pt x="6114" y="2954"/>
                    </a:lnTo>
                    <a:lnTo>
                      <a:pt x="6136" y="2940"/>
                    </a:lnTo>
                    <a:lnTo>
                      <a:pt x="6151" y="2959"/>
                    </a:lnTo>
                    <a:lnTo>
                      <a:pt x="6151" y="2980"/>
                    </a:lnTo>
                    <a:lnTo>
                      <a:pt x="6159" y="2995"/>
                    </a:lnTo>
                    <a:lnTo>
                      <a:pt x="6165" y="3008"/>
                    </a:lnTo>
                    <a:lnTo>
                      <a:pt x="6178" y="3016"/>
                    </a:lnTo>
                    <a:lnTo>
                      <a:pt x="6204" y="3006"/>
                    </a:lnTo>
                    <a:lnTo>
                      <a:pt x="6199" y="3037"/>
                    </a:lnTo>
                    <a:lnTo>
                      <a:pt x="6223" y="3046"/>
                    </a:lnTo>
                    <a:lnTo>
                      <a:pt x="6218" y="2995"/>
                    </a:lnTo>
                    <a:lnTo>
                      <a:pt x="6234" y="2988"/>
                    </a:lnTo>
                    <a:lnTo>
                      <a:pt x="6262" y="3011"/>
                    </a:lnTo>
                    <a:lnTo>
                      <a:pt x="6270" y="2990"/>
                    </a:lnTo>
                    <a:lnTo>
                      <a:pt x="6291" y="3004"/>
                    </a:lnTo>
                    <a:lnTo>
                      <a:pt x="6297" y="2967"/>
                    </a:lnTo>
                    <a:lnTo>
                      <a:pt x="6320" y="3014"/>
                    </a:lnTo>
                    <a:lnTo>
                      <a:pt x="6328" y="2966"/>
                    </a:lnTo>
                    <a:lnTo>
                      <a:pt x="6349" y="2995"/>
                    </a:lnTo>
                    <a:lnTo>
                      <a:pt x="6368" y="2972"/>
                    </a:lnTo>
                    <a:lnTo>
                      <a:pt x="6379" y="3009"/>
                    </a:lnTo>
                    <a:lnTo>
                      <a:pt x="6402" y="2979"/>
                    </a:lnTo>
                    <a:lnTo>
                      <a:pt x="6410" y="3024"/>
                    </a:lnTo>
                    <a:lnTo>
                      <a:pt x="6437" y="2974"/>
                    </a:lnTo>
                    <a:lnTo>
                      <a:pt x="6447" y="3004"/>
                    </a:lnTo>
                    <a:lnTo>
                      <a:pt x="6453" y="3032"/>
                    </a:lnTo>
                    <a:lnTo>
                      <a:pt x="6471" y="3027"/>
                    </a:lnTo>
                    <a:lnTo>
                      <a:pt x="6488" y="3025"/>
                    </a:lnTo>
                    <a:lnTo>
                      <a:pt x="6508" y="3000"/>
                    </a:lnTo>
                    <a:lnTo>
                      <a:pt x="6519" y="3008"/>
                    </a:lnTo>
                    <a:lnTo>
                      <a:pt x="6538" y="3006"/>
                    </a:lnTo>
                    <a:lnTo>
                      <a:pt x="6559" y="3035"/>
                    </a:lnTo>
                    <a:lnTo>
                      <a:pt x="6583" y="2993"/>
                    </a:lnTo>
                    <a:lnTo>
                      <a:pt x="6583" y="3035"/>
                    </a:lnTo>
                    <a:lnTo>
                      <a:pt x="6601" y="3014"/>
                    </a:lnTo>
                    <a:lnTo>
                      <a:pt x="6591" y="2995"/>
                    </a:lnTo>
                    <a:lnTo>
                      <a:pt x="6612" y="2995"/>
                    </a:lnTo>
                    <a:lnTo>
                      <a:pt x="6648" y="3011"/>
                    </a:lnTo>
                    <a:lnTo>
                      <a:pt x="6667" y="3012"/>
                    </a:lnTo>
                    <a:lnTo>
                      <a:pt x="6677" y="2987"/>
                    </a:lnTo>
                    <a:lnTo>
                      <a:pt x="6680" y="2966"/>
                    </a:lnTo>
                    <a:lnTo>
                      <a:pt x="6691" y="2954"/>
                    </a:lnTo>
                    <a:lnTo>
                      <a:pt x="6657" y="2930"/>
                    </a:lnTo>
                    <a:lnTo>
                      <a:pt x="6685" y="2946"/>
                    </a:lnTo>
                    <a:lnTo>
                      <a:pt x="6699" y="2925"/>
                    </a:lnTo>
                    <a:lnTo>
                      <a:pt x="6694" y="2956"/>
                    </a:lnTo>
                    <a:lnTo>
                      <a:pt x="6738" y="2932"/>
                    </a:lnTo>
                    <a:lnTo>
                      <a:pt x="6736" y="2959"/>
                    </a:lnTo>
                    <a:lnTo>
                      <a:pt x="6755" y="2946"/>
                    </a:lnTo>
                    <a:lnTo>
                      <a:pt x="6760" y="2966"/>
                    </a:lnTo>
                    <a:lnTo>
                      <a:pt x="6775" y="2943"/>
                    </a:lnTo>
                    <a:lnTo>
                      <a:pt x="6796" y="2990"/>
                    </a:lnTo>
                    <a:lnTo>
                      <a:pt x="6794" y="2938"/>
                    </a:lnTo>
                    <a:lnTo>
                      <a:pt x="6831" y="2975"/>
                    </a:lnTo>
                    <a:lnTo>
                      <a:pt x="6847" y="2967"/>
                    </a:lnTo>
                    <a:lnTo>
                      <a:pt x="6852" y="2946"/>
                    </a:lnTo>
                    <a:lnTo>
                      <a:pt x="6876" y="2953"/>
                    </a:lnTo>
                    <a:lnTo>
                      <a:pt x="6892" y="2950"/>
                    </a:lnTo>
                    <a:lnTo>
                      <a:pt x="6886" y="2905"/>
                    </a:lnTo>
                    <a:lnTo>
                      <a:pt x="6892" y="2942"/>
                    </a:lnTo>
                    <a:lnTo>
                      <a:pt x="6906" y="2951"/>
                    </a:lnTo>
                    <a:lnTo>
                      <a:pt x="6940" y="2925"/>
                    </a:lnTo>
                    <a:lnTo>
                      <a:pt x="6937" y="2966"/>
                    </a:lnTo>
                    <a:lnTo>
                      <a:pt x="6958" y="2966"/>
                    </a:lnTo>
                    <a:lnTo>
                      <a:pt x="6974" y="2942"/>
                    </a:lnTo>
                    <a:lnTo>
                      <a:pt x="6985" y="2954"/>
                    </a:lnTo>
                    <a:lnTo>
                      <a:pt x="6977" y="2924"/>
                    </a:lnTo>
                    <a:lnTo>
                      <a:pt x="7011" y="2930"/>
                    </a:lnTo>
                    <a:lnTo>
                      <a:pt x="7025" y="2932"/>
                    </a:lnTo>
                    <a:lnTo>
                      <a:pt x="7037" y="2927"/>
                    </a:lnTo>
                    <a:lnTo>
                      <a:pt x="7029" y="2959"/>
                    </a:lnTo>
                    <a:lnTo>
                      <a:pt x="7040" y="2971"/>
                    </a:lnTo>
                    <a:lnTo>
                      <a:pt x="7069" y="2972"/>
                    </a:lnTo>
                    <a:lnTo>
                      <a:pt x="7077" y="2935"/>
                    </a:lnTo>
                    <a:lnTo>
                      <a:pt x="7111" y="2956"/>
                    </a:lnTo>
                    <a:lnTo>
                      <a:pt x="7122" y="2945"/>
                    </a:lnTo>
                    <a:lnTo>
                      <a:pt x="7127" y="2903"/>
                    </a:lnTo>
                    <a:lnTo>
                      <a:pt x="7149" y="2942"/>
                    </a:lnTo>
                    <a:lnTo>
                      <a:pt x="7164" y="2917"/>
                    </a:lnTo>
                    <a:lnTo>
                      <a:pt x="7180" y="2927"/>
                    </a:lnTo>
                    <a:lnTo>
                      <a:pt x="7164" y="2958"/>
                    </a:lnTo>
                    <a:lnTo>
                      <a:pt x="7214" y="2938"/>
                    </a:lnTo>
                    <a:lnTo>
                      <a:pt x="7175" y="2987"/>
                    </a:lnTo>
                    <a:lnTo>
                      <a:pt x="7207" y="2988"/>
                    </a:lnTo>
                    <a:lnTo>
                      <a:pt x="7217" y="2954"/>
                    </a:lnTo>
                    <a:lnTo>
                      <a:pt x="7233" y="2954"/>
                    </a:lnTo>
                    <a:lnTo>
                      <a:pt x="7255" y="2971"/>
                    </a:lnTo>
                    <a:lnTo>
                      <a:pt x="7275" y="2945"/>
                    </a:lnTo>
                    <a:lnTo>
                      <a:pt x="7288" y="2956"/>
                    </a:lnTo>
                    <a:lnTo>
                      <a:pt x="7299" y="2988"/>
                    </a:lnTo>
                    <a:lnTo>
                      <a:pt x="7315" y="2983"/>
                    </a:lnTo>
                    <a:lnTo>
                      <a:pt x="7329" y="2996"/>
                    </a:lnTo>
                    <a:lnTo>
                      <a:pt x="7347" y="2979"/>
                    </a:lnTo>
                    <a:lnTo>
                      <a:pt x="7362" y="2969"/>
                    </a:lnTo>
                    <a:lnTo>
                      <a:pt x="7378" y="2972"/>
                    </a:lnTo>
                    <a:lnTo>
                      <a:pt x="7387" y="2961"/>
                    </a:lnTo>
                    <a:lnTo>
                      <a:pt x="7402" y="2958"/>
                    </a:lnTo>
                    <a:lnTo>
                      <a:pt x="7437" y="2977"/>
                    </a:lnTo>
                    <a:lnTo>
                      <a:pt x="7436" y="2940"/>
                    </a:lnTo>
                    <a:lnTo>
                      <a:pt x="7447" y="2917"/>
                    </a:lnTo>
                    <a:lnTo>
                      <a:pt x="7461" y="2909"/>
                    </a:lnTo>
                    <a:lnTo>
                      <a:pt x="7484" y="2943"/>
                    </a:lnTo>
                    <a:lnTo>
                      <a:pt x="7518" y="2924"/>
                    </a:lnTo>
                    <a:lnTo>
                      <a:pt x="7530" y="2932"/>
                    </a:lnTo>
                    <a:lnTo>
                      <a:pt x="7537" y="2950"/>
                    </a:lnTo>
                    <a:lnTo>
                      <a:pt x="7532" y="2979"/>
                    </a:lnTo>
                    <a:lnTo>
                      <a:pt x="7540" y="2956"/>
                    </a:lnTo>
                    <a:lnTo>
                      <a:pt x="7548" y="2937"/>
                    </a:lnTo>
                    <a:lnTo>
                      <a:pt x="7563" y="2921"/>
                    </a:lnTo>
                    <a:lnTo>
                      <a:pt x="7587" y="2925"/>
                    </a:lnTo>
                    <a:lnTo>
                      <a:pt x="7609" y="2935"/>
                    </a:lnTo>
                    <a:lnTo>
                      <a:pt x="7624" y="2913"/>
                    </a:lnTo>
                    <a:lnTo>
                      <a:pt x="7645" y="2921"/>
                    </a:lnTo>
                    <a:lnTo>
                      <a:pt x="7661" y="2922"/>
                    </a:lnTo>
                    <a:lnTo>
                      <a:pt x="7667" y="2927"/>
                    </a:lnTo>
                    <a:lnTo>
                      <a:pt x="7675" y="2917"/>
                    </a:lnTo>
                    <a:lnTo>
                      <a:pt x="7680" y="2919"/>
                    </a:lnTo>
                    <a:lnTo>
                      <a:pt x="7680" y="414"/>
                    </a:lnTo>
                    <a:lnTo>
                      <a:pt x="7670" y="409"/>
                    </a:lnTo>
                    <a:lnTo>
                      <a:pt x="7638" y="448"/>
                    </a:lnTo>
                    <a:lnTo>
                      <a:pt x="7656" y="393"/>
                    </a:lnTo>
                    <a:lnTo>
                      <a:pt x="7614" y="422"/>
                    </a:lnTo>
                    <a:lnTo>
                      <a:pt x="7609" y="417"/>
                    </a:lnTo>
                    <a:lnTo>
                      <a:pt x="7598" y="390"/>
                    </a:lnTo>
                    <a:lnTo>
                      <a:pt x="7580" y="380"/>
                    </a:lnTo>
                    <a:lnTo>
                      <a:pt x="7569" y="404"/>
                    </a:lnTo>
                    <a:lnTo>
                      <a:pt x="7553" y="402"/>
                    </a:lnTo>
                    <a:lnTo>
                      <a:pt x="7535" y="380"/>
                    </a:lnTo>
                    <a:lnTo>
                      <a:pt x="7526" y="417"/>
                    </a:lnTo>
                    <a:lnTo>
                      <a:pt x="7514" y="430"/>
                    </a:lnTo>
                    <a:lnTo>
                      <a:pt x="7487" y="401"/>
                    </a:lnTo>
                    <a:lnTo>
                      <a:pt x="7479" y="423"/>
                    </a:lnTo>
                    <a:lnTo>
                      <a:pt x="7477" y="452"/>
                    </a:lnTo>
                    <a:lnTo>
                      <a:pt x="7456" y="451"/>
                    </a:lnTo>
                    <a:lnTo>
                      <a:pt x="7439" y="480"/>
                    </a:lnTo>
                    <a:lnTo>
                      <a:pt x="7419" y="441"/>
                    </a:lnTo>
                    <a:lnTo>
                      <a:pt x="7392" y="460"/>
                    </a:lnTo>
                    <a:lnTo>
                      <a:pt x="7386" y="423"/>
                    </a:lnTo>
                    <a:lnTo>
                      <a:pt x="7376" y="457"/>
                    </a:lnTo>
                    <a:lnTo>
                      <a:pt x="7350" y="409"/>
                    </a:lnTo>
                    <a:lnTo>
                      <a:pt x="7336" y="423"/>
                    </a:lnTo>
                    <a:lnTo>
                      <a:pt x="7318" y="423"/>
                    </a:lnTo>
                    <a:lnTo>
                      <a:pt x="7313" y="459"/>
                    </a:lnTo>
                    <a:lnTo>
                      <a:pt x="7294" y="443"/>
                    </a:lnTo>
                    <a:lnTo>
                      <a:pt x="7281" y="436"/>
                    </a:lnTo>
                    <a:lnTo>
                      <a:pt x="7263" y="460"/>
                    </a:lnTo>
                    <a:lnTo>
                      <a:pt x="7247" y="451"/>
                    </a:lnTo>
                    <a:lnTo>
                      <a:pt x="7246" y="472"/>
                    </a:lnTo>
                    <a:lnTo>
                      <a:pt x="7209" y="452"/>
                    </a:lnTo>
                    <a:lnTo>
                      <a:pt x="7209" y="475"/>
                    </a:lnTo>
                    <a:lnTo>
                      <a:pt x="7198" y="477"/>
                    </a:lnTo>
                    <a:lnTo>
                      <a:pt x="7185" y="467"/>
                    </a:lnTo>
                    <a:lnTo>
                      <a:pt x="7181" y="525"/>
                    </a:lnTo>
                    <a:lnTo>
                      <a:pt x="7154" y="483"/>
                    </a:lnTo>
                    <a:lnTo>
                      <a:pt x="7146" y="510"/>
                    </a:lnTo>
                    <a:lnTo>
                      <a:pt x="7128" y="512"/>
                    </a:lnTo>
                    <a:lnTo>
                      <a:pt x="7117" y="538"/>
                    </a:lnTo>
                    <a:lnTo>
                      <a:pt x="7103" y="506"/>
                    </a:lnTo>
                    <a:lnTo>
                      <a:pt x="7079" y="546"/>
                    </a:lnTo>
                    <a:lnTo>
                      <a:pt x="7059" y="538"/>
                    </a:lnTo>
                    <a:lnTo>
                      <a:pt x="7038" y="533"/>
                    </a:lnTo>
                    <a:lnTo>
                      <a:pt x="7045" y="496"/>
                    </a:lnTo>
                    <a:lnTo>
                      <a:pt x="7014" y="512"/>
                    </a:lnTo>
                    <a:lnTo>
                      <a:pt x="7016" y="494"/>
                    </a:lnTo>
                    <a:lnTo>
                      <a:pt x="7005" y="489"/>
                    </a:lnTo>
                    <a:lnTo>
                      <a:pt x="6997" y="520"/>
                    </a:lnTo>
                    <a:lnTo>
                      <a:pt x="6958" y="467"/>
                    </a:lnTo>
                    <a:lnTo>
                      <a:pt x="6968" y="512"/>
                    </a:lnTo>
                    <a:lnTo>
                      <a:pt x="6966" y="531"/>
                    </a:lnTo>
                    <a:lnTo>
                      <a:pt x="6924" y="509"/>
                    </a:lnTo>
                    <a:lnTo>
                      <a:pt x="6931" y="554"/>
                    </a:lnTo>
                    <a:lnTo>
                      <a:pt x="6923" y="517"/>
                    </a:lnTo>
                    <a:lnTo>
                      <a:pt x="6894" y="535"/>
                    </a:lnTo>
                    <a:lnTo>
                      <a:pt x="6884" y="523"/>
                    </a:lnTo>
                    <a:lnTo>
                      <a:pt x="6882" y="525"/>
                    </a:lnTo>
                    <a:lnTo>
                      <a:pt x="6886" y="530"/>
                    </a:lnTo>
                    <a:lnTo>
                      <a:pt x="6844" y="507"/>
                    </a:lnTo>
                    <a:lnTo>
                      <a:pt x="6829" y="514"/>
                    </a:lnTo>
                    <a:lnTo>
                      <a:pt x="6837" y="551"/>
                    </a:lnTo>
                    <a:lnTo>
                      <a:pt x="6820" y="518"/>
                    </a:lnTo>
                    <a:lnTo>
                      <a:pt x="6804" y="556"/>
                    </a:lnTo>
                    <a:lnTo>
                      <a:pt x="6789" y="539"/>
                    </a:lnTo>
                    <a:lnTo>
                      <a:pt x="6775" y="538"/>
                    </a:lnTo>
                    <a:lnTo>
                      <a:pt x="6760" y="536"/>
                    </a:lnTo>
                    <a:lnTo>
                      <a:pt x="6739" y="543"/>
                    </a:lnTo>
                    <a:lnTo>
                      <a:pt x="6741" y="502"/>
                    </a:lnTo>
                    <a:lnTo>
                      <a:pt x="6723" y="515"/>
                    </a:lnTo>
                    <a:lnTo>
                      <a:pt x="6709" y="525"/>
                    </a:lnTo>
                    <a:lnTo>
                      <a:pt x="6694" y="554"/>
                    </a:lnTo>
                    <a:lnTo>
                      <a:pt x="6697" y="504"/>
                    </a:lnTo>
                    <a:lnTo>
                      <a:pt x="6677" y="509"/>
                    </a:lnTo>
                    <a:lnTo>
                      <a:pt x="6651" y="528"/>
                    </a:lnTo>
                    <a:lnTo>
                      <a:pt x="6652" y="535"/>
                    </a:lnTo>
                    <a:lnTo>
                      <a:pt x="6648" y="531"/>
                    </a:lnTo>
                    <a:lnTo>
                      <a:pt x="6643" y="533"/>
                    </a:lnTo>
                    <a:lnTo>
                      <a:pt x="6644" y="528"/>
                    </a:lnTo>
                    <a:lnTo>
                      <a:pt x="6617" y="509"/>
                    </a:lnTo>
                    <a:lnTo>
                      <a:pt x="6601" y="510"/>
                    </a:lnTo>
                    <a:lnTo>
                      <a:pt x="6601" y="543"/>
                    </a:lnTo>
                    <a:lnTo>
                      <a:pt x="6588" y="527"/>
                    </a:lnTo>
                    <a:lnTo>
                      <a:pt x="6575" y="518"/>
                    </a:lnTo>
                    <a:lnTo>
                      <a:pt x="6551" y="522"/>
                    </a:lnTo>
                    <a:lnTo>
                      <a:pt x="6556" y="477"/>
                    </a:lnTo>
                    <a:lnTo>
                      <a:pt x="6543" y="512"/>
                    </a:lnTo>
                    <a:lnTo>
                      <a:pt x="6535" y="535"/>
                    </a:lnTo>
                    <a:lnTo>
                      <a:pt x="6503" y="499"/>
                    </a:lnTo>
                    <a:lnTo>
                      <a:pt x="6493" y="535"/>
                    </a:lnTo>
                    <a:lnTo>
                      <a:pt x="6476" y="502"/>
                    </a:lnTo>
                    <a:lnTo>
                      <a:pt x="6463" y="501"/>
                    </a:lnTo>
                    <a:lnTo>
                      <a:pt x="6451" y="489"/>
                    </a:lnTo>
                    <a:lnTo>
                      <a:pt x="6429" y="512"/>
                    </a:lnTo>
                    <a:lnTo>
                      <a:pt x="6414" y="533"/>
                    </a:lnTo>
                    <a:lnTo>
                      <a:pt x="6394" y="485"/>
                    </a:lnTo>
                    <a:lnTo>
                      <a:pt x="6390" y="541"/>
                    </a:lnTo>
                    <a:lnTo>
                      <a:pt x="6371" y="488"/>
                    </a:lnTo>
                    <a:lnTo>
                      <a:pt x="6358" y="496"/>
                    </a:lnTo>
                    <a:lnTo>
                      <a:pt x="6345" y="481"/>
                    </a:lnTo>
                    <a:lnTo>
                      <a:pt x="6321" y="506"/>
                    </a:lnTo>
                    <a:lnTo>
                      <a:pt x="6313" y="509"/>
                    </a:lnTo>
                    <a:lnTo>
                      <a:pt x="6295" y="509"/>
                    </a:lnTo>
                    <a:lnTo>
                      <a:pt x="6289" y="525"/>
                    </a:lnTo>
                    <a:lnTo>
                      <a:pt x="6271" y="554"/>
                    </a:lnTo>
                    <a:lnTo>
                      <a:pt x="6244" y="539"/>
                    </a:lnTo>
                    <a:lnTo>
                      <a:pt x="6271" y="486"/>
                    </a:lnTo>
                    <a:lnTo>
                      <a:pt x="6225" y="515"/>
                    </a:lnTo>
                    <a:lnTo>
                      <a:pt x="6236" y="469"/>
                    </a:lnTo>
                    <a:lnTo>
                      <a:pt x="6213" y="499"/>
                    </a:lnTo>
                    <a:lnTo>
                      <a:pt x="6197" y="504"/>
                    </a:lnTo>
                    <a:lnTo>
                      <a:pt x="6181" y="457"/>
                    </a:lnTo>
                    <a:lnTo>
                      <a:pt x="6167" y="485"/>
                    </a:lnTo>
                    <a:lnTo>
                      <a:pt x="6152" y="506"/>
                    </a:lnTo>
                    <a:lnTo>
                      <a:pt x="6135" y="514"/>
                    </a:lnTo>
                    <a:lnTo>
                      <a:pt x="6123" y="464"/>
                    </a:lnTo>
                    <a:lnTo>
                      <a:pt x="6107" y="469"/>
                    </a:lnTo>
                    <a:lnTo>
                      <a:pt x="6090" y="457"/>
                    </a:lnTo>
                    <a:lnTo>
                      <a:pt x="6070" y="460"/>
                    </a:lnTo>
                    <a:lnTo>
                      <a:pt x="6061" y="514"/>
                    </a:lnTo>
                    <a:lnTo>
                      <a:pt x="6048" y="506"/>
                    </a:lnTo>
                    <a:lnTo>
                      <a:pt x="6027" y="498"/>
                    </a:lnTo>
                    <a:lnTo>
                      <a:pt x="6025" y="533"/>
                    </a:lnTo>
                    <a:lnTo>
                      <a:pt x="5996" y="536"/>
                    </a:lnTo>
                    <a:lnTo>
                      <a:pt x="5974" y="525"/>
                    </a:lnTo>
                    <a:lnTo>
                      <a:pt x="5963" y="504"/>
                    </a:lnTo>
                    <a:lnTo>
                      <a:pt x="5950" y="469"/>
                    </a:lnTo>
                    <a:lnTo>
                      <a:pt x="5938" y="518"/>
                    </a:lnTo>
                    <a:lnTo>
                      <a:pt x="5922" y="525"/>
                    </a:lnTo>
                    <a:lnTo>
                      <a:pt x="5903" y="496"/>
                    </a:lnTo>
                    <a:lnTo>
                      <a:pt x="5908" y="481"/>
                    </a:lnTo>
                    <a:lnTo>
                      <a:pt x="5861" y="515"/>
                    </a:lnTo>
                    <a:lnTo>
                      <a:pt x="5864" y="489"/>
                    </a:lnTo>
                    <a:lnTo>
                      <a:pt x="5855" y="483"/>
                    </a:lnTo>
                    <a:lnTo>
                      <a:pt x="5842" y="486"/>
                    </a:lnTo>
                    <a:lnTo>
                      <a:pt x="5824" y="465"/>
                    </a:lnTo>
                    <a:lnTo>
                      <a:pt x="5805" y="465"/>
                    </a:lnTo>
                    <a:lnTo>
                      <a:pt x="5784" y="472"/>
                    </a:lnTo>
                    <a:lnTo>
                      <a:pt x="5792" y="506"/>
                    </a:lnTo>
                    <a:lnTo>
                      <a:pt x="5774" y="509"/>
                    </a:lnTo>
                    <a:lnTo>
                      <a:pt x="5758" y="506"/>
                    </a:lnTo>
                    <a:lnTo>
                      <a:pt x="5744" y="517"/>
                    </a:lnTo>
                    <a:lnTo>
                      <a:pt x="5731" y="506"/>
                    </a:lnTo>
                    <a:lnTo>
                      <a:pt x="5725" y="485"/>
                    </a:lnTo>
                    <a:lnTo>
                      <a:pt x="5713" y="486"/>
                    </a:lnTo>
                    <a:lnTo>
                      <a:pt x="5699" y="480"/>
                    </a:lnTo>
                    <a:lnTo>
                      <a:pt x="5700" y="456"/>
                    </a:lnTo>
                    <a:lnTo>
                      <a:pt x="5676" y="443"/>
                    </a:lnTo>
                    <a:lnTo>
                      <a:pt x="5657" y="489"/>
                    </a:lnTo>
                    <a:lnTo>
                      <a:pt x="5641" y="488"/>
                    </a:lnTo>
                    <a:lnTo>
                      <a:pt x="5623" y="486"/>
                    </a:lnTo>
                    <a:lnTo>
                      <a:pt x="5610" y="501"/>
                    </a:lnTo>
                    <a:lnTo>
                      <a:pt x="5586" y="469"/>
                    </a:lnTo>
                    <a:lnTo>
                      <a:pt x="5573" y="515"/>
                    </a:lnTo>
                    <a:lnTo>
                      <a:pt x="5554" y="499"/>
                    </a:lnTo>
                    <a:lnTo>
                      <a:pt x="5540" y="491"/>
                    </a:lnTo>
                    <a:lnTo>
                      <a:pt x="5532" y="464"/>
                    </a:lnTo>
                    <a:lnTo>
                      <a:pt x="5516" y="478"/>
                    </a:lnTo>
                    <a:lnTo>
                      <a:pt x="5498" y="478"/>
                    </a:lnTo>
                    <a:lnTo>
                      <a:pt x="5485" y="501"/>
                    </a:lnTo>
                    <a:lnTo>
                      <a:pt x="5467" y="481"/>
                    </a:lnTo>
                    <a:lnTo>
                      <a:pt x="5453" y="506"/>
                    </a:lnTo>
                    <a:lnTo>
                      <a:pt x="5438" y="489"/>
                    </a:lnTo>
                    <a:lnTo>
                      <a:pt x="5427" y="504"/>
                    </a:lnTo>
                    <a:lnTo>
                      <a:pt x="5413" y="517"/>
                    </a:lnTo>
                    <a:lnTo>
                      <a:pt x="5387" y="525"/>
                    </a:lnTo>
                    <a:lnTo>
                      <a:pt x="5392" y="478"/>
                    </a:lnTo>
                    <a:lnTo>
                      <a:pt x="5372" y="480"/>
                    </a:lnTo>
                    <a:lnTo>
                      <a:pt x="5355" y="478"/>
                    </a:lnTo>
                    <a:lnTo>
                      <a:pt x="5352" y="451"/>
                    </a:lnTo>
                    <a:lnTo>
                      <a:pt x="5335" y="435"/>
                    </a:lnTo>
                    <a:lnTo>
                      <a:pt x="5316" y="446"/>
                    </a:lnTo>
                    <a:lnTo>
                      <a:pt x="5295" y="469"/>
                    </a:lnTo>
                    <a:lnTo>
                      <a:pt x="5284" y="443"/>
                    </a:lnTo>
                    <a:lnTo>
                      <a:pt x="5268" y="446"/>
                    </a:lnTo>
                    <a:lnTo>
                      <a:pt x="5255" y="481"/>
                    </a:lnTo>
                    <a:lnTo>
                      <a:pt x="5239" y="465"/>
                    </a:lnTo>
                    <a:lnTo>
                      <a:pt x="5215" y="452"/>
                    </a:lnTo>
                    <a:lnTo>
                      <a:pt x="5204" y="472"/>
                    </a:lnTo>
                    <a:lnTo>
                      <a:pt x="5189" y="480"/>
                    </a:lnTo>
                    <a:lnTo>
                      <a:pt x="5167" y="456"/>
                    </a:lnTo>
                    <a:lnTo>
                      <a:pt x="5157" y="470"/>
                    </a:lnTo>
                    <a:lnTo>
                      <a:pt x="5147" y="459"/>
                    </a:lnTo>
                    <a:lnTo>
                      <a:pt x="5114" y="488"/>
                    </a:lnTo>
                    <a:lnTo>
                      <a:pt x="5101" y="478"/>
                    </a:lnTo>
                    <a:lnTo>
                      <a:pt x="5099" y="441"/>
                    </a:lnTo>
                    <a:lnTo>
                      <a:pt x="5073" y="460"/>
                    </a:lnTo>
                    <a:lnTo>
                      <a:pt x="5065" y="449"/>
                    </a:lnTo>
                    <a:lnTo>
                      <a:pt x="5041" y="428"/>
                    </a:lnTo>
                    <a:lnTo>
                      <a:pt x="5024" y="430"/>
                    </a:lnTo>
                    <a:lnTo>
                      <a:pt x="5017" y="449"/>
                    </a:lnTo>
                    <a:lnTo>
                      <a:pt x="4990" y="475"/>
                    </a:lnTo>
                    <a:lnTo>
                      <a:pt x="4991" y="433"/>
                    </a:lnTo>
                    <a:lnTo>
                      <a:pt x="4972" y="423"/>
                    </a:lnTo>
                    <a:lnTo>
                      <a:pt x="4951" y="431"/>
                    </a:lnTo>
                    <a:lnTo>
                      <a:pt x="4935" y="435"/>
                    </a:lnTo>
                    <a:lnTo>
                      <a:pt x="4922" y="451"/>
                    </a:lnTo>
                    <a:lnTo>
                      <a:pt x="4896" y="433"/>
                    </a:lnTo>
                    <a:lnTo>
                      <a:pt x="4879" y="438"/>
                    </a:lnTo>
                    <a:lnTo>
                      <a:pt x="4880" y="489"/>
                    </a:lnTo>
                    <a:lnTo>
                      <a:pt x="4861" y="481"/>
                    </a:lnTo>
                    <a:lnTo>
                      <a:pt x="4845" y="469"/>
                    </a:lnTo>
                    <a:lnTo>
                      <a:pt x="4827" y="485"/>
                    </a:lnTo>
                    <a:lnTo>
                      <a:pt x="4805" y="486"/>
                    </a:lnTo>
                    <a:lnTo>
                      <a:pt x="4800" y="457"/>
                    </a:lnTo>
                    <a:lnTo>
                      <a:pt x="4782" y="456"/>
                    </a:lnTo>
                    <a:lnTo>
                      <a:pt x="4782" y="431"/>
                    </a:lnTo>
                    <a:lnTo>
                      <a:pt x="4760" y="433"/>
                    </a:lnTo>
                    <a:lnTo>
                      <a:pt x="4729" y="441"/>
                    </a:lnTo>
                    <a:lnTo>
                      <a:pt x="4739" y="404"/>
                    </a:lnTo>
                    <a:lnTo>
                      <a:pt x="4732" y="423"/>
                    </a:lnTo>
                    <a:lnTo>
                      <a:pt x="4695" y="411"/>
                    </a:lnTo>
                    <a:lnTo>
                      <a:pt x="4732" y="462"/>
                    </a:lnTo>
                    <a:lnTo>
                      <a:pt x="4707" y="459"/>
                    </a:lnTo>
                    <a:lnTo>
                      <a:pt x="4687" y="456"/>
                    </a:lnTo>
                    <a:lnTo>
                      <a:pt x="4676" y="443"/>
                    </a:lnTo>
                    <a:lnTo>
                      <a:pt x="4658" y="477"/>
                    </a:lnTo>
                    <a:lnTo>
                      <a:pt x="4650" y="444"/>
                    </a:lnTo>
                    <a:lnTo>
                      <a:pt x="4654" y="428"/>
                    </a:lnTo>
                    <a:lnTo>
                      <a:pt x="4620" y="441"/>
                    </a:lnTo>
                    <a:lnTo>
                      <a:pt x="4613" y="425"/>
                    </a:lnTo>
                    <a:lnTo>
                      <a:pt x="4589" y="448"/>
                    </a:lnTo>
                    <a:lnTo>
                      <a:pt x="4585" y="433"/>
                    </a:lnTo>
                    <a:lnTo>
                      <a:pt x="4564" y="402"/>
                    </a:lnTo>
                    <a:lnTo>
                      <a:pt x="4556" y="440"/>
                    </a:lnTo>
                    <a:lnTo>
                      <a:pt x="4538" y="438"/>
                    </a:lnTo>
                    <a:lnTo>
                      <a:pt x="4509" y="412"/>
                    </a:lnTo>
                    <a:lnTo>
                      <a:pt x="4507" y="430"/>
                    </a:lnTo>
                    <a:lnTo>
                      <a:pt x="4491" y="433"/>
                    </a:lnTo>
                    <a:lnTo>
                      <a:pt x="4474" y="427"/>
                    </a:lnTo>
                    <a:lnTo>
                      <a:pt x="4457" y="419"/>
                    </a:lnTo>
                    <a:lnTo>
                      <a:pt x="4451" y="388"/>
                    </a:lnTo>
                    <a:lnTo>
                      <a:pt x="4435" y="382"/>
                    </a:lnTo>
                    <a:lnTo>
                      <a:pt x="4419" y="423"/>
                    </a:lnTo>
                    <a:lnTo>
                      <a:pt x="4417" y="425"/>
                    </a:lnTo>
                    <a:lnTo>
                      <a:pt x="4372" y="407"/>
                    </a:lnTo>
                    <a:lnTo>
                      <a:pt x="4395" y="446"/>
                    </a:lnTo>
                    <a:lnTo>
                      <a:pt x="4372" y="438"/>
                    </a:lnTo>
                    <a:lnTo>
                      <a:pt x="4369" y="475"/>
                    </a:lnTo>
                    <a:lnTo>
                      <a:pt x="4358" y="440"/>
                    </a:lnTo>
                    <a:lnTo>
                      <a:pt x="4332" y="460"/>
                    </a:lnTo>
                    <a:lnTo>
                      <a:pt x="4316" y="459"/>
                    </a:lnTo>
                    <a:lnTo>
                      <a:pt x="4313" y="441"/>
                    </a:lnTo>
                    <a:lnTo>
                      <a:pt x="4308" y="414"/>
                    </a:lnTo>
                    <a:lnTo>
                      <a:pt x="4289" y="419"/>
                    </a:lnTo>
                    <a:lnTo>
                      <a:pt x="4271" y="401"/>
                    </a:lnTo>
                    <a:lnTo>
                      <a:pt x="4247" y="402"/>
                    </a:lnTo>
                    <a:lnTo>
                      <a:pt x="4261" y="448"/>
                    </a:lnTo>
                    <a:lnTo>
                      <a:pt x="4245" y="449"/>
                    </a:lnTo>
                    <a:lnTo>
                      <a:pt x="4226" y="435"/>
                    </a:lnTo>
                    <a:lnTo>
                      <a:pt x="4202" y="460"/>
                    </a:lnTo>
                    <a:lnTo>
                      <a:pt x="4184" y="460"/>
                    </a:lnTo>
                    <a:lnTo>
                      <a:pt x="4183" y="454"/>
                    </a:lnTo>
                    <a:lnTo>
                      <a:pt x="4160" y="449"/>
                    </a:lnTo>
                    <a:lnTo>
                      <a:pt x="4165" y="478"/>
                    </a:lnTo>
                    <a:lnTo>
                      <a:pt x="4134" y="460"/>
                    </a:lnTo>
                    <a:lnTo>
                      <a:pt x="4131" y="446"/>
                    </a:lnTo>
                    <a:lnTo>
                      <a:pt x="4126" y="428"/>
                    </a:lnTo>
                    <a:lnTo>
                      <a:pt x="4115" y="420"/>
                    </a:lnTo>
                    <a:lnTo>
                      <a:pt x="4088" y="428"/>
                    </a:lnTo>
                    <a:lnTo>
                      <a:pt x="4072" y="428"/>
                    </a:lnTo>
                    <a:lnTo>
                      <a:pt x="4059" y="465"/>
                    </a:lnTo>
                    <a:lnTo>
                      <a:pt x="4043" y="425"/>
                    </a:lnTo>
                    <a:lnTo>
                      <a:pt x="4023" y="433"/>
                    </a:lnTo>
                    <a:lnTo>
                      <a:pt x="4019" y="402"/>
                    </a:lnTo>
                    <a:lnTo>
                      <a:pt x="4004" y="383"/>
                    </a:lnTo>
                    <a:lnTo>
                      <a:pt x="3978" y="414"/>
                    </a:lnTo>
                    <a:lnTo>
                      <a:pt x="3969" y="383"/>
                    </a:lnTo>
                    <a:lnTo>
                      <a:pt x="3956" y="427"/>
                    </a:lnTo>
                    <a:lnTo>
                      <a:pt x="3928" y="409"/>
                    </a:lnTo>
                    <a:lnTo>
                      <a:pt x="3908" y="411"/>
                    </a:lnTo>
                    <a:lnTo>
                      <a:pt x="3898" y="422"/>
                    </a:lnTo>
                    <a:lnTo>
                      <a:pt x="3930" y="465"/>
                    </a:lnTo>
                    <a:lnTo>
                      <a:pt x="3893" y="444"/>
                    </a:lnTo>
                    <a:lnTo>
                      <a:pt x="3887" y="467"/>
                    </a:lnTo>
                    <a:lnTo>
                      <a:pt x="3871" y="481"/>
                    </a:lnTo>
                    <a:lnTo>
                      <a:pt x="3866" y="435"/>
                    </a:lnTo>
                    <a:lnTo>
                      <a:pt x="3832" y="467"/>
                    </a:lnTo>
                    <a:lnTo>
                      <a:pt x="3827" y="440"/>
                    </a:lnTo>
                    <a:lnTo>
                      <a:pt x="3821" y="414"/>
                    </a:lnTo>
                    <a:lnTo>
                      <a:pt x="3803" y="406"/>
                    </a:lnTo>
                    <a:lnTo>
                      <a:pt x="3787" y="399"/>
                    </a:lnTo>
                    <a:lnTo>
                      <a:pt x="3763" y="415"/>
                    </a:lnTo>
                    <a:lnTo>
                      <a:pt x="3734" y="394"/>
                    </a:lnTo>
                    <a:lnTo>
                      <a:pt x="3745" y="452"/>
                    </a:lnTo>
                    <a:lnTo>
                      <a:pt x="3710" y="417"/>
                    </a:lnTo>
                    <a:lnTo>
                      <a:pt x="3697" y="420"/>
                    </a:lnTo>
                    <a:lnTo>
                      <a:pt x="3686" y="438"/>
                    </a:lnTo>
                    <a:lnTo>
                      <a:pt x="3668" y="462"/>
                    </a:lnTo>
                    <a:lnTo>
                      <a:pt x="3653" y="440"/>
                    </a:lnTo>
                    <a:lnTo>
                      <a:pt x="3642" y="425"/>
                    </a:lnTo>
                    <a:lnTo>
                      <a:pt x="3626" y="456"/>
                    </a:lnTo>
                    <a:lnTo>
                      <a:pt x="3604" y="422"/>
                    </a:lnTo>
                    <a:lnTo>
                      <a:pt x="3605" y="449"/>
                    </a:lnTo>
                    <a:lnTo>
                      <a:pt x="3602" y="469"/>
                    </a:lnTo>
                    <a:lnTo>
                      <a:pt x="3576" y="435"/>
                    </a:lnTo>
                    <a:lnTo>
                      <a:pt x="3554" y="469"/>
                    </a:lnTo>
                    <a:lnTo>
                      <a:pt x="3546" y="448"/>
                    </a:lnTo>
                    <a:lnTo>
                      <a:pt x="3533" y="462"/>
                    </a:lnTo>
                    <a:lnTo>
                      <a:pt x="3510" y="436"/>
                    </a:lnTo>
                    <a:lnTo>
                      <a:pt x="3525" y="477"/>
                    </a:lnTo>
                    <a:lnTo>
                      <a:pt x="3504" y="475"/>
                    </a:lnTo>
                    <a:lnTo>
                      <a:pt x="3483" y="489"/>
                    </a:lnTo>
                    <a:lnTo>
                      <a:pt x="3457" y="481"/>
                    </a:lnTo>
                    <a:lnTo>
                      <a:pt x="3448" y="469"/>
                    </a:lnTo>
                    <a:lnTo>
                      <a:pt x="3446" y="448"/>
                    </a:lnTo>
                    <a:lnTo>
                      <a:pt x="3438" y="440"/>
                    </a:lnTo>
                    <a:lnTo>
                      <a:pt x="3430" y="452"/>
                    </a:lnTo>
                    <a:lnTo>
                      <a:pt x="3422" y="477"/>
                    </a:lnTo>
                    <a:lnTo>
                      <a:pt x="3395" y="464"/>
                    </a:lnTo>
                    <a:lnTo>
                      <a:pt x="3372" y="435"/>
                    </a:lnTo>
                    <a:lnTo>
                      <a:pt x="3364" y="478"/>
                    </a:lnTo>
                    <a:lnTo>
                      <a:pt x="3343" y="494"/>
                    </a:lnTo>
                    <a:lnTo>
                      <a:pt x="3330" y="460"/>
                    </a:lnTo>
                    <a:lnTo>
                      <a:pt x="3308" y="481"/>
                    </a:lnTo>
                    <a:lnTo>
                      <a:pt x="3300" y="462"/>
                    </a:lnTo>
                    <a:lnTo>
                      <a:pt x="3277" y="443"/>
                    </a:lnTo>
                    <a:lnTo>
                      <a:pt x="3272" y="477"/>
                    </a:lnTo>
                    <a:lnTo>
                      <a:pt x="3256" y="448"/>
                    </a:lnTo>
                    <a:lnTo>
                      <a:pt x="3258" y="441"/>
                    </a:lnTo>
                    <a:lnTo>
                      <a:pt x="3206" y="469"/>
                    </a:lnTo>
                    <a:lnTo>
                      <a:pt x="3208" y="446"/>
                    </a:lnTo>
                    <a:lnTo>
                      <a:pt x="3208" y="415"/>
                    </a:lnTo>
                    <a:lnTo>
                      <a:pt x="3182" y="414"/>
                    </a:lnTo>
                    <a:lnTo>
                      <a:pt x="3176" y="440"/>
                    </a:lnTo>
                    <a:lnTo>
                      <a:pt x="3160" y="459"/>
                    </a:lnTo>
                    <a:lnTo>
                      <a:pt x="3152" y="423"/>
                    </a:lnTo>
                    <a:lnTo>
                      <a:pt x="3116" y="452"/>
                    </a:lnTo>
                    <a:lnTo>
                      <a:pt x="3112" y="428"/>
                    </a:lnTo>
                    <a:lnTo>
                      <a:pt x="3099" y="391"/>
                    </a:lnTo>
                    <a:lnTo>
                      <a:pt x="3083" y="417"/>
                    </a:lnTo>
                    <a:lnTo>
                      <a:pt x="3068" y="419"/>
                    </a:lnTo>
                    <a:lnTo>
                      <a:pt x="3052" y="420"/>
                    </a:lnTo>
                    <a:lnTo>
                      <a:pt x="3038" y="428"/>
                    </a:lnTo>
                    <a:lnTo>
                      <a:pt x="3022" y="428"/>
                    </a:lnTo>
                    <a:lnTo>
                      <a:pt x="3005" y="440"/>
                    </a:lnTo>
                    <a:lnTo>
                      <a:pt x="2991" y="399"/>
                    </a:lnTo>
                    <a:lnTo>
                      <a:pt x="2970" y="407"/>
                    </a:lnTo>
                    <a:lnTo>
                      <a:pt x="2952" y="420"/>
                    </a:lnTo>
                    <a:lnTo>
                      <a:pt x="2959" y="467"/>
                    </a:lnTo>
                    <a:lnTo>
                      <a:pt x="2925" y="431"/>
                    </a:lnTo>
                    <a:lnTo>
                      <a:pt x="2901" y="473"/>
                    </a:lnTo>
                    <a:lnTo>
                      <a:pt x="2901" y="427"/>
                    </a:lnTo>
                    <a:lnTo>
                      <a:pt x="2886" y="423"/>
                    </a:lnTo>
                    <a:lnTo>
                      <a:pt x="2867" y="422"/>
                    </a:lnTo>
                    <a:lnTo>
                      <a:pt x="2841" y="425"/>
                    </a:lnTo>
                    <a:lnTo>
                      <a:pt x="2838" y="388"/>
                    </a:lnTo>
                    <a:lnTo>
                      <a:pt x="2833" y="422"/>
                    </a:lnTo>
                    <a:lnTo>
                      <a:pt x="2800" y="401"/>
                    </a:lnTo>
                    <a:lnTo>
                      <a:pt x="2795" y="420"/>
                    </a:lnTo>
                    <a:lnTo>
                      <a:pt x="2788" y="438"/>
                    </a:lnTo>
                    <a:lnTo>
                      <a:pt x="2795" y="406"/>
                    </a:lnTo>
                    <a:lnTo>
                      <a:pt x="2764" y="419"/>
                    </a:lnTo>
                    <a:lnTo>
                      <a:pt x="2747" y="417"/>
                    </a:lnTo>
                    <a:lnTo>
                      <a:pt x="2745" y="388"/>
                    </a:lnTo>
                    <a:lnTo>
                      <a:pt x="2722" y="386"/>
                    </a:lnTo>
                    <a:lnTo>
                      <a:pt x="2703" y="377"/>
                    </a:lnTo>
                    <a:lnTo>
                      <a:pt x="2698" y="422"/>
                    </a:lnTo>
                    <a:lnTo>
                      <a:pt x="2684" y="436"/>
                    </a:lnTo>
                    <a:lnTo>
                      <a:pt x="2666" y="419"/>
                    </a:lnTo>
                    <a:lnTo>
                      <a:pt x="2648" y="412"/>
                    </a:lnTo>
                    <a:lnTo>
                      <a:pt x="2644" y="446"/>
                    </a:lnTo>
                    <a:lnTo>
                      <a:pt x="2623" y="443"/>
                    </a:lnTo>
                    <a:lnTo>
                      <a:pt x="2603" y="462"/>
                    </a:lnTo>
                    <a:lnTo>
                      <a:pt x="2595" y="404"/>
                    </a:lnTo>
                    <a:lnTo>
                      <a:pt x="2566" y="444"/>
                    </a:lnTo>
                    <a:lnTo>
                      <a:pt x="2557" y="420"/>
                    </a:lnTo>
                    <a:lnTo>
                      <a:pt x="2539" y="422"/>
                    </a:lnTo>
                    <a:lnTo>
                      <a:pt x="2528" y="446"/>
                    </a:lnTo>
                    <a:lnTo>
                      <a:pt x="2509" y="462"/>
                    </a:lnTo>
                    <a:lnTo>
                      <a:pt x="2497" y="422"/>
                    </a:lnTo>
                    <a:lnTo>
                      <a:pt x="2470" y="454"/>
                    </a:lnTo>
                    <a:lnTo>
                      <a:pt x="2465" y="396"/>
                    </a:lnTo>
                    <a:lnTo>
                      <a:pt x="2446" y="409"/>
                    </a:lnTo>
                    <a:lnTo>
                      <a:pt x="2435" y="448"/>
                    </a:lnTo>
                    <a:lnTo>
                      <a:pt x="2420" y="406"/>
                    </a:lnTo>
                    <a:lnTo>
                      <a:pt x="2407" y="409"/>
                    </a:lnTo>
                    <a:lnTo>
                      <a:pt x="2386" y="412"/>
                    </a:lnTo>
                    <a:lnTo>
                      <a:pt x="2374" y="382"/>
                    </a:lnTo>
                    <a:lnTo>
                      <a:pt x="2353" y="399"/>
                    </a:lnTo>
                    <a:lnTo>
                      <a:pt x="2333" y="391"/>
                    </a:lnTo>
                    <a:lnTo>
                      <a:pt x="2324" y="411"/>
                    </a:lnTo>
                    <a:lnTo>
                      <a:pt x="2312" y="402"/>
                    </a:lnTo>
                    <a:lnTo>
                      <a:pt x="2308" y="380"/>
                    </a:lnTo>
                    <a:lnTo>
                      <a:pt x="2272" y="402"/>
                    </a:lnTo>
                    <a:lnTo>
                      <a:pt x="2274" y="353"/>
                    </a:lnTo>
                    <a:lnTo>
                      <a:pt x="2250" y="382"/>
                    </a:lnTo>
                    <a:lnTo>
                      <a:pt x="2226" y="398"/>
                    </a:lnTo>
                    <a:lnTo>
                      <a:pt x="2219" y="370"/>
                    </a:lnTo>
                    <a:lnTo>
                      <a:pt x="2197" y="375"/>
                    </a:lnTo>
                    <a:lnTo>
                      <a:pt x="2193" y="325"/>
                    </a:lnTo>
                    <a:lnTo>
                      <a:pt x="2184" y="377"/>
                    </a:lnTo>
                    <a:lnTo>
                      <a:pt x="2158" y="362"/>
                    </a:lnTo>
                    <a:lnTo>
                      <a:pt x="2140" y="388"/>
                    </a:lnTo>
                    <a:lnTo>
                      <a:pt x="2115" y="377"/>
                    </a:lnTo>
                    <a:lnTo>
                      <a:pt x="2131" y="343"/>
                    </a:lnTo>
                    <a:lnTo>
                      <a:pt x="2134" y="320"/>
                    </a:lnTo>
                    <a:lnTo>
                      <a:pt x="2099" y="353"/>
                    </a:lnTo>
                    <a:lnTo>
                      <a:pt x="2094" y="341"/>
                    </a:lnTo>
                    <a:lnTo>
                      <a:pt x="2087" y="361"/>
                    </a:lnTo>
                    <a:lnTo>
                      <a:pt x="2057" y="328"/>
                    </a:lnTo>
                    <a:lnTo>
                      <a:pt x="2052" y="370"/>
                    </a:lnTo>
                    <a:lnTo>
                      <a:pt x="2041" y="338"/>
                    </a:lnTo>
                    <a:lnTo>
                      <a:pt x="2015" y="361"/>
                    </a:lnTo>
                    <a:lnTo>
                      <a:pt x="2017" y="307"/>
                    </a:lnTo>
                    <a:lnTo>
                      <a:pt x="1989" y="353"/>
                    </a:lnTo>
                    <a:lnTo>
                      <a:pt x="1984" y="299"/>
                    </a:lnTo>
                    <a:lnTo>
                      <a:pt x="1960" y="332"/>
                    </a:lnTo>
                    <a:lnTo>
                      <a:pt x="1951" y="314"/>
                    </a:lnTo>
                    <a:lnTo>
                      <a:pt x="1926" y="317"/>
                    </a:lnTo>
                    <a:lnTo>
                      <a:pt x="1923" y="301"/>
                    </a:lnTo>
                    <a:lnTo>
                      <a:pt x="1898" y="290"/>
                    </a:lnTo>
                    <a:lnTo>
                      <a:pt x="1907" y="330"/>
                    </a:lnTo>
                    <a:lnTo>
                      <a:pt x="1862" y="301"/>
                    </a:lnTo>
                    <a:lnTo>
                      <a:pt x="1867" y="319"/>
                    </a:lnTo>
                    <a:lnTo>
                      <a:pt x="1859" y="325"/>
                    </a:lnTo>
                    <a:lnTo>
                      <a:pt x="1848" y="317"/>
                    </a:lnTo>
                    <a:lnTo>
                      <a:pt x="1832" y="312"/>
                    </a:lnTo>
                    <a:lnTo>
                      <a:pt x="1819" y="324"/>
                    </a:lnTo>
                    <a:lnTo>
                      <a:pt x="1814" y="309"/>
                    </a:lnTo>
                    <a:lnTo>
                      <a:pt x="1796" y="283"/>
                    </a:lnTo>
                    <a:lnTo>
                      <a:pt x="1780" y="303"/>
                    </a:lnTo>
                    <a:lnTo>
                      <a:pt x="1775" y="267"/>
                    </a:lnTo>
                    <a:lnTo>
                      <a:pt x="1745" y="309"/>
                    </a:lnTo>
                    <a:lnTo>
                      <a:pt x="1737" y="296"/>
                    </a:lnTo>
                    <a:lnTo>
                      <a:pt x="1727" y="317"/>
                    </a:lnTo>
                    <a:lnTo>
                      <a:pt x="1698" y="269"/>
                    </a:lnTo>
                    <a:lnTo>
                      <a:pt x="1688" y="296"/>
                    </a:lnTo>
                    <a:lnTo>
                      <a:pt x="1684" y="274"/>
                    </a:lnTo>
                    <a:lnTo>
                      <a:pt x="1648" y="285"/>
                    </a:lnTo>
                    <a:lnTo>
                      <a:pt x="1643" y="277"/>
                    </a:lnTo>
                    <a:lnTo>
                      <a:pt x="1632" y="259"/>
                    </a:lnTo>
                    <a:lnTo>
                      <a:pt x="1631" y="288"/>
                    </a:lnTo>
                    <a:lnTo>
                      <a:pt x="1616" y="293"/>
                    </a:lnTo>
                    <a:lnTo>
                      <a:pt x="1590" y="304"/>
                    </a:lnTo>
                    <a:lnTo>
                      <a:pt x="1581" y="275"/>
                    </a:lnTo>
                    <a:lnTo>
                      <a:pt x="1566" y="266"/>
                    </a:lnTo>
                    <a:lnTo>
                      <a:pt x="1590" y="228"/>
                    </a:lnTo>
                    <a:lnTo>
                      <a:pt x="1560" y="235"/>
                    </a:lnTo>
                    <a:lnTo>
                      <a:pt x="1544" y="237"/>
                    </a:lnTo>
                    <a:lnTo>
                      <a:pt x="1544" y="267"/>
                    </a:lnTo>
                    <a:lnTo>
                      <a:pt x="1508" y="232"/>
                    </a:lnTo>
                    <a:lnTo>
                      <a:pt x="1508" y="283"/>
                    </a:lnTo>
                    <a:lnTo>
                      <a:pt x="1484" y="283"/>
                    </a:lnTo>
                    <a:lnTo>
                      <a:pt x="1468" y="282"/>
                    </a:lnTo>
                    <a:lnTo>
                      <a:pt x="1460" y="251"/>
                    </a:lnTo>
                    <a:lnTo>
                      <a:pt x="1431" y="251"/>
                    </a:lnTo>
                    <a:lnTo>
                      <a:pt x="1442" y="224"/>
                    </a:lnTo>
                    <a:lnTo>
                      <a:pt x="1439" y="206"/>
                    </a:lnTo>
                    <a:lnTo>
                      <a:pt x="1430" y="183"/>
                    </a:lnTo>
                    <a:lnTo>
                      <a:pt x="1415" y="211"/>
                    </a:lnTo>
                    <a:lnTo>
                      <a:pt x="1388" y="190"/>
                    </a:lnTo>
                    <a:lnTo>
                      <a:pt x="1385" y="199"/>
                    </a:lnTo>
                    <a:lnTo>
                      <a:pt x="1388" y="198"/>
                    </a:lnTo>
                    <a:lnTo>
                      <a:pt x="1375" y="217"/>
                    </a:lnTo>
                    <a:lnTo>
                      <a:pt x="1380" y="208"/>
                    </a:lnTo>
                    <a:lnTo>
                      <a:pt x="1385" y="199"/>
                    </a:lnTo>
                    <a:lnTo>
                      <a:pt x="1332" y="214"/>
                    </a:lnTo>
                    <a:lnTo>
                      <a:pt x="1333" y="193"/>
                    </a:lnTo>
                    <a:lnTo>
                      <a:pt x="1341" y="166"/>
                    </a:lnTo>
                    <a:lnTo>
                      <a:pt x="1322" y="172"/>
                    </a:lnTo>
                    <a:lnTo>
                      <a:pt x="1304" y="185"/>
                    </a:lnTo>
                    <a:lnTo>
                      <a:pt x="1293" y="167"/>
                    </a:lnTo>
                    <a:lnTo>
                      <a:pt x="1272" y="162"/>
                    </a:lnTo>
                    <a:lnTo>
                      <a:pt x="1250" y="161"/>
                    </a:lnTo>
                    <a:lnTo>
                      <a:pt x="1262" y="198"/>
                    </a:lnTo>
                    <a:lnTo>
                      <a:pt x="1246" y="201"/>
                    </a:lnTo>
                    <a:lnTo>
                      <a:pt x="1235" y="195"/>
                    </a:lnTo>
                    <a:lnTo>
                      <a:pt x="1229" y="193"/>
                    </a:lnTo>
                    <a:lnTo>
                      <a:pt x="1221" y="174"/>
                    </a:lnTo>
                    <a:lnTo>
                      <a:pt x="1180" y="206"/>
                    </a:lnTo>
                    <a:lnTo>
                      <a:pt x="1180" y="175"/>
                    </a:lnTo>
                    <a:lnTo>
                      <a:pt x="1168" y="164"/>
                    </a:lnTo>
                    <a:lnTo>
                      <a:pt x="1147" y="175"/>
                    </a:lnTo>
                    <a:lnTo>
                      <a:pt x="1129" y="182"/>
                    </a:lnTo>
                    <a:lnTo>
                      <a:pt x="1118" y="166"/>
                    </a:lnTo>
                    <a:lnTo>
                      <a:pt x="1108" y="177"/>
                    </a:lnTo>
                    <a:lnTo>
                      <a:pt x="1103" y="179"/>
                    </a:lnTo>
                    <a:lnTo>
                      <a:pt x="1082" y="167"/>
                    </a:lnTo>
                    <a:lnTo>
                      <a:pt x="1066" y="162"/>
                    </a:lnTo>
                    <a:lnTo>
                      <a:pt x="1049" y="193"/>
                    </a:lnTo>
                    <a:lnTo>
                      <a:pt x="1069" y="143"/>
                    </a:lnTo>
                    <a:lnTo>
                      <a:pt x="1026" y="156"/>
                    </a:lnTo>
                    <a:lnTo>
                      <a:pt x="1003" y="153"/>
                    </a:lnTo>
                    <a:lnTo>
                      <a:pt x="1020" y="114"/>
                    </a:lnTo>
                    <a:lnTo>
                      <a:pt x="995" y="114"/>
                    </a:lnTo>
                    <a:lnTo>
                      <a:pt x="975" y="106"/>
                    </a:lnTo>
                    <a:lnTo>
                      <a:pt x="967" y="151"/>
                    </a:lnTo>
                    <a:lnTo>
                      <a:pt x="941" y="151"/>
                    </a:lnTo>
                    <a:lnTo>
                      <a:pt x="928" y="140"/>
                    </a:lnTo>
                    <a:lnTo>
                      <a:pt x="925" y="140"/>
                    </a:lnTo>
                    <a:lnTo>
                      <a:pt x="909" y="116"/>
                    </a:lnTo>
                    <a:lnTo>
                      <a:pt x="884" y="108"/>
                    </a:lnTo>
                    <a:lnTo>
                      <a:pt x="875" y="137"/>
                    </a:lnTo>
                    <a:lnTo>
                      <a:pt x="843" y="137"/>
                    </a:lnTo>
                    <a:lnTo>
                      <a:pt x="872" y="96"/>
                    </a:lnTo>
                    <a:lnTo>
                      <a:pt x="825" y="108"/>
                    </a:lnTo>
                    <a:lnTo>
                      <a:pt x="844" y="69"/>
                    </a:lnTo>
                    <a:lnTo>
                      <a:pt x="822" y="98"/>
                    </a:lnTo>
                    <a:lnTo>
                      <a:pt x="806" y="109"/>
                    </a:lnTo>
                    <a:lnTo>
                      <a:pt x="796" y="46"/>
                    </a:lnTo>
                    <a:lnTo>
                      <a:pt x="770" y="93"/>
                    </a:lnTo>
                    <a:lnTo>
                      <a:pt x="762" y="67"/>
                    </a:lnTo>
                    <a:lnTo>
                      <a:pt x="746" y="63"/>
                    </a:lnTo>
                    <a:lnTo>
                      <a:pt x="720" y="53"/>
                    </a:lnTo>
                    <a:lnTo>
                      <a:pt x="727" y="90"/>
                    </a:lnTo>
                    <a:lnTo>
                      <a:pt x="714" y="100"/>
                    </a:lnTo>
                    <a:lnTo>
                      <a:pt x="695" y="75"/>
                    </a:lnTo>
                    <a:lnTo>
                      <a:pt x="672" y="103"/>
                    </a:lnTo>
                    <a:lnTo>
                      <a:pt x="682" y="59"/>
                    </a:lnTo>
                    <a:lnTo>
                      <a:pt x="648" y="85"/>
                    </a:lnTo>
                    <a:lnTo>
                      <a:pt x="635" y="95"/>
                    </a:lnTo>
                    <a:lnTo>
                      <a:pt x="621" y="77"/>
                    </a:lnTo>
                    <a:lnTo>
                      <a:pt x="608" y="98"/>
                    </a:lnTo>
                    <a:lnTo>
                      <a:pt x="589" y="58"/>
                    </a:lnTo>
                    <a:lnTo>
                      <a:pt x="574" y="63"/>
                    </a:lnTo>
                    <a:lnTo>
                      <a:pt x="555" y="45"/>
                    </a:lnTo>
                    <a:lnTo>
                      <a:pt x="539" y="51"/>
                    </a:lnTo>
                    <a:lnTo>
                      <a:pt x="534" y="109"/>
                    </a:lnTo>
                    <a:lnTo>
                      <a:pt x="507" y="114"/>
                    </a:lnTo>
                    <a:lnTo>
                      <a:pt x="492" y="87"/>
                    </a:lnTo>
                    <a:lnTo>
                      <a:pt x="484" y="67"/>
                    </a:lnTo>
                    <a:lnTo>
                      <a:pt x="476" y="40"/>
                    </a:lnTo>
                    <a:lnTo>
                      <a:pt x="447" y="87"/>
                    </a:lnTo>
                    <a:lnTo>
                      <a:pt x="434" y="75"/>
                    </a:lnTo>
                    <a:lnTo>
                      <a:pt x="420" y="63"/>
                    </a:lnTo>
                    <a:lnTo>
                      <a:pt x="407" y="50"/>
                    </a:lnTo>
                    <a:lnTo>
                      <a:pt x="394" y="38"/>
                    </a:lnTo>
                    <a:lnTo>
                      <a:pt x="381" y="22"/>
                    </a:lnTo>
                    <a:lnTo>
                      <a:pt x="365" y="48"/>
                    </a:lnTo>
                    <a:lnTo>
                      <a:pt x="346" y="1"/>
                    </a:lnTo>
                    <a:lnTo>
                      <a:pt x="333" y="35"/>
                    </a:lnTo>
                    <a:lnTo>
                      <a:pt x="325" y="13"/>
                    </a:lnTo>
                    <a:lnTo>
                      <a:pt x="314" y="0"/>
                    </a:lnTo>
                    <a:lnTo>
                      <a:pt x="288" y="19"/>
                    </a:lnTo>
                    <a:lnTo>
                      <a:pt x="275" y="24"/>
                    </a:lnTo>
                    <a:lnTo>
                      <a:pt x="259" y="24"/>
                    </a:lnTo>
                    <a:lnTo>
                      <a:pt x="251" y="45"/>
                    </a:lnTo>
                    <a:lnTo>
                      <a:pt x="240" y="51"/>
                    </a:lnTo>
                    <a:lnTo>
                      <a:pt x="214" y="34"/>
                    </a:lnTo>
                    <a:lnTo>
                      <a:pt x="187" y="16"/>
                    </a:lnTo>
                    <a:lnTo>
                      <a:pt x="182" y="46"/>
                    </a:lnTo>
                    <a:lnTo>
                      <a:pt x="169" y="59"/>
                    </a:lnTo>
                    <a:lnTo>
                      <a:pt x="151" y="50"/>
                    </a:lnTo>
                    <a:lnTo>
                      <a:pt x="142" y="43"/>
                    </a:lnTo>
                    <a:lnTo>
                      <a:pt x="121" y="38"/>
                    </a:lnTo>
                    <a:lnTo>
                      <a:pt x="106" y="30"/>
                    </a:lnTo>
                    <a:lnTo>
                      <a:pt x="106" y="17"/>
                    </a:lnTo>
                    <a:lnTo>
                      <a:pt x="85" y="5"/>
                    </a:lnTo>
                    <a:lnTo>
                      <a:pt x="71" y="14"/>
                    </a:lnTo>
                    <a:lnTo>
                      <a:pt x="68" y="48"/>
                    </a:lnTo>
                    <a:lnTo>
                      <a:pt x="53" y="59"/>
                    </a:lnTo>
                    <a:lnTo>
                      <a:pt x="19" y="25"/>
                    </a:lnTo>
                    <a:lnTo>
                      <a:pt x="10" y="29"/>
                    </a:lnTo>
                    <a:lnTo>
                      <a:pt x="3" y="25"/>
                    </a:lnTo>
                    <a:lnTo>
                      <a:pt x="0" y="29"/>
                    </a:lnTo>
                    <a:lnTo>
                      <a:pt x="0" y="2518"/>
                    </a:lnTo>
                    <a:lnTo>
                      <a:pt x="10" y="2518"/>
                    </a:lnTo>
                    <a:close/>
                  </a:path>
                </a:pathLst>
              </a:custGeom>
              <a:solidFill>
                <a:srgbClr val="F5F5F0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75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Rechteck 81">
                <a:extLst>
                  <a:ext uri="{FF2B5EF4-FFF2-40B4-BE49-F238E27FC236}">
                    <a16:creationId xmlns:a16="http://schemas.microsoft.com/office/drawing/2014/main" id="{0C06C46B-34F7-4356-9378-AFEAB4D395DF}"/>
                  </a:ext>
                </a:extLst>
              </p:cNvPr>
              <p:cNvSpPr/>
              <p:nvPr/>
            </p:nvSpPr>
            <p:spPr bwMode="auto">
              <a:xfrm>
                <a:off x="6167820" y="5435485"/>
                <a:ext cx="967543" cy="2249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numCol="1" spcCol="72000" rtlCol="0" anchor="ctr">
                <a:noAutofit/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en-US" sz="800" dirty="0">
                    <a:solidFill>
                      <a:srgbClr val="000000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Quelle: faz</a:t>
                </a:r>
              </a:p>
            </p:txBody>
          </p:sp>
        </p:grpSp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CEF10A0D-A743-447F-A7FA-D2C03462BE73}"/>
                </a:ext>
              </a:extLst>
            </p:cNvPr>
            <p:cNvSpPr/>
            <p:nvPr/>
          </p:nvSpPr>
          <p:spPr bwMode="auto">
            <a:xfrm>
              <a:off x="743584" y="3480964"/>
              <a:ext cx="2566711" cy="70274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200" b="1" dirty="0">
                  <a:solidFill>
                    <a:srgbClr val="000000"/>
                  </a:solidFill>
                  <a:latin typeface="+mn-lt"/>
                  <a:ea typeface="Arial Unicode MS" panose="020B0604020202020204" pitchFamily="34" charset="-128"/>
                  <a:cs typeface="Aharoni" panose="020B0604020202020204" pitchFamily="2" charset="-79"/>
                </a:rPr>
                <a:t>Traditionsunternehmen wanken, Neuverschuldung für Rettungspakete bis 2058</a:t>
              </a:r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0B7E9F31-C68B-455E-9F45-D0309D16922E}"/>
                </a:ext>
              </a:extLst>
            </p:cNvPr>
            <p:cNvSpPr/>
            <p:nvPr/>
          </p:nvSpPr>
          <p:spPr bwMode="auto">
            <a:xfrm>
              <a:off x="844211" y="3278605"/>
              <a:ext cx="2333300" cy="224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800" dirty="0">
                  <a:solidFill>
                    <a:srgbClr val="000000"/>
                  </a:solidFill>
                  <a:latin typeface="+mj-lt"/>
                  <a:ea typeface="Arial Unicode MS" panose="020B0604020202020204" pitchFamily="34" charset="-128"/>
                  <a:cs typeface="Gisha" panose="020B0604020202020204" pitchFamily="34" charset="-79"/>
                </a:rPr>
                <a:t>Seit März 2020 – COVID-19 beherrscht alles</a:t>
              </a:r>
              <a:endParaRPr lang="de-DE" sz="1300" dirty="0">
                <a:solidFill>
                  <a:srgbClr val="000000"/>
                </a:solidFill>
                <a:latin typeface="+mj-lt"/>
                <a:ea typeface="Arial Unicode MS" panose="020B0604020202020204" pitchFamily="34" charset="-128"/>
                <a:cs typeface="Angsana New" panose="020B0502040204020203" pitchFamily="18" charset="-34"/>
              </a:endParaRPr>
            </a:p>
          </p:txBody>
        </p: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369A5538-C47C-4A3E-A2A6-A5967856B358}"/>
              </a:ext>
            </a:extLst>
          </p:cNvPr>
          <p:cNvGrpSpPr/>
          <p:nvPr/>
        </p:nvGrpSpPr>
        <p:grpSpPr>
          <a:xfrm>
            <a:off x="626567" y="1506322"/>
            <a:ext cx="3352718" cy="1418622"/>
            <a:chOff x="626567" y="1506322"/>
            <a:chExt cx="3352718" cy="1418622"/>
          </a:xfrm>
        </p:grpSpPr>
        <p:sp>
          <p:nvSpPr>
            <p:cNvPr id="307" name="Grafik 5">
              <a:extLst>
                <a:ext uri="{FF2B5EF4-FFF2-40B4-BE49-F238E27FC236}">
                  <a16:creationId xmlns:a16="http://schemas.microsoft.com/office/drawing/2014/main" id="{E41EC85D-36B0-4819-A103-BC56D10F4930}"/>
                </a:ext>
              </a:extLst>
            </p:cNvPr>
            <p:cNvSpPr>
              <a:spLocks/>
            </p:cNvSpPr>
            <p:nvPr/>
          </p:nvSpPr>
          <p:spPr>
            <a:xfrm>
              <a:off x="626567" y="1506322"/>
              <a:ext cx="3352718" cy="1418622"/>
            </a:xfrm>
            <a:custGeom>
              <a:avLst/>
              <a:gdLst>
                <a:gd name="connsiteX0" fmla="*/ 0 w 11363325"/>
                <a:gd name="connsiteY0" fmla="*/ 0 h 3495675"/>
                <a:gd name="connsiteX1" fmla="*/ 0 w 11363325"/>
                <a:gd name="connsiteY1" fmla="*/ 2568226 h 3495675"/>
                <a:gd name="connsiteX2" fmla="*/ 19336 w 11363325"/>
                <a:gd name="connsiteY2" fmla="*/ 2547080 h 3495675"/>
                <a:gd name="connsiteX3" fmla="*/ 91535 w 11363325"/>
                <a:gd name="connsiteY3" fmla="*/ 2541841 h 3495675"/>
                <a:gd name="connsiteX4" fmla="*/ 102775 w 11363325"/>
                <a:gd name="connsiteY4" fmla="*/ 2636520 h 3495675"/>
                <a:gd name="connsiteX5" fmla="*/ 78772 w 11363325"/>
                <a:gd name="connsiteY5" fmla="*/ 2749677 h 3495675"/>
                <a:gd name="connsiteX6" fmla="*/ 210312 w 11363325"/>
                <a:gd name="connsiteY6" fmla="*/ 2682907 h 3495675"/>
                <a:gd name="connsiteX7" fmla="*/ 278511 w 11363325"/>
                <a:gd name="connsiteY7" fmla="*/ 2680145 h 3495675"/>
                <a:gd name="connsiteX8" fmla="*/ 299847 w 11363325"/>
                <a:gd name="connsiteY8" fmla="*/ 2746153 h 3495675"/>
                <a:gd name="connsiteX9" fmla="*/ 268700 w 11363325"/>
                <a:gd name="connsiteY9" fmla="*/ 2873407 h 3495675"/>
                <a:gd name="connsiteX10" fmla="*/ 378619 w 11363325"/>
                <a:gd name="connsiteY10" fmla="*/ 2834164 h 3495675"/>
                <a:gd name="connsiteX11" fmla="*/ 383381 w 11363325"/>
                <a:gd name="connsiteY11" fmla="*/ 2910840 h 3495675"/>
                <a:gd name="connsiteX12" fmla="*/ 404241 w 11363325"/>
                <a:gd name="connsiteY12" fmla="*/ 2994470 h 3495675"/>
                <a:gd name="connsiteX13" fmla="*/ 479108 w 11363325"/>
                <a:gd name="connsiteY13" fmla="*/ 3001995 h 3495675"/>
                <a:gd name="connsiteX14" fmla="*/ 559308 w 11363325"/>
                <a:gd name="connsiteY14" fmla="*/ 2948559 h 3495675"/>
                <a:gd name="connsiteX15" fmla="*/ 590169 w 11363325"/>
                <a:gd name="connsiteY15" fmla="*/ 3082671 h 3495675"/>
                <a:gd name="connsiteX16" fmla="*/ 659035 w 11363325"/>
                <a:gd name="connsiteY16" fmla="*/ 3032570 h 3495675"/>
                <a:gd name="connsiteX17" fmla="*/ 714089 w 11363325"/>
                <a:gd name="connsiteY17" fmla="*/ 3084005 h 3495675"/>
                <a:gd name="connsiteX18" fmla="*/ 758285 w 11363325"/>
                <a:gd name="connsiteY18" fmla="*/ 3006757 h 3495675"/>
                <a:gd name="connsiteX19" fmla="*/ 775811 w 11363325"/>
                <a:gd name="connsiteY19" fmla="*/ 3059621 h 3495675"/>
                <a:gd name="connsiteX20" fmla="*/ 819722 w 11363325"/>
                <a:gd name="connsiteY20" fmla="*/ 3041714 h 3495675"/>
                <a:gd name="connsiteX21" fmla="*/ 893350 w 11363325"/>
                <a:gd name="connsiteY21" fmla="*/ 3040952 h 3495675"/>
                <a:gd name="connsiteX22" fmla="*/ 892112 w 11363325"/>
                <a:gd name="connsiteY22" fmla="*/ 3111532 h 3495675"/>
                <a:gd name="connsiteX23" fmla="*/ 1005364 w 11363325"/>
                <a:gd name="connsiteY23" fmla="*/ 3103721 h 3495675"/>
                <a:gd name="connsiteX24" fmla="*/ 976027 w 11363325"/>
                <a:gd name="connsiteY24" fmla="*/ 3173063 h 3495675"/>
                <a:gd name="connsiteX25" fmla="*/ 1054703 w 11363325"/>
                <a:gd name="connsiteY25" fmla="*/ 3175159 h 3495675"/>
                <a:gd name="connsiteX26" fmla="*/ 1054703 w 11363325"/>
                <a:gd name="connsiteY26" fmla="*/ 3175064 h 3495675"/>
                <a:gd name="connsiteX27" fmla="*/ 1111472 w 11363325"/>
                <a:gd name="connsiteY27" fmla="*/ 3158490 h 3495675"/>
                <a:gd name="connsiteX28" fmla="*/ 1200245 w 11363325"/>
                <a:gd name="connsiteY28" fmla="*/ 3255550 h 3495675"/>
                <a:gd name="connsiteX29" fmla="*/ 1274255 w 11363325"/>
                <a:gd name="connsiteY29" fmla="*/ 3154775 h 3495675"/>
                <a:gd name="connsiteX30" fmla="*/ 1294067 w 11363325"/>
                <a:gd name="connsiteY30" fmla="*/ 3253073 h 3495675"/>
                <a:gd name="connsiteX31" fmla="*/ 1185577 w 11363325"/>
                <a:gd name="connsiteY31" fmla="*/ 3354800 h 3495675"/>
                <a:gd name="connsiteX32" fmla="*/ 1302639 w 11363325"/>
                <a:gd name="connsiteY32" fmla="*/ 3385947 h 3495675"/>
                <a:gd name="connsiteX33" fmla="*/ 1340072 w 11363325"/>
                <a:gd name="connsiteY33" fmla="*/ 3302127 h 3495675"/>
                <a:gd name="connsiteX34" fmla="*/ 1414367 w 11363325"/>
                <a:gd name="connsiteY34" fmla="*/ 3363087 h 3495675"/>
                <a:gd name="connsiteX35" fmla="*/ 1432274 w 11363325"/>
                <a:gd name="connsiteY35" fmla="*/ 3434048 h 3495675"/>
                <a:gd name="connsiteX36" fmla="*/ 1498759 w 11363325"/>
                <a:gd name="connsiteY36" fmla="*/ 3388043 h 3495675"/>
                <a:gd name="connsiteX37" fmla="*/ 1507712 w 11363325"/>
                <a:gd name="connsiteY37" fmla="*/ 3467386 h 3495675"/>
                <a:gd name="connsiteX38" fmla="*/ 1620488 w 11363325"/>
                <a:gd name="connsiteY38" fmla="*/ 3370803 h 3495675"/>
                <a:gd name="connsiteX39" fmla="*/ 1609725 w 11363325"/>
                <a:gd name="connsiteY39" fmla="*/ 3390233 h 3495675"/>
                <a:gd name="connsiteX40" fmla="*/ 1657922 w 11363325"/>
                <a:gd name="connsiteY40" fmla="*/ 3376041 h 3495675"/>
                <a:gd name="connsiteX41" fmla="*/ 1776032 w 11363325"/>
                <a:gd name="connsiteY41" fmla="*/ 3499295 h 3495675"/>
                <a:gd name="connsiteX42" fmla="*/ 1755553 w 11363325"/>
                <a:gd name="connsiteY42" fmla="*/ 3349657 h 3495675"/>
                <a:gd name="connsiteX43" fmla="*/ 1822990 w 11363325"/>
                <a:gd name="connsiteY43" fmla="*/ 3340227 h 3495675"/>
                <a:gd name="connsiteX44" fmla="*/ 1915192 w 11363325"/>
                <a:gd name="connsiteY44" fmla="*/ 3379661 h 3495675"/>
                <a:gd name="connsiteX45" fmla="*/ 2007680 w 11363325"/>
                <a:gd name="connsiteY45" fmla="*/ 3332703 h 3495675"/>
                <a:gd name="connsiteX46" fmla="*/ 2005870 w 11363325"/>
                <a:gd name="connsiteY46" fmla="*/ 3231261 h 3495675"/>
                <a:gd name="connsiteX47" fmla="*/ 1929193 w 11363325"/>
                <a:gd name="connsiteY47" fmla="*/ 3188684 h 3495675"/>
                <a:gd name="connsiteX48" fmla="*/ 1961960 w 11363325"/>
                <a:gd name="connsiteY48" fmla="*/ 3130677 h 3495675"/>
                <a:gd name="connsiteX49" fmla="*/ 1847850 w 11363325"/>
                <a:gd name="connsiteY49" fmla="*/ 3093625 h 3495675"/>
                <a:gd name="connsiteX50" fmla="*/ 1863281 w 11363325"/>
                <a:gd name="connsiteY50" fmla="*/ 2997137 h 3495675"/>
                <a:gd name="connsiteX51" fmla="*/ 1957673 w 11363325"/>
                <a:gd name="connsiteY51" fmla="*/ 3006471 h 3495675"/>
                <a:gd name="connsiteX52" fmla="*/ 2019776 w 11363325"/>
                <a:gd name="connsiteY52" fmla="*/ 3112484 h 3495675"/>
                <a:gd name="connsiteX53" fmla="*/ 2068830 w 11363325"/>
                <a:gd name="connsiteY53" fmla="*/ 3065526 h 3495675"/>
                <a:gd name="connsiteX54" fmla="*/ 2061020 w 11363325"/>
                <a:gd name="connsiteY54" fmla="*/ 2944559 h 3495675"/>
                <a:gd name="connsiteX55" fmla="*/ 2064639 w 11363325"/>
                <a:gd name="connsiteY55" fmla="*/ 2930938 h 3495675"/>
                <a:gd name="connsiteX56" fmla="*/ 2164461 w 11363325"/>
                <a:gd name="connsiteY56" fmla="*/ 2904935 h 3495675"/>
                <a:gd name="connsiteX57" fmla="*/ 2174462 w 11363325"/>
                <a:gd name="connsiteY57" fmla="*/ 2844737 h 3495675"/>
                <a:gd name="connsiteX58" fmla="*/ 2144363 w 11363325"/>
                <a:gd name="connsiteY58" fmla="*/ 2754535 h 3495675"/>
                <a:gd name="connsiteX59" fmla="*/ 2286476 w 11363325"/>
                <a:gd name="connsiteY59" fmla="*/ 2780538 h 3495675"/>
                <a:gd name="connsiteX60" fmla="*/ 2292858 w 11363325"/>
                <a:gd name="connsiteY60" fmla="*/ 2739485 h 3495675"/>
                <a:gd name="connsiteX61" fmla="*/ 2337340 w 11363325"/>
                <a:gd name="connsiteY61" fmla="*/ 2786729 h 3495675"/>
                <a:gd name="connsiteX62" fmla="*/ 2405253 w 11363325"/>
                <a:gd name="connsiteY62" fmla="*/ 2622518 h 3495675"/>
                <a:gd name="connsiteX63" fmla="*/ 2478405 w 11363325"/>
                <a:gd name="connsiteY63" fmla="*/ 2735390 h 3495675"/>
                <a:gd name="connsiteX64" fmla="*/ 2416683 w 11363325"/>
                <a:gd name="connsiteY64" fmla="*/ 2594324 h 3495675"/>
                <a:gd name="connsiteX65" fmla="*/ 2517743 w 11363325"/>
                <a:gd name="connsiteY65" fmla="*/ 2600516 h 3495675"/>
                <a:gd name="connsiteX66" fmla="*/ 2563273 w 11363325"/>
                <a:gd name="connsiteY66" fmla="*/ 2546033 h 3495675"/>
                <a:gd name="connsiteX67" fmla="*/ 2633948 w 11363325"/>
                <a:gd name="connsiteY67" fmla="*/ 2504980 h 3495675"/>
                <a:gd name="connsiteX68" fmla="*/ 2691194 w 11363325"/>
                <a:gd name="connsiteY68" fmla="*/ 2545271 h 3495675"/>
                <a:gd name="connsiteX69" fmla="*/ 2742724 w 11363325"/>
                <a:gd name="connsiteY69" fmla="*/ 2633186 h 3495675"/>
                <a:gd name="connsiteX70" fmla="*/ 2794635 w 11363325"/>
                <a:gd name="connsiteY70" fmla="*/ 2642045 h 3495675"/>
                <a:gd name="connsiteX71" fmla="*/ 2876931 w 11363325"/>
                <a:gd name="connsiteY71" fmla="*/ 2517077 h 3495675"/>
                <a:gd name="connsiteX72" fmla="*/ 2886551 w 11363325"/>
                <a:gd name="connsiteY72" fmla="*/ 2505170 h 3495675"/>
                <a:gd name="connsiteX73" fmla="*/ 2947226 w 11363325"/>
                <a:gd name="connsiteY73" fmla="*/ 2548033 h 3495675"/>
                <a:gd name="connsiteX74" fmla="*/ 2941034 w 11363325"/>
                <a:gd name="connsiteY74" fmla="*/ 2456593 h 3495675"/>
                <a:gd name="connsiteX75" fmla="*/ 3068670 w 11363325"/>
                <a:gd name="connsiteY75" fmla="*/ 2516600 h 3495675"/>
                <a:gd name="connsiteX76" fmla="*/ 3110674 w 11363325"/>
                <a:gd name="connsiteY76" fmla="*/ 2553272 h 3495675"/>
                <a:gd name="connsiteX77" fmla="*/ 3139916 w 11363325"/>
                <a:gd name="connsiteY77" fmla="*/ 2377821 h 3495675"/>
                <a:gd name="connsiteX78" fmla="*/ 3192304 w 11363325"/>
                <a:gd name="connsiteY78" fmla="*/ 2410873 h 3495675"/>
                <a:gd name="connsiteX79" fmla="*/ 3257264 w 11363325"/>
                <a:gd name="connsiteY79" fmla="*/ 2440496 h 3495675"/>
                <a:gd name="connsiteX80" fmla="*/ 3289173 w 11363325"/>
                <a:gd name="connsiteY80" fmla="*/ 2366772 h 3495675"/>
                <a:gd name="connsiteX81" fmla="*/ 3355181 w 11363325"/>
                <a:gd name="connsiteY81" fmla="*/ 2377535 h 3495675"/>
                <a:gd name="connsiteX82" fmla="*/ 3412141 w 11363325"/>
                <a:gd name="connsiteY82" fmla="*/ 2373249 h 3495675"/>
                <a:gd name="connsiteX83" fmla="*/ 3476244 w 11363325"/>
                <a:gd name="connsiteY83" fmla="*/ 2477643 h 3495675"/>
                <a:gd name="connsiteX84" fmla="*/ 3508153 w 11363325"/>
                <a:gd name="connsiteY84" fmla="*/ 2424208 h 3495675"/>
                <a:gd name="connsiteX85" fmla="*/ 3585115 w 11363325"/>
                <a:gd name="connsiteY85" fmla="*/ 2405539 h 3495675"/>
                <a:gd name="connsiteX86" fmla="*/ 3557207 w 11363325"/>
                <a:gd name="connsiteY86" fmla="*/ 2539937 h 3495675"/>
                <a:gd name="connsiteX87" fmla="*/ 3666839 w 11363325"/>
                <a:gd name="connsiteY87" fmla="*/ 2508980 h 3495675"/>
                <a:gd name="connsiteX88" fmla="*/ 3724466 w 11363325"/>
                <a:gd name="connsiteY88" fmla="*/ 2408777 h 3495675"/>
                <a:gd name="connsiteX89" fmla="*/ 3774948 w 11363325"/>
                <a:gd name="connsiteY89" fmla="*/ 2464308 h 3495675"/>
                <a:gd name="connsiteX90" fmla="*/ 3826859 w 11363325"/>
                <a:gd name="connsiteY90" fmla="*/ 2478215 h 3495675"/>
                <a:gd name="connsiteX91" fmla="*/ 3947351 w 11363325"/>
                <a:gd name="connsiteY91" fmla="*/ 2479358 h 3495675"/>
                <a:gd name="connsiteX92" fmla="*/ 3789998 w 11363325"/>
                <a:gd name="connsiteY92" fmla="*/ 2525745 h 3495675"/>
                <a:gd name="connsiteX93" fmla="*/ 3752945 w 11363325"/>
                <a:gd name="connsiteY93" fmla="*/ 2572417 h 3495675"/>
                <a:gd name="connsiteX94" fmla="*/ 3806190 w 11363325"/>
                <a:gd name="connsiteY94" fmla="*/ 2666048 h 3495675"/>
                <a:gd name="connsiteX95" fmla="*/ 3809714 w 11363325"/>
                <a:gd name="connsiteY95" fmla="*/ 2662714 h 3495675"/>
                <a:gd name="connsiteX96" fmla="*/ 3865340 w 11363325"/>
                <a:gd name="connsiteY96" fmla="*/ 2649379 h 3495675"/>
                <a:gd name="connsiteX97" fmla="*/ 3939826 w 11363325"/>
                <a:gd name="connsiteY97" fmla="*/ 2774537 h 3495675"/>
                <a:gd name="connsiteX98" fmla="*/ 3989165 w 11363325"/>
                <a:gd name="connsiteY98" fmla="*/ 2772632 h 3495675"/>
                <a:gd name="connsiteX99" fmla="*/ 4054126 w 11363325"/>
                <a:gd name="connsiteY99" fmla="*/ 2664333 h 3495675"/>
                <a:gd name="connsiteX100" fmla="*/ 4105942 w 11363325"/>
                <a:gd name="connsiteY100" fmla="*/ 2733866 h 3495675"/>
                <a:gd name="connsiteX101" fmla="*/ 4232720 w 11363325"/>
                <a:gd name="connsiteY101" fmla="*/ 2643949 h 3495675"/>
                <a:gd name="connsiteX102" fmla="*/ 4207002 w 11363325"/>
                <a:gd name="connsiteY102" fmla="*/ 2763203 h 3495675"/>
                <a:gd name="connsiteX103" fmla="*/ 4325112 w 11363325"/>
                <a:gd name="connsiteY103" fmla="*/ 2712339 h 3495675"/>
                <a:gd name="connsiteX104" fmla="*/ 4293394 w 11363325"/>
                <a:gd name="connsiteY104" fmla="*/ 2770441 h 3495675"/>
                <a:gd name="connsiteX105" fmla="*/ 4329780 w 11363325"/>
                <a:gd name="connsiteY105" fmla="*/ 2794540 h 3495675"/>
                <a:gd name="connsiteX106" fmla="*/ 4331018 w 11363325"/>
                <a:gd name="connsiteY106" fmla="*/ 2734532 h 3495675"/>
                <a:gd name="connsiteX107" fmla="*/ 4397121 w 11363325"/>
                <a:gd name="connsiteY107" fmla="*/ 2718149 h 3495675"/>
                <a:gd name="connsiteX108" fmla="*/ 4338923 w 11363325"/>
                <a:gd name="connsiteY108" fmla="*/ 2617946 h 3495675"/>
                <a:gd name="connsiteX109" fmla="*/ 4433507 w 11363325"/>
                <a:gd name="connsiteY109" fmla="*/ 2586419 h 3495675"/>
                <a:gd name="connsiteX110" fmla="*/ 4473321 w 11363325"/>
                <a:gd name="connsiteY110" fmla="*/ 2668143 h 3495675"/>
                <a:gd name="connsiteX111" fmla="*/ 4467987 w 11363325"/>
                <a:gd name="connsiteY111" fmla="*/ 2766155 h 3495675"/>
                <a:gd name="connsiteX112" fmla="*/ 4549521 w 11363325"/>
                <a:gd name="connsiteY112" fmla="*/ 2746058 h 3495675"/>
                <a:gd name="connsiteX113" fmla="*/ 4628293 w 11363325"/>
                <a:gd name="connsiteY113" fmla="*/ 2674144 h 3495675"/>
                <a:gd name="connsiteX114" fmla="*/ 4675347 w 11363325"/>
                <a:gd name="connsiteY114" fmla="*/ 2786824 h 3495675"/>
                <a:gd name="connsiteX115" fmla="*/ 4728020 w 11363325"/>
                <a:gd name="connsiteY115" fmla="*/ 2775299 h 3495675"/>
                <a:gd name="connsiteX116" fmla="*/ 4784598 w 11363325"/>
                <a:gd name="connsiteY116" fmla="*/ 2799683 h 3495675"/>
                <a:gd name="connsiteX117" fmla="*/ 4829937 w 11363325"/>
                <a:gd name="connsiteY117" fmla="*/ 2765298 h 3495675"/>
                <a:gd name="connsiteX118" fmla="*/ 4878229 w 11363325"/>
                <a:gd name="connsiteY118" fmla="*/ 2720626 h 3495675"/>
                <a:gd name="connsiteX119" fmla="*/ 4904804 w 11363325"/>
                <a:gd name="connsiteY119" fmla="*/ 2598611 h 3495675"/>
                <a:gd name="connsiteX120" fmla="*/ 5019771 w 11363325"/>
                <a:gd name="connsiteY120" fmla="*/ 2779966 h 3495675"/>
                <a:gd name="connsiteX121" fmla="*/ 5027962 w 11363325"/>
                <a:gd name="connsiteY121" fmla="*/ 2644140 h 3495675"/>
                <a:gd name="connsiteX122" fmla="*/ 5083874 w 11363325"/>
                <a:gd name="connsiteY122" fmla="*/ 2629757 h 3495675"/>
                <a:gd name="connsiteX123" fmla="*/ 5119497 w 11363325"/>
                <a:gd name="connsiteY123" fmla="*/ 2744915 h 3495675"/>
                <a:gd name="connsiteX124" fmla="*/ 5197317 w 11363325"/>
                <a:gd name="connsiteY124" fmla="*/ 2591276 h 3495675"/>
                <a:gd name="connsiteX125" fmla="*/ 5202841 w 11363325"/>
                <a:gd name="connsiteY125" fmla="*/ 2732437 h 3495675"/>
                <a:gd name="connsiteX126" fmla="*/ 5277231 w 11363325"/>
                <a:gd name="connsiteY126" fmla="*/ 2699576 h 3495675"/>
                <a:gd name="connsiteX127" fmla="*/ 5273802 w 11363325"/>
                <a:gd name="connsiteY127" fmla="*/ 2781110 h 3495675"/>
                <a:gd name="connsiteX128" fmla="*/ 5398389 w 11363325"/>
                <a:gd name="connsiteY128" fmla="*/ 2727865 h 3495675"/>
                <a:gd name="connsiteX129" fmla="*/ 5428203 w 11363325"/>
                <a:gd name="connsiteY129" fmla="*/ 2786348 h 3495675"/>
                <a:gd name="connsiteX130" fmla="*/ 5460969 w 11363325"/>
                <a:gd name="connsiteY130" fmla="*/ 2842546 h 3495675"/>
                <a:gd name="connsiteX131" fmla="*/ 5500688 w 11363325"/>
                <a:gd name="connsiteY131" fmla="*/ 2872740 h 3495675"/>
                <a:gd name="connsiteX132" fmla="*/ 5535740 w 11363325"/>
                <a:gd name="connsiteY132" fmla="*/ 2865691 h 3495675"/>
                <a:gd name="connsiteX133" fmla="*/ 5566982 w 11363325"/>
                <a:gd name="connsiteY133" fmla="*/ 2777204 h 3495675"/>
                <a:gd name="connsiteX134" fmla="*/ 5644134 w 11363325"/>
                <a:gd name="connsiteY134" fmla="*/ 2910459 h 3495675"/>
                <a:gd name="connsiteX135" fmla="*/ 5638610 w 11363325"/>
                <a:gd name="connsiteY135" fmla="*/ 2917889 h 3495675"/>
                <a:gd name="connsiteX136" fmla="*/ 5649659 w 11363325"/>
                <a:gd name="connsiteY136" fmla="*/ 2919984 h 3495675"/>
                <a:gd name="connsiteX137" fmla="*/ 5657088 w 11363325"/>
                <a:gd name="connsiteY137" fmla="*/ 2932748 h 3495675"/>
                <a:gd name="connsiteX138" fmla="*/ 5662517 w 11363325"/>
                <a:gd name="connsiteY138" fmla="*/ 2922461 h 3495675"/>
                <a:gd name="connsiteX139" fmla="*/ 5778723 w 11363325"/>
                <a:gd name="connsiteY139" fmla="*/ 2944845 h 3495675"/>
                <a:gd name="connsiteX140" fmla="*/ 5660612 w 11363325"/>
                <a:gd name="connsiteY140" fmla="*/ 3022854 h 3495675"/>
                <a:gd name="connsiteX141" fmla="*/ 5781675 w 11363325"/>
                <a:gd name="connsiteY141" fmla="*/ 3000851 h 3495675"/>
                <a:gd name="connsiteX142" fmla="*/ 5779389 w 11363325"/>
                <a:gd name="connsiteY142" fmla="*/ 2953131 h 3495675"/>
                <a:gd name="connsiteX143" fmla="*/ 5835586 w 11363325"/>
                <a:gd name="connsiteY143" fmla="*/ 3020473 h 3495675"/>
                <a:gd name="connsiteX144" fmla="*/ 5890260 w 11363325"/>
                <a:gd name="connsiteY144" fmla="*/ 3056001 h 3495675"/>
                <a:gd name="connsiteX145" fmla="*/ 5937980 w 11363325"/>
                <a:gd name="connsiteY145" fmla="*/ 2973896 h 3495675"/>
                <a:gd name="connsiteX146" fmla="*/ 5989796 w 11363325"/>
                <a:gd name="connsiteY146" fmla="*/ 2964466 h 3495675"/>
                <a:gd name="connsiteX147" fmla="*/ 6043422 w 11363325"/>
                <a:gd name="connsiteY147" fmla="*/ 2964085 h 3495675"/>
                <a:gd name="connsiteX148" fmla="*/ 6100667 w 11363325"/>
                <a:gd name="connsiteY148" fmla="*/ 3137249 h 3495675"/>
                <a:gd name="connsiteX149" fmla="*/ 6154865 w 11363325"/>
                <a:gd name="connsiteY149" fmla="*/ 3053239 h 3495675"/>
                <a:gd name="connsiteX150" fmla="*/ 6206585 w 11363325"/>
                <a:gd name="connsiteY150" fmla="*/ 3067812 h 3495675"/>
                <a:gd name="connsiteX151" fmla="*/ 6266021 w 11363325"/>
                <a:gd name="connsiteY151" fmla="*/ 3155156 h 3495675"/>
                <a:gd name="connsiteX152" fmla="*/ 6308122 w 11363325"/>
                <a:gd name="connsiteY152" fmla="*/ 3008757 h 3495675"/>
                <a:gd name="connsiteX153" fmla="*/ 6352604 w 11363325"/>
                <a:gd name="connsiteY153" fmla="*/ 2945225 h 3495675"/>
                <a:gd name="connsiteX154" fmla="*/ 6431852 w 11363325"/>
                <a:gd name="connsiteY154" fmla="*/ 2983802 h 3495675"/>
                <a:gd name="connsiteX155" fmla="*/ 6442805 w 11363325"/>
                <a:gd name="connsiteY155" fmla="*/ 3129153 h 3495675"/>
                <a:gd name="connsiteX156" fmla="*/ 6550343 w 11363325"/>
                <a:gd name="connsiteY156" fmla="*/ 3018949 h 3495675"/>
                <a:gd name="connsiteX157" fmla="*/ 6579394 w 11363325"/>
                <a:gd name="connsiteY157" fmla="*/ 3141059 h 3495675"/>
                <a:gd name="connsiteX158" fmla="*/ 6610446 w 11363325"/>
                <a:gd name="connsiteY158" fmla="*/ 3038094 h 3495675"/>
                <a:gd name="connsiteX159" fmla="*/ 6685217 w 11363325"/>
                <a:gd name="connsiteY159" fmla="*/ 3083338 h 3495675"/>
                <a:gd name="connsiteX160" fmla="*/ 6709124 w 11363325"/>
                <a:gd name="connsiteY160" fmla="*/ 3018187 h 3495675"/>
                <a:gd name="connsiteX161" fmla="*/ 6730365 w 11363325"/>
                <a:gd name="connsiteY161" fmla="*/ 3103912 h 3495675"/>
                <a:gd name="connsiteX162" fmla="*/ 6825139 w 11363325"/>
                <a:gd name="connsiteY162" fmla="*/ 3023140 h 3495675"/>
                <a:gd name="connsiteX163" fmla="*/ 6762941 w 11363325"/>
                <a:gd name="connsiteY163" fmla="*/ 3139821 h 3495675"/>
                <a:gd name="connsiteX164" fmla="*/ 6843522 w 11363325"/>
                <a:gd name="connsiteY164" fmla="*/ 3145822 h 3495675"/>
                <a:gd name="connsiteX165" fmla="*/ 6879812 w 11363325"/>
                <a:gd name="connsiteY165" fmla="*/ 3212592 h 3495675"/>
                <a:gd name="connsiteX166" fmla="*/ 6966680 w 11363325"/>
                <a:gd name="connsiteY166" fmla="*/ 3236405 h 3495675"/>
                <a:gd name="connsiteX167" fmla="*/ 6997732 w 11363325"/>
                <a:gd name="connsiteY167" fmla="*/ 3128963 h 3495675"/>
                <a:gd name="connsiteX168" fmla="*/ 7064693 w 11363325"/>
                <a:gd name="connsiteY168" fmla="*/ 3150013 h 3495675"/>
                <a:gd name="connsiteX169" fmla="*/ 7140035 w 11363325"/>
                <a:gd name="connsiteY169" fmla="*/ 3183350 h 3495675"/>
                <a:gd name="connsiteX170" fmla="*/ 7155847 w 11363325"/>
                <a:gd name="connsiteY170" fmla="*/ 3057144 h 3495675"/>
                <a:gd name="connsiteX171" fmla="*/ 7217569 w 11363325"/>
                <a:gd name="connsiteY171" fmla="*/ 3106007 h 3495675"/>
                <a:gd name="connsiteX172" fmla="*/ 7228523 w 11363325"/>
                <a:gd name="connsiteY172" fmla="*/ 3169539 h 3495675"/>
                <a:gd name="connsiteX173" fmla="*/ 7318724 w 11363325"/>
                <a:gd name="connsiteY173" fmla="*/ 3154395 h 3495675"/>
                <a:gd name="connsiteX174" fmla="*/ 7378636 w 11363325"/>
                <a:gd name="connsiteY174" fmla="*/ 3157252 h 3495675"/>
                <a:gd name="connsiteX175" fmla="*/ 7376541 w 11363325"/>
                <a:gd name="connsiteY175" fmla="*/ 3102007 h 3495675"/>
                <a:gd name="connsiteX176" fmla="*/ 7427881 w 11363325"/>
                <a:gd name="connsiteY176" fmla="*/ 3095435 h 3495675"/>
                <a:gd name="connsiteX177" fmla="*/ 7499414 w 11363325"/>
                <a:gd name="connsiteY177" fmla="*/ 3116771 h 3495675"/>
                <a:gd name="connsiteX178" fmla="*/ 7593616 w 11363325"/>
                <a:gd name="connsiteY178" fmla="*/ 3121247 h 3495675"/>
                <a:gd name="connsiteX179" fmla="*/ 7505319 w 11363325"/>
                <a:gd name="connsiteY179" fmla="*/ 2943701 h 3495675"/>
                <a:gd name="connsiteX180" fmla="*/ 7592283 w 11363325"/>
                <a:gd name="connsiteY180" fmla="*/ 2956465 h 3495675"/>
                <a:gd name="connsiteX181" fmla="*/ 7650576 w 11363325"/>
                <a:gd name="connsiteY181" fmla="*/ 2972467 h 3495675"/>
                <a:gd name="connsiteX182" fmla="*/ 7683627 w 11363325"/>
                <a:gd name="connsiteY182" fmla="*/ 2913126 h 3495675"/>
                <a:gd name="connsiteX183" fmla="*/ 7722394 w 11363325"/>
                <a:gd name="connsiteY183" fmla="*/ 2943511 h 3495675"/>
                <a:gd name="connsiteX184" fmla="*/ 7827169 w 11363325"/>
                <a:gd name="connsiteY184" fmla="*/ 2891409 h 3495675"/>
                <a:gd name="connsiteX185" fmla="*/ 7635907 w 11363325"/>
                <a:gd name="connsiteY185" fmla="*/ 2838545 h 3495675"/>
                <a:gd name="connsiteX186" fmla="*/ 7828121 w 11363325"/>
                <a:gd name="connsiteY186" fmla="*/ 2805779 h 3495675"/>
                <a:gd name="connsiteX187" fmla="*/ 7762494 w 11363325"/>
                <a:gd name="connsiteY187" fmla="*/ 2701671 h 3495675"/>
                <a:gd name="connsiteX188" fmla="*/ 7867936 w 11363325"/>
                <a:gd name="connsiteY188" fmla="*/ 2752725 h 3495675"/>
                <a:gd name="connsiteX189" fmla="*/ 7875556 w 11363325"/>
                <a:gd name="connsiteY189" fmla="*/ 2668810 h 3495675"/>
                <a:gd name="connsiteX190" fmla="*/ 7986999 w 11363325"/>
                <a:gd name="connsiteY190" fmla="*/ 2623185 h 3495675"/>
                <a:gd name="connsiteX191" fmla="*/ 7884605 w 11363325"/>
                <a:gd name="connsiteY191" fmla="*/ 2554129 h 3495675"/>
                <a:gd name="connsiteX192" fmla="*/ 7876699 w 11363325"/>
                <a:gd name="connsiteY192" fmla="*/ 2488787 h 3495675"/>
                <a:gd name="connsiteX193" fmla="*/ 7953280 w 11363325"/>
                <a:gd name="connsiteY193" fmla="*/ 2466975 h 3495675"/>
                <a:gd name="connsiteX194" fmla="*/ 7977569 w 11363325"/>
                <a:gd name="connsiteY194" fmla="*/ 2409825 h 3495675"/>
                <a:gd name="connsiteX195" fmla="*/ 8022622 w 11363325"/>
                <a:gd name="connsiteY195" fmla="*/ 2384393 h 3495675"/>
                <a:gd name="connsiteX196" fmla="*/ 8080344 w 11363325"/>
                <a:gd name="connsiteY196" fmla="*/ 2448020 h 3495675"/>
                <a:gd name="connsiteX197" fmla="*/ 8132636 w 11363325"/>
                <a:gd name="connsiteY197" fmla="*/ 2333816 h 3495675"/>
                <a:gd name="connsiteX198" fmla="*/ 8196167 w 11363325"/>
                <a:gd name="connsiteY198" fmla="*/ 2343055 h 3495675"/>
                <a:gd name="connsiteX199" fmla="*/ 8258556 w 11363325"/>
                <a:gd name="connsiteY199" fmla="*/ 2300288 h 3495675"/>
                <a:gd name="connsiteX200" fmla="*/ 8308181 w 11363325"/>
                <a:gd name="connsiteY200" fmla="*/ 2355723 h 3495675"/>
                <a:gd name="connsiteX201" fmla="*/ 8366760 w 11363325"/>
                <a:gd name="connsiteY201" fmla="*/ 2337626 h 3495675"/>
                <a:gd name="connsiteX202" fmla="*/ 8412670 w 11363325"/>
                <a:gd name="connsiteY202" fmla="*/ 2463165 h 3495675"/>
                <a:gd name="connsiteX203" fmla="*/ 8475059 w 11363325"/>
                <a:gd name="connsiteY203" fmla="*/ 2357533 h 3495675"/>
                <a:gd name="connsiteX204" fmla="*/ 8535638 w 11363325"/>
                <a:gd name="connsiteY204" fmla="*/ 2278952 h 3495675"/>
                <a:gd name="connsiteX205" fmla="*/ 8584216 w 11363325"/>
                <a:gd name="connsiteY205" fmla="*/ 2373249 h 3495675"/>
                <a:gd name="connsiteX206" fmla="*/ 8644985 w 11363325"/>
                <a:gd name="connsiteY206" fmla="*/ 2288096 h 3495675"/>
                <a:gd name="connsiteX207" fmla="*/ 8691372 w 11363325"/>
                <a:gd name="connsiteY207" fmla="*/ 2334863 h 3495675"/>
                <a:gd name="connsiteX208" fmla="*/ 8765000 w 11363325"/>
                <a:gd name="connsiteY208" fmla="*/ 2487359 h 3495675"/>
                <a:gd name="connsiteX209" fmla="*/ 8790623 w 11363325"/>
                <a:gd name="connsiteY209" fmla="*/ 2265712 h 3495675"/>
                <a:gd name="connsiteX210" fmla="*/ 8843010 w 11363325"/>
                <a:gd name="connsiteY210" fmla="*/ 2436876 h 3495675"/>
                <a:gd name="connsiteX211" fmla="*/ 8906446 w 11363325"/>
                <a:gd name="connsiteY211" fmla="*/ 2404396 h 3495675"/>
                <a:gd name="connsiteX212" fmla="*/ 8903303 w 11363325"/>
                <a:gd name="connsiteY212" fmla="*/ 2516981 h 3495675"/>
                <a:gd name="connsiteX213" fmla="*/ 9019413 w 11363325"/>
                <a:gd name="connsiteY213" fmla="*/ 2434400 h 3495675"/>
                <a:gd name="connsiteX214" fmla="*/ 9086564 w 11363325"/>
                <a:gd name="connsiteY214" fmla="*/ 2541270 h 3495675"/>
                <a:gd name="connsiteX215" fmla="*/ 9122759 w 11363325"/>
                <a:gd name="connsiteY215" fmla="*/ 2414016 h 3495675"/>
                <a:gd name="connsiteX216" fmla="*/ 9184100 w 11363325"/>
                <a:gd name="connsiteY216" fmla="*/ 2409063 h 3495675"/>
                <a:gd name="connsiteX217" fmla="*/ 9242393 w 11363325"/>
                <a:gd name="connsiteY217" fmla="*/ 2520410 h 3495675"/>
                <a:gd name="connsiteX218" fmla="*/ 9300972 w 11363325"/>
                <a:gd name="connsiteY218" fmla="*/ 2389537 h 3495675"/>
                <a:gd name="connsiteX219" fmla="*/ 9385268 w 11363325"/>
                <a:gd name="connsiteY219" fmla="*/ 2362772 h 3495675"/>
                <a:gd name="connsiteX220" fmla="*/ 9360027 w 11363325"/>
                <a:gd name="connsiteY220" fmla="*/ 2527268 h 3495675"/>
                <a:gd name="connsiteX221" fmla="*/ 9484805 w 11363325"/>
                <a:gd name="connsiteY221" fmla="*/ 2473833 h 3495675"/>
                <a:gd name="connsiteX222" fmla="*/ 9536430 w 11363325"/>
                <a:gd name="connsiteY222" fmla="*/ 2477453 h 3495675"/>
                <a:gd name="connsiteX223" fmla="*/ 9564148 w 11363325"/>
                <a:gd name="connsiteY223" fmla="*/ 2533269 h 3495675"/>
                <a:gd name="connsiteX224" fmla="*/ 9616726 w 11363325"/>
                <a:gd name="connsiteY224" fmla="*/ 2570798 h 3495675"/>
                <a:gd name="connsiteX225" fmla="*/ 9686258 w 11363325"/>
                <a:gd name="connsiteY225" fmla="*/ 2645759 h 3495675"/>
                <a:gd name="connsiteX226" fmla="*/ 9744646 w 11363325"/>
                <a:gd name="connsiteY226" fmla="*/ 2589943 h 3495675"/>
                <a:gd name="connsiteX227" fmla="*/ 9790462 w 11363325"/>
                <a:gd name="connsiteY227" fmla="*/ 2561463 h 3495675"/>
                <a:gd name="connsiteX228" fmla="*/ 9787985 w 11363325"/>
                <a:gd name="connsiteY228" fmla="*/ 2486025 h 3495675"/>
                <a:gd name="connsiteX229" fmla="*/ 9823418 w 11363325"/>
                <a:gd name="connsiteY229" fmla="*/ 2454212 h 3495675"/>
                <a:gd name="connsiteX230" fmla="*/ 9873805 w 11363325"/>
                <a:gd name="connsiteY230" fmla="*/ 2365724 h 3495675"/>
                <a:gd name="connsiteX231" fmla="*/ 9928956 w 11363325"/>
                <a:gd name="connsiteY231" fmla="*/ 2379726 h 3495675"/>
                <a:gd name="connsiteX232" fmla="*/ 9994202 w 11363325"/>
                <a:gd name="connsiteY232" fmla="*/ 2399348 h 3495675"/>
                <a:gd name="connsiteX233" fmla="*/ 10029634 w 11363325"/>
                <a:gd name="connsiteY233" fmla="*/ 2462498 h 3495675"/>
                <a:gd name="connsiteX234" fmla="*/ 10074212 w 11363325"/>
                <a:gd name="connsiteY234" fmla="*/ 2483930 h 3495675"/>
                <a:gd name="connsiteX235" fmla="*/ 10165461 w 11363325"/>
                <a:gd name="connsiteY235" fmla="*/ 2416397 h 3495675"/>
                <a:gd name="connsiteX236" fmla="*/ 10164699 w 11363325"/>
                <a:gd name="connsiteY236" fmla="*/ 2471547 h 3495675"/>
                <a:gd name="connsiteX237" fmla="*/ 10189178 w 11363325"/>
                <a:gd name="connsiteY237" fmla="*/ 2433828 h 3495675"/>
                <a:gd name="connsiteX238" fmla="*/ 10224897 w 11363325"/>
                <a:gd name="connsiteY238" fmla="*/ 2398109 h 3495675"/>
                <a:gd name="connsiteX239" fmla="*/ 10310051 w 11363325"/>
                <a:gd name="connsiteY239" fmla="*/ 2404015 h 3495675"/>
                <a:gd name="connsiteX240" fmla="*/ 10311765 w 11363325"/>
                <a:gd name="connsiteY240" fmla="*/ 2411349 h 3495675"/>
                <a:gd name="connsiteX241" fmla="*/ 10438734 w 11363325"/>
                <a:gd name="connsiteY241" fmla="*/ 2362391 h 3495675"/>
                <a:gd name="connsiteX242" fmla="*/ 10370820 w 11363325"/>
                <a:gd name="connsiteY242" fmla="*/ 2528888 h 3495675"/>
                <a:gd name="connsiteX243" fmla="*/ 10491883 w 11363325"/>
                <a:gd name="connsiteY243" fmla="*/ 2405539 h 3495675"/>
                <a:gd name="connsiteX244" fmla="*/ 10486359 w 11363325"/>
                <a:gd name="connsiteY244" fmla="*/ 2384774 h 3495675"/>
                <a:gd name="connsiteX245" fmla="*/ 10622852 w 11363325"/>
                <a:gd name="connsiteY245" fmla="*/ 2485263 h 3495675"/>
                <a:gd name="connsiteX246" fmla="*/ 10613897 w 11363325"/>
                <a:gd name="connsiteY246" fmla="*/ 2343055 h 3495675"/>
                <a:gd name="connsiteX247" fmla="*/ 10724769 w 11363325"/>
                <a:gd name="connsiteY247" fmla="*/ 2486692 h 3495675"/>
                <a:gd name="connsiteX248" fmla="*/ 10763250 w 11363325"/>
                <a:gd name="connsiteY248" fmla="*/ 2421350 h 3495675"/>
                <a:gd name="connsiteX249" fmla="*/ 10827830 w 11363325"/>
                <a:gd name="connsiteY249" fmla="*/ 2432018 h 3495675"/>
                <a:gd name="connsiteX250" fmla="*/ 10874026 w 11363325"/>
                <a:gd name="connsiteY250" fmla="*/ 2385536 h 3495675"/>
                <a:gd name="connsiteX251" fmla="*/ 10932795 w 11363325"/>
                <a:gd name="connsiteY251" fmla="*/ 2380202 h 3495675"/>
                <a:gd name="connsiteX252" fmla="*/ 10960228 w 11363325"/>
                <a:gd name="connsiteY252" fmla="*/ 2225421 h 3495675"/>
                <a:gd name="connsiteX253" fmla="*/ 10986992 w 11363325"/>
                <a:gd name="connsiteY253" fmla="*/ 2382869 h 3495675"/>
                <a:gd name="connsiteX254" fmla="*/ 11046809 w 11363325"/>
                <a:gd name="connsiteY254" fmla="*/ 2397062 h 3495675"/>
                <a:gd name="connsiteX255" fmla="*/ 11124534 w 11363325"/>
                <a:gd name="connsiteY255" fmla="*/ 2365534 h 3495675"/>
                <a:gd name="connsiteX256" fmla="*/ 11182445 w 11363325"/>
                <a:gd name="connsiteY256" fmla="*/ 2383155 h 3495675"/>
                <a:gd name="connsiteX257" fmla="*/ 11250454 w 11363325"/>
                <a:gd name="connsiteY257" fmla="*/ 2375249 h 3495675"/>
                <a:gd name="connsiteX258" fmla="*/ 11303508 w 11363325"/>
                <a:gd name="connsiteY258" fmla="*/ 2327243 h 3495675"/>
                <a:gd name="connsiteX259" fmla="*/ 11356467 w 11363325"/>
                <a:gd name="connsiteY259" fmla="*/ 2424494 h 3495675"/>
                <a:gd name="connsiteX260" fmla="*/ 11372564 w 11363325"/>
                <a:gd name="connsiteY260" fmla="*/ 2435924 h 3495675"/>
                <a:gd name="connsiteX261" fmla="*/ 11372564 w 11363325"/>
                <a:gd name="connsiteY261" fmla="*/ 0 h 3495675"/>
                <a:gd name="connsiteX262" fmla="*/ 0 w 11363325"/>
                <a:gd name="connsiteY262" fmla="*/ 0 h 3495675"/>
                <a:gd name="connsiteX263" fmla="*/ 7624191 w 11363325"/>
                <a:gd name="connsiteY263" fmla="*/ 2067973 h 3495675"/>
                <a:gd name="connsiteX264" fmla="*/ 7586187 w 11363325"/>
                <a:gd name="connsiteY264" fmla="*/ 1943672 h 3495675"/>
                <a:gd name="connsiteX265" fmla="*/ 7601522 w 11363325"/>
                <a:gd name="connsiteY265" fmla="*/ 1930813 h 3495675"/>
                <a:gd name="connsiteX266" fmla="*/ 7634669 w 11363325"/>
                <a:gd name="connsiteY266" fmla="*/ 1941100 h 3495675"/>
                <a:gd name="connsiteX267" fmla="*/ 7624191 w 11363325"/>
                <a:gd name="connsiteY267" fmla="*/ 2067973 h 3495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</a:cxnLst>
              <a:rect l="l" t="t" r="r" b="b"/>
              <a:pathLst>
                <a:path w="11363325" h="3495675">
                  <a:moveTo>
                    <a:pt x="0" y="0"/>
                  </a:moveTo>
                  <a:lnTo>
                    <a:pt x="0" y="2568226"/>
                  </a:lnTo>
                  <a:lnTo>
                    <a:pt x="19336" y="2547080"/>
                  </a:lnTo>
                  <a:lnTo>
                    <a:pt x="91535" y="2541841"/>
                  </a:lnTo>
                  <a:lnTo>
                    <a:pt x="102775" y="2636520"/>
                  </a:lnTo>
                  <a:lnTo>
                    <a:pt x="78772" y="2749677"/>
                  </a:lnTo>
                  <a:lnTo>
                    <a:pt x="210312" y="2682907"/>
                  </a:lnTo>
                  <a:lnTo>
                    <a:pt x="278511" y="2680145"/>
                  </a:lnTo>
                  <a:lnTo>
                    <a:pt x="299847" y="2746153"/>
                  </a:lnTo>
                  <a:lnTo>
                    <a:pt x="268700" y="2873407"/>
                  </a:lnTo>
                  <a:lnTo>
                    <a:pt x="378619" y="2834164"/>
                  </a:lnTo>
                  <a:lnTo>
                    <a:pt x="383381" y="2910840"/>
                  </a:lnTo>
                  <a:lnTo>
                    <a:pt x="404241" y="2994470"/>
                  </a:lnTo>
                  <a:lnTo>
                    <a:pt x="479108" y="3001995"/>
                  </a:lnTo>
                  <a:lnTo>
                    <a:pt x="559308" y="2948559"/>
                  </a:lnTo>
                  <a:lnTo>
                    <a:pt x="590169" y="3082671"/>
                  </a:lnTo>
                  <a:lnTo>
                    <a:pt x="659035" y="3032570"/>
                  </a:lnTo>
                  <a:lnTo>
                    <a:pt x="714089" y="3084005"/>
                  </a:lnTo>
                  <a:lnTo>
                    <a:pt x="758285" y="3006757"/>
                  </a:lnTo>
                  <a:lnTo>
                    <a:pt x="775811" y="3059621"/>
                  </a:lnTo>
                  <a:lnTo>
                    <a:pt x="819722" y="3041714"/>
                  </a:lnTo>
                  <a:lnTo>
                    <a:pt x="893350" y="3040952"/>
                  </a:lnTo>
                  <a:lnTo>
                    <a:pt x="892112" y="3111532"/>
                  </a:lnTo>
                  <a:lnTo>
                    <a:pt x="1005364" y="3103721"/>
                  </a:lnTo>
                  <a:lnTo>
                    <a:pt x="976027" y="3173063"/>
                  </a:lnTo>
                  <a:lnTo>
                    <a:pt x="1054703" y="3175159"/>
                  </a:lnTo>
                  <a:lnTo>
                    <a:pt x="1054703" y="3175064"/>
                  </a:lnTo>
                  <a:lnTo>
                    <a:pt x="1111472" y="3158490"/>
                  </a:lnTo>
                  <a:lnTo>
                    <a:pt x="1200245" y="3255550"/>
                  </a:lnTo>
                  <a:lnTo>
                    <a:pt x="1274255" y="3154775"/>
                  </a:lnTo>
                  <a:lnTo>
                    <a:pt x="1294067" y="3253073"/>
                  </a:lnTo>
                  <a:lnTo>
                    <a:pt x="1185577" y="3354800"/>
                  </a:lnTo>
                  <a:lnTo>
                    <a:pt x="1302639" y="3385947"/>
                  </a:lnTo>
                  <a:lnTo>
                    <a:pt x="1340072" y="3302127"/>
                  </a:lnTo>
                  <a:lnTo>
                    <a:pt x="1414367" y="3363087"/>
                  </a:lnTo>
                  <a:lnTo>
                    <a:pt x="1432274" y="3434048"/>
                  </a:lnTo>
                  <a:lnTo>
                    <a:pt x="1498759" y="3388043"/>
                  </a:lnTo>
                  <a:lnTo>
                    <a:pt x="1507712" y="3467386"/>
                  </a:lnTo>
                  <a:lnTo>
                    <a:pt x="1620488" y="3370803"/>
                  </a:lnTo>
                  <a:lnTo>
                    <a:pt x="1609725" y="3390233"/>
                  </a:lnTo>
                  <a:lnTo>
                    <a:pt x="1657922" y="3376041"/>
                  </a:lnTo>
                  <a:lnTo>
                    <a:pt x="1776032" y="3499295"/>
                  </a:lnTo>
                  <a:lnTo>
                    <a:pt x="1755553" y="3349657"/>
                  </a:lnTo>
                  <a:lnTo>
                    <a:pt x="1822990" y="3340227"/>
                  </a:lnTo>
                  <a:lnTo>
                    <a:pt x="1915192" y="3379661"/>
                  </a:lnTo>
                  <a:lnTo>
                    <a:pt x="2007680" y="3332703"/>
                  </a:lnTo>
                  <a:lnTo>
                    <a:pt x="2005870" y="3231261"/>
                  </a:lnTo>
                  <a:lnTo>
                    <a:pt x="1929193" y="3188684"/>
                  </a:lnTo>
                  <a:lnTo>
                    <a:pt x="1961960" y="3130677"/>
                  </a:lnTo>
                  <a:lnTo>
                    <a:pt x="1847850" y="3093625"/>
                  </a:lnTo>
                  <a:lnTo>
                    <a:pt x="1863281" y="2997137"/>
                  </a:lnTo>
                  <a:lnTo>
                    <a:pt x="1957673" y="3006471"/>
                  </a:lnTo>
                  <a:lnTo>
                    <a:pt x="2019776" y="3112484"/>
                  </a:lnTo>
                  <a:lnTo>
                    <a:pt x="2068830" y="3065526"/>
                  </a:lnTo>
                  <a:lnTo>
                    <a:pt x="2061020" y="2944559"/>
                  </a:lnTo>
                  <a:lnTo>
                    <a:pt x="2064639" y="2930938"/>
                  </a:lnTo>
                  <a:lnTo>
                    <a:pt x="2164461" y="2904935"/>
                  </a:lnTo>
                  <a:lnTo>
                    <a:pt x="2174462" y="2844737"/>
                  </a:lnTo>
                  <a:lnTo>
                    <a:pt x="2144363" y="2754535"/>
                  </a:lnTo>
                  <a:lnTo>
                    <a:pt x="2286476" y="2780538"/>
                  </a:lnTo>
                  <a:lnTo>
                    <a:pt x="2292858" y="2739485"/>
                  </a:lnTo>
                  <a:lnTo>
                    <a:pt x="2337340" y="2786729"/>
                  </a:lnTo>
                  <a:lnTo>
                    <a:pt x="2405253" y="2622518"/>
                  </a:lnTo>
                  <a:lnTo>
                    <a:pt x="2478405" y="2735390"/>
                  </a:lnTo>
                  <a:lnTo>
                    <a:pt x="2416683" y="2594324"/>
                  </a:lnTo>
                  <a:lnTo>
                    <a:pt x="2517743" y="2600516"/>
                  </a:lnTo>
                  <a:lnTo>
                    <a:pt x="2563273" y="2546033"/>
                  </a:lnTo>
                  <a:lnTo>
                    <a:pt x="2633948" y="2504980"/>
                  </a:lnTo>
                  <a:lnTo>
                    <a:pt x="2691194" y="2545271"/>
                  </a:lnTo>
                  <a:lnTo>
                    <a:pt x="2742724" y="2633186"/>
                  </a:lnTo>
                  <a:lnTo>
                    <a:pt x="2794635" y="2642045"/>
                  </a:lnTo>
                  <a:lnTo>
                    <a:pt x="2876931" y="2517077"/>
                  </a:lnTo>
                  <a:lnTo>
                    <a:pt x="2886551" y="2505170"/>
                  </a:lnTo>
                  <a:lnTo>
                    <a:pt x="2947226" y="2548033"/>
                  </a:lnTo>
                  <a:lnTo>
                    <a:pt x="2941034" y="2456593"/>
                  </a:lnTo>
                  <a:lnTo>
                    <a:pt x="3068670" y="2516600"/>
                  </a:lnTo>
                  <a:lnTo>
                    <a:pt x="3110674" y="2553272"/>
                  </a:lnTo>
                  <a:lnTo>
                    <a:pt x="3139916" y="2377821"/>
                  </a:lnTo>
                  <a:lnTo>
                    <a:pt x="3192304" y="2410873"/>
                  </a:lnTo>
                  <a:lnTo>
                    <a:pt x="3257264" y="2440496"/>
                  </a:lnTo>
                  <a:lnTo>
                    <a:pt x="3289173" y="2366772"/>
                  </a:lnTo>
                  <a:lnTo>
                    <a:pt x="3355181" y="2377535"/>
                  </a:lnTo>
                  <a:lnTo>
                    <a:pt x="3412141" y="2373249"/>
                  </a:lnTo>
                  <a:lnTo>
                    <a:pt x="3476244" y="2477643"/>
                  </a:lnTo>
                  <a:lnTo>
                    <a:pt x="3508153" y="2424208"/>
                  </a:lnTo>
                  <a:lnTo>
                    <a:pt x="3585115" y="2405539"/>
                  </a:lnTo>
                  <a:lnTo>
                    <a:pt x="3557207" y="2539937"/>
                  </a:lnTo>
                  <a:lnTo>
                    <a:pt x="3666839" y="2508980"/>
                  </a:lnTo>
                  <a:lnTo>
                    <a:pt x="3724466" y="2408777"/>
                  </a:lnTo>
                  <a:lnTo>
                    <a:pt x="3774948" y="2464308"/>
                  </a:lnTo>
                  <a:lnTo>
                    <a:pt x="3826859" y="2478215"/>
                  </a:lnTo>
                  <a:lnTo>
                    <a:pt x="3947351" y="2479358"/>
                  </a:lnTo>
                  <a:lnTo>
                    <a:pt x="3789998" y="2525745"/>
                  </a:lnTo>
                  <a:lnTo>
                    <a:pt x="3752945" y="2572417"/>
                  </a:lnTo>
                  <a:lnTo>
                    <a:pt x="3806190" y="2666048"/>
                  </a:lnTo>
                  <a:lnTo>
                    <a:pt x="3809714" y="2662714"/>
                  </a:lnTo>
                  <a:lnTo>
                    <a:pt x="3865340" y="2649379"/>
                  </a:lnTo>
                  <a:lnTo>
                    <a:pt x="3939826" y="2774537"/>
                  </a:lnTo>
                  <a:lnTo>
                    <a:pt x="3989165" y="2772632"/>
                  </a:lnTo>
                  <a:lnTo>
                    <a:pt x="4054126" y="2664333"/>
                  </a:lnTo>
                  <a:lnTo>
                    <a:pt x="4105942" y="2733866"/>
                  </a:lnTo>
                  <a:lnTo>
                    <a:pt x="4232720" y="2643949"/>
                  </a:lnTo>
                  <a:lnTo>
                    <a:pt x="4207002" y="2763203"/>
                  </a:lnTo>
                  <a:lnTo>
                    <a:pt x="4325112" y="2712339"/>
                  </a:lnTo>
                  <a:lnTo>
                    <a:pt x="4293394" y="2770441"/>
                  </a:lnTo>
                  <a:lnTo>
                    <a:pt x="4329780" y="2794540"/>
                  </a:lnTo>
                  <a:lnTo>
                    <a:pt x="4331018" y="2734532"/>
                  </a:lnTo>
                  <a:lnTo>
                    <a:pt x="4397121" y="2718149"/>
                  </a:lnTo>
                  <a:lnTo>
                    <a:pt x="4338923" y="2617946"/>
                  </a:lnTo>
                  <a:lnTo>
                    <a:pt x="4433507" y="2586419"/>
                  </a:lnTo>
                  <a:lnTo>
                    <a:pt x="4473321" y="2668143"/>
                  </a:lnTo>
                  <a:lnTo>
                    <a:pt x="4467987" y="2766155"/>
                  </a:lnTo>
                  <a:lnTo>
                    <a:pt x="4549521" y="2746058"/>
                  </a:lnTo>
                  <a:lnTo>
                    <a:pt x="4628293" y="2674144"/>
                  </a:lnTo>
                  <a:lnTo>
                    <a:pt x="4675347" y="2786824"/>
                  </a:lnTo>
                  <a:lnTo>
                    <a:pt x="4728020" y="2775299"/>
                  </a:lnTo>
                  <a:lnTo>
                    <a:pt x="4784598" y="2799683"/>
                  </a:lnTo>
                  <a:lnTo>
                    <a:pt x="4829937" y="2765298"/>
                  </a:lnTo>
                  <a:lnTo>
                    <a:pt x="4878229" y="2720626"/>
                  </a:lnTo>
                  <a:lnTo>
                    <a:pt x="4904804" y="2598611"/>
                  </a:lnTo>
                  <a:lnTo>
                    <a:pt x="5019771" y="2779966"/>
                  </a:lnTo>
                  <a:lnTo>
                    <a:pt x="5027962" y="2644140"/>
                  </a:lnTo>
                  <a:lnTo>
                    <a:pt x="5083874" y="2629757"/>
                  </a:lnTo>
                  <a:lnTo>
                    <a:pt x="5119497" y="2744915"/>
                  </a:lnTo>
                  <a:lnTo>
                    <a:pt x="5197317" y="2591276"/>
                  </a:lnTo>
                  <a:lnTo>
                    <a:pt x="5202841" y="2732437"/>
                  </a:lnTo>
                  <a:lnTo>
                    <a:pt x="5277231" y="2699576"/>
                  </a:lnTo>
                  <a:lnTo>
                    <a:pt x="5273802" y="2781110"/>
                  </a:lnTo>
                  <a:lnTo>
                    <a:pt x="5398389" y="2727865"/>
                  </a:lnTo>
                  <a:lnTo>
                    <a:pt x="5428203" y="2786348"/>
                  </a:lnTo>
                  <a:lnTo>
                    <a:pt x="5460969" y="2842546"/>
                  </a:lnTo>
                  <a:lnTo>
                    <a:pt x="5500688" y="2872740"/>
                  </a:lnTo>
                  <a:lnTo>
                    <a:pt x="5535740" y="2865691"/>
                  </a:lnTo>
                  <a:lnTo>
                    <a:pt x="5566982" y="2777204"/>
                  </a:lnTo>
                  <a:lnTo>
                    <a:pt x="5644134" y="2910459"/>
                  </a:lnTo>
                  <a:lnTo>
                    <a:pt x="5638610" y="2917889"/>
                  </a:lnTo>
                  <a:lnTo>
                    <a:pt x="5649659" y="2919984"/>
                  </a:lnTo>
                  <a:lnTo>
                    <a:pt x="5657088" y="2932748"/>
                  </a:lnTo>
                  <a:lnTo>
                    <a:pt x="5662517" y="2922461"/>
                  </a:lnTo>
                  <a:lnTo>
                    <a:pt x="5778723" y="2944845"/>
                  </a:lnTo>
                  <a:lnTo>
                    <a:pt x="5660612" y="3022854"/>
                  </a:lnTo>
                  <a:lnTo>
                    <a:pt x="5781675" y="3000851"/>
                  </a:lnTo>
                  <a:lnTo>
                    <a:pt x="5779389" y="2953131"/>
                  </a:lnTo>
                  <a:lnTo>
                    <a:pt x="5835586" y="3020473"/>
                  </a:lnTo>
                  <a:lnTo>
                    <a:pt x="5890260" y="3056001"/>
                  </a:lnTo>
                  <a:lnTo>
                    <a:pt x="5937980" y="2973896"/>
                  </a:lnTo>
                  <a:lnTo>
                    <a:pt x="5989796" y="2964466"/>
                  </a:lnTo>
                  <a:lnTo>
                    <a:pt x="6043422" y="2964085"/>
                  </a:lnTo>
                  <a:lnTo>
                    <a:pt x="6100667" y="3137249"/>
                  </a:lnTo>
                  <a:lnTo>
                    <a:pt x="6154865" y="3053239"/>
                  </a:lnTo>
                  <a:lnTo>
                    <a:pt x="6206585" y="3067812"/>
                  </a:lnTo>
                  <a:lnTo>
                    <a:pt x="6266021" y="3155156"/>
                  </a:lnTo>
                  <a:lnTo>
                    <a:pt x="6308122" y="3008757"/>
                  </a:lnTo>
                  <a:lnTo>
                    <a:pt x="6352604" y="2945225"/>
                  </a:lnTo>
                  <a:lnTo>
                    <a:pt x="6431852" y="2983802"/>
                  </a:lnTo>
                  <a:lnTo>
                    <a:pt x="6442805" y="3129153"/>
                  </a:lnTo>
                  <a:lnTo>
                    <a:pt x="6550343" y="3018949"/>
                  </a:lnTo>
                  <a:lnTo>
                    <a:pt x="6579394" y="3141059"/>
                  </a:lnTo>
                  <a:lnTo>
                    <a:pt x="6610446" y="3038094"/>
                  </a:lnTo>
                  <a:lnTo>
                    <a:pt x="6685217" y="3083338"/>
                  </a:lnTo>
                  <a:lnTo>
                    <a:pt x="6709124" y="3018187"/>
                  </a:lnTo>
                  <a:lnTo>
                    <a:pt x="6730365" y="3103912"/>
                  </a:lnTo>
                  <a:lnTo>
                    <a:pt x="6825139" y="3023140"/>
                  </a:lnTo>
                  <a:lnTo>
                    <a:pt x="6762941" y="3139821"/>
                  </a:lnTo>
                  <a:lnTo>
                    <a:pt x="6843522" y="3145822"/>
                  </a:lnTo>
                  <a:lnTo>
                    <a:pt x="6879812" y="3212592"/>
                  </a:lnTo>
                  <a:lnTo>
                    <a:pt x="6966680" y="3236405"/>
                  </a:lnTo>
                  <a:lnTo>
                    <a:pt x="6997732" y="3128963"/>
                  </a:lnTo>
                  <a:lnTo>
                    <a:pt x="7064693" y="3150013"/>
                  </a:lnTo>
                  <a:lnTo>
                    <a:pt x="7140035" y="3183350"/>
                  </a:lnTo>
                  <a:lnTo>
                    <a:pt x="7155847" y="3057144"/>
                  </a:lnTo>
                  <a:lnTo>
                    <a:pt x="7217569" y="3106007"/>
                  </a:lnTo>
                  <a:lnTo>
                    <a:pt x="7228523" y="3169539"/>
                  </a:lnTo>
                  <a:lnTo>
                    <a:pt x="7318724" y="3154395"/>
                  </a:lnTo>
                  <a:lnTo>
                    <a:pt x="7378636" y="3157252"/>
                  </a:lnTo>
                  <a:lnTo>
                    <a:pt x="7376541" y="3102007"/>
                  </a:lnTo>
                  <a:lnTo>
                    <a:pt x="7427881" y="3095435"/>
                  </a:lnTo>
                  <a:lnTo>
                    <a:pt x="7499414" y="3116771"/>
                  </a:lnTo>
                  <a:lnTo>
                    <a:pt x="7593616" y="3121247"/>
                  </a:lnTo>
                  <a:lnTo>
                    <a:pt x="7505319" y="2943701"/>
                  </a:lnTo>
                  <a:lnTo>
                    <a:pt x="7592283" y="2956465"/>
                  </a:lnTo>
                  <a:lnTo>
                    <a:pt x="7650576" y="2972467"/>
                  </a:lnTo>
                  <a:lnTo>
                    <a:pt x="7683627" y="2913126"/>
                  </a:lnTo>
                  <a:lnTo>
                    <a:pt x="7722394" y="2943511"/>
                  </a:lnTo>
                  <a:lnTo>
                    <a:pt x="7827169" y="2891409"/>
                  </a:lnTo>
                  <a:lnTo>
                    <a:pt x="7635907" y="2838545"/>
                  </a:lnTo>
                  <a:lnTo>
                    <a:pt x="7828121" y="2805779"/>
                  </a:lnTo>
                  <a:lnTo>
                    <a:pt x="7762494" y="2701671"/>
                  </a:lnTo>
                  <a:lnTo>
                    <a:pt x="7867936" y="2752725"/>
                  </a:lnTo>
                  <a:lnTo>
                    <a:pt x="7875556" y="2668810"/>
                  </a:lnTo>
                  <a:lnTo>
                    <a:pt x="7986999" y="2623185"/>
                  </a:lnTo>
                  <a:lnTo>
                    <a:pt x="7884605" y="2554129"/>
                  </a:lnTo>
                  <a:lnTo>
                    <a:pt x="7876699" y="2488787"/>
                  </a:lnTo>
                  <a:lnTo>
                    <a:pt x="7953280" y="2466975"/>
                  </a:lnTo>
                  <a:lnTo>
                    <a:pt x="7977569" y="2409825"/>
                  </a:lnTo>
                  <a:lnTo>
                    <a:pt x="8022622" y="2384393"/>
                  </a:lnTo>
                  <a:lnTo>
                    <a:pt x="8080344" y="2448020"/>
                  </a:lnTo>
                  <a:lnTo>
                    <a:pt x="8132636" y="2333816"/>
                  </a:lnTo>
                  <a:lnTo>
                    <a:pt x="8196167" y="2343055"/>
                  </a:lnTo>
                  <a:lnTo>
                    <a:pt x="8258556" y="2300288"/>
                  </a:lnTo>
                  <a:lnTo>
                    <a:pt x="8308181" y="2355723"/>
                  </a:lnTo>
                  <a:lnTo>
                    <a:pt x="8366760" y="2337626"/>
                  </a:lnTo>
                  <a:lnTo>
                    <a:pt x="8412670" y="2463165"/>
                  </a:lnTo>
                  <a:lnTo>
                    <a:pt x="8475059" y="2357533"/>
                  </a:lnTo>
                  <a:lnTo>
                    <a:pt x="8535638" y="2278952"/>
                  </a:lnTo>
                  <a:lnTo>
                    <a:pt x="8584216" y="2373249"/>
                  </a:lnTo>
                  <a:lnTo>
                    <a:pt x="8644985" y="2288096"/>
                  </a:lnTo>
                  <a:lnTo>
                    <a:pt x="8691372" y="2334863"/>
                  </a:lnTo>
                  <a:lnTo>
                    <a:pt x="8765000" y="2487359"/>
                  </a:lnTo>
                  <a:lnTo>
                    <a:pt x="8790623" y="2265712"/>
                  </a:lnTo>
                  <a:lnTo>
                    <a:pt x="8843010" y="2436876"/>
                  </a:lnTo>
                  <a:lnTo>
                    <a:pt x="8906446" y="2404396"/>
                  </a:lnTo>
                  <a:lnTo>
                    <a:pt x="8903303" y="2516981"/>
                  </a:lnTo>
                  <a:lnTo>
                    <a:pt x="9019413" y="2434400"/>
                  </a:lnTo>
                  <a:lnTo>
                    <a:pt x="9086564" y="2541270"/>
                  </a:lnTo>
                  <a:lnTo>
                    <a:pt x="9122759" y="2414016"/>
                  </a:lnTo>
                  <a:lnTo>
                    <a:pt x="9184100" y="2409063"/>
                  </a:lnTo>
                  <a:lnTo>
                    <a:pt x="9242393" y="2520410"/>
                  </a:lnTo>
                  <a:lnTo>
                    <a:pt x="9300972" y="2389537"/>
                  </a:lnTo>
                  <a:lnTo>
                    <a:pt x="9385268" y="2362772"/>
                  </a:lnTo>
                  <a:lnTo>
                    <a:pt x="9360027" y="2527268"/>
                  </a:lnTo>
                  <a:lnTo>
                    <a:pt x="9484805" y="2473833"/>
                  </a:lnTo>
                  <a:lnTo>
                    <a:pt x="9536430" y="2477453"/>
                  </a:lnTo>
                  <a:lnTo>
                    <a:pt x="9564148" y="2533269"/>
                  </a:lnTo>
                  <a:lnTo>
                    <a:pt x="9616726" y="2570798"/>
                  </a:lnTo>
                  <a:lnTo>
                    <a:pt x="9686258" y="2645759"/>
                  </a:lnTo>
                  <a:lnTo>
                    <a:pt x="9744646" y="2589943"/>
                  </a:lnTo>
                  <a:lnTo>
                    <a:pt x="9790462" y="2561463"/>
                  </a:lnTo>
                  <a:lnTo>
                    <a:pt x="9787985" y="2486025"/>
                  </a:lnTo>
                  <a:lnTo>
                    <a:pt x="9823418" y="2454212"/>
                  </a:lnTo>
                  <a:lnTo>
                    <a:pt x="9873805" y="2365724"/>
                  </a:lnTo>
                  <a:lnTo>
                    <a:pt x="9928956" y="2379726"/>
                  </a:lnTo>
                  <a:lnTo>
                    <a:pt x="9994202" y="2399348"/>
                  </a:lnTo>
                  <a:lnTo>
                    <a:pt x="10029634" y="2462498"/>
                  </a:lnTo>
                  <a:lnTo>
                    <a:pt x="10074212" y="2483930"/>
                  </a:lnTo>
                  <a:lnTo>
                    <a:pt x="10165461" y="2416397"/>
                  </a:lnTo>
                  <a:lnTo>
                    <a:pt x="10164699" y="2471547"/>
                  </a:lnTo>
                  <a:lnTo>
                    <a:pt x="10189178" y="2433828"/>
                  </a:lnTo>
                  <a:lnTo>
                    <a:pt x="10224897" y="2398109"/>
                  </a:lnTo>
                  <a:lnTo>
                    <a:pt x="10310051" y="2404015"/>
                  </a:lnTo>
                  <a:lnTo>
                    <a:pt x="10311765" y="2411349"/>
                  </a:lnTo>
                  <a:lnTo>
                    <a:pt x="10438734" y="2362391"/>
                  </a:lnTo>
                  <a:lnTo>
                    <a:pt x="10370820" y="2528888"/>
                  </a:lnTo>
                  <a:lnTo>
                    <a:pt x="10491883" y="2405539"/>
                  </a:lnTo>
                  <a:lnTo>
                    <a:pt x="10486359" y="2384774"/>
                  </a:lnTo>
                  <a:lnTo>
                    <a:pt x="10622852" y="2485263"/>
                  </a:lnTo>
                  <a:lnTo>
                    <a:pt x="10613897" y="2343055"/>
                  </a:lnTo>
                  <a:lnTo>
                    <a:pt x="10724769" y="2486692"/>
                  </a:lnTo>
                  <a:lnTo>
                    <a:pt x="10763250" y="2421350"/>
                  </a:lnTo>
                  <a:lnTo>
                    <a:pt x="10827830" y="2432018"/>
                  </a:lnTo>
                  <a:lnTo>
                    <a:pt x="10874026" y="2385536"/>
                  </a:lnTo>
                  <a:lnTo>
                    <a:pt x="10932795" y="2380202"/>
                  </a:lnTo>
                  <a:lnTo>
                    <a:pt x="10960228" y="2225421"/>
                  </a:lnTo>
                  <a:lnTo>
                    <a:pt x="10986992" y="2382869"/>
                  </a:lnTo>
                  <a:lnTo>
                    <a:pt x="11046809" y="2397062"/>
                  </a:lnTo>
                  <a:lnTo>
                    <a:pt x="11124534" y="2365534"/>
                  </a:lnTo>
                  <a:lnTo>
                    <a:pt x="11182445" y="2383155"/>
                  </a:lnTo>
                  <a:lnTo>
                    <a:pt x="11250454" y="2375249"/>
                  </a:lnTo>
                  <a:lnTo>
                    <a:pt x="11303508" y="2327243"/>
                  </a:lnTo>
                  <a:lnTo>
                    <a:pt x="11356467" y="2424494"/>
                  </a:lnTo>
                  <a:lnTo>
                    <a:pt x="11372564" y="2435924"/>
                  </a:lnTo>
                  <a:lnTo>
                    <a:pt x="11372564" y="0"/>
                  </a:lnTo>
                  <a:lnTo>
                    <a:pt x="0" y="0"/>
                  </a:lnTo>
                  <a:close/>
                  <a:moveTo>
                    <a:pt x="7624191" y="2067973"/>
                  </a:moveTo>
                  <a:lnTo>
                    <a:pt x="7586187" y="1943672"/>
                  </a:lnTo>
                  <a:lnTo>
                    <a:pt x="7601522" y="1930813"/>
                  </a:lnTo>
                  <a:lnTo>
                    <a:pt x="7634669" y="1941100"/>
                  </a:lnTo>
                  <a:lnTo>
                    <a:pt x="7624191" y="2067973"/>
                  </a:lnTo>
                  <a:close/>
                </a:path>
              </a:pathLst>
            </a:custGeom>
            <a:solidFill>
              <a:srgbClr val="F5F5F0"/>
            </a:solidFill>
            <a:ln w="9525" cap="flat">
              <a:noFill/>
              <a:prstDash val="solid"/>
              <a:miter/>
            </a:ln>
            <a:effectLst>
              <a:outerShdw blurRad="50800" dist="38100" dir="2700000" algn="tl" rotWithShape="0">
                <a:prstClr val="black">
                  <a:alpha val="7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3BE74934-12C5-41B9-9A2D-DC485EA4C292}"/>
                </a:ext>
              </a:extLst>
            </p:cNvPr>
            <p:cNvSpPr/>
            <p:nvPr/>
          </p:nvSpPr>
          <p:spPr bwMode="auto">
            <a:xfrm>
              <a:off x="767401" y="2274543"/>
              <a:ext cx="1806241" cy="224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800" dirty="0">
                  <a:solidFill>
                    <a:srgbClr val="00000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Quelle: </a:t>
              </a:r>
              <a:r>
                <a:rPr lang="de-DE" sz="800" dirty="0">
                  <a:solidFill>
                    <a:srgbClr val="00000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eloitte</a:t>
              </a:r>
              <a:endParaRPr lang="de-DE" sz="800" dirty="0">
                <a:solidFill>
                  <a:srgbClr val="00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3BF4D9EE-D139-4625-9FCC-5297B33B12B6}"/>
                </a:ext>
              </a:extLst>
            </p:cNvPr>
            <p:cNvSpPr/>
            <p:nvPr/>
          </p:nvSpPr>
          <p:spPr bwMode="auto">
            <a:xfrm>
              <a:off x="772923" y="1556792"/>
              <a:ext cx="2386994" cy="224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800" dirty="0">
                  <a:solidFill>
                    <a:srgbClr val="00000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“Wird Home-Office zum neuen Normal?”</a:t>
              </a:r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AD140A94-B175-46DF-8726-30A6BEEAB3EE}"/>
                </a:ext>
              </a:extLst>
            </p:cNvPr>
            <p:cNvSpPr/>
            <p:nvPr/>
          </p:nvSpPr>
          <p:spPr bwMode="auto">
            <a:xfrm>
              <a:off x="663400" y="1744971"/>
              <a:ext cx="3205947" cy="51906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200" b="1" dirty="0">
                  <a:solidFill>
                    <a:srgbClr val="00000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Future of Work - Die Arbeitswelt befindet </a:t>
              </a:r>
            </a:p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200" b="1" dirty="0">
                  <a:solidFill>
                    <a:srgbClr val="00000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ich in einem grundlegenden Umbruch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89081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kt 33" hidden="1">
            <a:extLst>
              <a:ext uri="{FF2B5EF4-FFF2-40B4-BE49-F238E27FC236}">
                <a16:creationId xmlns:a16="http://schemas.microsoft.com/office/drawing/2014/main" id="{D25A8031-EE31-47DA-AE79-A38469FEB3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7038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4" name="think-cell Folie" r:id="rId6" imgW="380" imgH="380" progId="TCLayout.ActiveDocument.1">
                  <p:embed/>
                </p:oleObj>
              </mc:Choice>
              <mc:Fallback>
                <p:oleObj name="think-cell Folie" r:id="rId6" imgW="380" imgH="3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C620545-AF08-4341-A3CD-4A3B9BD4202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2200" dirty="0">
              <a:solidFill>
                <a:schemeClr val="tx1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6614460B-D85C-4E7C-A1F8-645776F89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FFFFFF"/>
                </a:solidFill>
              </a:rPr>
              <a:t>Daten als Wertquelle </a:t>
            </a:r>
            <a:br>
              <a:rPr lang="de-DE" dirty="0">
                <a:solidFill>
                  <a:srgbClr val="FFFFFF"/>
                </a:solidFill>
              </a:rPr>
            </a:br>
            <a:r>
              <a:rPr lang="de-DE" b="0" dirty="0">
                <a:solidFill>
                  <a:srgbClr val="FFFFFF"/>
                </a:solidFill>
              </a:rPr>
              <a:t>"Datenanalyse ist eine </a:t>
            </a:r>
            <a:r>
              <a:rPr lang="de-DE" b="0">
                <a:solidFill>
                  <a:srgbClr val="FFFFFF"/>
                </a:solidFill>
              </a:rPr>
              <a:t>Kernkompetenz </a:t>
            </a:r>
            <a:br>
              <a:rPr lang="de-DE" b="0">
                <a:solidFill>
                  <a:srgbClr val="FFFFFF"/>
                </a:solidFill>
              </a:rPr>
            </a:br>
            <a:r>
              <a:rPr lang="de-DE" b="0">
                <a:solidFill>
                  <a:srgbClr val="FFFFFF"/>
                </a:solidFill>
              </a:rPr>
              <a:t>des </a:t>
            </a:r>
            <a:r>
              <a:rPr lang="de-DE" b="0" dirty="0">
                <a:solidFill>
                  <a:srgbClr val="FFFFFF"/>
                </a:solidFill>
              </a:rPr>
              <a:t>CFO und seines Teams"</a:t>
            </a:r>
            <a:endParaRPr lang="en-US" b="0" dirty="0">
              <a:solidFill>
                <a:srgbClr val="FFFFFF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924B13C-2D35-4ECA-A80F-9B41E0CB2FC9}"/>
              </a:ext>
            </a:extLst>
          </p:cNvPr>
          <p:cNvSpPr/>
          <p:nvPr/>
        </p:nvSpPr>
        <p:spPr>
          <a:xfrm>
            <a:off x="627064" y="1819736"/>
            <a:ext cx="4554536" cy="5137656"/>
          </a:xfrm>
          <a:prstGeom prst="rect">
            <a:avLst/>
          </a:prstGeom>
        </p:spPr>
        <p:txBody>
          <a:bodyPr wrap="square" lIns="0" tIns="45696" rIns="0" bIns="45696">
            <a:noAutofit/>
          </a:bodyPr>
          <a:lstStyle/>
          <a:p>
            <a:pPr>
              <a:spcBef>
                <a:spcPts val="1200"/>
              </a:spcBef>
            </a:pPr>
            <a:r>
              <a:rPr lang="de-DE" b="1" dirty="0">
                <a:solidFill>
                  <a:srgbClr val="FFFFFF"/>
                </a:solidFill>
              </a:rPr>
              <a:t>Beispiele für Ideen, die wir gemeinsam mit Kunden und Partnern entwickelt haben:</a:t>
            </a:r>
          </a:p>
          <a:p>
            <a:pPr marL="190500" indent="-1905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FFFFFF"/>
                </a:solidFill>
              </a:rPr>
              <a:t>Technische Informationen werden mit den kommerziellen Konsequenzen dargestellt.</a:t>
            </a:r>
          </a:p>
          <a:p>
            <a:pPr marL="190500" indent="-1905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FFFFFF"/>
                </a:solidFill>
              </a:rPr>
              <a:t>Echtzeitdaten liefern bessere Informationen für Kreditauskünfte und Risikobewertung.</a:t>
            </a:r>
          </a:p>
          <a:p>
            <a:pPr marL="190500" indent="-1905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FFFFFF"/>
                </a:solidFill>
              </a:rPr>
              <a:t>Bessere Bewertung von Anlagennutzung und Restwerten.</a:t>
            </a:r>
          </a:p>
          <a:p>
            <a:pPr marL="190500" indent="-1905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FFFFFF"/>
                </a:solidFill>
              </a:rPr>
              <a:t>Die Abschreibung hängt von der tatsächlichen Nutzung einer Maschine ab.</a:t>
            </a:r>
          </a:p>
          <a:p>
            <a:pPr marL="190500" indent="-1905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FFFFFF"/>
                </a:solidFill>
              </a:rPr>
              <a:t>….</a:t>
            </a:r>
            <a:endParaRPr lang="en-US" sz="2133" dirty="0">
              <a:solidFill>
                <a:srgbClr val="FFFFFF"/>
              </a:solidFill>
            </a:endParaRPr>
          </a:p>
        </p:txBody>
      </p:sp>
      <p:grpSp>
        <p:nvGrpSpPr>
          <p:cNvPr id="5" name="Group 33">
            <a:extLst>
              <a:ext uri="{FF2B5EF4-FFF2-40B4-BE49-F238E27FC236}">
                <a16:creationId xmlns:a16="http://schemas.microsoft.com/office/drawing/2014/main" id="{243E3430-C0C3-49F5-B41C-044DA1AD8C5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780263" y="550865"/>
            <a:ext cx="1750101" cy="588963"/>
            <a:chOff x="6162" y="347"/>
            <a:chExt cx="1103" cy="371"/>
          </a:xfrm>
          <a:solidFill>
            <a:schemeClr val="bg1"/>
          </a:solidFill>
        </p:grpSpPr>
        <p:sp>
          <p:nvSpPr>
            <p:cNvPr id="8" name="Freeform 35">
              <a:extLst>
                <a:ext uri="{FF2B5EF4-FFF2-40B4-BE49-F238E27FC236}">
                  <a16:creationId xmlns:a16="http://schemas.microsoft.com/office/drawing/2014/main" id="{89DAE894-D047-4A89-96D0-36BEF330099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dirty="0">
                <a:solidFill>
                  <a:srgbClr val="00646E"/>
                </a:solidFill>
                <a:ea typeface="ＭＳ Ｐゴシック" charset="-128"/>
              </a:endParaRPr>
            </a:p>
          </p:txBody>
        </p:sp>
        <p:sp>
          <p:nvSpPr>
            <p:cNvPr id="9" name="Freeform 36">
              <a:extLst>
                <a:ext uri="{FF2B5EF4-FFF2-40B4-BE49-F238E27FC236}">
                  <a16:creationId xmlns:a16="http://schemas.microsoft.com/office/drawing/2014/main" id="{4A8722A0-315A-49D2-BBC2-53FDF69B6A5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dirty="0">
                <a:solidFill>
                  <a:srgbClr val="00646E"/>
                </a:solidFill>
                <a:ea typeface="ＭＳ Ｐゴシック" charset="-128"/>
              </a:endParaRPr>
            </a:p>
          </p:txBody>
        </p:sp>
        <p:sp>
          <p:nvSpPr>
            <p:cNvPr id="10" name="Freeform 37">
              <a:extLst>
                <a:ext uri="{FF2B5EF4-FFF2-40B4-BE49-F238E27FC236}">
                  <a16:creationId xmlns:a16="http://schemas.microsoft.com/office/drawing/2014/main" id="{63756848-96B7-4788-A359-B58CC4CD7AB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dirty="0">
                <a:solidFill>
                  <a:srgbClr val="00646E"/>
                </a:solidFill>
                <a:ea typeface="ＭＳ Ｐゴシック" charset="-128"/>
              </a:endParaRPr>
            </a:p>
          </p:txBody>
        </p:sp>
        <p:sp>
          <p:nvSpPr>
            <p:cNvPr id="11" name="Freeform 38">
              <a:extLst>
                <a:ext uri="{FF2B5EF4-FFF2-40B4-BE49-F238E27FC236}">
                  <a16:creationId xmlns:a16="http://schemas.microsoft.com/office/drawing/2014/main" id="{D5A9E590-0F4F-4E3D-8B68-93F5941D8B2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dirty="0">
                <a:solidFill>
                  <a:srgbClr val="00646E"/>
                </a:solidFill>
                <a:ea typeface="ＭＳ Ｐゴシック" charset="-128"/>
              </a:endParaRPr>
            </a:p>
          </p:txBody>
        </p:sp>
        <p:sp>
          <p:nvSpPr>
            <p:cNvPr id="12" name="Freeform 39">
              <a:extLst>
                <a:ext uri="{FF2B5EF4-FFF2-40B4-BE49-F238E27FC236}">
                  <a16:creationId xmlns:a16="http://schemas.microsoft.com/office/drawing/2014/main" id="{62F25EC8-E307-4AEA-A944-AD8DF64F4E1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dirty="0">
                <a:solidFill>
                  <a:srgbClr val="00646E"/>
                </a:solidFill>
                <a:ea typeface="ＭＳ Ｐゴシック" charset="-128"/>
              </a:endParaRPr>
            </a:p>
          </p:txBody>
        </p:sp>
        <p:sp>
          <p:nvSpPr>
            <p:cNvPr id="13" name="Freeform 40">
              <a:extLst>
                <a:ext uri="{FF2B5EF4-FFF2-40B4-BE49-F238E27FC236}">
                  <a16:creationId xmlns:a16="http://schemas.microsoft.com/office/drawing/2014/main" id="{79364E24-932A-4B87-A5F5-4F618A9F2CF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dirty="0">
                <a:solidFill>
                  <a:srgbClr val="00646E"/>
                </a:solidFill>
                <a:ea typeface="ＭＳ Ｐゴシック" charset="-128"/>
              </a:endParaRPr>
            </a:p>
          </p:txBody>
        </p:sp>
        <p:sp>
          <p:nvSpPr>
            <p:cNvPr id="14" name="Freeform 41">
              <a:extLst>
                <a:ext uri="{FF2B5EF4-FFF2-40B4-BE49-F238E27FC236}">
                  <a16:creationId xmlns:a16="http://schemas.microsoft.com/office/drawing/2014/main" id="{C288E48C-FDF6-4CE7-9D94-FA9A29BB1E5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dirty="0">
                <a:solidFill>
                  <a:srgbClr val="00646E"/>
                </a:solidFill>
                <a:ea typeface="ＭＳ Ｐゴシック" charset="-128"/>
              </a:endParaRPr>
            </a:p>
          </p:txBody>
        </p:sp>
        <p:sp>
          <p:nvSpPr>
            <p:cNvPr id="15" name="Freeform 42">
              <a:extLst>
                <a:ext uri="{FF2B5EF4-FFF2-40B4-BE49-F238E27FC236}">
                  <a16:creationId xmlns:a16="http://schemas.microsoft.com/office/drawing/2014/main" id="{356B8496-E5A3-401B-A034-3BC0337AB2B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dirty="0">
                <a:solidFill>
                  <a:srgbClr val="00646E"/>
                </a:solidFill>
                <a:ea typeface="ＭＳ Ｐゴシック" charset="-128"/>
              </a:endParaRPr>
            </a:p>
          </p:txBody>
        </p:sp>
        <p:sp>
          <p:nvSpPr>
            <p:cNvPr id="16" name="Freeform 43">
              <a:extLst>
                <a:ext uri="{FF2B5EF4-FFF2-40B4-BE49-F238E27FC236}">
                  <a16:creationId xmlns:a16="http://schemas.microsoft.com/office/drawing/2014/main" id="{E17299C2-C492-490F-A91B-7C50A4F6041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dirty="0">
                <a:solidFill>
                  <a:srgbClr val="00646E"/>
                </a:solidFill>
                <a:ea typeface="ＭＳ Ｐゴシック" charset="-128"/>
              </a:endParaRPr>
            </a:p>
          </p:txBody>
        </p:sp>
        <p:sp>
          <p:nvSpPr>
            <p:cNvPr id="17" name="Freeform 44">
              <a:extLst>
                <a:ext uri="{FF2B5EF4-FFF2-40B4-BE49-F238E27FC236}">
                  <a16:creationId xmlns:a16="http://schemas.microsoft.com/office/drawing/2014/main" id="{F4824AB0-06E0-4080-8E05-066AD82DAA7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dirty="0">
                <a:solidFill>
                  <a:srgbClr val="00646E"/>
                </a:solidFill>
                <a:ea typeface="ＭＳ Ｐゴシック" charset="-128"/>
              </a:endParaRPr>
            </a:p>
          </p:txBody>
        </p:sp>
        <p:sp>
          <p:nvSpPr>
            <p:cNvPr id="18" name="Freeform 45">
              <a:extLst>
                <a:ext uri="{FF2B5EF4-FFF2-40B4-BE49-F238E27FC236}">
                  <a16:creationId xmlns:a16="http://schemas.microsoft.com/office/drawing/2014/main" id="{EE54FB00-4577-4C51-9FB9-C50218B8278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dirty="0">
                <a:solidFill>
                  <a:srgbClr val="00646E"/>
                </a:solidFill>
                <a:ea typeface="ＭＳ Ｐゴシック" charset="-128"/>
              </a:endParaRPr>
            </a:p>
          </p:txBody>
        </p:sp>
        <p:sp>
          <p:nvSpPr>
            <p:cNvPr id="19" name="Freeform 46">
              <a:extLst>
                <a:ext uri="{FF2B5EF4-FFF2-40B4-BE49-F238E27FC236}">
                  <a16:creationId xmlns:a16="http://schemas.microsoft.com/office/drawing/2014/main" id="{D85AE86C-0162-4F89-B00D-EC5C71CE4DE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dirty="0">
                <a:solidFill>
                  <a:srgbClr val="00646E"/>
                </a:solidFill>
                <a:ea typeface="ＭＳ Ｐゴシック" charset="-128"/>
              </a:endParaRPr>
            </a:p>
          </p:txBody>
        </p:sp>
        <p:sp>
          <p:nvSpPr>
            <p:cNvPr id="20" name="Freeform 47">
              <a:extLst>
                <a:ext uri="{FF2B5EF4-FFF2-40B4-BE49-F238E27FC236}">
                  <a16:creationId xmlns:a16="http://schemas.microsoft.com/office/drawing/2014/main" id="{772733DA-D44D-4F85-8496-A93339F5D62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dirty="0">
                <a:solidFill>
                  <a:srgbClr val="00646E"/>
                </a:solidFill>
                <a:ea typeface="ＭＳ Ｐゴシック" charset="-128"/>
              </a:endParaRPr>
            </a:p>
          </p:txBody>
        </p:sp>
        <p:sp>
          <p:nvSpPr>
            <p:cNvPr id="21" name="Freeform 48">
              <a:extLst>
                <a:ext uri="{FF2B5EF4-FFF2-40B4-BE49-F238E27FC236}">
                  <a16:creationId xmlns:a16="http://schemas.microsoft.com/office/drawing/2014/main" id="{34600013-5BEB-4D87-B5BC-3EA3CCB5E15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dirty="0">
                <a:solidFill>
                  <a:srgbClr val="00646E"/>
                </a:solidFill>
                <a:ea typeface="ＭＳ Ｐゴシック" charset="-128"/>
              </a:endParaRPr>
            </a:p>
          </p:txBody>
        </p:sp>
        <p:sp>
          <p:nvSpPr>
            <p:cNvPr id="22" name="Freeform 49">
              <a:extLst>
                <a:ext uri="{FF2B5EF4-FFF2-40B4-BE49-F238E27FC236}">
                  <a16:creationId xmlns:a16="http://schemas.microsoft.com/office/drawing/2014/main" id="{79F139AA-B44D-4F23-A555-64A163CD882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dirty="0">
                <a:solidFill>
                  <a:srgbClr val="00646E"/>
                </a:solidFill>
                <a:ea typeface="ＭＳ Ｐゴシック" charset="-128"/>
              </a:endParaRPr>
            </a:p>
          </p:txBody>
        </p:sp>
        <p:sp>
          <p:nvSpPr>
            <p:cNvPr id="23" name="Freeform 50">
              <a:extLst>
                <a:ext uri="{FF2B5EF4-FFF2-40B4-BE49-F238E27FC236}">
                  <a16:creationId xmlns:a16="http://schemas.microsoft.com/office/drawing/2014/main" id="{E1EA3499-A8DE-4AB6-BC78-E4008802E73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dirty="0">
                <a:solidFill>
                  <a:srgbClr val="00646E"/>
                </a:solidFill>
                <a:ea typeface="ＭＳ Ｐゴシック" charset="-128"/>
              </a:endParaRPr>
            </a:p>
          </p:txBody>
        </p:sp>
        <p:sp>
          <p:nvSpPr>
            <p:cNvPr id="24" name="Freeform 51">
              <a:extLst>
                <a:ext uri="{FF2B5EF4-FFF2-40B4-BE49-F238E27FC236}">
                  <a16:creationId xmlns:a16="http://schemas.microsoft.com/office/drawing/2014/main" id="{5780BB00-401E-4780-B3C0-409FAFA7B06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dirty="0">
                <a:solidFill>
                  <a:srgbClr val="00646E"/>
                </a:solidFill>
                <a:ea typeface="ＭＳ Ｐゴシック" charset="-128"/>
              </a:endParaRPr>
            </a:p>
          </p:txBody>
        </p:sp>
        <p:sp>
          <p:nvSpPr>
            <p:cNvPr id="25" name="Freeform 52">
              <a:extLst>
                <a:ext uri="{FF2B5EF4-FFF2-40B4-BE49-F238E27FC236}">
                  <a16:creationId xmlns:a16="http://schemas.microsoft.com/office/drawing/2014/main" id="{CD9C73E4-3220-4D37-A016-2981DEF83CD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dirty="0">
                <a:solidFill>
                  <a:srgbClr val="00646E"/>
                </a:solidFill>
                <a:ea typeface="ＭＳ Ｐゴシック" charset="-128"/>
              </a:endParaRPr>
            </a:p>
          </p:txBody>
        </p:sp>
        <p:sp>
          <p:nvSpPr>
            <p:cNvPr id="26" name="Freeform 53">
              <a:extLst>
                <a:ext uri="{FF2B5EF4-FFF2-40B4-BE49-F238E27FC236}">
                  <a16:creationId xmlns:a16="http://schemas.microsoft.com/office/drawing/2014/main" id="{FBB5B3EA-6539-4A66-8DD9-B2C925CAB84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dirty="0">
                <a:solidFill>
                  <a:srgbClr val="00646E"/>
                </a:solidFill>
                <a:ea typeface="ＭＳ Ｐゴシック" charset="-128"/>
              </a:endParaRPr>
            </a:p>
          </p:txBody>
        </p:sp>
        <p:sp>
          <p:nvSpPr>
            <p:cNvPr id="27" name="Freeform 54">
              <a:extLst>
                <a:ext uri="{FF2B5EF4-FFF2-40B4-BE49-F238E27FC236}">
                  <a16:creationId xmlns:a16="http://schemas.microsoft.com/office/drawing/2014/main" id="{B4521083-001A-45C9-B701-6E45FA419B0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dirty="0">
                <a:solidFill>
                  <a:srgbClr val="00646E"/>
                </a:solidFill>
                <a:ea typeface="ＭＳ Ｐゴシック" charset="-128"/>
              </a:endParaRPr>
            </a:p>
          </p:txBody>
        </p:sp>
        <p:sp>
          <p:nvSpPr>
            <p:cNvPr id="28" name="Freeform 55">
              <a:extLst>
                <a:ext uri="{FF2B5EF4-FFF2-40B4-BE49-F238E27FC236}">
                  <a16:creationId xmlns:a16="http://schemas.microsoft.com/office/drawing/2014/main" id="{8A1F4F76-59D4-4910-B254-11764410376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dirty="0">
                <a:solidFill>
                  <a:srgbClr val="00646E"/>
                </a:solidFill>
                <a:ea typeface="ＭＳ Ｐゴシック" charset="-128"/>
              </a:endParaRPr>
            </a:p>
          </p:txBody>
        </p:sp>
        <p:sp>
          <p:nvSpPr>
            <p:cNvPr id="29" name="Freeform 56">
              <a:extLst>
                <a:ext uri="{FF2B5EF4-FFF2-40B4-BE49-F238E27FC236}">
                  <a16:creationId xmlns:a16="http://schemas.microsoft.com/office/drawing/2014/main" id="{627E7955-CA1B-4594-8FB0-3F446AFA9EF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dirty="0">
                <a:solidFill>
                  <a:srgbClr val="00646E"/>
                </a:solidFill>
                <a:ea typeface="ＭＳ Ｐゴシック" charset="-128"/>
              </a:endParaRPr>
            </a:p>
          </p:txBody>
        </p:sp>
        <p:sp>
          <p:nvSpPr>
            <p:cNvPr id="30" name="Freeform 57">
              <a:extLst>
                <a:ext uri="{FF2B5EF4-FFF2-40B4-BE49-F238E27FC236}">
                  <a16:creationId xmlns:a16="http://schemas.microsoft.com/office/drawing/2014/main" id="{E7CDAA86-0D97-47C5-AD1F-F758910350E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dirty="0">
                <a:solidFill>
                  <a:srgbClr val="00646E"/>
                </a:solidFill>
                <a:ea typeface="ＭＳ Ｐゴシック" charset="-128"/>
              </a:endParaRPr>
            </a:p>
          </p:txBody>
        </p:sp>
        <p:sp>
          <p:nvSpPr>
            <p:cNvPr id="31" name="Freeform 58">
              <a:extLst>
                <a:ext uri="{FF2B5EF4-FFF2-40B4-BE49-F238E27FC236}">
                  <a16:creationId xmlns:a16="http://schemas.microsoft.com/office/drawing/2014/main" id="{0E1B63CF-04D6-4675-91FB-4C9FC862093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dirty="0">
                <a:solidFill>
                  <a:srgbClr val="00646E"/>
                </a:solidFill>
                <a:ea typeface="ＭＳ Ｐゴシック" charset="-128"/>
              </a:endParaRPr>
            </a:p>
          </p:txBody>
        </p:sp>
        <p:sp>
          <p:nvSpPr>
            <p:cNvPr id="32" name="Freeform 59">
              <a:extLst>
                <a:ext uri="{FF2B5EF4-FFF2-40B4-BE49-F238E27FC236}">
                  <a16:creationId xmlns:a16="http://schemas.microsoft.com/office/drawing/2014/main" id="{7B62E2F3-3533-43C9-8B4C-331E0FCD245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dirty="0">
                <a:solidFill>
                  <a:srgbClr val="00646E"/>
                </a:solidFill>
                <a:ea typeface="ＭＳ Ｐゴシック" charset="-128"/>
              </a:endParaRPr>
            </a:p>
          </p:txBody>
        </p:sp>
      </p:grpSp>
      <p:pic>
        <p:nvPicPr>
          <p:cNvPr id="33" name="Grafik 32">
            <a:extLst>
              <a:ext uri="{FF2B5EF4-FFF2-40B4-BE49-F238E27FC236}">
                <a16:creationId xmlns:a16="http://schemas.microsoft.com/office/drawing/2014/main" id="{C5488ACD-9513-4A91-857D-CF8CEC7272B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0066A1"/>
              </a:clrFrom>
              <a:clrTo>
                <a:srgbClr val="0066A1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4793" y="4108047"/>
            <a:ext cx="937461" cy="937951"/>
          </a:xfrm>
          <a:prstGeom prst="rect">
            <a:avLst/>
          </a:prstGeom>
        </p:spPr>
      </p:pic>
      <p:pic>
        <p:nvPicPr>
          <p:cNvPr id="31746" name="Picture 2" descr="Bildergebnis für logo dataahead">
            <a:extLst>
              <a:ext uri="{FF2B5EF4-FFF2-40B4-BE49-F238E27FC236}">
                <a16:creationId xmlns:a16="http://schemas.microsoft.com/office/drawing/2014/main" id="{1D6DF3D9-8ADC-4D8C-B1AE-4149552D3D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3941" y="3933057"/>
            <a:ext cx="2348277" cy="1120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48" name="Picture 4" descr="Bildergebnis für logo siemens">
            <a:extLst>
              <a:ext uri="{FF2B5EF4-FFF2-40B4-BE49-F238E27FC236}">
                <a16:creationId xmlns:a16="http://schemas.microsoft.com/office/drawing/2014/main" id="{699004DC-006B-443F-BA06-60DCDD6D27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9153" y="1567493"/>
            <a:ext cx="1172801" cy="5867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52" name="Picture 8" descr="Bildergebnis für logo zksystem">
            <a:extLst>
              <a:ext uri="{FF2B5EF4-FFF2-40B4-BE49-F238E27FC236}">
                <a16:creationId xmlns:a16="http://schemas.microsoft.com/office/drawing/2014/main" id="{F76A409B-18E0-4A2D-95E7-A16A1E0A5A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1579" y="2870352"/>
            <a:ext cx="1610011" cy="302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53" name="Picture 3" descr="cre2">
            <a:extLst>
              <a:ext uri="{FF2B5EF4-FFF2-40B4-BE49-F238E27FC236}">
                <a16:creationId xmlns:a16="http://schemas.microsoft.com/office/drawing/2014/main" id="{A19B3CDB-FF32-4A7A-956E-4839EF9454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1889" y="2215266"/>
            <a:ext cx="894884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84148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5733594-D5DE-450D-B570-C582F70E64E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0316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9" name="think-cell Folie" r:id="rId6" imgW="380" imgH="380" progId="TCLayout.ActiveDocument.1">
                  <p:embed/>
                </p:oleObj>
              </mc:Choice>
              <mc:Fallback>
                <p:oleObj name="think-cell Folie" r:id="rId6" imgW="380" imgH="3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4DF0CDF6-B5DB-46EB-9C1C-6DE18114DA8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2200" dirty="0">
              <a:solidFill>
                <a:schemeClr val="tx1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6" name="Gruppieren 75">
            <a:extLst>
              <a:ext uri="{FF2B5EF4-FFF2-40B4-BE49-F238E27FC236}">
                <a16:creationId xmlns:a16="http://schemas.microsoft.com/office/drawing/2014/main" id="{FE925AF9-9956-4454-A68F-5AD95878E080}"/>
              </a:ext>
            </a:extLst>
          </p:cNvPr>
          <p:cNvGrpSpPr/>
          <p:nvPr/>
        </p:nvGrpSpPr>
        <p:grpSpPr>
          <a:xfrm>
            <a:off x="806587" y="4801166"/>
            <a:ext cx="5285768" cy="1328134"/>
            <a:chOff x="806587" y="4801166"/>
            <a:chExt cx="5285768" cy="1328134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69F485F2-2556-432D-A000-9ACA6E0EDB73}"/>
                </a:ext>
              </a:extLst>
            </p:cNvPr>
            <p:cNvSpPr/>
            <p:nvPr/>
          </p:nvSpPr>
          <p:spPr bwMode="auto">
            <a:xfrm>
              <a:off x="2633967" y="5321314"/>
              <a:ext cx="504056" cy="54006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DE3CB0EF-73B9-44ED-BD50-622EB8F667E2}"/>
                </a:ext>
              </a:extLst>
            </p:cNvPr>
            <p:cNvSpPr/>
            <p:nvPr/>
          </p:nvSpPr>
          <p:spPr bwMode="auto">
            <a:xfrm>
              <a:off x="3547657" y="5357374"/>
              <a:ext cx="504056" cy="5040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26FFBE15-89BA-4706-B2F9-A0AA5E708681}"/>
                </a:ext>
              </a:extLst>
            </p:cNvPr>
            <p:cNvSpPr/>
            <p:nvPr/>
          </p:nvSpPr>
          <p:spPr bwMode="auto">
            <a:xfrm>
              <a:off x="4461347" y="5393374"/>
              <a:ext cx="504056" cy="4680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1EB23B34-E831-47BD-8A8A-C3576A5445DC}"/>
                </a:ext>
              </a:extLst>
            </p:cNvPr>
            <p:cNvSpPr/>
            <p:nvPr/>
          </p:nvSpPr>
          <p:spPr bwMode="auto">
            <a:xfrm>
              <a:off x="5375039" y="5429374"/>
              <a:ext cx="504056" cy="4320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FBA44B54-00AE-45FC-B21E-7D50F41C86E2}"/>
                </a:ext>
              </a:extLst>
            </p:cNvPr>
            <p:cNvSpPr txBox="1"/>
            <p:nvPr/>
          </p:nvSpPr>
          <p:spPr>
            <a:xfrm>
              <a:off x="877046" y="5941876"/>
              <a:ext cx="367088" cy="18742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FY16</a:t>
              </a:r>
            </a:p>
          </p:txBody>
        </p: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DAC31D06-3BB0-459C-AD40-B18CD24D7BB7}"/>
                </a:ext>
              </a:extLst>
            </p:cNvPr>
            <p:cNvSpPr txBox="1"/>
            <p:nvPr/>
          </p:nvSpPr>
          <p:spPr>
            <a:xfrm>
              <a:off x="1790341" y="5941876"/>
              <a:ext cx="367088" cy="18742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FY17</a:t>
              </a:r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DC3C4B8D-DFD5-442D-952E-5202EFA40ADC}"/>
                </a:ext>
              </a:extLst>
            </p:cNvPr>
            <p:cNvSpPr txBox="1"/>
            <p:nvPr/>
          </p:nvSpPr>
          <p:spPr>
            <a:xfrm>
              <a:off x="2703636" y="5941876"/>
              <a:ext cx="367088" cy="18742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FY18</a:t>
              </a:r>
            </a:p>
          </p:txBody>
        </p: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D489952E-103C-4E81-A6F0-1AEB4CBCAF4B}"/>
                </a:ext>
              </a:extLst>
            </p:cNvPr>
            <p:cNvSpPr txBox="1"/>
            <p:nvPr/>
          </p:nvSpPr>
          <p:spPr>
            <a:xfrm>
              <a:off x="3616931" y="5941876"/>
              <a:ext cx="367088" cy="18742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FY19</a:t>
              </a:r>
            </a:p>
          </p:txBody>
        </p: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8057B6B5-2F67-4B0C-9062-D50D5D6B9CB9}"/>
                </a:ext>
              </a:extLst>
            </p:cNvPr>
            <p:cNvSpPr txBox="1"/>
            <p:nvPr/>
          </p:nvSpPr>
          <p:spPr>
            <a:xfrm>
              <a:off x="4530226" y="5941876"/>
              <a:ext cx="367088" cy="18742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FY20</a:t>
              </a:r>
            </a:p>
          </p:txBody>
        </p: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6A6DBC2A-1D7D-4BC2-B2E2-FDA988574A56}"/>
                </a:ext>
              </a:extLst>
            </p:cNvPr>
            <p:cNvSpPr txBox="1"/>
            <p:nvPr/>
          </p:nvSpPr>
          <p:spPr>
            <a:xfrm>
              <a:off x="5443523" y="5941876"/>
              <a:ext cx="367088" cy="18742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FY21</a:t>
              </a:r>
            </a:p>
          </p:txBody>
        </p:sp>
        <p:cxnSp>
          <p:nvCxnSpPr>
            <p:cNvPr id="50" name="Gerader Verbinder 49">
              <a:extLst>
                <a:ext uri="{FF2B5EF4-FFF2-40B4-BE49-F238E27FC236}">
                  <a16:creationId xmlns:a16="http://schemas.microsoft.com/office/drawing/2014/main" id="{B8187033-B9AD-476A-8551-E6A1C5B15D1E}"/>
                </a:ext>
              </a:extLst>
            </p:cNvPr>
            <p:cNvCxnSpPr/>
            <p:nvPr/>
          </p:nvCxnSpPr>
          <p:spPr bwMode="auto">
            <a:xfrm flipV="1">
              <a:off x="1238223" y="5329056"/>
              <a:ext cx="675421" cy="13498"/>
            </a:xfrm>
            <a:prstGeom prst="line">
              <a:avLst/>
            </a:prstGeom>
            <a:solidFill>
              <a:schemeClr val="tx2"/>
            </a:solidFill>
            <a:ln w="50800" cap="flat" cmpd="sng" algn="ctr">
              <a:solidFill>
                <a:srgbClr val="EB780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r Verbinder 53">
              <a:extLst>
                <a:ext uri="{FF2B5EF4-FFF2-40B4-BE49-F238E27FC236}">
                  <a16:creationId xmlns:a16="http://schemas.microsoft.com/office/drawing/2014/main" id="{9360C3AA-F817-4064-B7F7-51B94B04B04E}"/>
                </a:ext>
              </a:extLst>
            </p:cNvPr>
            <p:cNvCxnSpPr/>
            <p:nvPr/>
          </p:nvCxnSpPr>
          <p:spPr bwMode="auto">
            <a:xfrm flipV="1">
              <a:off x="1921158" y="4814915"/>
              <a:ext cx="4171197" cy="512400"/>
            </a:xfrm>
            <a:prstGeom prst="line">
              <a:avLst/>
            </a:prstGeom>
            <a:solidFill>
              <a:schemeClr val="tx2"/>
            </a:solidFill>
            <a:ln w="50800" cap="flat" cmpd="sng" algn="ctr">
              <a:solidFill>
                <a:srgbClr val="EB780A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10D4E371-E6CF-4D38-AD0A-D58EEF482731}"/>
                </a:ext>
              </a:extLst>
            </p:cNvPr>
            <p:cNvSpPr/>
            <p:nvPr/>
          </p:nvSpPr>
          <p:spPr bwMode="auto">
            <a:xfrm>
              <a:off x="5377645" y="4801166"/>
              <a:ext cx="504056" cy="628208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rgbClr val="FFFFFF"/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145B4792-A220-4BA5-A998-9FDF35700AAF}"/>
                </a:ext>
              </a:extLst>
            </p:cNvPr>
            <p:cNvSpPr/>
            <p:nvPr/>
          </p:nvSpPr>
          <p:spPr bwMode="auto">
            <a:xfrm>
              <a:off x="4461347" y="4988436"/>
              <a:ext cx="504056" cy="396000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rgbClr val="FFFFFF"/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AB3D79F0-7A05-4773-92A6-36D0D0D0E4BD}"/>
                </a:ext>
              </a:extLst>
            </p:cNvPr>
            <p:cNvSpPr/>
            <p:nvPr/>
          </p:nvSpPr>
          <p:spPr bwMode="auto">
            <a:xfrm>
              <a:off x="3547657" y="5077780"/>
              <a:ext cx="504056" cy="279594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rgbClr val="FFFFFF"/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E9870592-DF96-43F2-90CD-6B9741118135}"/>
                </a:ext>
              </a:extLst>
            </p:cNvPr>
            <p:cNvSpPr/>
            <p:nvPr/>
          </p:nvSpPr>
          <p:spPr bwMode="auto">
            <a:xfrm>
              <a:off x="2633967" y="5185792"/>
              <a:ext cx="504056" cy="144016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rgbClr val="FFFFFF"/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8A8C060D-2AC3-4ABB-99DD-7575D34716C3}"/>
                </a:ext>
              </a:extLst>
            </p:cNvPr>
            <p:cNvSpPr/>
            <p:nvPr/>
          </p:nvSpPr>
          <p:spPr bwMode="auto">
            <a:xfrm>
              <a:off x="1720277" y="5285374"/>
              <a:ext cx="504056" cy="5760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7" name="Textfeld 56">
              <a:extLst>
                <a:ext uri="{FF2B5EF4-FFF2-40B4-BE49-F238E27FC236}">
                  <a16:creationId xmlns:a16="http://schemas.microsoft.com/office/drawing/2014/main" id="{0EA2EC05-CE7F-4235-8F59-6A113390FAE0}"/>
                </a:ext>
              </a:extLst>
            </p:cNvPr>
            <p:cNvSpPr txBox="1"/>
            <p:nvPr/>
          </p:nvSpPr>
          <p:spPr>
            <a:xfrm>
              <a:off x="880753" y="5115270"/>
              <a:ext cx="357470" cy="18742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b="1" dirty="0">
                  <a:solidFill>
                    <a:srgbClr val="FFFFFF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3-5%</a:t>
              </a:r>
            </a:p>
          </p:txBody>
        </p:sp>
        <p:sp>
          <p:nvSpPr>
            <p:cNvPr id="58" name="Textfeld 57">
              <a:extLst>
                <a:ext uri="{FF2B5EF4-FFF2-40B4-BE49-F238E27FC236}">
                  <a16:creationId xmlns:a16="http://schemas.microsoft.com/office/drawing/2014/main" id="{7348F9C3-F6BD-4F48-9689-6BAF718556AE}"/>
                </a:ext>
              </a:extLst>
            </p:cNvPr>
            <p:cNvSpPr txBox="1"/>
            <p:nvPr/>
          </p:nvSpPr>
          <p:spPr>
            <a:xfrm>
              <a:off x="5456100" y="4847261"/>
              <a:ext cx="357470" cy="18742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b="1" dirty="0">
                  <a:solidFill>
                    <a:srgbClr val="FFFFFF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5-9%</a:t>
              </a: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570517EF-E67A-4FAA-92E2-876ED3B1A4AF}"/>
                </a:ext>
              </a:extLst>
            </p:cNvPr>
            <p:cNvSpPr/>
            <p:nvPr/>
          </p:nvSpPr>
          <p:spPr bwMode="auto">
            <a:xfrm>
              <a:off x="806587" y="5313816"/>
              <a:ext cx="504056" cy="54755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B0DB7637-FF2A-4786-840E-8167C89E72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chtig bei dieser Reise für uns war es</a:t>
            </a:r>
            <a:br>
              <a:rPr lang="de-DE" dirty="0"/>
            </a:br>
            <a:r>
              <a:rPr lang="de-DE" b="0" dirty="0"/>
              <a:t>"Wir haben es in unseren Werke selbst umgesetzt"</a:t>
            </a:r>
            <a:endParaRPr lang="en-US" b="0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1BB3E07-CF87-477B-B372-47F89FD26C7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1302"/>
          <a:stretch/>
        </p:blipFill>
        <p:spPr>
          <a:xfrm>
            <a:off x="626565" y="1621804"/>
            <a:ext cx="5472733" cy="309886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E2B43668-3EF3-4FA5-946E-D0ADA5906DB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6044"/>
          <a:stretch/>
        </p:blipFill>
        <p:spPr>
          <a:xfrm>
            <a:off x="6243191" y="1621804"/>
            <a:ext cx="5465788" cy="309886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E948469D-0B7B-4978-A0EA-B7E0B167A3D6}"/>
              </a:ext>
            </a:extLst>
          </p:cNvPr>
          <p:cNvGrpSpPr/>
          <p:nvPr/>
        </p:nvGrpSpPr>
        <p:grpSpPr>
          <a:xfrm>
            <a:off x="6457103" y="4924494"/>
            <a:ext cx="5264646" cy="1204806"/>
            <a:chOff x="6457103" y="4924494"/>
            <a:chExt cx="5264646" cy="1204806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5723F9F9-D6BD-496C-9E97-962DFF32D3AD}"/>
                </a:ext>
              </a:extLst>
            </p:cNvPr>
            <p:cNvSpPr/>
            <p:nvPr/>
          </p:nvSpPr>
          <p:spPr bwMode="auto">
            <a:xfrm>
              <a:off x="7370793" y="5321374"/>
              <a:ext cx="504056" cy="5400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119CDFEF-7D27-4CA9-BA83-44074CE6A1B1}"/>
                </a:ext>
              </a:extLst>
            </p:cNvPr>
            <p:cNvSpPr/>
            <p:nvPr/>
          </p:nvSpPr>
          <p:spPr bwMode="auto">
            <a:xfrm>
              <a:off x="8284483" y="5321314"/>
              <a:ext cx="504056" cy="54006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8A184770-4B57-4EB8-9EEB-5F36AC15D07D}"/>
                </a:ext>
              </a:extLst>
            </p:cNvPr>
            <p:cNvSpPr/>
            <p:nvPr/>
          </p:nvSpPr>
          <p:spPr bwMode="auto">
            <a:xfrm>
              <a:off x="9198173" y="5357374"/>
              <a:ext cx="504056" cy="5040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46E0812B-7989-4E50-B51A-3DCC757985F1}"/>
                </a:ext>
              </a:extLst>
            </p:cNvPr>
            <p:cNvSpPr/>
            <p:nvPr/>
          </p:nvSpPr>
          <p:spPr bwMode="auto">
            <a:xfrm>
              <a:off x="10111863" y="5393374"/>
              <a:ext cx="504056" cy="4680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E3D05A61-87F5-422A-88F8-4D3E9E889DE8}"/>
                </a:ext>
              </a:extLst>
            </p:cNvPr>
            <p:cNvSpPr/>
            <p:nvPr/>
          </p:nvSpPr>
          <p:spPr bwMode="auto">
            <a:xfrm>
              <a:off x="11025555" y="5465374"/>
              <a:ext cx="504056" cy="3960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AA654DCD-8BCB-4D7A-B81F-90271F321ED4}"/>
                </a:ext>
              </a:extLst>
            </p:cNvPr>
            <p:cNvSpPr txBox="1"/>
            <p:nvPr/>
          </p:nvSpPr>
          <p:spPr>
            <a:xfrm>
              <a:off x="6527562" y="5941876"/>
              <a:ext cx="367088" cy="18742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FY16</a:t>
              </a:r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1E446181-35C5-44EB-96EA-2EDDFAA45228}"/>
                </a:ext>
              </a:extLst>
            </p:cNvPr>
            <p:cNvSpPr txBox="1"/>
            <p:nvPr/>
          </p:nvSpPr>
          <p:spPr>
            <a:xfrm>
              <a:off x="7440857" y="5941876"/>
              <a:ext cx="367088" cy="18742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FY17</a:t>
              </a: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55261F03-8865-4410-984F-A7B187E96734}"/>
                </a:ext>
              </a:extLst>
            </p:cNvPr>
            <p:cNvSpPr txBox="1"/>
            <p:nvPr/>
          </p:nvSpPr>
          <p:spPr>
            <a:xfrm>
              <a:off x="8354152" y="5941876"/>
              <a:ext cx="367088" cy="18742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FY18</a:t>
              </a: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C4599630-B8BF-4628-887F-DCDA2289FFE0}"/>
                </a:ext>
              </a:extLst>
            </p:cNvPr>
            <p:cNvSpPr txBox="1"/>
            <p:nvPr/>
          </p:nvSpPr>
          <p:spPr>
            <a:xfrm>
              <a:off x="9267447" y="5941876"/>
              <a:ext cx="367088" cy="18742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FY19</a:t>
              </a:r>
            </a:p>
          </p:txBody>
        </p: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3D86BF5A-75E7-42BF-8277-C3FB0E30D7EC}"/>
                </a:ext>
              </a:extLst>
            </p:cNvPr>
            <p:cNvSpPr txBox="1"/>
            <p:nvPr/>
          </p:nvSpPr>
          <p:spPr>
            <a:xfrm>
              <a:off x="10180742" y="5941876"/>
              <a:ext cx="367088" cy="18742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FY20</a:t>
              </a:r>
            </a:p>
          </p:txBody>
        </p:sp>
        <p:sp>
          <p:nvSpPr>
            <p:cNvPr id="47" name="Textfeld 46">
              <a:extLst>
                <a:ext uri="{FF2B5EF4-FFF2-40B4-BE49-F238E27FC236}">
                  <a16:creationId xmlns:a16="http://schemas.microsoft.com/office/drawing/2014/main" id="{06CDD33B-D75B-4778-8680-EB87743AE473}"/>
                </a:ext>
              </a:extLst>
            </p:cNvPr>
            <p:cNvSpPr txBox="1"/>
            <p:nvPr/>
          </p:nvSpPr>
          <p:spPr>
            <a:xfrm>
              <a:off x="11094039" y="5941876"/>
              <a:ext cx="367088" cy="18742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FY21</a:t>
              </a:r>
            </a:p>
          </p:txBody>
        </p:sp>
        <p:cxnSp>
          <p:nvCxnSpPr>
            <p:cNvPr id="59" name="Gerader Verbinder 58">
              <a:extLst>
                <a:ext uri="{FF2B5EF4-FFF2-40B4-BE49-F238E27FC236}">
                  <a16:creationId xmlns:a16="http://schemas.microsoft.com/office/drawing/2014/main" id="{375CB3E5-AE59-4844-BAC7-9DBF526A929D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7622821" y="4933776"/>
              <a:ext cx="4098928" cy="330992"/>
            </a:xfrm>
            <a:prstGeom prst="line">
              <a:avLst/>
            </a:prstGeom>
            <a:solidFill>
              <a:schemeClr val="tx2"/>
            </a:solidFill>
            <a:ln w="50800" cap="flat" cmpd="sng" algn="ctr">
              <a:solidFill>
                <a:srgbClr val="EB780A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r Verbinder 60">
              <a:extLst>
                <a:ext uri="{FF2B5EF4-FFF2-40B4-BE49-F238E27FC236}">
                  <a16:creationId xmlns:a16="http://schemas.microsoft.com/office/drawing/2014/main" id="{E21A233D-D8BD-4C48-B50E-AE0B3BD0FCCA}"/>
                </a:ext>
              </a:extLst>
            </p:cNvPr>
            <p:cNvCxnSpPr/>
            <p:nvPr/>
          </p:nvCxnSpPr>
          <p:spPr bwMode="auto">
            <a:xfrm flipV="1">
              <a:off x="6934631" y="5264873"/>
              <a:ext cx="675421" cy="13498"/>
            </a:xfrm>
            <a:prstGeom prst="line">
              <a:avLst/>
            </a:prstGeom>
            <a:solidFill>
              <a:schemeClr val="tx2"/>
            </a:solidFill>
            <a:ln w="50800" cap="flat" cmpd="sng" algn="ctr">
              <a:solidFill>
                <a:srgbClr val="EB780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585404CD-FF94-4FFD-A70E-1A188437CC24}"/>
                </a:ext>
              </a:extLst>
            </p:cNvPr>
            <p:cNvSpPr/>
            <p:nvPr/>
          </p:nvSpPr>
          <p:spPr bwMode="auto">
            <a:xfrm>
              <a:off x="6457103" y="5249306"/>
              <a:ext cx="504056" cy="61206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073A6917-9DFE-4236-9356-9B2B845C5D76}"/>
                </a:ext>
              </a:extLst>
            </p:cNvPr>
            <p:cNvSpPr/>
            <p:nvPr/>
          </p:nvSpPr>
          <p:spPr bwMode="auto">
            <a:xfrm>
              <a:off x="7370793" y="5236196"/>
              <a:ext cx="504056" cy="85178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rgbClr val="FFFFFF"/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FF496AEB-8E3F-4E09-848E-D2ECBCF0C052}"/>
                </a:ext>
              </a:extLst>
            </p:cNvPr>
            <p:cNvSpPr/>
            <p:nvPr/>
          </p:nvSpPr>
          <p:spPr bwMode="auto">
            <a:xfrm>
              <a:off x="9198173" y="5077780"/>
              <a:ext cx="504056" cy="279594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rgbClr val="FFFFFF"/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EC96E0BC-C484-4E47-9B3F-EC15F30955DE}"/>
                </a:ext>
              </a:extLst>
            </p:cNvPr>
            <p:cNvSpPr/>
            <p:nvPr/>
          </p:nvSpPr>
          <p:spPr bwMode="auto">
            <a:xfrm>
              <a:off x="8284483" y="5185792"/>
              <a:ext cx="504056" cy="144016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rgbClr val="FFFFFF"/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972EC19F-F984-4376-8144-033DCF2EAF63}"/>
                </a:ext>
              </a:extLst>
            </p:cNvPr>
            <p:cNvSpPr/>
            <p:nvPr/>
          </p:nvSpPr>
          <p:spPr bwMode="auto">
            <a:xfrm>
              <a:off x="11025780" y="4924494"/>
              <a:ext cx="504056" cy="540880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rgbClr val="FFFFFF"/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09E8070D-DB0E-465D-B2C2-2A8F819A4B40}"/>
                </a:ext>
              </a:extLst>
            </p:cNvPr>
            <p:cNvSpPr/>
            <p:nvPr/>
          </p:nvSpPr>
          <p:spPr bwMode="auto">
            <a:xfrm>
              <a:off x="10111863" y="5041776"/>
              <a:ext cx="504056" cy="360000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rgbClr val="FFFFFF"/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6" name="Textfeld 65">
              <a:extLst>
                <a:ext uri="{FF2B5EF4-FFF2-40B4-BE49-F238E27FC236}">
                  <a16:creationId xmlns:a16="http://schemas.microsoft.com/office/drawing/2014/main" id="{52982C64-B88B-4286-8B63-FD3E19E5AF30}"/>
                </a:ext>
              </a:extLst>
            </p:cNvPr>
            <p:cNvSpPr txBox="1"/>
            <p:nvPr/>
          </p:nvSpPr>
          <p:spPr>
            <a:xfrm>
              <a:off x="11103657" y="4977172"/>
              <a:ext cx="357470" cy="18742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b="1" dirty="0">
                  <a:solidFill>
                    <a:srgbClr val="FFFFFF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5-9%</a:t>
              </a:r>
            </a:p>
          </p:txBody>
        </p:sp>
        <p:sp>
          <p:nvSpPr>
            <p:cNvPr id="67" name="Textfeld 66">
              <a:extLst>
                <a:ext uri="{FF2B5EF4-FFF2-40B4-BE49-F238E27FC236}">
                  <a16:creationId xmlns:a16="http://schemas.microsoft.com/office/drawing/2014/main" id="{5ECE5783-E065-4F5A-B6B6-ADC1ACAC2C6D}"/>
                </a:ext>
              </a:extLst>
            </p:cNvPr>
            <p:cNvSpPr txBox="1"/>
            <p:nvPr/>
          </p:nvSpPr>
          <p:spPr>
            <a:xfrm>
              <a:off x="6526796" y="5041776"/>
              <a:ext cx="357470" cy="18742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b="1" dirty="0">
                  <a:solidFill>
                    <a:srgbClr val="FFFFFF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3-5%</a:t>
              </a:r>
            </a:p>
          </p:txBody>
        </p:sp>
      </p:grp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EE429F99-95C3-4818-A92F-3C1688E36376}"/>
              </a:ext>
            </a:extLst>
          </p:cNvPr>
          <p:cNvGrpSpPr/>
          <p:nvPr/>
        </p:nvGrpSpPr>
        <p:grpSpPr>
          <a:xfrm>
            <a:off x="1708525" y="6410897"/>
            <a:ext cx="8144427" cy="187424"/>
            <a:chOff x="1708525" y="6410897"/>
            <a:chExt cx="8144427" cy="187424"/>
          </a:xfrm>
        </p:grpSpPr>
        <p:sp>
          <p:nvSpPr>
            <p:cNvPr id="68" name="Rechteck 67">
              <a:extLst>
                <a:ext uri="{FF2B5EF4-FFF2-40B4-BE49-F238E27FC236}">
                  <a16:creationId xmlns:a16="http://schemas.microsoft.com/office/drawing/2014/main" id="{8B541559-7500-42B4-A7D7-5DBB3CF7A2A0}"/>
                </a:ext>
              </a:extLst>
            </p:cNvPr>
            <p:cNvSpPr/>
            <p:nvPr/>
          </p:nvSpPr>
          <p:spPr bwMode="auto">
            <a:xfrm>
              <a:off x="1708525" y="6414609"/>
              <a:ext cx="180000" cy="1800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9" name="Rechteck 68">
              <a:extLst>
                <a:ext uri="{FF2B5EF4-FFF2-40B4-BE49-F238E27FC236}">
                  <a16:creationId xmlns:a16="http://schemas.microsoft.com/office/drawing/2014/main" id="{243F1394-9CDD-4A5B-82EC-7B70906EA313}"/>
                </a:ext>
              </a:extLst>
            </p:cNvPr>
            <p:cNvSpPr/>
            <p:nvPr/>
          </p:nvSpPr>
          <p:spPr bwMode="auto">
            <a:xfrm>
              <a:off x="4043948" y="6414609"/>
              <a:ext cx="180000" cy="180000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rgbClr val="FFFFFF"/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3C077F81-87B6-4358-90F9-6F46106AA7DE}"/>
                </a:ext>
              </a:extLst>
            </p:cNvPr>
            <p:cNvCxnSpPr/>
            <p:nvPr/>
          </p:nvCxnSpPr>
          <p:spPr bwMode="auto">
            <a:xfrm flipV="1">
              <a:off x="7695925" y="6497860"/>
              <a:ext cx="675421" cy="13498"/>
            </a:xfrm>
            <a:prstGeom prst="line">
              <a:avLst/>
            </a:prstGeom>
            <a:solidFill>
              <a:schemeClr val="tx2"/>
            </a:solidFill>
            <a:ln w="50800" cap="flat" cmpd="sng" algn="ctr">
              <a:solidFill>
                <a:srgbClr val="EB780A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1" name="Textfeld 70">
              <a:extLst>
                <a:ext uri="{FF2B5EF4-FFF2-40B4-BE49-F238E27FC236}">
                  <a16:creationId xmlns:a16="http://schemas.microsoft.com/office/drawing/2014/main" id="{1FEEDC4A-4CBE-47AC-BBDF-8FE68231A0E0}"/>
                </a:ext>
              </a:extLst>
            </p:cNvPr>
            <p:cNvSpPr txBox="1"/>
            <p:nvPr/>
          </p:nvSpPr>
          <p:spPr>
            <a:xfrm>
              <a:off x="2064449" y="6410897"/>
              <a:ext cx="1202252" cy="18742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Base productivity</a:t>
              </a:r>
            </a:p>
          </p:txBody>
        </p:sp>
        <p:sp>
          <p:nvSpPr>
            <p:cNvPr id="72" name="Textfeld 71">
              <a:extLst>
                <a:ext uri="{FF2B5EF4-FFF2-40B4-BE49-F238E27FC236}">
                  <a16:creationId xmlns:a16="http://schemas.microsoft.com/office/drawing/2014/main" id="{73C0E13C-04AB-412D-998B-6D13A24E1CC0}"/>
                </a:ext>
              </a:extLst>
            </p:cNvPr>
            <p:cNvSpPr txBox="1"/>
            <p:nvPr/>
          </p:nvSpPr>
          <p:spPr>
            <a:xfrm>
              <a:off x="4412039" y="6410897"/>
              <a:ext cx="2819683" cy="18742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Additional productivity through digitization</a:t>
              </a:r>
            </a:p>
          </p:txBody>
        </p:sp>
        <p:sp>
          <p:nvSpPr>
            <p:cNvPr id="73" name="Textfeld 72">
              <a:extLst>
                <a:ext uri="{FF2B5EF4-FFF2-40B4-BE49-F238E27FC236}">
                  <a16:creationId xmlns:a16="http://schemas.microsoft.com/office/drawing/2014/main" id="{98A66139-8CAB-4CE1-A9DB-0FB6EDA3A212}"/>
                </a:ext>
              </a:extLst>
            </p:cNvPr>
            <p:cNvSpPr txBox="1"/>
            <p:nvPr/>
          </p:nvSpPr>
          <p:spPr>
            <a:xfrm>
              <a:off x="8548108" y="6410897"/>
              <a:ext cx="1304844" cy="18742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Overall productivit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2303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de-DE" sz="2200" b="1" dirty="0">
              <a:solidFill>
                <a:schemeClr val="tx1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D64147E5-6631-40D1-8D31-0D4BE85118CC}"/>
              </a:ext>
            </a:extLst>
          </p:cNvPr>
          <p:cNvCxnSpPr>
            <a:cxnSpLocks/>
          </p:cNvCxnSpPr>
          <p:nvPr/>
        </p:nvCxnSpPr>
        <p:spPr bwMode="auto">
          <a:xfrm flipV="1">
            <a:off x="647074" y="2444768"/>
            <a:ext cx="0" cy="2187053"/>
          </a:xfrm>
          <a:prstGeom prst="line">
            <a:avLst/>
          </a:prstGeom>
          <a:solidFill>
            <a:schemeClr val="tx2"/>
          </a:solidFill>
          <a:ln w="31750" cap="flat" cmpd="sng" algn="ctr">
            <a:solidFill>
              <a:srgbClr val="DFE6E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nd was hat der Kaufmann für Vorteile?</a:t>
            </a:r>
            <a:endParaRPr lang="en-US" dirty="0"/>
          </a:p>
        </p:txBody>
      </p:sp>
      <p:sp>
        <p:nvSpPr>
          <p:cNvPr id="1842" name="Rectangle 171">
            <a:extLst>
              <a:ext uri="{FF2B5EF4-FFF2-40B4-BE49-F238E27FC236}">
                <a16:creationId xmlns:a16="http://schemas.microsoft.com/office/drawing/2014/main" id="{AD19A74D-4277-4FF9-BD54-7A9126DBFFA7}"/>
              </a:ext>
            </a:extLst>
          </p:cNvPr>
          <p:cNvSpPr>
            <a:spLocks/>
          </p:cNvSpPr>
          <p:nvPr/>
        </p:nvSpPr>
        <p:spPr>
          <a:xfrm>
            <a:off x="840887" y="2493263"/>
            <a:ext cx="6735764" cy="2046714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anchor="t" anchorCtr="0">
            <a:spAutoFit/>
          </a:bodyPr>
          <a:lstStyle/>
          <a:p>
            <a:pPr marL="182563" lvl="1" indent="-182563">
              <a:spcBef>
                <a:spcPts val="200"/>
              </a:spcBef>
              <a:spcAft>
                <a:spcPts val="0"/>
              </a:spcAft>
              <a:buClr>
                <a:srgbClr val="FFFFFF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FFFFFF"/>
                </a:solidFill>
              </a:rPr>
              <a:t>Echtzeitdaten als neue Dimension in der Analyse</a:t>
            </a:r>
            <a:br>
              <a:rPr lang="de-DE" sz="1600" dirty="0">
                <a:solidFill>
                  <a:srgbClr val="FFFFFF"/>
                </a:solidFill>
              </a:rPr>
            </a:br>
            <a:endParaRPr lang="de-DE" sz="1600" dirty="0">
              <a:solidFill>
                <a:srgbClr val="FFFFFF"/>
              </a:solidFill>
            </a:endParaRPr>
          </a:p>
          <a:p>
            <a:pPr marL="182563" lvl="1" indent="-182563">
              <a:spcBef>
                <a:spcPts val="200"/>
              </a:spcBef>
              <a:spcAft>
                <a:spcPts val="0"/>
              </a:spcAft>
              <a:buClr>
                <a:srgbClr val="FFFFFF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FFFFFF"/>
                </a:solidFill>
              </a:rPr>
              <a:t>Technik auch betriebswirtschaftlich visualisieren</a:t>
            </a:r>
            <a:br>
              <a:rPr lang="de-DE" sz="1600" dirty="0">
                <a:solidFill>
                  <a:srgbClr val="FFFFFF"/>
                </a:solidFill>
              </a:rPr>
            </a:br>
            <a:endParaRPr lang="de-DE" sz="1600" dirty="0">
              <a:solidFill>
                <a:srgbClr val="FFFFFF"/>
              </a:solidFill>
            </a:endParaRPr>
          </a:p>
          <a:p>
            <a:pPr marL="182563" lvl="1" indent="-182563">
              <a:spcBef>
                <a:spcPts val="200"/>
              </a:spcBef>
              <a:spcAft>
                <a:spcPts val="0"/>
              </a:spcAft>
              <a:buClr>
                <a:srgbClr val="FFFFFF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FFFFFF"/>
                </a:solidFill>
              </a:rPr>
              <a:t>Die Kombination aus Technik und Betriebswirtschaft führt </a:t>
            </a:r>
            <a:br>
              <a:rPr lang="de-DE" sz="1600" dirty="0">
                <a:solidFill>
                  <a:srgbClr val="FFFFFF"/>
                </a:solidFill>
              </a:rPr>
            </a:br>
            <a:r>
              <a:rPr lang="de-DE" sz="1600" dirty="0">
                <a:solidFill>
                  <a:srgbClr val="FFFFFF"/>
                </a:solidFill>
              </a:rPr>
              <a:t>zu neuem Optimierungspotenzial</a:t>
            </a:r>
            <a:br>
              <a:rPr lang="de-DE" sz="1600" dirty="0">
                <a:solidFill>
                  <a:srgbClr val="FFFFFF"/>
                </a:solidFill>
              </a:rPr>
            </a:br>
            <a:endParaRPr lang="de-DE" sz="1600" dirty="0">
              <a:solidFill>
                <a:srgbClr val="FFFFFF"/>
              </a:solidFill>
            </a:endParaRPr>
          </a:p>
          <a:p>
            <a:pPr marL="182563" lvl="1" indent="-182563">
              <a:spcBef>
                <a:spcPts val="200"/>
              </a:spcBef>
              <a:spcAft>
                <a:spcPts val="0"/>
              </a:spcAft>
              <a:buClr>
                <a:srgbClr val="FFFFFF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FFFFFF"/>
                </a:solidFill>
              </a:rPr>
              <a:t>Handlungen können unmittelbar erfolgen</a:t>
            </a:r>
          </a:p>
        </p:txBody>
      </p:sp>
      <p:sp>
        <p:nvSpPr>
          <p:cNvPr id="1852" name="Rechteck 1851">
            <a:extLst>
              <a:ext uri="{FF2B5EF4-FFF2-40B4-BE49-F238E27FC236}">
                <a16:creationId xmlns:a16="http://schemas.microsoft.com/office/drawing/2014/main" id="{5BC721A5-52BE-46D6-8D48-B81AA256032E}"/>
              </a:ext>
            </a:extLst>
          </p:cNvPr>
          <p:cNvSpPr/>
          <p:nvPr/>
        </p:nvSpPr>
        <p:spPr>
          <a:xfrm>
            <a:off x="277969" y="1241521"/>
            <a:ext cx="3008965" cy="11079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6600" dirty="0">
                <a:solidFill>
                  <a:srgbClr val="A5E1E1"/>
                </a:solidFill>
              </a:rPr>
              <a:t>Vorteile</a:t>
            </a:r>
            <a:endParaRPr lang="en-US" sz="6600" dirty="0">
              <a:solidFill>
                <a:srgbClr val="A5E1E1"/>
              </a:solidFill>
            </a:endParaRPr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595350FA-AB08-403B-90D0-4E6D5356FEF9}"/>
              </a:ext>
            </a:extLst>
          </p:cNvPr>
          <p:cNvGrpSpPr/>
          <p:nvPr/>
        </p:nvGrpSpPr>
        <p:grpSpPr>
          <a:xfrm>
            <a:off x="9559998" y="1775787"/>
            <a:ext cx="1224671" cy="3888797"/>
            <a:chOff x="4252365" y="3515100"/>
            <a:chExt cx="807434" cy="2563911"/>
          </a:xfrm>
          <a:effectLst>
            <a:glow rad="50800">
              <a:srgbClr val="FFFFFF">
                <a:alpha val="75000"/>
              </a:srgbClr>
            </a:glow>
          </a:effectLst>
        </p:grpSpPr>
        <p:sp>
          <p:nvSpPr>
            <p:cNvPr id="38" name="Freeform 2090">
              <a:extLst>
                <a:ext uri="{FF2B5EF4-FFF2-40B4-BE49-F238E27FC236}">
                  <a16:creationId xmlns:a16="http://schemas.microsoft.com/office/drawing/2014/main" id="{FAB0621D-083A-4820-B179-6EED9B3DE3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8806" y="4908670"/>
              <a:ext cx="140285" cy="224824"/>
            </a:xfrm>
            <a:custGeom>
              <a:avLst/>
              <a:gdLst>
                <a:gd name="T0" fmla="*/ 176 w 176"/>
                <a:gd name="T1" fmla="*/ 4 h 282"/>
                <a:gd name="T2" fmla="*/ 171 w 176"/>
                <a:gd name="T3" fmla="*/ 32 h 282"/>
                <a:gd name="T4" fmla="*/ 101 w 176"/>
                <a:gd name="T5" fmla="*/ 232 h 282"/>
                <a:gd name="T6" fmla="*/ 76 w 176"/>
                <a:gd name="T7" fmla="*/ 282 h 282"/>
                <a:gd name="T8" fmla="*/ 5 w 176"/>
                <a:gd name="T9" fmla="*/ 282 h 282"/>
                <a:gd name="T10" fmla="*/ 0 w 176"/>
                <a:gd name="T11" fmla="*/ 282 h 282"/>
                <a:gd name="T12" fmla="*/ 12 w 176"/>
                <a:gd name="T13" fmla="*/ 156 h 282"/>
                <a:gd name="T14" fmla="*/ 37 w 176"/>
                <a:gd name="T15" fmla="*/ 120 h 282"/>
                <a:gd name="T16" fmla="*/ 30 w 176"/>
                <a:gd name="T17" fmla="*/ 0 h 282"/>
                <a:gd name="T18" fmla="*/ 176 w 176"/>
                <a:gd name="T19" fmla="*/ 4 h 282"/>
                <a:gd name="T20" fmla="*/ 176 w 176"/>
                <a:gd name="T21" fmla="*/ 4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6" h="282">
                  <a:moveTo>
                    <a:pt x="176" y="4"/>
                  </a:moveTo>
                  <a:cubicBezTo>
                    <a:pt x="171" y="32"/>
                    <a:pt x="171" y="32"/>
                    <a:pt x="171" y="32"/>
                  </a:cubicBezTo>
                  <a:cubicBezTo>
                    <a:pt x="157" y="101"/>
                    <a:pt x="133" y="169"/>
                    <a:pt x="101" y="232"/>
                  </a:cubicBezTo>
                  <a:cubicBezTo>
                    <a:pt x="76" y="282"/>
                    <a:pt x="76" y="282"/>
                    <a:pt x="76" y="282"/>
                  </a:cubicBezTo>
                  <a:cubicBezTo>
                    <a:pt x="5" y="282"/>
                    <a:pt x="5" y="282"/>
                    <a:pt x="5" y="282"/>
                  </a:cubicBezTo>
                  <a:cubicBezTo>
                    <a:pt x="0" y="282"/>
                    <a:pt x="0" y="282"/>
                    <a:pt x="0" y="282"/>
                  </a:cubicBezTo>
                  <a:cubicBezTo>
                    <a:pt x="12" y="156"/>
                    <a:pt x="12" y="156"/>
                    <a:pt x="12" y="156"/>
                  </a:cubicBezTo>
                  <a:cubicBezTo>
                    <a:pt x="37" y="120"/>
                    <a:pt x="37" y="120"/>
                    <a:pt x="37" y="12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6" y="4"/>
                    <a:pt x="176" y="4"/>
                    <a:pt x="176" y="4"/>
                  </a:cubicBezTo>
                  <a:close/>
                </a:path>
              </a:pathLst>
            </a:custGeom>
            <a:solidFill>
              <a:srgbClr val="C8C8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" name="Freeform 2091">
              <a:extLst>
                <a:ext uri="{FF2B5EF4-FFF2-40B4-BE49-F238E27FC236}">
                  <a16:creationId xmlns:a16="http://schemas.microsoft.com/office/drawing/2014/main" id="{DF66D42C-B260-4DE2-AF52-D19A97C185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3904" y="4908670"/>
              <a:ext cx="139476" cy="224824"/>
            </a:xfrm>
            <a:custGeom>
              <a:avLst/>
              <a:gdLst>
                <a:gd name="T0" fmla="*/ 175 w 175"/>
                <a:gd name="T1" fmla="*/ 282 h 282"/>
                <a:gd name="T2" fmla="*/ 175 w 175"/>
                <a:gd name="T3" fmla="*/ 282 h 282"/>
                <a:gd name="T4" fmla="*/ 100 w 175"/>
                <a:gd name="T5" fmla="*/ 282 h 282"/>
                <a:gd name="T6" fmla="*/ 75 w 175"/>
                <a:gd name="T7" fmla="*/ 232 h 282"/>
                <a:gd name="T8" fmla="*/ 6 w 175"/>
                <a:gd name="T9" fmla="*/ 32 h 282"/>
                <a:gd name="T10" fmla="*/ 0 w 175"/>
                <a:gd name="T11" fmla="*/ 4 h 282"/>
                <a:gd name="T12" fmla="*/ 145 w 175"/>
                <a:gd name="T13" fmla="*/ 0 h 282"/>
                <a:gd name="T14" fmla="*/ 139 w 175"/>
                <a:gd name="T15" fmla="*/ 120 h 282"/>
                <a:gd name="T16" fmla="*/ 163 w 175"/>
                <a:gd name="T17" fmla="*/ 156 h 282"/>
                <a:gd name="T18" fmla="*/ 175 w 175"/>
                <a:gd name="T19" fmla="*/ 282 h 282"/>
                <a:gd name="T20" fmla="*/ 175 w 175"/>
                <a:gd name="T21" fmla="*/ 28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5" h="282">
                  <a:moveTo>
                    <a:pt x="175" y="282"/>
                  </a:moveTo>
                  <a:cubicBezTo>
                    <a:pt x="175" y="282"/>
                    <a:pt x="175" y="282"/>
                    <a:pt x="175" y="282"/>
                  </a:cubicBezTo>
                  <a:cubicBezTo>
                    <a:pt x="100" y="282"/>
                    <a:pt x="100" y="282"/>
                    <a:pt x="100" y="282"/>
                  </a:cubicBezTo>
                  <a:cubicBezTo>
                    <a:pt x="75" y="232"/>
                    <a:pt x="75" y="232"/>
                    <a:pt x="75" y="232"/>
                  </a:cubicBezTo>
                  <a:cubicBezTo>
                    <a:pt x="43" y="169"/>
                    <a:pt x="21" y="101"/>
                    <a:pt x="6" y="3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39" y="120"/>
                    <a:pt x="139" y="120"/>
                    <a:pt x="139" y="120"/>
                  </a:cubicBezTo>
                  <a:cubicBezTo>
                    <a:pt x="163" y="156"/>
                    <a:pt x="163" y="156"/>
                    <a:pt x="163" y="156"/>
                  </a:cubicBezTo>
                  <a:cubicBezTo>
                    <a:pt x="175" y="282"/>
                    <a:pt x="175" y="282"/>
                    <a:pt x="175" y="282"/>
                  </a:cubicBezTo>
                  <a:cubicBezTo>
                    <a:pt x="175" y="282"/>
                    <a:pt x="175" y="282"/>
                    <a:pt x="175" y="282"/>
                  </a:cubicBezTo>
                  <a:close/>
                </a:path>
              </a:pathLst>
            </a:custGeom>
            <a:solidFill>
              <a:srgbClr val="C8C8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" name="Freeform 2092">
              <a:extLst>
                <a:ext uri="{FF2B5EF4-FFF2-40B4-BE49-F238E27FC236}">
                  <a16:creationId xmlns:a16="http://schemas.microsoft.com/office/drawing/2014/main" id="{7E981F4F-A0B9-462B-B524-26AC74858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3812" y="4831341"/>
              <a:ext cx="504539" cy="1247670"/>
            </a:xfrm>
            <a:custGeom>
              <a:avLst/>
              <a:gdLst>
                <a:gd name="T0" fmla="*/ 22464 w 22464"/>
                <a:gd name="T1" fmla="*/ 9264 h 55551"/>
                <a:gd name="T2" fmla="*/ 22039 w 22464"/>
                <a:gd name="T3" fmla="*/ 13737 h 55551"/>
                <a:gd name="T4" fmla="*/ 18383 w 22464"/>
                <a:gd name="T5" fmla="*/ 51078 h 55551"/>
                <a:gd name="T6" fmla="*/ 17851 w 22464"/>
                <a:gd name="T7" fmla="*/ 55551 h 55551"/>
                <a:gd name="T8" fmla="*/ 4614 w 22464"/>
                <a:gd name="T9" fmla="*/ 55551 h 55551"/>
                <a:gd name="T10" fmla="*/ 4081 w 22464"/>
                <a:gd name="T11" fmla="*/ 51078 h 55551"/>
                <a:gd name="T12" fmla="*/ 426 w 22464"/>
                <a:gd name="T13" fmla="*/ 13737 h 55551"/>
                <a:gd name="T14" fmla="*/ 426 w 22464"/>
                <a:gd name="T15" fmla="*/ 13737 h 55551"/>
                <a:gd name="T16" fmla="*/ 0 w 22464"/>
                <a:gd name="T17" fmla="*/ 9264 h 55551"/>
                <a:gd name="T18" fmla="*/ 7843 w 22464"/>
                <a:gd name="T19" fmla="*/ 8164 h 55551"/>
                <a:gd name="T20" fmla="*/ 11250 w 22464"/>
                <a:gd name="T21" fmla="*/ 0 h 55551"/>
                <a:gd name="T22" fmla="*/ 14621 w 22464"/>
                <a:gd name="T23" fmla="*/ 8164 h 55551"/>
                <a:gd name="T24" fmla="*/ 22464 w 22464"/>
                <a:gd name="T25" fmla="*/ 9264 h 55551"/>
                <a:gd name="T26" fmla="*/ 22464 w 22464"/>
                <a:gd name="T27" fmla="*/ 9264 h 55551"/>
                <a:gd name="T28" fmla="*/ 22464 w 22464"/>
                <a:gd name="T29" fmla="*/ 9264 h 55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64" h="55551">
                  <a:moveTo>
                    <a:pt x="22464" y="9264"/>
                  </a:moveTo>
                  <a:lnTo>
                    <a:pt x="22039" y="13737"/>
                  </a:lnTo>
                  <a:lnTo>
                    <a:pt x="18383" y="51078"/>
                  </a:lnTo>
                  <a:lnTo>
                    <a:pt x="17851" y="55551"/>
                  </a:lnTo>
                  <a:lnTo>
                    <a:pt x="4614" y="55551"/>
                  </a:lnTo>
                  <a:lnTo>
                    <a:pt x="4081" y="51078"/>
                  </a:lnTo>
                  <a:lnTo>
                    <a:pt x="426" y="13737"/>
                  </a:lnTo>
                  <a:lnTo>
                    <a:pt x="426" y="13737"/>
                  </a:lnTo>
                  <a:lnTo>
                    <a:pt x="0" y="9264"/>
                  </a:lnTo>
                  <a:lnTo>
                    <a:pt x="7843" y="8164"/>
                  </a:lnTo>
                  <a:lnTo>
                    <a:pt x="11250" y="0"/>
                  </a:lnTo>
                  <a:lnTo>
                    <a:pt x="14621" y="8164"/>
                  </a:lnTo>
                  <a:lnTo>
                    <a:pt x="22464" y="9264"/>
                  </a:lnTo>
                  <a:lnTo>
                    <a:pt x="22464" y="9264"/>
                  </a:lnTo>
                  <a:lnTo>
                    <a:pt x="22464" y="9264"/>
                  </a:lnTo>
                  <a:close/>
                </a:path>
              </a:pathLst>
            </a:custGeom>
            <a:solidFill>
              <a:srgbClr val="3C46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" name="Freeform 2093">
              <a:extLst>
                <a:ext uri="{FF2B5EF4-FFF2-40B4-BE49-F238E27FC236}">
                  <a16:creationId xmlns:a16="http://schemas.microsoft.com/office/drawing/2014/main" id="{DF83D860-AEEA-4FD6-85A0-84F6C1C94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3812" y="5013109"/>
              <a:ext cx="149066" cy="1065094"/>
            </a:xfrm>
            <a:custGeom>
              <a:avLst/>
              <a:gdLst>
                <a:gd name="T0" fmla="*/ 6637 w 6637"/>
                <a:gd name="T1" fmla="*/ 0 h 47422"/>
                <a:gd name="T2" fmla="*/ 0 w 6637"/>
                <a:gd name="T3" fmla="*/ 887 h 47422"/>
                <a:gd name="T4" fmla="*/ 178 w 6637"/>
                <a:gd name="T5" fmla="*/ 3230 h 47422"/>
                <a:gd name="T6" fmla="*/ 4117 w 6637"/>
                <a:gd name="T7" fmla="*/ 42559 h 47422"/>
                <a:gd name="T8" fmla="*/ 4507 w 6637"/>
                <a:gd name="T9" fmla="*/ 47422 h 47422"/>
                <a:gd name="T10" fmla="*/ 6637 w 6637"/>
                <a:gd name="T11" fmla="*/ 47422 h 47422"/>
                <a:gd name="T12" fmla="*/ 6637 w 6637"/>
                <a:gd name="T13" fmla="*/ 0 h 47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37" h="47422">
                  <a:moveTo>
                    <a:pt x="6637" y="0"/>
                  </a:moveTo>
                  <a:lnTo>
                    <a:pt x="0" y="887"/>
                  </a:lnTo>
                  <a:lnTo>
                    <a:pt x="178" y="3230"/>
                  </a:lnTo>
                  <a:lnTo>
                    <a:pt x="4117" y="42559"/>
                  </a:lnTo>
                  <a:lnTo>
                    <a:pt x="4507" y="47422"/>
                  </a:lnTo>
                  <a:lnTo>
                    <a:pt x="6637" y="47422"/>
                  </a:lnTo>
                  <a:lnTo>
                    <a:pt x="6637" y="0"/>
                  </a:lnTo>
                  <a:close/>
                </a:path>
              </a:pathLst>
            </a:custGeom>
            <a:solidFill>
              <a:srgbClr val="2D3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" name="Freeform 2094">
              <a:extLst>
                <a:ext uri="{FF2B5EF4-FFF2-40B4-BE49-F238E27FC236}">
                  <a16:creationId xmlns:a16="http://schemas.microsoft.com/office/drawing/2014/main" id="{B15A2DD2-6380-439E-A491-24D98D4E8D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7294" y="4845693"/>
              <a:ext cx="109178" cy="1232510"/>
            </a:xfrm>
            <a:custGeom>
              <a:avLst/>
              <a:gdLst>
                <a:gd name="T0" fmla="*/ 0 w 4861"/>
                <a:gd name="T1" fmla="*/ 0 h 54876"/>
                <a:gd name="T2" fmla="*/ 0 w 4861"/>
                <a:gd name="T3" fmla="*/ 54876 h 54876"/>
                <a:gd name="T4" fmla="*/ 4861 w 4861"/>
                <a:gd name="T5" fmla="*/ 54876 h 54876"/>
                <a:gd name="T6" fmla="*/ 4861 w 4861"/>
                <a:gd name="T7" fmla="*/ 7738 h 54876"/>
                <a:gd name="T8" fmla="*/ 0 w 4861"/>
                <a:gd name="T9" fmla="*/ 0 h 548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61" h="54876">
                  <a:moveTo>
                    <a:pt x="0" y="0"/>
                  </a:moveTo>
                  <a:lnTo>
                    <a:pt x="0" y="54876"/>
                  </a:lnTo>
                  <a:lnTo>
                    <a:pt x="4861" y="54876"/>
                  </a:lnTo>
                  <a:lnTo>
                    <a:pt x="4861" y="77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D3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" name="Freeform 2095">
              <a:extLst>
                <a:ext uri="{FF2B5EF4-FFF2-40B4-BE49-F238E27FC236}">
                  <a16:creationId xmlns:a16="http://schemas.microsoft.com/office/drawing/2014/main" id="{4E8D1323-B606-46F7-A932-3D3CE844E92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2148" y="4068378"/>
              <a:ext cx="251079" cy="648148"/>
            </a:xfrm>
            <a:custGeom>
              <a:avLst/>
              <a:gdLst>
                <a:gd name="T0" fmla="*/ 0 w 11179"/>
                <a:gd name="T1" fmla="*/ 0 h 28858"/>
                <a:gd name="T2" fmla="*/ 0 w 11179"/>
                <a:gd name="T3" fmla="*/ 1527 h 28858"/>
                <a:gd name="T4" fmla="*/ 5678 w 11179"/>
                <a:gd name="T5" fmla="*/ 28858 h 28858"/>
                <a:gd name="T6" fmla="*/ 11179 w 11179"/>
                <a:gd name="T7" fmla="*/ 1456 h 28858"/>
                <a:gd name="T8" fmla="*/ 11179 w 11179"/>
                <a:gd name="T9" fmla="*/ 0 h 28858"/>
                <a:gd name="T10" fmla="*/ 0 w 11179"/>
                <a:gd name="T11" fmla="*/ 0 h 288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79" h="28858">
                  <a:moveTo>
                    <a:pt x="0" y="0"/>
                  </a:moveTo>
                  <a:lnTo>
                    <a:pt x="0" y="1527"/>
                  </a:lnTo>
                  <a:lnTo>
                    <a:pt x="5678" y="28858"/>
                  </a:lnTo>
                  <a:lnTo>
                    <a:pt x="11179" y="1456"/>
                  </a:lnTo>
                  <a:lnTo>
                    <a:pt x="1117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BF0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" name="Freeform 2096">
              <a:extLst>
                <a:ext uri="{FF2B5EF4-FFF2-40B4-BE49-F238E27FC236}">
                  <a16:creationId xmlns:a16="http://schemas.microsoft.com/office/drawing/2014/main" id="{8F30A892-9495-4427-9C63-67E0994B1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5273" y="3519884"/>
              <a:ext cx="423235" cy="611471"/>
            </a:xfrm>
            <a:custGeom>
              <a:avLst/>
              <a:gdLst>
                <a:gd name="T0" fmla="*/ 526 w 531"/>
                <a:gd name="T1" fmla="*/ 369 h 767"/>
                <a:gd name="T2" fmla="*/ 489 w 531"/>
                <a:gd name="T3" fmla="*/ 464 h 767"/>
                <a:gd name="T4" fmla="*/ 468 w 531"/>
                <a:gd name="T5" fmla="*/ 479 h 767"/>
                <a:gd name="T6" fmla="*/ 448 w 531"/>
                <a:gd name="T7" fmla="*/ 479 h 767"/>
                <a:gd name="T8" fmla="*/ 429 w 531"/>
                <a:gd name="T9" fmla="*/ 561 h 767"/>
                <a:gd name="T10" fmla="*/ 405 w 531"/>
                <a:gd name="T11" fmla="*/ 575 h 767"/>
                <a:gd name="T12" fmla="*/ 403 w 531"/>
                <a:gd name="T13" fmla="*/ 671 h 767"/>
                <a:gd name="T14" fmla="*/ 281 w 531"/>
                <a:gd name="T15" fmla="*/ 767 h 767"/>
                <a:gd name="T16" fmla="*/ 249 w 531"/>
                <a:gd name="T17" fmla="*/ 767 h 767"/>
                <a:gd name="T18" fmla="*/ 127 w 531"/>
                <a:gd name="T19" fmla="*/ 673 h 767"/>
                <a:gd name="T20" fmla="*/ 125 w 531"/>
                <a:gd name="T21" fmla="*/ 575 h 767"/>
                <a:gd name="T22" fmla="*/ 101 w 531"/>
                <a:gd name="T23" fmla="*/ 561 h 767"/>
                <a:gd name="T24" fmla="*/ 81 w 531"/>
                <a:gd name="T25" fmla="*/ 479 h 767"/>
                <a:gd name="T26" fmla="*/ 63 w 531"/>
                <a:gd name="T27" fmla="*/ 479 h 767"/>
                <a:gd name="T28" fmla="*/ 41 w 531"/>
                <a:gd name="T29" fmla="*/ 464 h 767"/>
                <a:gd name="T30" fmla="*/ 4 w 531"/>
                <a:gd name="T31" fmla="*/ 369 h 767"/>
                <a:gd name="T32" fmla="*/ 16 w 531"/>
                <a:gd name="T33" fmla="*/ 340 h 767"/>
                <a:gd name="T34" fmla="*/ 58 w 531"/>
                <a:gd name="T35" fmla="*/ 362 h 767"/>
                <a:gd name="T36" fmla="*/ 48 w 531"/>
                <a:gd name="T37" fmla="*/ 224 h 767"/>
                <a:gd name="T38" fmla="*/ 67 w 531"/>
                <a:gd name="T39" fmla="*/ 69 h 767"/>
                <a:gd name="T40" fmla="*/ 206 w 531"/>
                <a:gd name="T41" fmla="*/ 0 h 767"/>
                <a:gd name="T42" fmla="*/ 324 w 531"/>
                <a:gd name="T43" fmla="*/ 0 h 767"/>
                <a:gd name="T44" fmla="*/ 466 w 531"/>
                <a:gd name="T45" fmla="*/ 73 h 767"/>
                <a:gd name="T46" fmla="*/ 490 w 531"/>
                <a:gd name="T47" fmla="*/ 224 h 767"/>
                <a:gd name="T48" fmla="*/ 477 w 531"/>
                <a:gd name="T49" fmla="*/ 356 h 767"/>
                <a:gd name="T50" fmla="*/ 513 w 531"/>
                <a:gd name="T51" fmla="*/ 340 h 767"/>
                <a:gd name="T52" fmla="*/ 526 w 531"/>
                <a:gd name="T53" fmla="*/ 369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1" h="767">
                  <a:moveTo>
                    <a:pt x="526" y="369"/>
                  </a:moveTo>
                  <a:cubicBezTo>
                    <a:pt x="489" y="464"/>
                    <a:pt x="489" y="464"/>
                    <a:pt x="489" y="464"/>
                  </a:cubicBezTo>
                  <a:cubicBezTo>
                    <a:pt x="485" y="473"/>
                    <a:pt x="477" y="479"/>
                    <a:pt x="468" y="479"/>
                  </a:cubicBezTo>
                  <a:cubicBezTo>
                    <a:pt x="448" y="479"/>
                    <a:pt x="448" y="479"/>
                    <a:pt x="448" y="479"/>
                  </a:cubicBezTo>
                  <a:cubicBezTo>
                    <a:pt x="429" y="561"/>
                    <a:pt x="429" y="561"/>
                    <a:pt x="429" y="561"/>
                  </a:cubicBezTo>
                  <a:cubicBezTo>
                    <a:pt x="405" y="575"/>
                    <a:pt x="405" y="575"/>
                    <a:pt x="405" y="575"/>
                  </a:cubicBezTo>
                  <a:cubicBezTo>
                    <a:pt x="403" y="671"/>
                    <a:pt x="403" y="671"/>
                    <a:pt x="403" y="671"/>
                  </a:cubicBezTo>
                  <a:cubicBezTo>
                    <a:pt x="281" y="767"/>
                    <a:pt x="281" y="767"/>
                    <a:pt x="281" y="767"/>
                  </a:cubicBezTo>
                  <a:cubicBezTo>
                    <a:pt x="249" y="767"/>
                    <a:pt x="249" y="767"/>
                    <a:pt x="249" y="767"/>
                  </a:cubicBezTo>
                  <a:cubicBezTo>
                    <a:pt x="127" y="673"/>
                    <a:pt x="127" y="673"/>
                    <a:pt x="127" y="673"/>
                  </a:cubicBezTo>
                  <a:cubicBezTo>
                    <a:pt x="125" y="590"/>
                    <a:pt x="125" y="575"/>
                    <a:pt x="125" y="575"/>
                  </a:cubicBezTo>
                  <a:cubicBezTo>
                    <a:pt x="101" y="561"/>
                    <a:pt x="101" y="561"/>
                    <a:pt x="101" y="561"/>
                  </a:cubicBezTo>
                  <a:cubicBezTo>
                    <a:pt x="81" y="479"/>
                    <a:pt x="81" y="479"/>
                    <a:pt x="81" y="479"/>
                  </a:cubicBezTo>
                  <a:cubicBezTo>
                    <a:pt x="63" y="479"/>
                    <a:pt x="63" y="479"/>
                    <a:pt x="63" y="479"/>
                  </a:cubicBezTo>
                  <a:cubicBezTo>
                    <a:pt x="53" y="479"/>
                    <a:pt x="44" y="473"/>
                    <a:pt x="41" y="464"/>
                  </a:cubicBezTo>
                  <a:cubicBezTo>
                    <a:pt x="4" y="369"/>
                    <a:pt x="4" y="369"/>
                    <a:pt x="4" y="369"/>
                  </a:cubicBezTo>
                  <a:cubicBezTo>
                    <a:pt x="0" y="358"/>
                    <a:pt x="5" y="346"/>
                    <a:pt x="16" y="340"/>
                  </a:cubicBezTo>
                  <a:cubicBezTo>
                    <a:pt x="43" y="326"/>
                    <a:pt x="58" y="362"/>
                    <a:pt x="58" y="362"/>
                  </a:cubicBezTo>
                  <a:cubicBezTo>
                    <a:pt x="48" y="224"/>
                    <a:pt x="48" y="224"/>
                    <a:pt x="48" y="224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206" y="0"/>
                    <a:pt x="206" y="0"/>
                    <a:pt x="206" y="0"/>
                  </a:cubicBezTo>
                  <a:cubicBezTo>
                    <a:pt x="324" y="0"/>
                    <a:pt x="324" y="0"/>
                    <a:pt x="324" y="0"/>
                  </a:cubicBezTo>
                  <a:cubicBezTo>
                    <a:pt x="466" y="73"/>
                    <a:pt x="466" y="73"/>
                    <a:pt x="466" y="73"/>
                  </a:cubicBezTo>
                  <a:cubicBezTo>
                    <a:pt x="490" y="224"/>
                    <a:pt x="490" y="224"/>
                    <a:pt x="490" y="224"/>
                  </a:cubicBezTo>
                  <a:cubicBezTo>
                    <a:pt x="477" y="356"/>
                    <a:pt x="477" y="356"/>
                    <a:pt x="477" y="356"/>
                  </a:cubicBezTo>
                  <a:cubicBezTo>
                    <a:pt x="479" y="342"/>
                    <a:pt x="500" y="334"/>
                    <a:pt x="513" y="340"/>
                  </a:cubicBezTo>
                  <a:cubicBezTo>
                    <a:pt x="525" y="345"/>
                    <a:pt x="531" y="358"/>
                    <a:pt x="526" y="369"/>
                  </a:cubicBezTo>
                  <a:close/>
                </a:path>
              </a:pathLst>
            </a:custGeom>
            <a:solidFill>
              <a:srgbClr val="D7D7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" name="Freeform 2097">
              <a:extLst>
                <a:ext uri="{FF2B5EF4-FFF2-40B4-BE49-F238E27FC236}">
                  <a16:creationId xmlns:a16="http://schemas.microsoft.com/office/drawing/2014/main" id="{0DC66955-4454-43B2-9AFF-B7AEC92E5E2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7144" y="3515100"/>
              <a:ext cx="359471" cy="316505"/>
            </a:xfrm>
            <a:custGeom>
              <a:avLst/>
              <a:gdLst>
                <a:gd name="T0" fmla="*/ 16005 w 16005"/>
                <a:gd name="T1" fmla="*/ 8164 h 14092"/>
                <a:gd name="T2" fmla="*/ 15544 w 16005"/>
                <a:gd name="T3" fmla="*/ 12885 h 14092"/>
                <a:gd name="T4" fmla="*/ 15296 w 16005"/>
                <a:gd name="T5" fmla="*/ 14092 h 14092"/>
                <a:gd name="T6" fmla="*/ 15296 w 16005"/>
                <a:gd name="T7" fmla="*/ 14092 h 14092"/>
                <a:gd name="T8" fmla="*/ 13166 w 16005"/>
                <a:gd name="T9" fmla="*/ 5964 h 14092"/>
                <a:gd name="T10" fmla="*/ 13770 w 16005"/>
                <a:gd name="T11" fmla="*/ 4153 h 14092"/>
                <a:gd name="T12" fmla="*/ 11534 w 16005"/>
                <a:gd name="T13" fmla="*/ 2769 h 14092"/>
                <a:gd name="T14" fmla="*/ 6778 w 16005"/>
                <a:gd name="T15" fmla="*/ 4579 h 14092"/>
                <a:gd name="T16" fmla="*/ 3407 w 16005"/>
                <a:gd name="T17" fmla="*/ 4544 h 14092"/>
                <a:gd name="T18" fmla="*/ 1952 w 16005"/>
                <a:gd name="T19" fmla="*/ 4402 h 14092"/>
                <a:gd name="T20" fmla="*/ 2733 w 16005"/>
                <a:gd name="T21" fmla="*/ 6247 h 14092"/>
                <a:gd name="T22" fmla="*/ 745 w 16005"/>
                <a:gd name="T23" fmla="*/ 14092 h 14092"/>
                <a:gd name="T24" fmla="*/ 745 w 16005"/>
                <a:gd name="T25" fmla="*/ 14092 h 14092"/>
                <a:gd name="T26" fmla="*/ 497 w 16005"/>
                <a:gd name="T27" fmla="*/ 12885 h 14092"/>
                <a:gd name="T28" fmla="*/ 0 w 16005"/>
                <a:gd name="T29" fmla="*/ 8164 h 14092"/>
                <a:gd name="T30" fmla="*/ 674 w 16005"/>
                <a:gd name="T31" fmla="*/ 2520 h 14092"/>
                <a:gd name="T32" fmla="*/ 5891 w 16005"/>
                <a:gd name="T33" fmla="*/ 0 h 14092"/>
                <a:gd name="T34" fmla="*/ 10150 w 16005"/>
                <a:gd name="T35" fmla="*/ 0 h 14092"/>
                <a:gd name="T36" fmla="*/ 15331 w 16005"/>
                <a:gd name="T37" fmla="*/ 2520 h 14092"/>
                <a:gd name="T38" fmla="*/ 16005 w 16005"/>
                <a:gd name="T39" fmla="*/ 8164 h 14092"/>
                <a:gd name="T40" fmla="*/ 16005 w 16005"/>
                <a:gd name="T41" fmla="*/ 8164 h 14092"/>
                <a:gd name="T42" fmla="*/ 16005 w 16005"/>
                <a:gd name="T43" fmla="*/ 8164 h 140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005" h="14092">
                  <a:moveTo>
                    <a:pt x="16005" y="8164"/>
                  </a:moveTo>
                  <a:lnTo>
                    <a:pt x="15544" y="12885"/>
                  </a:lnTo>
                  <a:lnTo>
                    <a:pt x="15296" y="14092"/>
                  </a:lnTo>
                  <a:lnTo>
                    <a:pt x="15296" y="14092"/>
                  </a:lnTo>
                  <a:lnTo>
                    <a:pt x="13166" y="5964"/>
                  </a:lnTo>
                  <a:lnTo>
                    <a:pt x="13770" y="4153"/>
                  </a:lnTo>
                  <a:lnTo>
                    <a:pt x="11534" y="2769"/>
                  </a:lnTo>
                  <a:lnTo>
                    <a:pt x="6778" y="4579"/>
                  </a:lnTo>
                  <a:lnTo>
                    <a:pt x="3407" y="4544"/>
                  </a:lnTo>
                  <a:lnTo>
                    <a:pt x="1952" y="4402"/>
                  </a:lnTo>
                  <a:lnTo>
                    <a:pt x="2733" y="6247"/>
                  </a:lnTo>
                  <a:lnTo>
                    <a:pt x="745" y="14092"/>
                  </a:lnTo>
                  <a:lnTo>
                    <a:pt x="745" y="14092"/>
                  </a:lnTo>
                  <a:lnTo>
                    <a:pt x="497" y="12885"/>
                  </a:lnTo>
                  <a:lnTo>
                    <a:pt x="0" y="8164"/>
                  </a:lnTo>
                  <a:lnTo>
                    <a:pt x="674" y="2520"/>
                  </a:lnTo>
                  <a:lnTo>
                    <a:pt x="5891" y="0"/>
                  </a:lnTo>
                  <a:lnTo>
                    <a:pt x="10150" y="0"/>
                  </a:lnTo>
                  <a:lnTo>
                    <a:pt x="15331" y="2520"/>
                  </a:lnTo>
                  <a:lnTo>
                    <a:pt x="16005" y="8164"/>
                  </a:lnTo>
                  <a:lnTo>
                    <a:pt x="16005" y="8164"/>
                  </a:lnTo>
                  <a:lnTo>
                    <a:pt x="16005" y="8164"/>
                  </a:lnTo>
                  <a:close/>
                </a:path>
              </a:pathLst>
            </a:custGeom>
            <a:solidFill>
              <a:srgbClr val="2D3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" name="Freeform 2098">
              <a:extLst>
                <a:ext uri="{FF2B5EF4-FFF2-40B4-BE49-F238E27FC236}">
                  <a16:creationId xmlns:a16="http://schemas.microsoft.com/office/drawing/2014/main" id="{6C78CE7F-A827-4196-BB6E-7081B2DEA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243" y="4044458"/>
              <a:ext cx="97229" cy="133951"/>
            </a:xfrm>
            <a:custGeom>
              <a:avLst/>
              <a:gdLst>
                <a:gd name="T0" fmla="*/ 4329 w 4329"/>
                <a:gd name="T1" fmla="*/ 2343 h 5964"/>
                <a:gd name="T2" fmla="*/ 994 w 4329"/>
                <a:gd name="T3" fmla="*/ 5964 h 5964"/>
                <a:gd name="T4" fmla="*/ 0 w 4329"/>
                <a:gd name="T5" fmla="*/ 3408 h 5964"/>
                <a:gd name="T6" fmla="*/ 4329 w 4329"/>
                <a:gd name="T7" fmla="*/ 0 h 5964"/>
                <a:gd name="T8" fmla="*/ 4329 w 4329"/>
                <a:gd name="T9" fmla="*/ 2343 h 5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29" h="5964">
                  <a:moveTo>
                    <a:pt x="4329" y="2343"/>
                  </a:moveTo>
                  <a:lnTo>
                    <a:pt x="994" y="5964"/>
                  </a:lnTo>
                  <a:lnTo>
                    <a:pt x="0" y="3408"/>
                  </a:lnTo>
                  <a:lnTo>
                    <a:pt x="4329" y="0"/>
                  </a:lnTo>
                  <a:lnTo>
                    <a:pt x="4329" y="234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8" name="Freeform 2099">
              <a:extLst>
                <a:ext uri="{FF2B5EF4-FFF2-40B4-BE49-F238E27FC236}">
                  <a16:creationId xmlns:a16="http://schemas.microsoft.com/office/drawing/2014/main" id="{FFCAA388-2B08-4D0C-8E58-886C8E46A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5103" y="4121001"/>
              <a:ext cx="129144" cy="516600"/>
            </a:xfrm>
            <a:custGeom>
              <a:avLst/>
              <a:gdLst>
                <a:gd name="T0" fmla="*/ 5750 w 5750"/>
                <a:gd name="T1" fmla="*/ 14873 h 23001"/>
                <a:gd name="T2" fmla="*/ 2733 w 5750"/>
                <a:gd name="T3" fmla="*/ 23001 h 23001"/>
                <a:gd name="T4" fmla="*/ 0 w 5750"/>
                <a:gd name="T5" fmla="*/ 14873 h 23001"/>
                <a:gd name="T6" fmla="*/ 1491 w 5750"/>
                <a:gd name="T7" fmla="*/ 4224 h 23001"/>
                <a:gd name="T8" fmla="*/ 1136 w 5750"/>
                <a:gd name="T9" fmla="*/ 2556 h 23001"/>
                <a:gd name="T10" fmla="*/ 2130 w 5750"/>
                <a:gd name="T11" fmla="*/ 0 h 23001"/>
                <a:gd name="T12" fmla="*/ 3301 w 5750"/>
                <a:gd name="T13" fmla="*/ 0 h 23001"/>
                <a:gd name="T14" fmla="*/ 4295 w 5750"/>
                <a:gd name="T15" fmla="*/ 2556 h 23001"/>
                <a:gd name="T16" fmla="*/ 3940 w 5750"/>
                <a:gd name="T17" fmla="*/ 4224 h 23001"/>
                <a:gd name="T18" fmla="*/ 5750 w 5750"/>
                <a:gd name="T19" fmla="*/ 14873 h 23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50" h="23001">
                  <a:moveTo>
                    <a:pt x="5750" y="14873"/>
                  </a:moveTo>
                  <a:lnTo>
                    <a:pt x="2733" y="23001"/>
                  </a:lnTo>
                  <a:lnTo>
                    <a:pt x="0" y="14873"/>
                  </a:lnTo>
                  <a:lnTo>
                    <a:pt x="1491" y="4224"/>
                  </a:lnTo>
                  <a:lnTo>
                    <a:pt x="1136" y="2556"/>
                  </a:lnTo>
                  <a:lnTo>
                    <a:pt x="2130" y="0"/>
                  </a:lnTo>
                  <a:lnTo>
                    <a:pt x="3301" y="0"/>
                  </a:lnTo>
                  <a:lnTo>
                    <a:pt x="4295" y="2556"/>
                  </a:lnTo>
                  <a:lnTo>
                    <a:pt x="3940" y="4224"/>
                  </a:lnTo>
                  <a:lnTo>
                    <a:pt x="5750" y="14873"/>
                  </a:lnTo>
                  <a:close/>
                </a:path>
              </a:pathLst>
            </a:custGeom>
            <a:solidFill>
              <a:srgbClr val="3296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9" name="Freeform 2100">
              <a:extLst>
                <a:ext uri="{FF2B5EF4-FFF2-40B4-BE49-F238E27FC236}">
                  <a16:creationId xmlns:a16="http://schemas.microsoft.com/office/drawing/2014/main" id="{49C12B73-EBC4-4194-AFAE-AF6E329B2C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5691" y="4044458"/>
              <a:ext cx="97251" cy="133951"/>
            </a:xfrm>
            <a:custGeom>
              <a:avLst/>
              <a:gdLst>
                <a:gd name="T0" fmla="*/ 3336 w 4330"/>
                <a:gd name="T1" fmla="*/ 5964 h 5964"/>
                <a:gd name="T2" fmla="*/ 71 w 4330"/>
                <a:gd name="T3" fmla="*/ 2343 h 5964"/>
                <a:gd name="T4" fmla="*/ 0 w 4330"/>
                <a:gd name="T5" fmla="*/ 0 h 5964"/>
                <a:gd name="T6" fmla="*/ 4330 w 4330"/>
                <a:gd name="T7" fmla="*/ 3408 h 5964"/>
                <a:gd name="T8" fmla="*/ 3336 w 4330"/>
                <a:gd name="T9" fmla="*/ 5964 h 5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30" h="5964">
                  <a:moveTo>
                    <a:pt x="3336" y="5964"/>
                  </a:moveTo>
                  <a:lnTo>
                    <a:pt x="71" y="2343"/>
                  </a:lnTo>
                  <a:lnTo>
                    <a:pt x="0" y="0"/>
                  </a:lnTo>
                  <a:lnTo>
                    <a:pt x="4330" y="3408"/>
                  </a:lnTo>
                  <a:lnTo>
                    <a:pt x="3336" y="59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0" name="Freeform 2101">
              <a:extLst>
                <a:ext uri="{FF2B5EF4-FFF2-40B4-BE49-F238E27FC236}">
                  <a16:creationId xmlns:a16="http://schemas.microsoft.com/office/drawing/2014/main" id="{38BA50E1-B5C6-44D3-A9D2-C7BF072C9E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2365" y="4044458"/>
              <a:ext cx="807434" cy="994165"/>
            </a:xfrm>
            <a:custGeom>
              <a:avLst/>
              <a:gdLst>
                <a:gd name="T0" fmla="*/ 29846 w 35950"/>
                <a:gd name="T1" fmla="*/ 38904 h 44264"/>
                <a:gd name="T2" fmla="*/ 30095 w 35950"/>
                <a:gd name="T3" fmla="*/ 42986 h 44264"/>
                <a:gd name="T4" fmla="*/ 29207 w 35950"/>
                <a:gd name="T5" fmla="*/ 44264 h 44264"/>
                <a:gd name="T6" fmla="*/ 21364 w 35950"/>
                <a:gd name="T7" fmla="*/ 43163 h 44264"/>
                <a:gd name="T8" fmla="*/ 17993 w 35950"/>
                <a:gd name="T9" fmla="*/ 35035 h 44264"/>
                <a:gd name="T10" fmla="*/ 14586 w 35950"/>
                <a:gd name="T11" fmla="*/ 43163 h 44264"/>
                <a:gd name="T12" fmla="*/ 6743 w 35950"/>
                <a:gd name="T13" fmla="*/ 44264 h 44264"/>
                <a:gd name="T14" fmla="*/ 5892 w 35950"/>
                <a:gd name="T15" fmla="*/ 42986 h 44264"/>
                <a:gd name="T16" fmla="*/ 6104 w 35950"/>
                <a:gd name="T17" fmla="*/ 38904 h 44264"/>
                <a:gd name="T18" fmla="*/ 0 w 35950"/>
                <a:gd name="T19" fmla="*/ 38868 h 44264"/>
                <a:gd name="T20" fmla="*/ 1385 w 35950"/>
                <a:gd name="T21" fmla="*/ 8519 h 44264"/>
                <a:gd name="T22" fmla="*/ 4330 w 35950"/>
                <a:gd name="T23" fmla="*/ 4189 h 44264"/>
                <a:gd name="T24" fmla="*/ 9156 w 35950"/>
                <a:gd name="T25" fmla="*/ 2059 h 44264"/>
                <a:gd name="T26" fmla="*/ 9227 w 35950"/>
                <a:gd name="T27" fmla="*/ 1527 h 44264"/>
                <a:gd name="T28" fmla="*/ 13060 w 35950"/>
                <a:gd name="T29" fmla="*/ 0 h 44264"/>
                <a:gd name="T30" fmla="*/ 13131 w 35950"/>
                <a:gd name="T31" fmla="*/ 2343 h 44264"/>
                <a:gd name="T32" fmla="*/ 17993 w 35950"/>
                <a:gd name="T33" fmla="*/ 26374 h 44264"/>
                <a:gd name="T34" fmla="*/ 22855 w 35950"/>
                <a:gd name="T35" fmla="*/ 2343 h 44264"/>
                <a:gd name="T36" fmla="*/ 22890 w 35950"/>
                <a:gd name="T37" fmla="*/ 0 h 44264"/>
                <a:gd name="T38" fmla="*/ 26794 w 35950"/>
                <a:gd name="T39" fmla="*/ 1527 h 44264"/>
                <a:gd name="T40" fmla="*/ 26865 w 35950"/>
                <a:gd name="T41" fmla="*/ 2059 h 44264"/>
                <a:gd name="T42" fmla="*/ 31621 w 35950"/>
                <a:gd name="T43" fmla="*/ 4189 h 44264"/>
                <a:gd name="T44" fmla="*/ 34566 w 35950"/>
                <a:gd name="T45" fmla="*/ 8519 h 44264"/>
                <a:gd name="T46" fmla="*/ 35950 w 35950"/>
                <a:gd name="T47" fmla="*/ 38868 h 44264"/>
                <a:gd name="T48" fmla="*/ 29846 w 35950"/>
                <a:gd name="T49" fmla="*/ 38904 h 44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5950" h="44264">
                  <a:moveTo>
                    <a:pt x="29846" y="38904"/>
                  </a:moveTo>
                  <a:lnTo>
                    <a:pt x="30095" y="42986"/>
                  </a:lnTo>
                  <a:lnTo>
                    <a:pt x="29207" y="44264"/>
                  </a:lnTo>
                  <a:lnTo>
                    <a:pt x="21364" y="43163"/>
                  </a:lnTo>
                  <a:lnTo>
                    <a:pt x="17993" y="35035"/>
                  </a:lnTo>
                  <a:lnTo>
                    <a:pt x="14586" y="43163"/>
                  </a:lnTo>
                  <a:lnTo>
                    <a:pt x="6743" y="44264"/>
                  </a:lnTo>
                  <a:lnTo>
                    <a:pt x="5892" y="42986"/>
                  </a:lnTo>
                  <a:lnTo>
                    <a:pt x="6104" y="38904"/>
                  </a:lnTo>
                  <a:lnTo>
                    <a:pt x="0" y="38868"/>
                  </a:lnTo>
                  <a:lnTo>
                    <a:pt x="1385" y="8519"/>
                  </a:lnTo>
                  <a:lnTo>
                    <a:pt x="4330" y="4189"/>
                  </a:lnTo>
                  <a:lnTo>
                    <a:pt x="9156" y="2059"/>
                  </a:lnTo>
                  <a:lnTo>
                    <a:pt x="9227" y="1527"/>
                  </a:lnTo>
                  <a:lnTo>
                    <a:pt x="13060" y="0"/>
                  </a:lnTo>
                  <a:lnTo>
                    <a:pt x="13131" y="2343"/>
                  </a:lnTo>
                  <a:lnTo>
                    <a:pt x="17993" y="26374"/>
                  </a:lnTo>
                  <a:lnTo>
                    <a:pt x="22855" y="2343"/>
                  </a:lnTo>
                  <a:lnTo>
                    <a:pt x="22890" y="0"/>
                  </a:lnTo>
                  <a:lnTo>
                    <a:pt x="26794" y="1527"/>
                  </a:lnTo>
                  <a:lnTo>
                    <a:pt x="26865" y="2059"/>
                  </a:lnTo>
                  <a:lnTo>
                    <a:pt x="31621" y="4189"/>
                  </a:lnTo>
                  <a:lnTo>
                    <a:pt x="34566" y="8519"/>
                  </a:lnTo>
                  <a:lnTo>
                    <a:pt x="35950" y="38868"/>
                  </a:lnTo>
                  <a:lnTo>
                    <a:pt x="29846" y="38904"/>
                  </a:lnTo>
                  <a:close/>
                </a:path>
              </a:pathLst>
            </a:custGeom>
            <a:solidFill>
              <a:srgbClr val="3C46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1" name="Freeform 2102">
              <a:extLst>
                <a:ext uri="{FF2B5EF4-FFF2-40B4-BE49-F238E27FC236}">
                  <a16:creationId xmlns:a16="http://schemas.microsoft.com/office/drawing/2014/main" id="{D21A08A3-8039-4B1C-9E16-A575F73225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8513" y="5120737"/>
              <a:ext cx="14352" cy="958274"/>
            </a:xfrm>
            <a:custGeom>
              <a:avLst/>
              <a:gdLst>
                <a:gd name="T0" fmla="*/ 0 w 639"/>
                <a:gd name="T1" fmla="*/ 0 h 42666"/>
                <a:gd name="T2" fmla="*/ 639 w 639"/>
                <a:gd name="T3" fmla="*/ 0 h 42666"/>
                <a:gd name="T4" fmla="*/ 639 w 639"/>
                <a:gd name="T5" fmla="*/ 42666 h 42666"/>
                <a:gd name="T6" fmla="*/ 0 w 639"/>
                <a:gd name="T7" fmla="*/ 42666 h 42666"/>
                <a:gd name="T8" fmla="*/ 0 w 639"/>
                <a:gd name="T9" fmla="*/ 0 h 42666"/>
                <a:gd name="T10" fmla="*/ 0 w 639"/>
                <a:gd name="T11" fmla="*/ 0 h 42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9" h="42666">
                  <a:moveTo>
                    <a:pt x="0" y="0"/>
                  </a:moveTo>
                  <a:lnTo>
                    <a:pt x="639" y="0"/>
                  </a:lnTo>
                  <a:lnTo>
                    <a:pt x="639" y="42666"/>
                  </a:lnTo>
                  <a:lnTo>
                    <a:pt x="0" y="4266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2" name="Freeform 2103">
              <a:extLst>
                <a:ext uri="{FF2B5EF4-FFF2-40B4-BE49-F238E27FC236}">
                  <a16:creationId xmlns:a16="http://schemas.microsoft.com/office/drawing/2014/main" id="{F58DF8DA-3B1C-4020-99E1-726CFA0464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97065" y="3742327"/>
              <a:ext cx="316438" cy="106011"/>
            </a:xfrm>
            <a:custGeom>
              <a:avLst/>
              <a:gdLst>
                <a:gd name="T0" fmla="*/ 296 w 397"/>
                <a:gd name="T1" fmla="*/ 133 h 133"/>
                <a:gd name="T2" fmla="*/ 296 w 397"/>
                <a:gd name="T3" fmla="*/ 133 h 133"/>
                <a:gd name="T4" fmla="*/ 249 w 397"/>
                <a:gd name="T5" fmla="*/ 120 h 133"/>
                <a:gd name="T6" fmla="*/ 222 w 397"/>
                <a:gd name="T7" fmla="*/ 90 h 133"/>
                <a:gd name="T8" fmla="*/ 215 w 397"/>
                <a:gd name="T9" fmla="*/ 72 h 133"/>
                <a:gd name="T10" fmla="*/ 200 w 397"/>
                <a:gd name="T11" fmla="*/ 48 h 133"/>
                <a:gd name="T12" fmla="*/ 182 w 397"/>
                <a:gd name="T13" fmla="*/ 72 h 133"/>
                <a:gd name="T14" fmla="*/ 175 w 397"/>
                <a:gd name="T15" fmla="*/ 90 h 133"/>
                <a:gd name="T16" fmla="*/ 150 w 397"/>
                <a:gd name="T17" fmla="*/ 120 h 133"/>
                <a:gd name="T18" fmla="*/ 101 w 397"/>
                <a:gd name="T19" fmla="*/ 133 h 133"/>
                <a:gd name="T20" fmla="*/ 40 w 397"/>
                <a:gd name="T21" fmla="*/ 117 h 133"/>
                <a:gd name="T22" fmla="*/ 25 w 397"/>
                <a:gd name="T23" fmla="*/ 84 h 133"/>
                <a:gd name="T24" fmla="*/ 20 w 397"/>
                <a:gd name="T25" fmla="*/ 63 h 133"/>
                <a:gd name="T26" fmla="*/ 16 w 397"/>
                <a:gd name="T27" fmla="*/ 45 h 133"/>
                <a:gd name="T28" fmla="*/ 11 w 397"/>
                <a:gd name="T29" fmla="*/ 41 h 133"/>
                <a:gd name="T30" fmla="*/ 4 w 397"/>
                <a:gd name="T31" fmla="*/ 34 h 133"/>
                <a:gd name="T32" fmla="*/ 4 w 397"/>
                <a:gd name="T33" fmla="*/ 29 h 133"/>
                <a:gd name="T34" fmla="*/ 2 w 397"/>
                <a:gd name="T35" fmla="*/ 16 h 133"/>
                <a:gd name="T36" fmla="*/ 9 w 397"/>
                <a:gd name="T37" fmla="*/ 5 h 133"/>
                <a:gd name="T38" fmla="*/ 76 w 397"/>
                <a:gd name="T39" fmla="*/ 0 h 133"/>
                <a:gd name="T40" fmla="*/ 90 w 397"/>
                <a:gd name="T41" fmla="*/ 0 h 133"/>
                <a:gd name="T42" fmla="*/ 135 w 397"/>
                <a:gd name="T43" fmla="*/ 5 h 133"/>
                <a:gd name="T44" fmla="*/ 173 w 397"/>
                <a:gd name="T45" fmla="*/ 14 h 133"/>
                <a:gd name="T46" fmla="*/ 200 w 397"/>
                <a:gd name="T47" fmla="*/ 18 h 133"/>
                <a:gd name="T48" fmla="*/ 200 w 397"/>
                <a:gd name="T49" fmla="*/ 18 h 133"/>
                <a:gd name="T50" fmla="*/ 224 w 397"/>
                <a:gd name="T51" fmla="*/ 14 h 133"/>
                <a:gd name="T52" fmla="*/ 265 w 397"/>
                <a:gd name="T53" fmla="*/ 5 h 133"/>
                <a:gd name="T54" fmla="*/ 308 w 397"/>
                <a:gd name="T55" fmla="*/ 0 h 133"/>
                <a:gd name="T56" fmla="*/ 321 w 397"/>
                <a:gd name="T57" fmla="*/ 0 h 133"/>
                <a:gd name="T58" fmla="*/ 391 w 397"/>
                <a:gd name="T59" fmla="*/ 5 h 133"/>
                <a:gd name="T60" fmla="*/ 397 w 397"/>
                <a:gd name="T61" fmla="*/ 16 h 133"/>
                <a:gd name="T62" fmla="*/ 395 w 397"/>
                <a:gd name="T63" fmla="*/ 29 h 133"/>
                <a:gd name="T64" fmla="*/ 395 w 397"/>
                <a:gd name="T65" fmla="*/ 34 h 133"/>
                <a:gd name="T66" fmla="*/ 386 w 397"/>
                <a:gd name="T67" fmla="*/ 41 h 133"/>
                <a:gd name="T68" fmla="*/ 384 w 397"/>
                <a:gd name="T69" fmla="*/ 45 h 133"/>
                <a:gd name="T70" fmla="*/ 379 w 397"/>
                <a:gd name="T71" fmla="*/ 63 h 133"/>
                <a:gd name="T72" fmla="*/ 375 w 397"/>
                <a:gd name="T73" fmla="*/ 84 h 133"/>
                <a:gd name="T74" fmla="*/ 359 w 397"/>
                <a:gd name="T75" fmla="*/ 117 h 133"/>
                <a:gd name="T76" fmla="*/ 296 w 397"/>
                <a:gd name="T77" fmla="*/ 133 h 133"/>
                <a:gd name="T78" fmla="*/ 312 w 397"/>
                <a:gd name="T79" fmla="*/ 16 h 133"/>
                <a:gd name="T80" fmla="*/ 233 w 397"/>
                <a:gd name="T81" fmla="*/ 32 h 133"/>
                <a:gd name="T82" fmla="*/ 229 w 397"/>
                <a:gd name="T83" fmla="*/ 57 h 133"/>
                <a:gd name="T84" fmla="*/ 258 w 397"/>
                <a:gd name="T85" fmla="*/ 111 h 133"/>
                <a:gd name="T86" fmla="*/ 296 w 397"/>
                <a:gd name="T87" fmla="*/ 120 h 133"/>
                <a:gd name="T88" fmla="*/ 348 w 397"/>
                <a:gd name="T89" fmla="*/ 108 h 133"/>
                <a:gd name="T90" fmla="*/ 355 w 397"/>
                <a:gd name="T91" fmla="*/ 25 h 133"/>
                <a:gd name="T92" fmla="*/ 312 w 397"/>
                <a:gd name="T93" fmla="*/ 16 h 133"/>
                <a:gd name="T94" fmla="*/ 85 w 397"/>
                <a:gd name="T95" fmla="*/ 16 h 133"/>
                <a:gd name="T96" fmla="*/ 42 w 397"/>
                <a:gd name="T97" fmla="*/ 25 h 133"/>
                <a:gd name="T98" fmla="*/ 51 w 397"/>
                <a:gd name="T99" fmla="*/ 108 h 133"/>
                <a:gd name="T100" fmla="*/ 101 w 397"/>
                <a:gd name="T101" fmla="*/ 120 h 133"/>
                <a:gd name="T102" fmla="*/ 141 w 397"/>
                <a:gd name="T103" fmla="*/ 111 h 133"/>
                <a:gd name="T104" fmla="*/ 168 w 397"/>
                <a:gd name="T105" fmla="*/ 57 h 133"/>
                <a:gd name="T106" fmla="*/ 166 w 397"/>
                <a:gd name="T107" fmla="*/ 32 h 133"/>
                <a:gd name="T108" fmla="*/ 85 w 397"/>
                <a:gd name="T109" fmla="*/ 16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97" h="133">
                  <a:moveTo>
                    <a:pt x="296" y="133"/>
                  </a:moveTo>
                  <a:cubicBezTo>
                    <a:pt x="296" y="133"/>
                    <a:pt x="296" y="133"/>
                    <a:pt x="296" y="133"/>
                  </a:cubicBezTo>
                  <a:cubicBezTo>
                    <a:pt x="276" y="133"/>
                    <a:pt x="258" y="129"/>
                    <a:pt x="249" y="120"/>
                  </a:cubicBezTo>
                  <a:cubicBezTo>
                    <a:pt x="245" y="117"/>
                    <a:pt x="231" y="106"/>
                    <a:pt x="222" y="90"/>
                  </a:cubicBezTo>
                  <a:cubicBezTo>
                    <a:pt x="220" y="84"/>
                    <a:pt x="218" y="79"/>
                    <a:pt x="215" y="72"/>
                  </a:cubicBezTo>
                  <a:cubicBezTo>
                    <a:pt x="211" y="57"/>
                    <a:pt x="206" y="48"/>
                    <a:pt x="200" y="48"/>
                  </a:cubicBezTo>
                  <a:cubicBezTo>
                    <a:pt x="191" y="48"/>
                    <a:pt x="188" y="57"/>
                    <a:pt x="182" y="72"/>
                  </a:cubicBezTo>
                  <a:cubicBezTo>
                    <a:pt x="180" y="79"/>
                    <a:pt x="177" y="84"/>
                    <a:pt x="175" y="90"/>
                  </a:cubicBezTo>
                  <a:cubicBezTo>
                    <a:pt x="168" y="106"/>
                    <a:pt x="155" y="117"/>
                    <a:pt x="150" y="120"/>
                  </a:cubicBezTo>
                  <a:cubicBezTo>
                    <a:pt x="139" y="129"/>
                    <a:pt x="121" y="133"/>
                    <a:pt x="101" y="133"/>
                  </a:cubicBezTo>
                  <a:cubicBezTo>
                    <a:pt x="76" y="133"/>
                    <a:pt x="51" y="126"/>
                    <a:pt x="40" y="117"/>
                  </a:cubicBezTo>
                  <a:cubicBezTo>
                    <a:pt x="31" y="108"/>
                    <a:pt x="27" y="95"/>
                    <a:pt x="25" y="84"/>
                  </a:cubicBezTo>
                  <a:cubicBezTo>
                    <a:pt x="22" y="79"/>
                    <a:pt x="20" y="72"/>
                    <a:pt x="20" y="63"/>
                  </a:cubicBezTo>
                  <a:cubicBezTo>
                    <a:pt x="18" y="57"/>
                    <a:pt x="16" y="50"/>
                    <a:pt x="16" y="45"/>
                  </a:cubicBezTo>
                  <a:cubicBezTo>
                    <a:pt x="13" y="41"/>
                    <a:pt x="13" y="41"/>
                    <a:pt x="11" y="41"/>
                  </a:cubicBezTo>
                  <a:cubicBezTo>
                    <a:pt x="9" y="41"/>
                    <a:pt x="4" y="38"/>
                    <a:pt x="4" y="34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2" y="25"/>
                    <a:pt x="2" y="20"/>
                    <a:pt x="2" y="16"/>
                  </a:cubicBezTo>
                  <a:cubicBezTo>
                    <a:pt x="0" y="11"/>
                    <a:pt x="4" y="7"/>
                    <a:pt x="9" y="5"/>
                  </a:cubicBezTo>
                  <a:cubicBezTo>
                    <a:pt x="27" y="0"/>
                    <a:pt x="63" y="0"/>
                    <a:pt x="76" y="0"/>
                  </a:cubicBezTo>
                  <a:cubicBezTo>
                    <a:pt x="81" y="0"/>
                    <a:pt x="85" y="0"/>
                    <a:pt x="90" y="0"/>
                  </a:cubicBezTo>
                  <a:cubicBezTo>
                    <a:pt x="105" y="0"/>
                    <a:pt x="121" y="2"/>
                    <a:pt x="135" y="5"/>
                  </a:cubicBezTo>
                  <a:cubicBezTo>
                    <a:pt x="150" y="7"/>
                    <a:pt x="162" y="11"/>
                    <a:pt x="173" y="14"/>
                  </a:cubicBezTo>
                  <a:cubicBezTo>
                    <a:pt x="184" y="16"/>
                    <a:pt x="193" y="18"/>
                    <a:pt x="200" y="18"/>
                  </a:cubicBezTo>
                  <a:cubicBezTo>
                    <a:pt x="200" y="18"/>
                    <a:pt x="200" y="18"/>
                    <a:pt x="200" y="18"/>
                  </a:cubicBezTo>
                  <a:cubicBezTo>
                    <a:pt x="206" y="18"/>
                    <a:pt x="215" y="16"/>
                    <a:pt x="224" y="14"/>
                  </a:cubicBezTo>
                  <a:cubicBezTo>
                    <a:pt x="236" y="11"/>
                    <a:pt x="249" y="7"/>
                    <a:pt x="265" y="5"/>
                  </a:cubicBezTo>
                  <a:cubicBezTo>
                    <a:pt x="278" y="2"/>
                    <a:pt x="294" y="0"/>
                    <a:pt x="308" y="0"/>
                  </a:cubicBezTo>
                  <a:cubicBezTo>
                    <a:pt x="312" y="0"/>
                    <a:pt x="317" y="0"/>
                    <a:pt x="321" y="0"/>
                  </a:cubicBezTo>
                  <a:cubicBezTo>
                    <a:pt x="337" y="0"/>
                    <a:pt x="373" y="0"/>
                    <a:pt x="391" y="5"/>
                  </a:cubicBezTo>
                  <a:cubicBezTo>
                    <a:pt x="395" y="7"/>
                    <a:pt x="397" y="11"/>
                    <a:pt x="397" y="16"/>
                  </a:cubicBezTo>
                  <a:cubicBezTo>
                    <a:pt x="397" y="20"/>
                    <a:pt x="395" y="25"/>
                    <a:pt x="395" y="29"/>
                  </a:cubicBezTo>
                  <a:cubicBezTo>
                    <a:pt x="395" y="34"/>
                    <a:pt x="395" y="34"/>
                    <a:pt x="395" y="34"/>
                  </a:cubicBezTo>
                  <a:cubicBezTo>
                    <a:pt x="393" y="38"/>
                    <a:pt x="391" y="41"/>
                    <a:pt x="386" y="41"/>
                  </a:cubicBezTo>
                  <a:cubicBezTo>
                    <a:pt x="386" y="41"/>
                    <a:pt x="384" y="41"/>
                    <a:pt x="384" y="45"/>
                  </a:cubicBezTo>
                  <a:cubicBezTo>
                    <a:pt x="384" y="50"/>
                    <a:pt x="382" y="57"/>
                    <a:pt x="379" y="63"/>
                  </a:cubicBezTo>
                  <a:cubicBezTo>
                    <a:pt x="377" y="72"/>
                    <a:pt x="375" y="79"/>
                    <a:pt x="375" y="84"/>
                  </a:cubicBezTo>
                  <a:cubicBezTo>
                    <a:pt x="373" y="95"/>
                    <a:pt x="368" y="108"/>
                    <a:pt x="359" y="117"/>
                  </a:cubicBezTo>
                  <a:cubicBezTo>
                    <a:pt x="346" y="126"/>
                    <a:pt x="321" y="133"/>
                    <a:pt x="296" y="133"/>
                  </a:cubicBezTo>
                  <a:close/>
                  <a:moveTo>
                    <a:pt x="312" y="16"/>
                  </a:moveTo>
                  <a:cubicBezTo>
                    <a:pt x="278" y="16"/>
                    <a:pt x="240" y="23"/>
                    <a:pt x="233" y="32"/>
                  </a:cubicBezTo>
                  <a:cubicBezTo>
                    <a:pt x="229" y="36"/>
                    <a:pt x="229" y="45"/>
                    <a:pt x="229" y="57"/>
                  </a:cubicBezTo>
                  <a:cubicBezTo>
                    <a:pt x="233" y="75"/>
                    <a:pt x="242" y="99"/>
                    <a:pt x="258" y="111"/>
                  </a:cubicBezTo>
                  <a:cubicBezTo>
                    <a:pt x="267" y="117"/>
                    <a:pt x="281" y="120"/>
                    <a:pt x="296" y="120"/>
                  </a:cubicBezTo>
                  <a:cubicBezTo>
                    <a:pt x="317" y="120"/>
                    <a:pt x="339" y="115"/>
                    <a:pt x="348" y="108"/>
                  </a:cubicBezTo>
                  <a:cubicBezTo>
                    <a:pt x="364" y="95"/>
                    <a:pt x="366" y="43"/>
                    <a:pt x="355" y="25"/>
                  </a:cubicBezTo>
                  <a:cubicBezTo>
                    <a:pt x="352" y="20"/>
                    <a:pt x="339" y="16"/>
                    <a:pt x="312" y="16"/>
                  </a:cubicBezTo>
                  <a:close/>
                  <a:moveTo>
                    <a:pt x="85" y="16"/>
                  </a:moveTo>
                  <a:cubicBezTo>
                    <a:pt x="58" y="16"/>
                    <a:pt x="47" y="20"/>
                    <a:pt x="42" y="25"/>
                  </a:cubicBezTo>
                  <a:cubicBezTo>
                    <a:pt x="31" y="43"/>
                    <a:pt x="36" y="95"/>
                    <a:pt x="51" y="108"/>
                  </a:cubicBezTo>
                  <a:cubicBezTo>
                    <a:pt x="60" y="115"/>
                    <a:pt x="81" y="120"/>
                    <a:pt x="101" y="120"/>
                  </a:cubicBezTo>
                  <a:cubicBezTo>
                    <a:pt x="119" y="120"/>
                    <a:pt x="132" y="117"/>
                    <a:pt x="141" y="111"/>
                  </a:cubicBezTo>
                  <a:cubicBezTo>
                    <a:pt x="155" y="99"/>
                    <a:pt x="166" y="75"/>
                    <a:pt x="168" y="57"/>
                  </a:cubicBezTo>
                  <a:cubicBezTo>
                    <a:pt x="171" y="45"/>
                    <a:pt x="168" y="36"/>
                    <a:pt x="166" y="32"/>
                  </a:cubicBezTo>
                  <a:cubicBezTo>
                    <a:pt x="159" y="23"/>
                    <a:pt x="121" y="16"/>
                    <a:pt x="85" y="16"/>
                  </a:cubicBezTo>
                  <a:close/>
                </a:path>
              </a:pathLst>
            </a:custGeom>
            <a:solidFill>
              <a:srgbClr val="2D3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3" name="Freeform 2105">
              <a:extLst>
                <a:ext uri="{FF2B5EF4-FFF2-40B4-BE49-F238E27FC236}">
                  <a16:creationId xmlns:a16="http://schemas.microsoft.com/office/drawing/2014/main" id="{124C00E6-50F8-4B01-BDA7-C1B7F8CA7A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6840" y="5980142"/>
              <a:ext cx="194503" cy="98869"/>
            </a:xfrm>
            <a:custGeom>
              <a:avLst/>
              <a:gdLst>
                <a:gd name="T0" fmla="*/ 8660 w 8660"/>
                <a:gd name="T1" fmla="*/ 4402 h 4402"/>
                <a:gd name="T2" fmla="*/ 0 w 8660"/>
                <a:gd name="T3" fmla="*/ 4402 h 4402"/>
                <a:gd name="T4" fmla="*/ 0 w 8660"/>
                <a:gd name="T5" fmla="*/ 4153 h 4402"/>
                <a:gd name="T6" fmla="*/ 1455 w 8660"/>
                <a:gd name="T7" fmla="*/ 0 h 4402"/>
                <a:gd name="T8" fmla="*/ 6708 w 8660"/>
                <a:gd name="T9" fmla="*/ 0 h 4402"/>
                <a:gd name="T10" fmla="*/ 8660 w 8660"/>
                <a:gd name="T11" fmla="*/ 4402 h 4402"/>
                <a:gd name="T12" fmla="*/ 8660 w 8660"/>
                <a:gd name="T13" fmla="*/ 4402 h 4402"/>
                <a:gd name="T14" fmla="*/ 8660 w 8660"/>
                <a:gd name="T15" fmla="*/ 4402 h 4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60" h="4402">
                  <a:moveTo>
                    <a:pt x="8660" y="4402"/>
                  </a:moveTo>
                  <a:lnTo>
                    <a:pt x="0" y="4402"/>
                  </a:lnTo>
                  <a:lnTo>
                    <a:pt x="0" y="4153"/>
                  </a:lnTo>
                  <a:lnTo>
                    <a:pt x="1455" y="0"/>
                  </a:lnTo>
                  <a:lnTo>
                    <a:pt x="6708" y="0"/>
                  </a:lnTo>
                  <a:lnTo>
                    <a:pt x="8660" y="4402"/>
                  </a:lnTo>
                  <a:lnTo>
                    <a:pt x="8660" y="4402"/>
                  </a:lnTo>
                  <a:lnTo>
                    <a:pt x="8660" y="4402"/>
                  </a:lnTo>
                  <a:close/>
                </a:path>
              </a:pathLst>
            </a:custGeom>
            <a:solidFill>
              <a:srgbClr val="2D3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4" name="Freeform 2106">
              <a:extLst>
                <a:ext uri="{FF2B5EF4-FFF2-40B4-BE49-F238E27FC236}">
                  <a16:creationId xmlns:a16="http://schemas.microsoft.com/office/drawing/2014/main" id="{44A3DD52-62F4-45A5-A3A9-6CE1C8876A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2437" y="5980142"/>
              <a:ext cx="194480" cy="98869"/>
            </a:xfrm>
            <a:custGeom>
              <a:avLst/>
              <a:gdLst>
                <a:gd name="T0" fmla="*/ 8659 w 8659"/>
                <a:gd name="T1" fmla="*/ 4153 h 4402"/>
                <a:gd name="T2" fmla="*/ 8659 w 8659"/>
                <a:gd name="T3" fmla="*/ 4402 h 4402"/>
                <a:gd name="T4" fmla="*/ 0 w 8659"/>
                <a:gd name="T5" fmla="*/ 4402 h 4402"/>
                <a:gd name="T6" fmla="*/ 1952 w 8659"/>
                <a:gd name="T7" fmla="*/ 0 h 4402"/>
                <a:gd name="T8" fmla="*/ 7133 w 8659"/>
                <a:gd name="T9" fmla="*/ 0 h 4402"/>
                <a:gd name="T10" fmla="*/ 8659 w 8659"/>
                <a:gd name="T11" fmla="*/ 4153 h 4402"/>
                <a:gd name="T12" fmla="*/ 8659 w 8659"/>
                <a:gd name="T13" fmla="*/ 4153 h 4402"/>
                <a:gd name="T14" fmla="*/ 8659 w 8659"/>
                <a:gd name="T15" fmla="*/ 4153 h 4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59" h="4402">
                  <a:moveTo>
                    <a:pt x="8659" y="4153"/>
                  </a:moveTo>
                  <a:lnTo>
                    <a:pt x="8659" y="4402"/>
                  </a:lnTo>
                  <a:lnTo>
                    <a:pt x="0" y="4402"/>
                  </a:lnTo>
                  <a:lnTo>
                    <a:pt x="1952" y="0"/>
                  </a:lnTo>
                  <a:lnTo>
                    <a:pt x="7133" y="0"/>
                  </a:lnTo>
                  <a:lnTo>
                    <a:pt x="8659" y="4153"/>
                  </a:lnTo>
                  <a:lnTo>
                    <a:pt x="8659" y="4153"/>
                  </a:lnTo>
                  <a:lnTo>
                    <a:pt x="8659" y="4153"/>
                  </a:lnTo>
                  <a:close/>
                </a:path>
              </a:pathLst>
            </a:custGeom>
            <a:solidFill>
              <a:srgbClr val="2D3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5" name="Freeform 2107">
              <a:extLst>
                <a:ext uri="{FF2B5EF4-FFF2-40B4-BE49-F238E27FC236}">
                  <a16:creationId xmlns:a16="http://schemas.microsoft.com/office/drawing/2014/main" id="{D5BF24C8-C0D0-463C-B62D-1841280F3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511" y="4097890"/>
              <a:ext cx="559544" cy="949493"/>
            </a:xfrm>
            <a:custGeom>
              <a:avLst/>
              <a:gdLst>
                <a:gd name="T0" fmla="*/ 24026 w 24913"/>
                <a:gd name="T1" fmla="*/ 24811 h 42275"/>
                <a:gd name="T2" fmla="*/ 24878 w 24913"/>
                <a:gd name="T3" fmla="*/ 12459 h 42275"/>
                <a:gd name="T4" fmla="*/ 24203 w 24913"/>
                <a:gd name="T5" fmla="*/ 12423 h 42275"/>
                <a:gd name="T6" fmla="*/ 23316 w 24913"/>
                <a:gd name="T7" fmla="*/ 24811 h 42275"/>
                <a:gd name="T8" fmla="*/ 24203 w 24913"/>
                <a:gd name="T9" fmla="*/ 40571 h 42275"/>
                <a:gd name="T10" fmla="*/ 23529 w 24913"/>
                <a:gd name="T11" fmla="*/ 41565 h 42275"/>
                <a:gd name="T12" fmla="*/ 16076 w 24913"/>
                <a:gd name="T13" fmla="*/ 40500 h 42275"/>
                <a:gd name="T14" fmla="*/ 12811 w 24913"/>
                <a:gd name="T15" fmla="*/ 32620 h 42275"/>
                <a:gd name="T16" fmla="*/ 12811 w 24913"/>
                <a:gd name="T17" fmla="*/ 23995 h 42275"/>
                <a:gd name="T18" fmla="*/ 12811 w 24913"/>
                <a:gd name="T19" fmla="*/ 23995 h 42275"/>
                <a:gd name="T20" fmla="*/ 17780 w 24913"/>
                <a:gd name="T21" fmla="*/ 11997 h 42275"/>
                <a:gd name="T22" fmla="*/ 21471 w 24913"/>
                <a:gd name="T23" fmla="*/ 2129 h 42275"/>
                <a:gd name="T24" fmla="*/ 20654 w 24913"/>
                <a:gd name="T25" fmla="*/ 852 h 42275"/>
                <a:gd name="T26" fmla="*/ 21435 w 24913"/>
                <a:gd name="T27" fmla="*/ 674 h 42275"/>
                <a:gd name="T28" fmla="*/ 21329 w 24913"/>
                <a:gd name="T29" fmla="*/ 0 h 42275"/>
                <a:gd name="T30" fmla="*/ 19483 w 24913"/>
                <a:gd name="T31" fmla="*/ 284 h 42275"/>
                <a:gd name="T32" fmla="*/ 20690 w 24913"/>
                <a:gd name="T33" fmla="*/ 2200 h 42275"/>
                <a:gd name="T34" fmla="*/ 17177 w 24913"/>
                <a:gd name="T35" fmla="*/ 11749 h 42275"/>
                <a:gd name="T36" fmla="*/ 12457 w 24913"/>
                <a:gd name="T37" fmla="*/ 23072 h 42275"/>
                <a:gd name="T38" fmla="*/ 4223 w 24913"/>
                <a:gd name="T39" fmla="*/ 2200 h 42275"/>
                <a:gd name="T40" fmla="*/ 5394 w 24913"/>
                <a:gd name="T41" fmla="*/ 284 h 42275"/>
                <a:gd name="T42" fmla="*/ 3549 w 24913"/>
                <a:gd name="T43" fmla="*/ 0 h 42275"/>
                <a:gd name="T44" fmla="*/ 3443 w 24913"/>
                <a:gd name="T45" fmla="*/ 674 h 42275"/>
                <a:gd name="T46" fmla="*/ 4259 w 24913"/>
                <a:gd name="T47" fmla="*/ 852 h 42275"/>
                <a:gd name="T48" fmla="*/ 3407 w 24913"/>
                <a:gd name="T49" fmla="*/ 2129 h 42275"/>
                <a:gd name="T50" fmla="*/ 12102 w 24913"/>
                <a:gd name="T51" fmla="*/ 24101 h 42275"/>
                <a:gd name="T52" fmla="*/ 12102 w 24913"/>
                <a:gd name="T53" fmla="*/ 24066 h 42275"/>
                <a:gd name="T54" fmla="*/ 12102 w 24913"/>
                <a:gd name="T55" fmla="*/ 32585 h 42275"/>
                <a:gd name="T56" fmla="*/ 8801 w 24913"/>
                <a:gd name="T57" fmla="*/ 40500 h 42275"/>
                <a:gd name="T58" fmla="*/ 1384 w 24913"/>
                <a:gd name="T59" fmla="*/ 41565 h 42275"/>
                <a:gd name="T60" fmla="*/ 710 w 24913"/>
                <a:gd name="T61" fmla="*/ 40571 h 42275"/>
                <a:gd name="T62" fmla="*/ 923 w 24913"/>
                <a:gd name="T63" fmla="*/ 36383 h 42275"/>
                <a:gd name="T64" fmla="*/ 1562 w 24913"/>
                <a:gd name="T65" fmla="*/ 24811 h 42275"/>
                <a:gd name="T66" fmla="*/ 1562 w 24913"/>
                <a:gd name="T67" fmla="*/ 24811 h 42275"/>
                <a:gd name="T68" fmla="*/ 710 w 24913"/>
                <a:gd name="T69" fmla="*/ 12423 h 42275"/>
                <a:gd name="T70" fmla="*/ 0 w 24913"/>
                <a:gd name="T71" fmla="*/ 12459 h 42275"/>
                <a:gd name="T72" fmla="*/ 852 w 24913"/>
                <a:gd name="T73" fmla="*/ 24811 h 42275"/>
                <a:gd name="T74" fmla="*/ 213 w 24913"/>
                <a:gd name="T75" fmla="*/ 36312 h 42275"/>
                <a:gd name="T76" fmla="*/ 0 w 24913"/>
                <a:gd name="T77" fmla="*/ 40749 h 42275"/>
                <a:gd name="T78" fmla="*/ 1065 w 24913"/>
                <a:gd name="T79" fmla="*/ 42275 h 42275"/>
                <a:gd name="T80" fmla="*/ 9263 w 24913"/>
                <a:gd name="T81" fmla="*/ 41139 h 42275"/>
                <a:gd name="T82" fmla="*/ 12457 w 24913"/>
                <a:gd name="T83" fmla="*/ 33543 h 42275"/>
                <a:gd name="T84" fmla="*/ 15615 w 24913"/>
                <a:gd name="T85" fmla="*/ 41139 h 42275"/>
                <a:gd name="T86" fmla="*/ 23848 w 24913"/>
                <a:gd name="T87" fmla="*/ 42275 h 42275"/>
                <a:gd name="T88" fmla="*/ 24913 w 24913"/>
                <a:gd name="T89" fmla="*/ 40749 h 42275"/>
                <a:gd name="T90" fmla="*/ 24026 w 24913"/>
                <a:gd name="T91" fmla="*/ 24811 h 42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4913" h="42275">
                  <a:moveTo>
                    <a:pt x="24026" y="24811"/>
                  </a:moveTo>
                  <a:lnTo>
                    <a:pt x="24878" y="12459"/>
                  </a:lnTo>
                  <a:lnTo>
                    <a:pt x="24203" y="12423"/>
                  </a:lnTo>
                  <a:lnTo>
                    <a:pt x="23316" y="24811"/>
                  </a:lnTo>
                  <a:lnTo>
                    <a:pt x="24203" y="40571"/>
                  </a:lnTo>
                  <a:lnTo>
                    <a:pt x="23529" y="41565"/>
                  </a:lnTo>
                  <a:lnTo>
                    <a:pt x="16076" y="40500"/>
                  </a:lnTo>
                  <a:lnTo>
                    <a:pt x="12811" y="32620"/>
                  </a:lnTo>
                  <a:lnTo>
                    <a:pt x="12811" y="23995"/>
                  </a:lnTo>
                  <a:lnTo>
                    <a:pt x="12811" y="23995"/>
                  </a:lnTo>
                  <a:lnTo>
                    <a:pt x="17780" y="11997"/>
                  </a:lnTo>
                  <a:lnTo>
                    <a:pt x="21471" y="2129"/>
                  </a:lnTo>
                  <a:lnTo>
                    <a:pt x="20654" y="852"/>
                  </a:lnTo>
                  <a:lnTo>
                    <a:pt x="21435" y="674"/>
                  </a:lnTo>
                  <a:lnTo>
                    <a:pt x="21329" y="0"/>
                  </a:lnTo>
                  <a:lnTo>
                    <a:pt x="19483" y="284"/>
                  </a:lnTo>
                  <a:lnTo>
                    <a:pt x="20690" y="2200"/>
                  </a:lnTo>
                  <a:lnTo>
                    <a:pt x="17177" y="11749"/>
                  </a:lnTo>
                  <a:lnTo>
                    <a:pt x="12457" y="23072"/>
                  </a:lnTo>
                  <a:lnTo>
                    <a:pt x="4223" y="2200"/>
                  </a:lnTo>
                  <a:lnTo>
                    <a:pt x="5394" y="284"/>
                  </a:lnTo>
                  <a:lnTo>
                    <a:pt x="3549" y="0"/>
                  </a:lnTo>
                  <a:lnTo>
                    <a:pt x="3443" y="674"/>
                  </a:lnTo>
                  <a:lnTo>
                    <a:pt x="4259" y="852"/>
                  </a:lnTo>
                  <a:lnTo>
                    <a:pt x="3407" y="2129"/>
                  </a:lnTo>
                  <a:lnTo>
                    <a:pt x="12102" y="24101"/>
                  </a:lnTo>
                  <a:lnTo>
                    <a:pt x="12102" y="24066"/>
                  </a:lnTo>
                  <a:lnTo>
                    <a:pt x="12102" y="32585"/>
                  </a:lnTo>
                  <a:lnTo>
                    <a:pt x="8801" y="40500"/>
                  </a:lnTo>
                  <a:lnTo>
                    <a:pt x="1384" y="41565"/>
                  </a:lnTo>
                  <a:lnTo>
                    <a:pt x="710" y="40571"/>
                  </a:lnTo>
                  <a:lnTo>
                    <a:pt x="923" y="36383"/>
                  </a:lnTo>
                  <a:lnTo>
                    <a:pt x="1562" y="24811"/>
                  </a:lnTo>
                  <a:lnTo>
                    <a:pt x="1562" y="24811"/>
                  </a:lnTo>
                  <a:lnTo>
                    <a:pt x="710" y="12423"/>
                  </a:lnTo>
                  <a:lnTo>
                    <a:pt x="0" y="12459"/>
                  </a:lnTo>
                  <a:lnTo>
                    <a:pt x="852" y="24811"/>
                  </a:lnTo>
                  <a:lnTo>
                    <a:pt x="213" y="36312"/>
                  </a:lnTo>
                  <a:lnTo>
                    <a:pt x="0" y="40749"/>
                  </a:lnTo>
                  <a:lnTo>
                    <a:pt x="1065" y="42275"/>
                  </a:lnTo>
                  <a:lnTo>
                    <a:pt x="9263" y="41139"/>
                  </a:lnTo>
                  <a:lnTo>
                    <a:pt x="12457" y="33543"/>
                  </a:lnTo>
                  <a:lnTo>
                    <a:pt x="15615" y="41139"/>
                  </a:lnTo>
                  <a:lnTo>
                    <a:pt x="23848" y="42275"/>
                  </a:lnTo>
                  <a:lnTo>
                    <a:pt x="24913" y="40749"/>
                  </a:lnTo>
                  <a:lnTo>
                    <a:pt x="24026" y="24811"/>
                  </a:lnTo>
                  <a:close/>
                </a:path>
              </a:pathLst>
            </a:custGeom>
            <a:solidFill>
              <a:srgbClr val="2D3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6" name="Freeform 2108">
              <a:extLst>
                <a:ext uri="{FF2B5EF4-FFF2-40B4-BE49-F238E27FC236}">
                  <a16:creationId xmlns:a16="http://schemas.microsoft.com/office/drawing/2014/main" id="{94960A34-7A8A-423C-B0FC-5B057B135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9173" y="4368150"/>
              <a:ext cx="92445" cy="15947"/>
            </a:xfrm>
            <a:custGeom>
              <a:avLst/>
              <a:gdLst>
                <a:gd name="T0" fmla="*/ 0 w 4116"/>
                <a:gd name="T1" fmla="*/ 0 h 710"/>
                <a:gd name="T2" fmla="*/ 4116 w 4116"/>
                <a:gd name="T3" fmla="*/ 0 h 710"/>
                <a:gd name="T4" fmla="*/ 4116 w 4116"/>
                <a:gd name="T5" fmla="*/ 710 h 710"/>
                <a:gd name="T6" fmla="*/ 0 w 4116"/>
                <a:gd name="T7" fmla="*/ 710 h 710"/>
                <a:gd name="T8" fmla="*/ 0 w 4116"/>
                <a:gd name="T9" fmla="*/ 0 h 710"/>
                <a:gd name="T10" fmla="*/ 0 w 4116"/>
                <a:gd name="T11" fmla="*/ 0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16" h="710">
                  <a:moveTo>
                    <a:pt x="0" y="0"/>
                  </a:moveTo>
                  <a:lnTo>
                    <a:pt x="4116" y="0"/>
                  </a:lnTo>
                  <a:lnTo>
                    <a:pt x="4116" y="710"/>
                  </a:lnTo>
                  <a:lnTo>
                    <a:pt x="0" y="71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D3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7" name="Freeform 2109">
              <a:extLst>
                <a:ext uri="{FF2B5EF4-FFF2-40B4-BE49-F238E27FC236}">
                  <a16:creationId xmlns:a16="http://schemas.microsoft.com/office/drawing/2014/main" id="{5194F06B-04B2-49E5-8672-1CB0C990F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8719" y="4364152"/>
              <a:ext cx="19944" cy="39080"/>
            </a:xfrm>
            <a:custGeom>
              <a:avLst/>
              <a:gdLst>
                <a:gd name="T0" fmla="*/ 0 w 888"/>
                <a:gd name="T1" fmla="*/ 0 h 1740"/>
                <a:gd name="T2" fmla="*/ 888 w 888"/>
                <a:gd name="T3" fmla="*/ 0 h 1740"/>
                <a:gd name="T4" fmla="*/ 888 w 888"/>
                <a:gd name="T5" fmla="*/ 1740 h 1740"/>
                <a:gd name="T6" fmla="*/ 0 w 888"/>
                <a:gd name="T7" fmla="*/ 1740 h 1740"/>
                <a:gd name="T8" fmla="*/ 0 w 888"/>
                <a:gd name="T9" fmla="*/ 0 h 1740"/>
                <a:gd name="T10" fmla="*/ 0 w 888"/>
                <a:gd name="T11" fmla="*/ 0 h 1740"/>
                <a:gd name="T12" fmla="*/ 0 w 888"/>
                <a:gd name="T13" fmla="*/ 0 h 1740"/>
                <a:gd name="T14" fmla="*/ 0 w 888"/>
                <a:gd name="T15" fmla="*/ 0 h 1740"/>
                <a:gd name="T16" fmla="*/ 0 w 888"/>
                <a:gd name="T17" fmla="*/ 0 h 1740"/>
                <a:gd name="T18" fmla="*/ 0 w 888"/>
                <a:gd name="T19" fmla="*/ 0 h 1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8" h="1740">
                  <a:moveTo>
                    <a:pt x="0" y="0"/>
                  </a:moveTo>
                  <a:lnTo>
                    <a:pt x="888" y="0"/>
                  </a:lnTo>
                  <a:lnTo>
                    <a:pt x="888" y="1740"/>
                  </a:lnTo>
                  <a:lnTo>
                    <a:pt x="0" y="174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BAF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8" name="Freeform 2110">
              <a:extLst>
                <a:ext uri="{FF2B5EF4-FFF2-40B4-BE49-F238E27FC236}">
                  <a16:creationId xmlns:a16="http://schemas.microsoft.com/office/drawing/2014/main" id="{4978AF77-47DB-4D28-869E-D1CDAF65449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7790" y="4403232"/>
              <a:ext cx="161801" cy="103630"/>
            </a:xfrm>
            <a:custGeom>
              <a:avLst/>
              <a:gdLst>
                <a:gd name="T0" fmla="*/ 0 w 7204"/>
                <a:gd name="T1" fmla="*/ 0 h 4614"/>
                <a:gd name="T2" fmla="*/ 7204 w 7204"/>
                <a:gd name="T3" fmla="*/ 0 h 4614"/>
                <a:gd name="T4" fmla="*/ 7204 w 7204"/>
                <a:gd name="T5" fmla="*/ 4614 h 4614"/>
                <a:gd name="T6" fmla="*/ 0 w 7204"/>
                <a:gd name="T7" fmla="*/ 4614 h 4614"/>
                <a:gd name="T8" fmla="*/ 0 w 7204"/>
                <a:gd name="T9" fmla="*/ 0 h 4614"/>
                <a:gd name="T10" fmla="*/ 0 w 7204"/>
                <a:gd name="T11" fmla="*/ 0 h 4614"/>
                <a:gd name="T12" fmla="*/ 0 w 7204"/>
                <a:gd name="T13" fmla="*/ 0 h 4614"/>
                <a:gd name="T14" fmla="*/ 0 w 7204"/>
                <a:gd name="T15" fmla="*/ 0 h 4614"/>
                <a:gd name="T16" fmla="*/ 0 w 7204"/>
                <a:gd name="T17" fmla="*/ 0 h 4614"/>
                <a:gd name="T18" fmla="*/ 0 w 7204"/>
                <a:gd name="T19" fmla="*/ 0 h 4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04" h="4614">
                  <a:moveTo>
                    <a:pt x="0" y="0"/>
                  </a:moveTo>
                  <a:lnTo>
                    <a:pt x="7204" y="0"/>
                  </a:lnTo>
                  <a:lnTo>
                    <a:pt x="7204" y="4614"/>
                  </a:lnTo>
                  <a:lnTo>
                    <a:pt x="0" y="461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9" name="Freeform 2111">
              <a:extLst>
                <a:ext uri="{FF2B5EF4-FFF2-40B4-BE49-F238E27FC236}">
                  <a16:creationId xmlns:a16="http://schemas.microsoft.com/office/drawing/2014/main" id="{ADCFA02C-036E-4E8C-A72C-8E33333D02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8365" y="4414373"/>
              <a:ext cx="70928" cy="19944"/>
            </a:xfrm>
            <a:custGeom>
              <a:avLst/>
              <a:gdLst>
                <a:gd name="T0" fmla="*/ 0 w 3158"/>
                <a:gd name="T1" fmla="*/ 0 h 888"/>
                <a:gd name="T2" fmla="*/ 3158 w 3158"/>
                <a:gd name="T3" fmla="*/ 0 h 888"/>
                <a:gd name="T4" fmla="*/ 3158 w 3158"/>
                <a:gd name="T5" fmla="*/ 888 h 888"/>
                <a:gd name="T6" fmla="*/ 0 w 3158"/>
                <a:gd name="T7" fmla="*/ 888 h 888"/>
                <a:gd name="T8" fmla="*/ 0 w 3158"/>
                <a:gd name="T9" fmla="*/ 0 h 888"/>
                <a:gd name="T10" fmla="*/ 0 w 3158"/>
                <a:gd name="T11" fmla="*/ 0 h 888"/>
                <a:gd name="T12" fmla="*/ 0 w 3158"/>
                <a:gd name="T13" fmla="*/ 0 h 888"/>
                <a:gd name="T14" fmla="*/ 0 w 3158"/>
                <a:gd name="T15" fmla="*/ 0 h 888"/>
                <a:gd name="T16" fmla="*/ 0 w 3158"/>
                <a:gd name="T17" fmla="*/ 0 h 888"/>
                <a:gd name="T18" fmla="*/ 0 w 3158"/>
                <a:gd name="T19" fmla="*/ 0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8" h="888">
                  <a:moveTo>
                    <a:pt x="0" y="0"/>
                  </a:moveTo>
                  <a:lnTo>
                    <a:pt x="3158" y="0"/>
                  </a:lnTo>
                  <a:lnTo>
                    <a:pt x="3158" y="888"/>
                  </a:lnTo>
                  <a:lnTo>
                    <a:pt x="0" y="888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B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0" name="Freeform 2112">
              <a:extLst>
                <a:ext uri="{FF2B5EF4-FFF2-40B4-BE49-F238E27FC236}">
                  <a16:creationId xmlns:a16="http://schemas.microsoft.com/office/drawing/2014/main" id="{EEB12EA5-6F65-486F-9F3F-D907F15EE6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7501" y="4441482"/>
              <a:ext cx="70142" cy="10376"/>
            </a:xfrm>
            <a:custGeom>
              <a:avLst/>
              <a:gdLst>
                <a:gd name="T0" fmla="*/ 0 w 3123"/>
                <a:gd name="T1" fmla="*/ 0 h 462"/>
                <a:gd name="T2" fmla="*/ 3123 w 3123"/>
                <a:gd name="T3" fmla="*/ 0 h 462"/>
                <a:gd name="T4" fmla="*/ 3123 w 3123"/>
                <a:gd name="T5" fmla="*/ 462 h 462"/>
                <a:gd name="T6" fmla="*/ 0 w 3123"/>
                <a:gd name="T7" fmla="*/ 462 h 462"/>
                <a:gd name="T8" fmla="*/ 0 w 3123"/>
                <a:gd name="T9" fmla="*/ 0 h 462"/>
                <a:gd name="T10" fmla="*/ 0 w 3123"/>
                <a:gd name="T11" fmla="*/ 0 h 462"/>
                <a:gd name="T12" fmla="*/ 0 w 3123"/>
                <a:gd name="T13" fmla="*/ 0 h 462"/>
                <a:gd name="T14" fmla="*/ 0 w 3123"/>
                <a:gd name="T15" fmla="*/ 0 h 462"/>
                <a:gd name="T16" fmla="*/ 0 w 3123"/>
                <a:gd name="T17" fmla="*/ 0 h 462"/>
                <a:gd name="T18" fmla="*/ 0 w 3123"/>
                <a:gd name="T19" fmla="*/ 0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23" h="462">
                  <a:moveTo>
                    <a:pt x="0" y="0"/>
                  </a:moveTo>
                  <a:lnTo>
                    <a:pt x="3123" y="0"/>
                  </a:lnTo>
                  <a:lnTo>
                    <a:pt x="3123" y="462"/>
                  </a:lnTo>
                  <a:lnTo>
                    <a:pt x="0" y="46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C46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61" name="SAGD, Siemens, Mindsphere, Mind, Sphere, Digital, Ecosystem, System, IoT">
            <a:extLst>
              <a:ext uri="{FF2B5EF4-FFF2-40B4-BE49-F238E27FC236}">
                <a16:creationId xmlns:a16="http://schemas.microsoft.com/office/drawing/2014/main" id="{D675E103-549E-4417-9317-4837E8F65914}"/>
              </a:ext>
            </a:extLst>
          </p:cNvPr>
          <p:cNvGrpSpPr/>
          <p:nvPr/>
        </p:nvGrpSpPr>
        <p:grpSpPr>
          <a:xfrm>
            <a:off x="3076993" y="4974596"/>
            <a:ext cx="5204580" cy="1419850"/>
            <a:chOff x="5469468" y="4891235"/>
            <a:chExt cx="5873397" cy="1602309"/>
          </a:xfrm>
          <a:solidFill>
            <a:srgbClr val="FFFFFF"/>
          </a:solidFill>
        </p:grpSpPr>
        <p:grpSp>
          <p:nvGrpSpPr>
            <p:cNvPr id="62" name="Gruppieren 383">
              <a:extLst>
                <a:ext uri="{FF2B5EF4-FFF2-40B4-BE49-F238E27FC236}">
                  <a16:creationId xmlns:a16="http://schemas.microsoft.com/office/drawing/2014/main" id="{85F17D38-75BF-41DC-8878-F9144E7880A1}"/>
                </a:ext>
              </a:extLst>
            </p:cNvPr>
            <p:cNvGrpSpPr/>
            <p:nvPr/>
          </p:nvGrpSpPr>
          <p:grpSpPr>
            <a:xfrm>
              <a:off x="5469468" y="4891235"/>
              <a:ext cx="5873397" cy="1602309"/>
              <a:chOff x="5414379" y="2883694"/>
              <a:chExt cx="6272323" cy="1712031"/>
            </a:xfrm>
            <a:grpFill/>
          </p:grpSpPr>
          <p:grpSp>
            <p:nvGrpSpPr>
              <p:cNvPr id="65" name="Gruppieren 384">
                <a:extLst>
                  <a:ext uri="{FF2B5EF4-FFF2-40B4-BE49-F238E27FC236}">
                    <a16:creationId xmlns:a16="http://schemas.microsoft.com/office/drawing/2014/main" id="{1E9DD105-73DA-4D14-A2A5-3DF19BF9001F}"/>
                  </a:ext>
                </a:extLst>
              </p:cNvPr>
              <p:cNvGrpSpPr/>
              <p:nvPr/>
            </p:nvGrpSpPr>
            <p:grpSpPr>
              <a:xfrm>
                <a:off x="5427516" y="2972295"/>
                <a:ext cx="6230431" cy="1603267"/>
                <a:chOff x="5427516" y="2972295"/>
                <a:chExt cx="6230431" cy="1603267"/>
              </a:xfrm>
              <a:grpFill/>
            </p:grpSpPr>
            <p:sp>
              <p:nvSpPr>
                <p:cNvPr id="316" name="Freihandform 635">
                  <a:extLst>
                    <a:ext uri="{FF2B5EF4-FFF2-40B4-BE49-F238E27FC236}">
                      <a16:creationId xmlns:a16="http://schemas.microsoft.com/office/drawing/2014/main" id="{4D57437E-1707-40F3-BABB-1067D5E469E8}"/>
                    </a:ext>
                  </a:extLst>
                </p:cNvPr>
                <p:cNvSpPr/>
                <p:nvPr/>
              </p:nvSpPr>
              <p:spPr bwMode="gray">
                <a:xfrm>
                  <a:off x="6224226" y="4079768"/>
                  <a:ext cx="1617707" cy="492263"/>
                </a:xfrm>
                <a:custGeom>
                  <a:avLst/>
                  <a:gdLst>
                    <a:gd name="connsiteX0" fmla="*/ 0 w 1362075"/>
                    <a:gd name="connsiteY0" fmla="*/ 414338 h 414338"/>
                    <a:gd name="connsiteX1" fmla="*/ 138113 w 1362075"/>
                    <a:gd name="connsiteY1" fmla="*/ 276225 h 414338"/>
                    <a:gd name="connsiteX2" fmla="*/ 538163 w 1362075"/>
                    <a:gd name="connsiteY2" fmla="*/ 276225 h 414338"/>
                    <a:gd name="connsiteX3" fmla="*/ 666751 w 1362075"/>
                    <a:gd name="connsiteY3" fmla="*/ 404813 h 414338"/>
                    <a:gd name="connsiteX4" fmla="*/ 790576 w 1362075"/>
                    <a:gd name="connsiteY4" fmla="*/ 280988 h 414338"/>
                    <a:gd name="connsiteX5" fmla="*/ 914401 w 1362075"/>
                    <a:gd name="connsiteY5" fmla="*/ 404813 h 414338"/>
                    <a:gd name="connsiteX6" fmla="*/ 1362075 w 1362075"/>
                    <a:gd name="connsiteY6" fmla="*/ 0 h 414338"/>
                    <a:gd name="connsiteX0" fmla="*/ 0 w 1362075"/>
                    <a:gd name="connsiteY0" fmla="*/ 414338 h 414338"/>
                    <a:gd name="connsiteX1" fmla="*/ 138113 w 1362075"/>
                    <a:gd name="connsiteY1" fmla="*/ 276225 h 414338"/>
                    <a:gd name="connsiteX2" fmla="*/ 538163 w 1362075"/>
                    <a:gd name="connsiteY2" fmla="*/ 276225 h 414338"/>
                    <a:gd name="connsiteX3" fmla="*/ 666751 w 1362075"/>
                    <a:gd name="connsiteY3" fmla="*/ 404813 h 414338"/>
                    <a:gd name="connsiteX4" fmla="*/ 790576 w 1362075"/>
                    <a:gd name="connsiteY4" fmla="*/ 280988 h 414338"/>
                    <a:gd name="connsiteX5" fmla="*/ 914401 w 1362075"/>
                    <a:gd name="connsiteY5" fmla="*/ 404813 h 414338"/>
                    <a:gd name="connsiteX6" fmla="*/ 950119 w 1362075"/>
                    <a:gd name="connsiteY6" fmla="*/ 407194 h 414338"/>
                    <a:gd name="connsiteX7" fmla="*/ 1362075 w 1362075"/>
                    <a:gd name="connsiteY7" fmla="*/ 0 h 414338"/>
                    <a:gd name="connsiteX0" fmla="*/ 0 w 1362075"/>
                    <a:gd name="connsiteY0" fmla="*/ 414338 h 414338"/>
                    <a:gd name="connsiteX1" fmla="*/ 138113 w 1362075"/>
                    <a:gd name="connsiteY1" fmla="*/ 276225 h 414338"/>
                    <a:gd name="connsiteX2" fmla="*/ 538163 w 1362075"/>
                    <a:gd name="connsiteY2" fmla="*/ 276225 h 414338"/>
                    <a:gd name="connsiteX3" fmla="*/ 666751 w 1362075"/>
                    <a:gd name="connsiteY3" fmla="*/ 404813 h 414338"/>
                    <a:gd name="connsiteX4" fmla="*/ 821532 w 1362075"/>
                    <a:gd name="connsiteY4" fmla="*/ 273844 h 414338"/>
                    <a:gd name="connsiteX5" fmla="*/ 914401 w 1362075"/>
                    <a:gd name="connsiteY5" fmla="*/ 404813 h 414338"/>
                    <a:gd name="connsiteX6" fmla="*/ 950119 w 1362075"/>
                    <a:gd name="connsiteY6" fmla="*/ 407194 h 414338"/>
                    <a:gd name="connsiteX7" fmla="*/ 1362075 w 1362075"/>
                    <a:gd name="connsiteY7" fmla="*/ 0 h 414338"/>
                    <a:gd name="connsiteX0" fmla="*/ 0 w 1362075"/>
                    <a:gd name="connsiteY0" fmla="*/ 414338 h 414338"/>
                    <a:gd name="connsiteX1" fmla="*/ 138113 w 1362075"/>
                    <a:gd name="connsiteY1" fmla="*/ 276225 h 414338"/>
                    <a:gd name="connsiteX2" fmla="*/ 538163 w 1362075"/>
                    <a:gd name="connsiteY2" fmla="*/ 276225 h 414338"/>
                    <a:gd name="connsiteX3" fmla="*/ 666751 w 1362075"/>
                    <a:gd name="connsiteY3" fmla="*/ 404813 h 414338"/>
                    <a:gd name="connsiteX4" fmla="*/ 821532 w 1362075"/>
                    <a:gd name="connsiteY4" fmla="*/ 273844 h 414338"/>
                    <a:gd name="connsiteX5" fmla="*/ 950119 w 1362075"/>
                    <a:gd name="connsiteY5" fmla="*/ 407194 h 414338"/>
                    <a:gd name="connsiteX6" fmla="*/ 1362075 w 1362075"/>
                    <a:gd name="connsiteY6" fmla="*/ 0 h 414338"/>
                    <a:gd name="connsiteX0" fmla="*/ 0 w 1362075"/>
                    <a:gd name="connsiteY0" fmla="*/ 414338 h 414338"/>
                    <a:gd name="connsiteX1" fmla="*/ 138113 w 1362075"/>
                    <a:gd name="connsiteY1" fmla="*/ 276225 h 414338"/>
                    <a:gd name="connsiteX2" fmla="*/ 538163 w 1362075"/>
                    <a:gd name="connsiteY2" fmla="*/ 276225 h 414338"/>
                    <a:gd name="connsiteX3" fmla="*/ 673895 w 1362075"/>
                    <a:gd name="connsiteY3" fmla="*/ 409575 h 414338"/>
                    <a:gd name="connsiteX4" fmla="*/ 821532 w 1362075"/>
                    <a:gd name="connsiteY4" fmla="*/ 273844 h 414338"/>
                    <a:gd name="connsiteX5" fmla="*/ 950119 w 1362075"/>
                    <a:gd name="connsiteY5" fmla="*/ 407194 h 414338"/>
                    <a:gd name="connsiteX6" fmla="*/ 1362075 w 1362075"/>
                    <a:gd name="connsiteY6" fmla="*/ 0 h 4143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62075" h="414338">
                      <a:moveTo>
                        <a:pt x="0" y="414338"/>
                      </a:moveTo>
                      <a:lnTo>
                        <a:pt x="138113" y="276225"/>
                      </a:lnTo>
                      <a:lnTo>
                        <a:pt x="538163" y="276225"/>
                      </a:lnTo>
                      <a:lnTo>
                        <a:pt x="673895" y="409575"/>
                      </a:lnTo>
                      <a:lnTo>
                        <a:pt x="821532" y="273844"/>
                      </a:lnTo>
                      <a:lnTo>
                        <a:pt x="950119" y="407194"/>
                      </a:lnTo>
                      <a:lnTo>
                        <a:pt x="1362075" y="0"/>
                      </a:lnTo>
                    </a:path>
                  </a:pathLst>
                </a:custGeom>
                <a:noFill/>
                <a:ln w="12700">
                  <a:solidFill>
                    <a:srgbClr val="50BED7"/>
                  </a:solidFill>
                </a:ln>
                <a:effec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200" b="1" dirty="0">
                    <a:latin typeface="+mj-lt"/>
                  </a:endParaRPr>
                </a:p>
              </p:txBody>
            </p:sp>
            <p:sp>
              <p:nvSpPr>
                <p:cNvPr id="317" name="Freihandform 636">
                  <a:extLst>
                    <a:ext uri="{FF2B5EF4-FFF2-40B4-BE49-F238E27FC236}">
                      <a16:creationId xmlns:a16="http://schemas.microsoft.com/office/drawing/2014/main" id="{3724B496-A336-4A0B-B35C-A01A09537DEB}"/>
                    </a:ext>
                  </a:extLst>
                </p:cNvPr>
                <p:cNvSpPr/>
                <p:nvPr/>
              </p:nvSpPr>
              <p:spPr bwMode="gray">
                <a:xfrm>
                  <a:off x="5427516" y="3934888"/>
                  <a:ext cx="656133" cy="314030"/>
                </a:xfrm>
                <a:custGeom>
                  <a:avLst/>
                  <a:gdLst>
                    <a:gd name="connsiteX0" fmla="*/ 0 w 552450"/>
                    <a:gd name="connsiteY0" fmla="*/ 0 h 264319"/>
                    <a:gd name="connsiteX1" fmla="*/ 138113 w 552450"/>
                    <a:gd name="connsiteY1" fmla="*/ 135732 h 264319"/>
                    <a:gd name="connsiteX2" fmla="*/ 278607 w 552450"/>
                    <a:gd name="connsiteY2" fmla="*/ 135732 h 264319"/>
                    <a:gd name="connsiteX3" fmla="*/ 278607 w 552450"/>
                    <a:gd name="connsiteY3" fmla="*/ 264319 h 264319"/>
                    <a:gd name="connsiteX4" fmla="*/ 552450 w 552450"/>
                    <a:gd name="connsiteY4" fmla="*/ 264319 h 2643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450" h="264319">
                      <a:moveTo>
                        <a:pt x="0" y="0"/>
                      </a:moveTo>
                      <a:lnTo>
                        <a:pt x="138113" y="135732"/>
                      </a:lnTo>
                      <a:lnTo>
                        <a:pt x="278607" y="135732"/>
                      </a:lnTo>
                      <a:lnTo>
                        <a:pt x="278607" y="264319"/>
                      </a:lnTo>
                      <a:lnTo>
                        <a:pt x="552450" y="264319"/>
                      </a:lnTo>
                    </a:path>
                  </a:pathLst>
                </a:custGeom>
                <a:noFill/>
                <a:ln w="12700">
                  <a:solidFill>
                    <a:srgbClr val="50BED7"/>
                  </a:solidFill>
                </a:ln>
                <a:effec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200" b="1" dirty="0">
                    <a:latin typeface="+mj-lt"/>
                  </a:endParaRPr>
                </a:p>
              </p:txBody>
            </p:sp>
            <p:sp>
              <p:nvSpPr>
                <p:cNvPr id="318" name="Freihandform 637">
                  <a:extLst>
                    <a:ext uri="{FF2B5EF4-FFF2-40B4-BE49-F238E27FC236}">
                      <a16:creationId xmlns:a16="http://schemas.microsoft.com/office/drawing/2014/main" id="{1D56C8B3-5574-4BD4-8A88-F1FA1E1DF866}"/>
                    </a:ext>
                  </a:extLst>
                </p:cNvPr>
                <p:cNvSpPr/>
                <p:nvPr/>
              </p:nvSpPr>
              <p:spPr bwMode="gray">
                <a:xfrm>
                  <a:off x="5428938" y="3450412"/>
                  <a:ext cx="325239" cy="319687"/>
                </a:xfrm>
                <a:custGeom>
                  <a:avLst/>
                  <a:gdLst>
                    <a:gd name="connsiteX0" fmla="*/ 0 w 273844"/>
                    <a:gd name="connsiteY0" fmla="*/ 269081 h 269081"/>
                    <a:gd name="connsiteX1" fmla="*/ 142875 w 273844"/>
                    <a:gd name="connsiteY1" fmla="*/ 269081 h 269081"/>
                    <a:gd name="connsiteX2" fmla="*/ 142875 w 273844"/>
                    <a:gd name="connsiteY2" fmla="*/ 133350 h 269081"/>
                    <a:gd name="connsiteX3" fmla="*/ 273844 w 273844"/>
                    <a:gd name="connsiteY3" fmla="*/ 0 h 2690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73844" h="269081">
                      <a:moveTo>
                        <a:pt x="0" y="269081"/>
                      </a:moveTo>
                      <a:lnTo>
                        <a:pt x="142875" y="269081"/>
                      </a:lnTo>
                      <a:lnTo>
                        <a:pt x="142875" y="133350"/>
                      </a:lnTo>
                      <a:lnTo>
                        <a:pt x="273844" y="0"/>
                      </a:lnTo>
                    </a:path>
                  </a:pathLst>
                </a:custGeom>
                <a:noFill/>
                <a:ln w="12700">
                  <a:solidFill>
                    <a:srgbClr val="50BED7"/>
                  </a:solidFill>
                </a:ln>
                <a:effec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200" b="1" dirty="0">
                    <a:latin typeface="+mj-lt"/>
                  </a:endParaRPr>
                </a:p>
              </p:txBody>
            </p:sp>
            <p:sp>
              <p:nvSpPr>
                <p:cNvPr id="319" name="Freihandform 638">
                  <a:extLst>
                    <a:ext uri="{FF2B5EF4-FFF2-40B4-BE49-F238E27FC236}">
                      <a16:creationId xmlns:a16="http://schemas.microsoft.com/office/drawing/2014/main" id="{30E18A13-64BF-4FBE-AF76-F385AFF7916F}"/>
                    </a:ext>
                  </a:extLst>
                </p:cNvPr>
                <p:cNvSpPr/>
                <p:nvPr/>
              </p:nvSpPr>
              <p:spPr bwMode="gray">
                <a:xfrm>
                  <a:off x="5739781" y="3148273"/>
                  <a:ext cx="656133" cy="472459"/>
                </a:xfrm>
                <a:custGeom>
                  <a:avLst/>
                  <a:gdLst>
                    <a:gd name="connsiteX0" fmla="*/ 0 w 552450"/>
                    <a:gd name="connsiteY0" fmla="*/ 397669 h 397669"/>
                    <a:gd name="connsiteX1" fmla="*/ 290512 w 552450"/>
                    <a:gd name="connsiteY1" fmla="*/ 116681 h 397669"/>
                    <a:gd name="connsiteX2" fmla="*/ 416718 w 552450"/>
                    <a:gd name="connsiteY2" fmla="*/ 116681 h 397669"/>
                    <a:gd name="connsiteX3" fmla="*/ 552450 w 552450"/>
                    <a:gd name="connsiteY3" fmla="*/ 0 h 3976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52450" h="397669">
                      <a:moveTo>
                        <a:pt x="0" y="397669"/>
                      </a:moveTo>
                      <a:lnTo>
                        <a:pt x="290512" y="116681"/>
                      </a:lnTo>
                      <a:lnTo>
                        <a:pt x="416718" y="116681"/>
                      </a:lnTo>
                      <a:lnTo>
                        <a:pt x="552450" y="0"/>
                      </a:lnTo>
                    </a:path>
                  </a:pathLst>
                </a:custGeom>
                <a:noFill/>
                <a:ln w="12700">
                  <a:solidFill>
                    <a:srgbClr val="50BED7"/>
                  </a:solidFill>
                </a:ln>
                <a:effec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200" b="1" dirty="0">
                    <a:latin typeface="+mj-lt"/>
                  </a:endParaRPr>
                </a:p>
              </p:txBody>
            </p:sp>
            <p:sp>
              <p:nvSpPr>
                <p:cNvPr id="320" name="Freihandform 639">
                  <a:extLst>
                    <a:ext uri="{FF2B5EF4-FFF2-40B4-BE49-F238E27FC236}">
                      <a16:creationId xmlns:a16="http://schemas.microsoft.com/office/drawing/2014/main" id="{0C03B55E-BE4E-4DE5-BD37-33B4D8BBD027}"/>
                    </a:ext>
                  </a:extLst>
                </p:cNvPr>
                <p:cNvSpPr/>
                <p:nvPr/>
              </p:nvSpPr>
              <p:spPr bwMode="gray">
                <a:xfrm>
                  <a:off x="6400401" y="3456069"/>
                  <a:ext cx="469475" cy="158429"/>
                </a:xfrm>
                <a:custGeom>
                  <a:avLst/>
                  <a:gdLst>
                    <a:gd name="connsiteX0" fmla="*/ 0 w 395288"/>
                    <a:gd name="connsiteY0" fmla="*/ 133350 h 133350"/>
                    <a:gd name="connsiteX1" fmla="*/ 135732 w 395288"/>
                    <a:gd name="connsiteY1" fmla="*/ 133350 h 133350"/>
                    <a:gd name="connsiteX2" fmla="*/ 269082 w 395288"/>
                    <a:gd name="connsiteY2" fmla="*/ 0 h 133350"/>
                    <a:gd name="connsiteX3" fmla="*/ 395288 w 395288"/>
                    <a:gd name="connsiteY3" fmla="*/ 0 h 133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95288" h="133350">
                      <a:moveTo>
                        <a:pt x="0" y="133350"/>
                      </a:moveTo>
                      <a:lnTo>
                        <a:pt x="135732" y="133350"/>
                      </a:lnTo>
                      <a:lnTo>
                        <a:pt x="269082" y="0"/>
                      </a:lnTo>
                      <a:lnTo>
                        <a:pt x="395288" y="0"/>
                      </a:lnTo>
                    </a:path>
                  </a:pathLst>
                </a:custGeom>
                <a:noFill/>
                <a:ln w="12700">
                  <a:solidFill>
                    <a:srgbClr val="50BED7"/>
                  </a:solidFill>
                </a:ln>
                <a:effec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200" b="1" dirty="0">
                    <a:latin typeface="+mj-lt"/>
                  </a:endParaRPr>
                </a:p>
              </p:txBody>
            </p:sp>
            <p:sp>
              <p:nvSpPr>
                <p:cNvPr id="321" name="Freihandform 640">
                  <a:extLst>
                    <a:ext uri="{FF2B5EF4-FFF2-40B4-BE49-F238E27FC236}">
                      <a16:creationId xmlns:a16="http://schemas.microsoft.com/office/drawing/2014/main" id="{1BBE03F1-37FE-4AEE-886B-DC1627C9F50B}"/>
                    </a:ext>
                  </a:extLst>
                </p:cNvPr>
                <p:cNvSpPr/>
                <p:nvPr/>
              </p:nvSpPr>
              <p:spPr bwMode="gray">
                <a:xfrm>
                  <a:off x="5913959" y="3772927"/>
                  <a:ext cx="964403" cy="319689"/>
                </a:xfrm>
                <a:custGeom>
                  <a:avLst/>
                  <a:gdLst>
                    <a:gd name="connsiteX0" fmla="*/ 0 w 812007"/>
                    <a:gd name="connsiteY0" fmla="*/ 0 h 269082"/>
                    <a:gd name="connsiteX1" fmla="*/ 150019 w 812007"/>
                    <a:gd name="connsiteY1" fmla="*/ 0 h 269082"/>
                    <a:gd name="connsiteX2" fmla="*/ 273844 w 812007"/>
                    <a:gd name="connsiteY2" fmla="*/ 140494 h 269082"/>
                    <a:gd name="connsiteX3" fmla="*/ 411957 w 812007"/>
                    <a:gd name="connsiteY3" fmla="*/ 140494 h 269082"/>
                    <a:gd name="connsiteX4" fmla="*/ 538163 w 812007"/>
                    <a:gd name="connsiteY4" fmla="*/ 269082 h 269082"/>
                    <a:gd name="connsiteX5" fmla="*/ 812007 w 812007"/>
                    <a:gd name="connsiteY5" fmla="*/ 269082 h 2690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007" h="269082">
                      <a:moveTo>
                        <a:pt x="0" y="0"/>
                      </a:moveTo>
                      <a:lnTo>
                        <a:pt x="150019" y="0"/>
                      </a:lnTo>
                      <a:lnTo>
                        <a:pt x="273844" y="140494"/>
                      </a:lnTo>
                      <a:lnTo>
                        <a:pt x="411957" y="140494"/>
                      </a:lnTo>
                      <a:lnTo>
                        <a:pt x="538163" y="269082"/>
                      </a:lnTo>
                      <a:lnTo>
                        <a:pt x="812007" y="269082"/>
                      </a:lnTo>
                    </a:path>
                  </a:pathLst>
                </a:custGeom>
                <a:noFill/>
                <a:ln w="12700">
                  <a:solidFill>
                    <a:srgbClr val="50BED7"/>
                  </a:solidFill>
                </a:ln>
                <a:effec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200" b="1" dirty="0">
                    <a:latin typeface="+mj-lt"/>
                  </a:endParaRPr>
                </a:p>
              </p:txBody>
            </p:sp>
            <p:sp>
              <p:nvSpPr>
                <p:cNvPr id="322" name="Freihandform 641">
                  <a:extLst>
                    <a:ext uri="{FF2B5EF4-FFF2-40B4-BE49-F238E27FC236}">
                      <a16:creationId xmlns:a16="http://schemas.microsoft.com/office/drawing/2014/main" id="{775B7CDE-5525-41A6-A7FC-1D4E6FBD8AE2}"/>
                    </a:ext>
                  </a:extLst>
                </p:cNvPr>
                <p:cNvSpPr/>
                <p:nvPr/>
              </p:nvSpPr>
              <p:spPr bwMode="gray">
                <a:xfrm>
                  <a:off x="9415219" y="2972295"/>
                  <a:ext cx="1111465" cy="322516"/>
                </a:xfrm>
                <a:custGeom>
                  <a:avLst/>
                  <a:gdLst>
                    <a:gd name="connsiteX0" fmla="*/ 0 w 935831"/>
                    <a:gd name="connsiteY0" fmla="*/ 271462 h 271462"/>
                    <a:gd name="connsiteX1" fmla="*/ 133350 w 935831"/>
                    <a:gd name="connsiteY1" fmla="*/ 130968 h 271462"/>
                    <a:gd name="connsiteX2" fmla="*/ 411956 w 935831"/>
                    <a:gd name="connsiteY2" fmla="*/ 130968 h 271462"/>
                    <a:gd name="connsiteX3" fmla="*/ 535781 w 935831"/>
                    <a:gd name="connsiteY3" fmla="*/ 0 h 271462"/>
                    <a:gd name="connsiteX4" fmla="*/ 671512 w 935831"/>
                    <a:gd name="connsiteY4" fmla="*/ 0 h 271462"/>
                    <a:gd name="connsiteX5" fmla="*/ 807244 w 935831"/>
                    <a:gd name="connsiteY5" fmla="*/ 145256 h 271462"/>
                    <a:gd name="connsiteX6" fmla="*/ 935831 w 935831"/>
                    <a:gd name="connsiteY6" fmla="*/ 4762 h 2714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35831" h="271462">
                      <a:moveTo>
                        <a:pt x="0" y="271462"/>
                      </a:moveTo>
                      <a:lnTo>
                        <a:pt x="133350" y="130968"/>
                      </a:lnTo>
                      <a:lnTo>
                        <a:pt x="411956" y="130968"/>
                      </a:lnTo>
                      <a:lnTo>
                        <a:pt x="535781" y="0"/>
                      </a:lnTo>
                      <a:lnTo>
                        <a:pt x="671512" y="0"/>
                      </a:lnTo>
                      <a:lnTo>
                        <a:pt x="807244" y="145256"/>
                      </a:lnTo>
                      <a:lnTo>
                        <a:pt x="935831" y="4762"/>
                      </a:lnTo>
                    </a:path>
                  </a:pathLst>
                </a:custGeom>
                <a:noFill/>
                <a:ln w="12700">
                  <a:solidFill>
                    <a:srgbClr val="50BED7"/>
                  </a:solidFill>
                </a:ln>
                <a:effec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200" b="1" dirty="0">
                    <a:latin typeface="+mj-lt"/>
                  </a:endParaRPr>
                </a:p>
              </p:txBody>
            </p:sp>
            <p:sp>
              <p:nvSpPr>
                <p:cNvPr id="323" name="Freihandform 642">
                  <a:extLst>
                    <a:ext uri="{FF2B5EF4-FFF2-40B4-BE49-F238E27FC236}">
                      <a16:creationId xmlns:a16="http://schemas.microsoft.com/office/drawing/2014/main" id="{7902F551-A9B9-45E5-8BAF-F714C6A25F32}"/>
                    </a:ext>
                  </a:extLst>
                </p:cNvPr>
                <p:cNvSpPr/>
                <p:nvPr/>
              </p:nvSpPr>
              <p:spPr bwMode="gray">
                <a:xfrm>
                  <a:off x="9727484" y="3288324"/>
                  <a:ext cx="486443" cy="164087"/>
                </a:xfrm>
                <a:custGeom>
                  <a:avLst/>
                  <a:gdLst>
                    <a:gd name="connsiteX0" fmla="*/ 0 w 409575"/>
                    <a:gd name="connsiteY0" fmla="*/ 138112 h 138112"/>
                    <a:gd name="connsiteX1" fmla="*/ 140494 w 409575"/>
                    <a:gd name="connsiteY1" fmla="*/ 0 h 138112"/>
                    <a:gd name="connsiteX2" fmla="*/ 409575 w 409575"/>
                    <a:gd name="connsiteY2" fmla="*/ 0 h 1381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09575" h="138112">
                      <a:moveTo>
                        <a:pt x="0" y="138112"/>
                      </a:moveTo>
                      <a:lnTo>
                        <a:pt x="140494" y="0"/>
                      </a:lnTo>
                      <a:lnTo>
                        <a:pt x="409575" y="0"/>
                      </a:lnTo>
                    </a:path>
                  </a:pathLst>
                </a:custGeom>
                <a:noFill/>
                <a:ln w="12700">
                  <a:solidFill>
                    <a:srgbClr val="50BED7"/>
                  </a:solidFill>
                </a:ln>
                <a:effec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200" b="1" dirty="0">
                    <a:latin typeface="+mj-lt"/>
                  </a:endParaRPr>
                </a:p>
              </p:txBody>
            </p:sp>
            <p:sp>
              <p:nvSpPr>
                <p:cNvPr id="324" name="Freihandform 643">
                  <a:extLst>
                    <a:ext uri="{FF2B5EF4-FFF2-40B4-BE49-F238E27FC236}">
                      <a16:creationId xmlns:a16="http://schemas.microsoft.com/office/drawing/2014/main" id="{612F8819-C387-4941-9BB3-CF6E77A85C0C}"/>
                    </a:ext>
                  </a:extLst>
                </p:cNvPr>
                <p:cNvSpPr/>
                <p:nvPr/>
              </p:nvSpPr>
              <p:spPr bwMode="gray">
                <a:xfrm>
                  <a:off x="7982409" y="4086128"/>
                  <a:ext cx="2081524" cy="489434"/>
                </a:xfrm>
                <a:custGeom>
                  <a:avLst/>
                  <a:gdLst>
                    <a:gd name="connsiteX0" fmla="*/ 0 w 1752600"/>
                    <a:gd name="connsiteY0" fmla="*/ 138113 h 411957"/>
                    <a:gd name="connsiteX1" fmla="*/ 145256 w 1752600"/>
                    <a:gd name="connsiteY1" fmla="*/ 271463 h 411957"/>
                    <a:gd name="connsiteX2" fmla="*/ 400050 w 1752600"/>
                    <a:gd name="connsiteY2" fmla="*/ 0 h 411957"/>
                    <a:gd name="connsiteX3" fmla="*/ 804862 w 1752600"/>
                    <a:gd name="connsiteY3" fmla="*/ 0 h 411957"/>
                    <a:gd name="connsiteX4" fmla="*/ 938212 w 1752600"/>
                    <a:gd name="connsiteY4" fmla="*/ 140494 h 411957"/>
                    <a:gd name="connsiteX5" fmla="*/ 1202531 w 1752600"/>
                    <a:gd name="connsiteY5" fmla="*/ 140494 h 411957"/>
                    <a:gd name="connsiteX6" fmla="*/ 1335881 w 1752600"/>
                    <a:gd name="connsiteY6" fmla="*/ 273844 h 411957"/>
                    <a:gd name="connsiteX7" fmla="*/ 1469231 w 1752600"/>
                    <a:gd name="connsiteY7" fmla="*/ 130969 h 411957"/>
                    <a:gd name="connsiteX8" fmla="*/ 1752600 w 1752600"/>
                    <a:gd name="connsiteY8" fmla="*/ 411957 h 4119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752600" h="411957">
                      <a:moveTo>
                        <a:pt x="0" y="138113"/>
                      </a:moveTo>
                      <a:lnTo>
                        <a:pt x="145256" y="271463"/>
                      </a:lnTo>
                      <a:lnTo>
                        <a:pt x="400050" y="0"/>
                      </a:lnTo>
                      <a:lnTo>
                        <a:pt x="804862" y="0"/>
                      </a:lnTo>
                      <a:lnTo>
                        <a:pt x="938212" y="140494"/>
                      </a:lnTo>
                      <a:lnTo>
                        <a:pt x="1202531" y="140494"/>
                      </a:lnTo>
                      <a:lnTo>
                        <a:pt x="1335881" y="273844"/>
                      </a:lnTo>
                      <a:lnTo>
                        <a:pt x="1469231" y="130969"/>
                      </a:lnTo>
                      <a:lnTo>
                        <a:pt x="1752600" y="411957"/>
                      </a:lnTo>
                    </a:path>
                  </a:pathLst>
                </a:custGeom>
                <a:noFill/>
                <a:ln w="12700">
                  <a:solidFill>
                    <a:srgbClr val="50BED7"/>
                  </a:solidFill>
                </a:ln>
                <a:effec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200" b="1" dirty="0">
                    <a:latin typeface="+mj-lt"/>
                  </a:endParaRPr>
                </a:p>
              </p:txBody>
            </p:sp>
            <p:sp>
              <p:nvSpPr>
                <p:cNvPr id="325" name="Freihandform 644">
                  <a:extLst>
                    <a:ext uri="{FF2B5EF4-FFF2-40B4-BE49-F238E27FC236}">
                      <a16:creationId xmlns:a16="http://schemas.microsoft.com/office/drawing/2014/main" id="{37B7457B-5301-4B22-913C-C9574B490267}"/>
                    </a:ext>
                  </a:extLst>
                </p:cNvPr>
                <p:cNvSpPr/>
                <p:nvPr/>
              </p:nvSpPr>
              <p:spPr bwMode="gray">
                <a:xfrm>
                  <a:off x="9729145" y="4086957"/>
                  <a:ext cx="653303" cy="169745"/>
                </a:xfrm>
                <a:custGeom>
                  <a:avLst/>
                  <a:gdLst>
                    <a:gd name="connsiteX0" fmla="*/ 0 w 550068"/>
                    <a:gd name="connsiteY0" fmla="*/ 0 h 142875"/>
                    <a:gd name="connsiteX1" fmla="*/ 278606 w 550068"/>
                    <a:gd name="connsiteY1" fmla="*/ 0 h 142875"/>
                    <a:gd name="connsiteX2" fmla="*/ 402431 w 550068"/>
                    <a:gd name="connsiteY2" fmla="*/ 142875 h 142875"/>
                    <a:gd name="connsiteX3" fmla="*/ 550068 w 550068"/>
                    <a:gd name="connsiteY3" fmla="*/ 142875 h 142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50068" h="142875">
                      <a:moveTo>
                        <a:pt x="0" y="0"/>
                      </a:moveTo>
                      <a:lnTo>
                        <a:pt x="278606" y="0"/>
                      </a:lnTo>
                      <a:lnTo>
                        <a:pt x="402431" y="142875"/>
                      </a:lnTo>
                      <a:lnTo>
                        <a:pt x="550068" y="142875"/>
                      </a:lnTo>
                    </a:path>
                  </a:pathLst>
                </a:custGeom>
                <a:noFill/>
                <a:ln w="12700">
                  <a:solidFill>
                    <a:srgbClr val="50BED7"/>
                  </a:solidFill>
                </a:ln>
                <a:effec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200" b="1" dirty="0">
                    <a:latin typeface="+mj-lt"/>
                  </a:endParaRPr>
                </a:p>
              </p:txBody>
            </p:sp>
            <p:sp>
              <p:nvSpPr>
                <p:cNvPr id="326" name="Freihandform 645">
                  <a:extLst>
                    <a:ext uri="{FF2B5EF4-FFF2-40B4-BE49-F238E27FC236}">
                      <a16:creationId xmlns:a16="http://schemas.microsoft.com/office/drawing/2014/main" id="{8B1DC75B-F8E9-4A35-8DCB-3480A789F284}"/>
                    </a:ext>
                  </a:extLst>
                </p:cNvPr>
                <p:cNvSpPr/>
                <p:nvPr/>
              </p:nvSpPr>
              <p:spPr bwMode="gray">
                <a:xfrm>
                  <a:off x="10685061" y="3142041"/>
                  <a:ext cx="967231" cy="469629"/>
                </a:xfrm>
                <a:custGeom>
                  <a:avLst/>
                  <a:gdLst>
                    <a:gd name="connsiteX0" fmla="*/ 0 w 814388"/>
                    <a:gd name="connsiteY0" fmla="*/ 0 h 395287"/>
                    <a:gd name="connsiteX1" fmla="*/ 135731 w 814388"/>
                    <a:gd name="connsiteY1" fmla="*/ 130968 h 395287"/>
                    <a:gd name="connsiteX2" fmla="*/ 273844 w 814388"/>
                    <a:gd name="connsiteY2" fmla="*/ 130968 h 395287"/>
                    <a:gd name="connsiteX3" fmla="*/ 538163 w 814388"/>
                    <a:gd name="connsiteY3" fmla="*/ 395287 h 395287"/>
                    <a:gd name="connsiteX4" fmla="*/ 814388 w 814388"/>
                    <a:gd name="connsiteY4" fmla="*/ 395287 h 395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388" h="395287">
                      <a:moveTo>
                        <a:pt x="0" y="0"/>
                      </a:moveTo>
                      <a:lnTo>
                        <a:pt x="135731" y="130968"/>
                      </a:lnTo>
                      <a:lnTo>
                        <a:pt x="273844" y="130968"/>
                      </a:lnTo>
                      <a:lnTo>
                        <a:pt x="538163" y="395287"/>
                      </a:lnTo>
                      <a:lnTo>
                        <a:pt x="814388" y="395287"/>
                      </a:lnTo>
                    </a:path>
                  </a:pathLst>
                </a:custGeom>
                <a:noFill/>
                <a:ln w="12700">
                  <a:solidFill>
                    <a:srgbClr val="50BED7"/>
                  </a:solidFill>
                </a:ln>
                <a:effec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200" b="1" dirty="0">
                    <a:latin typeface="+mj-lt"/>
                  </a:endParaRPr>
                </a:p>
              </p:txBody>
            </p:sp>
            <p:sp>
              <p:nvSpPr>
                <p:cNvPr id="327" name="Freihandform 646">
                  <a:extLst>
                    <a:ext uri="{FF2B5EF4-FFF2-40B4-BE49-F238E27FC236}">
                      <a16:creationId xmlns:a16="http://schemas.microsoft.com/office/drawing/2014/main" id="{DCAB63BB-F155-44A1-8771-1B595FC78B26}"/>
                    </a:ext>
                  </a:extLst>
                </p:cNvPr>
                <p:cNvSpPr/>
                <p:nvPr/>
              </p:nvSpPr>
              <p:spPr bwMode="gray">
                <a:xfrm>
                  <a:off x="10834953" y="3934187"/>
                  <a:ext cx="822994" cy="472458"/>
                </a:xfrm>
                <a:custGeom>
                  <a:avLst/>
                  <a:gdLst>
                    <a:gd name="connsiteX0" fmla="*/ 0 w 692944"/>
                    <a:gd name="connsiteY0" fmla="*/ 397668 h 397668"/>
                    <a:gd name="connsiteX1" fmla="*/ 145257 w 692944"/>
                    <a:gd name="connsiteY1" fmla="*/ 397668 h 397668"/>
                    <a:gd name="connsiteX2" fmla="*/ 542925 w 692944"/>
                    <a:gd name="connsiteY2" fmla="*/ 0 h 397668"/>
                    <a:gd name="connsiteX3" fmla="*/ 692944 w 692944"/>
                    <a:gd name="connsiteY3" fmla="*/ 0 h 3976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2944" h="397668">
                      <a:moveTo>
                        <a:pt x="0" y="397668"/>
                      </a:moveTo>
                      <a:lnTo>
                        <a:pt x="145257" y="397668"/>
                      </a:lnTo>
                      <a:lnTo>
                        <a:pt x="542925" y="0"/>
                      </a:lnTo>
                      <a:lnTo>
                        <a:pt x="692944" y="0"/>
                      </a:lnTo>
                    </a:path>
                  </a:pathLst>
                </a:custGeom>
                <a:noFill/>
                <a:ln w="12700">
                  <a:solidFill>
                    <a:srgbClr val="50BED7"/>
                  </a:solidFill>
                </a:ln>
                <a:effec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200" b="1" dirty="0">
                    <a:latin typeface="+mj-lt"/>
                  </a:endParaRPr>
                </a:p>
              </p:txBody>
            </p:sp>
            <p:sp>
              <p:nvSpPr>
                <p:cNvPr id="328" name="Freihandform 647">
                  <a:extLst>
                    <a:ext uri="{FF2B5EF4-FFF2-40B4-BE49-F238E27FC236}">
                      <a16:creationId xmlns:a16="http://schemas.microsoft.com/office/drawing/2014/main" id="{5F351C54-4000-441C-9565-37E1F8BF9F65}"/>
                    </a:ext>
                  </a:extLst>
                </p:cNvPr>
                <p:cNvSpPr/>
                <p:nvPr/>
              </p:nvSpPr>
              <p:spPr bwMode="gray">
                <a:xfrm>
                  <a:off x="10843438" y="3614498"/>
                  <a:ext cx="483615" cy="164088"/>
                </a:xfrm>
                <a:custGeom>
                  <a:avLst/>
                  <a:gdLst>
                    <a:gd name="connsiteX0" fmla="*/ 0 w 407194"/>
                    <a:gd name="connsiteY0" fmla="*/ 0 h 138113"/>
                    <a:gd name="connsiteX1" fmla="*/ 133350 w 407194"/>
                    <a:gd name="connsiteY1" fmla="*/ 0 h 138113"/>
                    <a:gd name="connsiteX2" fmla="*/ 271463 w 407194"/>
                    <a:gd name="connsiteY2" fmla="*/ 138113 h 138113"/>
                    <a:gd name="connsiteX3" fmla="*/ 407194 w 407194"/>
                    <a:gd name="connsiteY3" fmla="*/ 138113 h 1381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07194" h="138113">
                      <a:moveTo>
                        <a:pt x="0" y="0"/>
                      </a:moveTo>
                      <a:lnTo>
                        <a:pt x="133350" y="0"/>
                      </a:lnTo>
                      <a:lnTo>
                        <a:pt x="271463" y="138113"/>
                      </a:lnTo>
                      <a:lnTo>
                        <a:pt x="407194" y="138113"/>
                      </a:lnTo>
                    </a:path>
                  </a:pathLst>
                </a:custGeom>
                <a:noFill/>
                <a:ln w="12700">
                  <a:solidFill>
                    <a:srgbClr val="50BED7"/>
                  </a:solidFill>
                </a:ln>
                <a:effec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200" b="1" dirty="0">
                    <a:latin typeface="+mj-lt"/>
                  </a:endParaRPr>
                </a:p>
              </p:txBody>
            </p:sp>
            <p:sp>
              <p:nvSpPr>
                <p:cNvPr id="329" name="Freihandform 648">
                  <a:extLst>
                    <a:ext uri="{FF2B5EF4-FFF2-40B4-BE49-F238E27FC236}">
                      <a16:creationId xmlns:a16="http://schemas.microsoft.com/office/drawing/2014/main" id="{D02810CC-1343-4C2A-A1FC-57325AC17275}"/>
                    </a:ext>
                  </a:extLst>
                </p:cNvPr>
                <p:cNvSpPr/>
                <p:nvPr/>
              </p:nvSpPr>
              <p:spPr bwMode="gray">
                <a:xfrm>
                  <a:off x="11171504" y="3770097"/>
                  <a:ext cx="311098" cy="161259"/>
                </a:xfrm>
                <a:custGeom>
                  <a:avLst/>
                  <a:gdLst>
                    <a:gd name="connsiteX0" fmla="*/ 0 w 261938"/>
                    <a:gd name="connsiteY0" fmla="*/ 135732 h 135732"/>
                    <a:gd name="connsiteX1" fmla="*/ 126206 w 261938"/>
                    <a:gd name="connsiteY1" fmla="*/ 135732 h 135732"/>
                    <a:gd name="connsiteX2" fmla="*/ 261938 w 261938"/>
                    <a:gd name="connsiteY2" fmla="*/ 0 h 1357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61938" h="135732">
                      <a:moveTo>
                        <a:pt x="0" y="135732"/>
                      </a:moveTo>
                      <a:lnTo>
                        <a:pt x="126206" y="135732"/>
                      </a:lnTo>
                      <a:lnTo>
                        <a:pt x="261938" y="0"/>
                      </a:lnTo>
                    </a:path>
                  </a:pathLst>
                </a:custGeom>
                <a:noFill/>
                <a:ln w="12700">
                  <a:solidFill>
                    <a:srgbClr val="50BED7"/>
                  </a:solidFill>
                </a:ln>
                <a:effec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200" b="1" dirty="0">
                    <a:latin typeface="+mj-lt"/>
                  </a:endParaRPr>
                </a:p>
              </p:txBody>
            </p:sp>
            <p:sp>
              <p:nvSpPr>
                <p:cNvPr id="330" name="Freihandform 649">
                  <a:extLst>
                    <a:ext uri="{FF2B5EF4-FFF2-40B4-BE49-F238E27FC236}">
                      <a16:creationId xmlns:a16="http://schemas.microsoft.com/office/drawing/2014/main" id="{E2F56728-76B9-4156-B130-F516A3C25FE1}"/>
                    </a:ext>
                  </a:extLst>
                </p:cNvPr>
                <p:cNvSpPr/>
                <p:nvPr/>
              </p:nvSpPr>
              <p:spPr bwMode="gray">
                <a:xfrm>
                  <a:off x="7027311" y="3611670"/>
                  <a:ext cx="478901" cy="147113"/>
                </a:xfrm>
                <a:custGeom>
                  <a:avLst/>
                  <a:gdLst>
                    <a:gd name="connsiteX0" fmla="*/ 0 w 403225"/>
                    <a:gd name="connsiteY0" fmla="*/ 0 h 123825"/>
                    <a:gd name="connsiteX1" fmla="*/ 279400 w 403225"/>
                    <a:gd name="connsiteY1" fmla="*/ 0 h 123825"/>
                    <a:gd name="connsiteX2" fmla="*/ 403225 w 403225"/>
                    <a:gd name="connsiteY2" fmla="*/ 123825 h 1238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03225" h="123825">
                      <a:moveTo>
                        <a:pt x="0" y="0"/>
                      </a:moveTo>
                      <a:lnTo>
                        <a:pt x="279400" y="0"/>
                      </a:lnTo>
                      <a:lnTo>
                        <a:pt x="403225" y="123825"/>
                      </a:lnTo>
                    </a:path>
                  </a:pathLst>
                </a:custGeom>
                <a:noFill/>
                <a:ln w="12700">
                  <a:solidFill>
                    <a:srgbClr val="50BED7"/>
                  </a:solidFill>
                </a:ln>
                <a:effec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200" b="1" dirty="0">
                    <a:latin typeface="+mj-lt"/>
                  </a:endParaRPr>
                </a:p>
              </p:txBody>
            </p:sp>
          </p:grpSp>
          <p:sp>
            <p:nvSpPr>
              <p:cNvPr id="66" name="Ellipse 385">
                <a:extLst>
                  <a:ext uri="{FF2B5EF4-FFF2-40B4-BE49-F238E27FC236}">
                    <a16:creationId xmlns:a16="http://schemas.microsoft.com/office/drawing/2014/main" id="{DDF00797-9A70-4AA2-B64C-7349819F22C4}"/>
                  </a:ext>
                </a:extLst>
              </p:cNvPr>
              <p:cNvSpPr/>
              <p:nvPr/>
            </p:nvSpPr>
            <p:spPr bwMode="gray">
              <a:xfrm flipV="1">
                <a:off x="7168935" y="4542262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67" name="Ellipse 386">
                <a:extLst>
                  <a:ext uri="{FF2B5EF4-FFF2-40B4-BE49-F238E27FC236}">
                    <a16:creationId xmlns:a16="http://schemas.microsoft.com/office/drawing/2014/main" id="{0B1E3B8B-74D9-4E44-9B92-36CC8264AC76}"/>
                  </a:ext>
                </a:extLst>
              </p:cNvPr>
              <p:cNvSpPr/>
              <p:nvPr/>
            </p:nvSpPr>
            <p:spPr bwMode="gray">
              <a:xfrm flipV="1">
                <a:off x="7008659" y="4542262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68" name="Ellipse 387">
                <a:extLst>
                  <a:ext uri="{FF2B5EF4-FFF2-40B4-BE49-F238E27FC236}">
                    <a16:creationId xmlns:a16="http://schemas.microsoft.com/office/drawing/2014/main" id="{686D3A8E-470A-41D0-A141-33197568761B}"/>
                  </a:ext>
                </a:extLst>
              </p:cNvPr>
              <p:cNvSpPr/>
              <p:nvPr/>
            </p:nvSpPr>
            <p:spPr bwMode="gray">
              <a:xfrm flipV="1">
                <a:off x="6212416" y="4542262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69" name="Ellipse 388">
                <a:extLst>
                  <a:ext uri="{FF2B5EF4-FFF2-40B4-BE49-F238E27FC236}">
                    <a16:creationId xmlns:a16="http://schemas.microsoft.com/office/drawing/2014/main" id="{49A684D5-2973-47D7-B888-2E1C45634160}"/>
                  </a:ext>
                </a:extLst>
              </p:cNvPr>
              <p:cNvSpPr/>
              <p:nvPr/>
            </p:nvSpPr>
            <p:spPr bwMode="gray">
              <a:xfrm flipV="1">
                <a:off x="6060007" y="4542262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70" name="Ellipse 389">
                <a:extLst>
                  <a:ext uri="{FF2B5EF4-FFF2-40B4-BE49-F238E27FC236}">
                    <a16:creationId xmlns:a16="http://schemas.microsoft.com/office/drawing/2014/main" id="{F4FED86A-9C21-4F1E-A11D-8D508C06DDEF}"/>
                  </a:ext>
                </a:extLst>
              </p:cNvPr>
              <p:cNvSpPr/>
              <p:nvPr/>
            </p:nvSpPr>
            <p:spPr bwMode="gray">
              <a:xfrm flipV="1">
                <a:off x="9869536" y="4542262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71" name="Ellipse 390">
                <a:extLst>
                  <a:ext uri="{FF2B5EF4-FFF2-40B4-BE49-F238E27FC236}">
                    <a16:creationId xmlns:a16="http://schemas.microsoft.com/office/drawing/2014/main" id="{1CF3799E-1D44-42B1-ABCB-B3E460EB0FC5}"/>
                  </a:ext>
                </a:extLst>
              </p:cNvPr>
              <p:cNvSpPr/>
              <p:nvPr/>
            </p:nvSpPr>
            <p:spPr bwMode="gray">
              <a:xfrm flipV="1">
                <a:off x="10506048" y="438557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72" name="Ellipse 391">
                <a:extLst>
                  <a:ext uri="{FF2B5EF4-FFF2-40B4-BE49-F238E27FC236}">
                    <a16:creationId xmlns:a16="http://schemas.microsoft.com/office/drawing/2014/main" id="{82389C9B-945B-4712-A8C5-EB5B4836E611}"/>
                  </a:ext>
                </a:extLst>
              </p:cNvPr>
              <p:cNvSpPr/>
              <p:nvPr/>
            </p:nvSpPr>
            <p:spPr bwMode="gray">
              <a:xfrm flipV="1">
                <a:off x="10506048" y="3909499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73" name="Ellipse 392">
                <a:extLst>
                  <a:ext uri="{FF2B5EF4-FFF2-40B4-BE49-F238E27FC236}">
                    <a16:creationId xmlns:a16="http://schemas.microsoft.com/office/drawing/2014/main" id="{1527C167-24E1-4B0B-8403-54D28F64D3A2}"/>
                  </a:ext>
                </a:extLst>
              </p:cNvPr>
              <p:cNvSpPr/>
              <p:nvPr/>
            </p:nvSpPr>
            <p:spPr bwMode="gray">
              <a:xfrm flipV="1">
                <a:off x="10506048" y="343083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74" name="Ellipse 393">
                <a:extLst>
                  <a:ext uri="{FF2B5EF4-FFF2-40B4-BE49-F238E27FC236}">
                    <a16:creationId xmlns:a16="http://schemas.microsoft.com/office/drawing/2014/main" id="{57B87FF4-B83D-4F55-9A4B-5FFEA59CCA33}"/>
                  </a:ext>
                </a:extLst>
              </p:cNvPr>
              <p:cNvSpPr/>
              <p:nvPr/>
            </p:nvSpPr>
            <p:spPr bwMode="gray">
              <a:xfrm flipV="1">
                <a:off x="10506048" y="311081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75" name="Ellipse 394">
                <a:extLst>
                  <a:ext uri="{FF2B5EF4-FFF2-40B4-BE49-F238E27FC236}">
                    <a16:creationId xmlns:a16="http://schemas.microsoft.com/office/drawing/2014/main" id="{001F98E4-4BB5-4C77-A2C0-2A1D6307130F}"/>
                  </a:ext>
                </a:extLst>
              </p:cNvPr>
              <p:cNvSpPr/>
              <p:nvPr/>
            </p:nvSpPr>
            <p:spPr bwMode="gray">
              <a:xfrm flipV="1">
                <a:off x="10664375" y="438557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76" name="Ellipse 395">
                <a:extLst>
                  <a:ext uri="{FF2B5EF4-FFF2-40B4-BE49-F238E27FC236}">
                    <a16:creationId xmlns:a16="http://schemas.microsoft.com/office/drawing/2014/main" id="{9668F4CC-18D7-4201-A75B-0E47C7B58C03}"/>
                  </a:ext>
                </a:extLst>
              </p:cNvPr>
              <p:cNvSpPr/>
              <p:nvPr/>
            </p:nvSpPr>
            <p:spPr bwMode="gray">
              <a:xfrm flipV="1">
                <a:off x="10819865" y="438557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77" name="Ellipse 396">
                <a:extLst>
                  <a:ext uri="{FF2B5EF4-FFF2-40B4-BE49-F238E27FC236}">
                    <a16:creationId xmlns:a16="http://schemas.microsoft.com/office/drawing/2014/main" id="{383588FD-DF88-41C5-AB81-2F4F61925362}"/>
                  </a:ext>
                </a:extLst>
              </p:cNvPr>
              <p:cNvSpPr/>
              <p:nvPr/>
            </p:nvSpPr>
            <p:spPr bwMode="gray">
              <a:xfrm flipV="1">
                <a:off x="10664375" y="406825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78" name="Ellipse 397">
                <a:extLst>
                  <a:ext uri="{FF2B5EF4-FFF2-40B4-BE49-F238E27FC236}">
                    <a16:creationId xmlns:a16="http://schemas.microsoft.com/office/drawing/2014/main" id="{525FD1CB-9F1F-4258-88C0-462ADA18DB94}"/>
                  </a:ext>
                </a:extLst>
              </p:cNvPr>
              <p:cNvSpPr/>
              <p:nvPr/>
            </p:nvSpPr>
            <p:spPr bwMode="gray">
              <a:xfrm flipV="1">
                <a:off x="10819865" y="422652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79" name="Ellipse 398">
                <a:extLst>
                  <a:ext uri="{FF2B5EF4-FFF2-40B4-BE49-F238E27FC236}">
                    <a16:creationId xmlns:a16="http://schemas.microsoft.com/office/drawing/2014/main" id="{7E2B9A7D-3646-4B98-9C1B-AA7DE9B9AE90}"/>
                  </a:ext>
                </a:extLst>
              </p:cNvPr>
              <p:cNvSpPr/>
              <p:nvPr/>
            </p:nvSpPr>
            <p:spPr bwMode="gray">
              <a:xfrm flipV="1">
                <a:off x="10819865" y="406825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80" name="Ellipse 399">
                <a:extLst>
                  <a:ext uri="{FF2B5EF4-FFF2-40B4-BE49-F238E27FC236}">
                    <a16:creationId xmlns:a16="http://schemas.microsoft.com/office/drawing/2014/main" id="{FD612CE6-B371-45A4-82EC-59A37BEC8C86}"/>
                  </a:ext>
                </a:extLst>
              </p:cNvPr>
              <p:cNvSpPr/>
              <p:nvPr/>
            </p:nvSpPr>
            <p:spPr bwMode="gray">
              <a:xfrm flipV="1">
                <a:off x="10348724" y="422652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81" name="Ellipse 400">
                <a:extLst>
                  <a:ext uri="{FF2B5EF4-FFF2-40B4-BE49-F238E27FC236}">
                    <a16:creationId xmlns:a16="http://schemas.microsoft.com/office/drawing/2014/main" id="{6ED45D7A-DA69-473C-BDBC-BC94FD79D8C5}"/>
                  </a:ext>
                </a:extLst>
              </p:cNvPr>
              <p:cNvSpPr/>
              <p:nvPr/>
            </p:nvSpPr>
            <p:spPr bwMode="gray">
              <a:xfrm flipV="1">
                <a:off x="10348724" y="406825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82" name="Ellipse 401">
                <a:extLst>
                  <a:ext uri="{FF2B5EF4-FFF2-40B4-BE49-F238E27FC236}">
                    <a16:creationId xmlns:a16="http://schemas.microsoft.com/office/drawing/2014/main" id="{C4E31A94-746B-4E89-ADEC-42EDAEDC0F73}"/>
                  </a:ext>
                </a:extLst>
              </p:cNvPr>
              <p:cNvSpPr/>
              <p:nvPr/>
            </p:nvSpPr>
            <p:spPr bwMode="gray">
              <a:xfrm flipV="1">
                <a:off x="10348724" y="3909499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83" name="Ellipse 402">
                <a:extLst>
                  <a:ext uri="{FF2B5EF4-FFF2-40B4-BE49-F238E27FC236}">
                    <a16:creationId xmlns:a16="http://schemas.microsoft.com/office/drawing/2014/main" id="{AD692101-1669-49A1-9F07-E60A9F14B068}"/>
                  </a:ext>
                </a:extLst>
              </p:cNvPr>
              <p:cNvSpPr/>
              <p:nvPr/>
            </p:nvSpPr>
            <p:spPr bwMode="gray">
              <a:xfrm flipV="1">
                <a:off x="11297443" y="406825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84" name="Ellipse 403">
                <a:extLst>
                  <a:ext uri="{FF2B5EF4-FFF2-40B4-BE49-F238E27FC236}">
                    <a16:creationId xmlns:a16="http://schemas.microsoft.com/office/drawing/2014/main" id="{A5CB3790-2F28-476F-9CF6-2AEA7215DF82}"/>
                  </a:ext>
                </a:extLst>
              </p:cNvPr>
              <p:cNvSpPr/>
              <p:nvPr/>
            </p:nvSpPr>
            <p:spPr bwMode="gray">
              <a:xfrm flipV="1">
                <a:off x="11297443" y="3909499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85" name="Ellipse 404">
                <a:extLst>
                  <a:ext uri="{FF2B5EF4-FFF2-40B4-BE49-F238E27FC236}">
                    <a16:creationId xmlns:a16="http://schemas.microsoft.com/office/drawing/2014/main" id="{BB525634-2391-4EEB-BDF6-B056142F6499}"/>
                  </a:ext>
                </a:extLst>
              </p:cNvPr>
              <p:cNvSpPr/>
              <p:nvPr/>
            </p:nvSpPr>
            <p:spPr bwMode="gray">
              <a:xfrm flipV="1">
                <a:off x="11145346" y="3909499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86" name="Ellipse 405">
                <a:extLst>
                  <a:ext uri="{FF2B5EF4-FFF2-40B4-BE49-F238E27FC236}">
                    <a16:creationId xmlns:a16="http://schemas.microsoft.com/office/drawing/2014/main" id="{BAF6A91B-32F2-4205-B2EC-54D58E0C83DB}"/>
                  </a:ext>
                </a:extLst>
              </p:cNvPr>
              <p:cNvSpPr/>
              <p:nvPr/>
            </p:nvSpPr>
            <p:spPr bwMode="gray">
              <a:xfrm flipV="1">
                <a:off x="11297443" y="359144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87" name="Ellipse 406">
                <a:extLst>
                  <a:ext uri="{FF2B5EF4-FFF2-40B4-BE49-F238E27FC236}">
                    <a16:creationId xmlns:a16="http://schemas.microsoft.com/office/drawing/2014/main" id="{B032ACDA-241D-43BE-8AEC-0CBA31B96A51}"/>
                  </a:ext>
                </a:extLst>
              </p:cNvPr>
              <p:cNvSpPr/>
              <p:nvPr/>
            </p:nvSpPr>
            <p:spPr bwMode="gray">
              <a:xfrm flipV="1">
                <a:off x="11297443" y="343083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88" name="Ellipse 407">
                <a:extLst>
                  <a:ext uri="{FF2B5EF4-FFF2-40B4-BE49-F238E27FC236}">
                    <a16:creationId xmlns:a16="http://schemas.microsoft.com/office/drawing/2014/main" id="{F0653ACA-68A8-4473-AC45-805FA864FFFB}"/>
                  </a:ext>
                </a:extLst>
              </p:cNvPr>
              <p:cNvSpPr/>
              <p:nvPr/>
            </p:nvSpPr>
            <p:spPr bwMode="gray">
              <a:xfrm flipV="1">
                <a:off x="11297443" y="3268839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89" name="Ellipse 408">
                <a:extLst>
                  <a:ext uri="{FF2B5EF4-FFF2-40B4-BE49-F238E27FC236}">
                    <a16:creationId xmlns:a16="http://schemas.microsoft.com/office/drawing/2014/main" id="{94066A99-0E25-4667-BFC3-561F34927016}"/>
                  </a:ext>
                </a:extLst>
              </p:cNvPr>
              <p:cNvSpPr/>
              <p:nvPr/>
            </p:nvSpPr>
            <p:spPr bwMode="gray">
              <a:xfrm flipV="1">
                <a:off x="10033949" y="311081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90" name="Ellipse 409">
                <a:extLst>
                  <a:ext uri="{FF2B5EF4-FFF2-40B4-BE49-F238E27FC236}">
                    <a16:creationId xmlns:a16="http://schemas.microsoft.com/office/drawing/2014/main" id="{62852814-549D-4CBE-B9E1-2DCEAD561E4B}"/>
                  </a:ext>
                </a:extLst>
              </p:cNvPr>
              <p:cNvSpPr/>
              <p:nvPr/>
            </p:nvSpPr>
            <p:spPr bwMode="gray">
              <a:xfrm flipV="1">
                <a:off x="9869536" y="311081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91" name="Ellipse 410">
                <a:extLst>
                  <a:ext uri="{FF2B5EF4-FFF2-40B4-BE49-F238E27FC236}">
                    <a16:creationId xmlns:a16="http://schemas.microsoft.com/office/drawing/2014/main" id="{151808CC-A6D6-47E7-91B5-6F6AD59CE3F4}"/>
                  </a:ext>
                </a:extLst>
              </p:cNvPr>
              <p:cNvSpPr/>
              <p:nvPr/>
            </p:nvSpPr>
            <p:spPr bwMode="gray">
              <a:xfrm flipV="1">
                <a:off x="9710290" y="311081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92" name="Ellipse 411">
                <a:extLst>
                  <a:ext uri="{FF2B5EF4-FFF2-40B4-BE49-F238E27FC236}">
                    <a16:creationId xmlns:a16="http://schemas.microsoft.com/office/drawing/2014/main" id="{50FCF8E5-9CBF-4EDE-8C14-3DC2ACB4612D}"/>
                  </a:ext>
                </a:extLst>
              </p:cNvPr>
              <p:cNvSpPr/>
              <p:nvPr/>
            </p:nvSpPr>
            <p:spPr bwMode="gray">
              <a:xfrm flipV="1">
                <a:off x="11145346" y="3268839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93" name="Ellipse 412">
                <a:extLst>
                  <a:ext uri="{FF2B5EF4-FFF2-40B4-BE49-F238E27FC236}">
                    <a16:creationId xmlns:a16="http://schemas.microsoft.com/office/drawing/2014/main" id="{FB3E1346-302E-44BB-AC5C-DC14CA626711}"/>
                  </a:ext>
                </a:extLst>
              </p:cNvPr>
              <p:cNvSpPr/>
              <p:nvPr/>
            </p:nvSpPr>
            <p:spPr bwMode="gray">
              <a:xfrm flipV="1">
                <a:off x="11145346" y="343083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94" name="Ellipse 413">
                <a:extLst>
                  <a:ext uri="{FF2B5EF4-FFF2-40B4-BE49-F238E27FC236}">
                    <a16:creationId xmlns:a16="http://schemas.microsoft.com/office/drawing/2014/main" id="{99D716A4-0192-4E91-81C9-E5D0DBFD9561}"/>
                  </a:ext>
                </a:extLst>
              </p:cNvPr>
              <p:cNvSpPr/>
              <p:nvPr/>
            </p:nvSpPr>
            <p:spPr bwMode="gray">
              <a:xfrm flipV="1">
                <a:off x="10819865" y="343083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95" name="Ellipse 414">
                <a:extLst>
                  <a:ext uri="{FF2B5EF4-FFF2-40B4-BE49-F238E27FC236}">
                    <a16:creationId xmlns:a16="http://schemas.microsoft.com/office/drawing/2014/main" id="{F933EC60-E67E-4F57-8454-74E9F15E1311}"/>
                  </a:ext>
                </a:extLst>
              </p:cNvPr>
              <p:cNvSpPr/>
              <p:nvPr/>
            </p:nvSpPr>
            <p:spPr bwMode="gray">
              <a:xfrm flipV="1">
                <a:off x="10983149" y="3909499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96" name="Ellipse 415">
                <a:extLst>
                  <a:ext uri="{FF2B5EF4-FFF2-40B4-BE49-F238E27FC236}">
                    <a16:creationId xmlns:a16="http://schemas.microsoft.com/office/drawing/2014/main" id="{FDF7DB55-65F6-4289-8B81-2DB9148C4D2A}"/>
                  </a:ext>
                </a:extLst>
              </p:cNvPr>
              <p:cNvSpPr/>
              <p:nvPr/>
            </p:nvSpPr>
            <p:spPr bwMode="gray">
              <a:xfrm flipV="1">
                <a:off x="10983149" y="3749327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97" name="Ellipse 416">
                <a:extLst>
                  <a:ext uri="{FF2B5EF4-FFF2-40B4-BE49-F238E27FC236}">
                    <a16:creationId xmlns:a16="http://schemas.microsoft.com/office/drawing/2014/main" id="{7246563B-B179-428A-9163-8183DA31DE89}"/>
                  </a:ext>
                </a:extLst>
              </p:cNvPr>
              <p:cNvSpPr/>
              <p:nvPr/>
            </p:nvSpPr>
            <p:spPr bwMode="gray">
              <a:xfrm flipV="1">
                <a:off x="10983149" y="311081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98" name="Ellipse 417">
                <a:extLst>
                  <a:ext uri="{FF2B5EF4-FFF2-40B4-BE49-F238E27FC236}">
                    <a16:creationId xmlns:a16="http://schemas.microsoft.com/office/drawing/2014/main" id="{EF46FFF3-9BD1-433B-AF7B-4615C40CD39D}"/>
                  </a:ext>
                </a:extLst>
              </p:cNvPr>
              <p:cNvSpPr/>
              <p:nvPr/>
            </p:nvSpPr>
            <p:spPr bwMode="gray">
              <a:xfrm flipV="1">
                <a:off x="9869536" y="3268839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99" name="Ellipse 418">
                <a:extLst>
                  <a:ext uri="{FF2B5EF4-FFF2-40B4-BE49-F238E27FC236}">
                    <a16:creationId xmlns:a16="http://schemas.microsoft.com/office/drawing/2014/main" id="{47932BB9-C887-4025-8599-05C6181A8C2E}"/>
                  </a:ext>
                </a:extLst>
              </p:cNvPr>
              <p:cNvSpPr/>
              <p:nvPr/>
            </p:nvSpPr>
            <p:spPr bwMode="gray">
              <a:xfrm flipV="1">
                <a:off x="10033949" y="3268839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00" name="Ellipse 419">
                <a:extLst>
                  <a:ext uri="{FF2B5EF4-FFF2-40B4-BE49-F238E27FC236}">
                    <a16:creationId xmlns:a16="http://schemas.microsoft.com/office/drawing/2014/main" id="{CEFD1615-1A11-487D-B6D2-515C274CFE62}"/>
                  </a:ext>
                </a:extLst>
              </p:cNvPr>
              <p:cNvSpPr/>
              <p:nvPr/>
            </p:nvSpPr>
            <p:spPr bwMode="gray">
              <a:xfrm flipV="1">
                <a:off x="10183269" y="3268839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01" name="Ellipse 420">
                <a:extLst>
                  <a:ext uri="{FF2B5EF4-FFF2-40B4-BE49-F238E27FC236}">
                    <a16:creationId xmlns:a16="http://schemas.microsoft.com/office/drawing/2014/main" id="{5D472ACE-305F-4B2F-B051-6F91FE34C68E}"/>
                  </a:ext>
                </a:extLst>
              </p:cNvPr>
              <p:cNvSpPr/>
              <p:nvPr/>
            </p:nvSpPr>
            <p:spPr bwMode="gray">
              <a:xfrm flipV="1">
                <a:off x="10183269" y="343083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02" name="Ellipse 421">
                <a:extLst>
                  <a:ext uri="{FF2B5EF4-FFF2-40B4-BE49-F238E27FC236}">
                    <a16:creationId xmlns:a16="http://schemas.microsoft.com/office/drawing/2014/main" id="{4480FCA5-CD44-4C71-B987-7A302E78D637}"/>
                  </a:ext>
                </a:extLst>
              </p:cNvPr>
              <p:cNvSpPr/>
              <p:nvPr/>
            </p:nvSpPr>
            <p:spPr bwMode="gray">
              <a:xfrm flipV="1">
                <a:off x="10183269" y="359144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03" name="Ellipse 422">
                <a:extLst>
                  <a:ext uri="{FF2B5EF4-FFF2-40B4-BE49-F238E27FC236}">
                    <a16:creationId xmlns:a16="http://schemas.microsoft.com/office/drawing/2014/main" id="{C62007DD-DE15-4851-8CE7-21CAAA4B301C}"/>
                  </a:ext>
                </a:extLst>
              </p:cNvPr>
              <p:cNvSpPr/>
              <p:nvPr/>
            </p:nvSpPr>
            <p:spPr bwMode="gray">
              <a:xfrm flipV="1">
                <a:off x="10183269" y="406825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04" name="Ellipse 423">
                <a:extLst>
                  <a:ext uri="{FF2B5EF4-FFF2-40B4-BE49-F238E27FC236}">
                    <a16:creationId xmlns:a16="http://schemas.microsoft.com/office/drawing/2014/main" id="{7623BFF2-8D8D-4B6C-9FEB-A72E2326717A}"/>
                  </a:ext>
                </a:extLst>
              </p:cNvPr>
              <p:cNvSpPr/>
              <p:nvPr/>
            </p:nvSpPr>
            <p:spPr bwMode="gray">
              <a:xfrm flipV="1">
                <a:off x="9869536" y="438557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05" name="Ellipse 424">
                <a:extLst>
                  <a:ext uri="{FF2B5EF4-FFF2-40B4-BE49-F238E27FC236}">
                    <a16:creationId xmlns:a16="http://schemas.microsoft.com/office/drawing/2014/main" id="{A2CA8CB4-3F15-468B-A276-A57DFD2FDFA0}"/>
                  </a:ext>
                </a:extLst>
              </p:cNvPr>
              <p:cNvSpPr/>
              <p:nvPr/>
            </p:nvSpPr>
            <p:spPr bwMode="gray">
              <a:xfrm flipV="1">
                <a:off x="9869536" y="422652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06" name="Ellipse 425">
                <a:extLst>
                  <a:ext uri="{FF2B5EF4-FFF2-40B4-BE49-F238E27FC236}">
                    <a16:creationId xmlns:a16="http://schemas.microsoft.com/office/drawing/2014/main" id="{2F1B2F38-924E-45C4-AB0F-2BD1D619C3E1}"/>
                  </a:ext>
                </a:extLst>
              </p:cNvPr>
              <p:cNvSpPr/>
              <p:nvPr/>
            </p:nvSpPr>
            <p:spPr bwMode="gray">
              <a:xfrm flipV="1">
                <a:off x="9869536" y="3749327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07" name="Ellipse 426">
                <a:extLst>
                  <a:ext uri="{FF2B5EF4-FFF2-40B4-BE49-F238E27FC236}">
                    <a16:creationId xmlns:a16="http://schemas.microsoft.com/office/drawing/2014/main" id="{3DDCD58C-0680-41F8-903C-D53B06C6F479}"/>
                  </a:ext>
                </a:extLst>
              </p:cNvPr>
              <p:cNvSpPr/>
              <p:nvPr/>
            </p:nvSpPr>
            <p:spPr bwMode="gray">
              <a:xfrm flipV="1">
                <a:off x="9869536" y="343083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08" name="Ellipse 427">
                <a:extLst>
                  <a:ext uri="{FF2B5EF4-FFF2-40B4-BE49-F238E27FC236}">
                    <a16:creationId xmlns:a16="http://schemas.microsoft.com/office/drawing/2014/main" id="{A014BD02-868F-4342-84EC-E1A6B96D609F}"/>
                  </a:ext>
                </a:extLst>
              </p:cNvPr>
              <p:cNvSpPr/>
              <p:nvPr/>
            </p:nvSpPr>
            <p:spPr bwMode="gray">
              <a:xfrm flipV="1">
                <a:off x="9710290" y="406825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09" name="Ellipse 428">
                <a:extLst>
                  <a:ext uri="{FF2B5EF4-FFF2-40B4-BE49-F238E27FC236}">
                    <a16:creationId xmlns:a16="http://schemas.microsoft.com/office/drawing/2014/main" id="{68F65465-864F-4960-BD44-96DFFD50C30D}"/>
                  </a:ext>
                </a:extLst>
              </p:cNvPr>
              <p:cNvSpPr/>
              <p:nvPr/>
            </p:nvSpPr>
            <p:spPr bwMode="gray">
              <a:xfrm flipV="1">
                <a:off x="9710290" y="359144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10" name="Ellipse 429">
                <a:extLst>
                  <a:ext uri="{FF2B5EF4-FFF2-40B4-BE49-F238E27FC236}">
                    <a16:creationId xmlns:a16="http://schemas.microsoft.com/office/drawing/2014/main" id="{1C7BBEBA-97E8-47C2-8F46-A5AC5F027890}"/>
                  </a:ext>
                </a:extLst>
              </p:cNvPr>
              <p:cNvSpPr/>
              <p:nvPr/>
            </p:nvSpPr>
            <p:spPr bwMode="gray">
              <a:xfrm flipV="1">
                <a:off x="9388437" y="438557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11" name="Ellipse 430">
                <a:extLst>
                  <a:ext uri="{FF2B5EF4-FFF2-40B4-BE49-F238E27FC236}">
                    <a16:creationId xmlns:a16="http://schemas.microsoft.com/office/drawing/2014/main" id="{55E9BA67-DAC3-4FBD-8359-30252EC42BD1}"/>
                  </a:ext>
                </a:extLst>
              </p:cNvPr>
              <p:cNvSpPr/>
              <p:nvPr/>
            </p:nvSpPr>
            <p:spPr bwMode="gray">
              <a:xfrm flipV="1">
                <a:off x="9388437" y="422652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12" name="Ellipse 431">
                <a:extLst>
                  <a:ext uri="{FF2B5EF4-FFF2-40B4-BE49-F238E27FC236}">
                    <a16:creationId xmlns:a16="http://schemas.microsoft.com/office/drawing/2014/main" id="{C53CDD48-41A6-4650-9979-E5C912EB68E4}"/>
                  </a:ext>
                </a:extLst>
              </p:cNvPr>
              <p:cNvSpPr/>
              <p:nvPr/>
            </p:nvSpPr>
            <p:spPr bwMode="gray">
              <a:xfrm flipV="1">
                <a:off x="9388437" y="359144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13" name="Ellipse 432">
                <a:extLst>
                  <a:ext uri="{FF2B5EF4-FFF2-40B4-BE49-F238E27FC236}">
                    <a16:creationId xmlns:a16="http://schemas.microsoft.com/office/drawing/2014/main" id="{DA4D2013-B40A-4D22-A3DE-FE65F0C348C5}"/>
                  </a:ext>
                </a:extLst>
              </p:cNvPr>
              <p:cNvSpPr/>
              <p:nvPr/>
            </p:nvSpPr>
            <p:spPr bwMode="gray">
              <a:xfrm flipV="1">
                <a:off x="9388437" y="343083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14" name="Ellipse 433">
                <a:extLst>
                  <a:ext uri="{FF2B5EF4-FFF2-40B4-BE49-F238E27FC236}">
                    <a16:creationId xmlns:a16="http://schemas.microsoft.com/office/drawing/2014/main" id="{6B1CC039-540A-4E40-812B-B01522E0689D}"/>
                  </a:ext>
                </a:extLst>
              </p:cNvPr>
              <p:cNvSpPr/>
              <p:nvPr/>
            </p:nvSpPr>
            <p:spPr bwMode="gray">
              <a:xfrm flipV="1">
                <a:off x="9388437" y="3268839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15" name="Ellipse 434">
                <a:extLst>
                  <a:ext uri="{FF2B5EF4-FFF2-40B4-BE49-F238E27FC236}">
                    <a16:creationId xmlns:a16="http://schemas.microsoft.com/office/drawing/2014/main" id="{378FD296-16FD-4E71-9FF4-ADE721FFF5E9}"/>
                  </a:ext>
                </a:extLst>
              </p:cNvPr>
              <p:cNvSpPr/>
              <p:nvPr/>
            </p:nvSpPr>
            <p:spPr bwMode="gray">
              <a:xfrm flipV="1">
                <a:off x="9388437" y="311081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16" name="Ellipse 435">
                <a:extLst>
                  <a:ext uri="{FF2B5EF4-FFF2-40B4-BE49-F238E27FC236}">
                    <a16:creationId xmlns:a16="http://schemas.microsoft.com/office/drawing/2014/main" id="{8CD7F590-112D-481D-ADD3-2C2F7249D3B5}"/>
                  </a:ext>
                </a:extLst>
              </p:cNvPr>
              <p:cNvSpPr/>
              <p:nvPr/>
            </p:nvSpPr>
            <p:spPr bwMode="gray">
              <a:xfrm flipV="1">
                <a:off x="9550513" y="311081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17" name="Ellipse 436">
                <a:extLst>
                  <a:ext uri="{FF2B5EF4-FFF2-40B4-BE49-F238E27FC236}">
                    <a16:creationId xmlns:a16="http://schemas.microsoft.com/office/drawing/2014/main" id="{9F8D82E9-8C21-496D-8173-F9830969DE3E}"/>
                  </a:ext>
                </a:extLst>
              </p:cNvPr>
              <p:cNvSpPr/>
              <p:nvPr/>
            </p:nvSpPr>
            <p:spPr bwMode="gray">
              <a:xfrm flipV="1">
                <a:off x="9388437" y="2894386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18" name="Ellipse 437">
                <a:extLst>
                  <a:ext uri="{FF2B5EF4-FFF2-40B4-BE49-F238E27FC236}">
                    <a16:creationId xmlns:a16="http://schemas.microsoft.com/office/drawing/2014/main" id="{65125371-7C5A-44A0-A02F-7497B60D4C16}"/>
                  </a:ext>
                </a:extLst>
              </p:cNvPr>
              <p:cNvSpPr/>
              <p:nvPr/>
            </p:nvSpPr>
            <p:spPr bwMode="gray">
              <a:xfrm flipV="1">
                <a:off x="9232888" y="311081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19" name="Ellipse 438">
                <a:extLst>
                  <a:ext uri="{FF2B5EF4-FFF2-40B4-BE49-F238E27FC236}">
                    <a16:creationId xmlns:a16="http://schemas.microsoft.com/office/drawing/2014/main" id="{773309DC-7BC5-40E0-B087-10755F45A32C}"/>
                  </a:ext>
                </a:extLst>
              </p:cNvPr>
              <p:cNvSpPr/>
              <p:nvPr/>
            </p:nvSpPr>
            <p:spPr bwMode="gray">
              <a:xfrm flipV="1">
                <a:off x="9232888" y="422652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20" name="Ellipse 439">
                <a:extLst>
                  <a:ext uri="{FF2B5EF4-FFF2-40B4-BE49-F238E27FC236}">
                    <a16:creationId xmlns:a16="http://schemas.microsoft.com/office/drawing/2014/main" id="{3F5244BE-F687-4F07-97B8-7955B750F8E4}"/>
                  </a:ext>
                </a:extLst>
              </p:cNvPr>
              <p:cNvSpPr/>
              <p:nvPr/>
            </p:nvSpPr>
            <p:spPr bwMode="gray">
              <a:xfrm flipV="1">
                <a:off x="9071683" y="438557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21" name="Ellipse 440">
                <a:extLst>
                  <a:ext uri="{FF2B5EF4-FFF2-40B4-BE49-F238E27FC236}">
                    <a16:creationId xmlns:a16="http://schemas.microsoft.com/office/drawing/2014/main" id="{D9A98C0E-5FDD-4BA4-BDB7-F3072529CFAA}"/>
                  </a:ext>
                </a:extLst>
              </p:cNvPr>
              <p:cNvSpPr/>
              <p:nvPr/>
            </p:nvSpPr>
            <p:spPr bwMode="gray">
              <a:xfrm flipV="1">
                <a:off x="9071683" y="343083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22" name="Ellipse 441">
                <a:extLst>
                  <a:ext uri="{FF2B5EF4-FFF2-40B4-BE49-F238E27FC236}">
                    <a16:creationId xmlns:a16="http://schemas.microsoft.com/office/drawing/2014/main" id="{093A342D-2B2A-40F5-BBFC-F6A868478E28}"/>
                  </a:ext>
                </a:extLst>
              </p:cNvPr>
              <p:cNvSpPr/>
              <p:nvPr/>
            </p:nvSpPr>
            <p:spPr bwMode="gray">
              <a:xfrm flipV="1">
                <a:off x="9071683" y="3268839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23" name="Ellipse 442">
                <a:extLst>
                  <a:ext uri="{FF2B5EF4-FFF2-40B4-BE49-F238E27FC236}">
                    <a16:creationId xmlns:a16="http://schemas.microsoft.com/office/drawing/2014/main" id="{36EB65F3-5075-4973-A8D2-85D591ABC61D}"/>
                  </a:ext>
                </a:extLst>
              </p:cNvPr>
              <p:cNvSpPr/>
              <p:nvPr/>
            </p:nvSpPr>
            <p:spPr bwMode="gray">
              <a:xfrm flipV="1">
                <a:off x="9071683" y="422652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24" name="Ellipse 443">
                <a:extLst>
                  <a:ext uri="{FF2B5EF4-FFF2-40B4-BE49-F238E27FC236}">
                    <a16:creationId xmlns:a16="http://schemas.microsoft.com/office/drawing/2014/main" id="{390DD5D1-838F-4A0A-91D8-8E769BDE9907}"/>
                  </a:ext>
                </a:extLst>
              </p:cNvPr>
              <p:cNvSpPr/>
              <p:nvPr/>
            </p:nvSpPr>
            <p:spPr bwMode="gray">
              <a:xfrm flipV="1">
                <a:off x="8916090" y="422652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25" name="Ellipse 444">
                <a:extLst>
                  <a:ext uri="{FF2B5EF4-FFF2-40B4-BE49-F238E27FC236}">
                    <a16:creationId xmlns:a16="http://schemas.microsoft.com/office/drawing/2014/main" id="{8CD013CA-106B-483A-B3CB-C9048034BB35}"/>
                  </a:ext>
                </a:extLst>
              </p:cNvPr>
              <p:cNvSpPr/>
              <p:nvPr/>
            </p:nvSpPr>
            <p:spPr bwMode="gray">
              <a:xfrm flipV="1">
                <a:off x="8750809" y="422652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26" name="Ellipse 445">
                <a:extLst>
                  <a:ext uri="{FF2B5EF4-FFF2-40B4-BE49-F238E27FC236}">
                    <a16:creationId xmlns:a16="http://schemas.microsoft.com/office/drawing/2014/main" id="{FD358AD5-4FE9-409B-97FF-1492216EE2A7}"/>
                  </a:ext>
                </a:extLst>
              </p:cNvPr>
              <p:cNvSpPr/>
              <p:nvPr/>
            </p:nvSpPr>
            <p:spPr bwMode="gray">
              <a:xfrm flipV="1">
                <a:off x="8440732" y="406825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27" name="Ellipse 446">
                <a:extLst>
                  <a:ext uri="{FF2B5EF4-FFF2-40B4-BE49-F238E27FC236}">
                    <a16:creationId xmlns:a16="http://schemas.microsoft.com/office/drawing/2014/main" id="{C29A7BC5-6BF2-4B26-9AF1-0FD3933B1610}"/>
                  </a:ext>
                </a:extLst>
              </p:cNvPr>
              <p:cNvSpPr/>
              <p:nvPr/>
            </p:nvSpPr>
            <p:spPr bwMode="gray">
              <a:xfrm flipV="1">
                <a:off x="8278932" y="422652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28" name="Ellipse 447">
                <a:extLst>
                  <a:ext uri="{FF2B5EF4-FFF2-40B4-BE49-F238E27FC236}">
                    <a16:creationId xmlns:a16="http://schemas.microsoft.com/office/drawing/2014/main" id="{89E839B5-ED9A-492B-B54E-87280281A29D}"/>
                  </a:ext>
                </a:extLst>
              </p:cNvPr>
              <p:cNvSpPr/>
              <p:nvPr/>
            </p:nvSpPr>
            <p:spPr bwMode="gray">
              <a:xfrm flipV="1">
                <a:off x="8128417" y="438557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29" name="Ellipse 448">
                <a:extLst>
                  <a:ext uri="{FF2B5EF4-FFF2-40B4-BE49-F238E27FC236}">
                    <a16:creationId xmlns:a16="http://schemas.microsoft.com/office/drawing/2014/main" id="{DD74D843-7145-4C27-B83D-E87668F385DF}"/>
                  </a:ext>
                </a:extLst>
              </p:cNvPr>
              <p:cNvSpPr/>
              <p:nvPr/>
            </p:nvSpPr>
            <p:spPr bwMode="gray">
              <a:xfrm flipV="1">
                <a:off x="7803804" y="343083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30" name="Ellipse 449">
                <a:extLst>
                  <a:ext uri="{FF2B5EF4-FFF2-40B4-BE49-F238E27FC236}">
                    <a16:creationId xmlns:a16="http://schemas.microsoft.com/office/drawing/2014/main" id="{8A05A614-2872-4547-8845-468DA395A14B}"/>
                  </a:ext>
                </a:extLst>
              </p:cNvPr>
              <p:cNvSpPr/>
              <p:nvPr/>
            </p:nvSpPr>
            <p:spPr bwMode="gray">
              <a:xfrm flipV="1">
                <a:off x="7803804" y="3268839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31" name="Ellipse 450">
                <a:extLst>
                  <a:ext uri="{FF2B5EF4-FFF2-40B4-BE49-F238E27FC236}">
                    <a16:creationId xmlns:a16="http://schemas.microsoft.com/office/drawing/2014/main" id="{58AA9362-052A-4E12-8C8D-69CA269018D9}"/>
                  </a:ext>
                </a:extLst>
              </p:cNvPr>
              <p:cNvSpPr/>
              <p:nvPr/>
            </p:nvSpPr>
            <p:spPr bwMode="gray">
              <a:xfrm flipV="1">
                <a:off x="7803804" y="311081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32" name="Ellipse 451">
                <a:extLst>
                  <a:ext uri="{FF2B5EF4-FFF2-40B4-BE49-F238E27FC236}">
                    <a16:creationId xmlns:a16="http://schemas.microsoft.com/office/drawing/2014/main" id="{9F6CA6BA-DC41-4213-9A16-103CCD080BD8}"/>
                  </a:ext>
                </a:extLst>
              </p:cNvPr>
              <p:cNvSpPr/>
              <p:nvPr/>
            </p:nvSpPr>
            <p:spPr bwMode="gray">
              <a:xfrm flipV="1">
                <a:off x="7641618" y="311081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33" name="Ellipse 452">
                <a:extLst>
                  <a:ext uri="{FF2B5EF4-FFF2-40B4-BE49-F238E27FC236}">
                    <a16:creationId xmlns:a16="http://schemas.microsoft.com/office/drawing/2014/main" id="{917D38C6-F766-4E96-B5B9-3D0BFF105EA8}"/>
                  </a:ext>
                </a:extLst>
              </p:cNvPr>
              <p:cNvSpPr/>
              <p:nvPr/>
            </p:nvSpPr>
            <p:spPr bwMode="gray">
              <a:xfrm flipV="1">
                <a:off x="7641618" y="2894386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34" name="Ellipse 453">
                <a:extLst>
                  <a:ext uri="{FF2B5EF4-FFF2-40B4-BE49-F238E27FC236}">
                    <a16:creationId xmlns:a16="http://schemas.microsoft.com/office/drawing/2014/main" id="{F22CE484-EC97-4152-8C19-99B647063DB2}"/>
                  </a:ext>
                </a:extLst>
              </p:cNvPr>
              <p:cNvSpPr/>
              <p:nvPr/>
            </p:nvSpPr>
            <p:spPr bwMode="gray">
              <a:xfrm flipV="1">
                <a:off x="7488886" y="311081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35" name="Ellipse 454">
                <a:extLst>
                  <a:ext uri="{FF2B5EF4-FFF2-40B4-BE49-F238E27FC236}">
                    <a16:creationId xmlns:a16="http://schemas.microsoft.com/office/drawing/2014/main" id="{D6394E86-9AD4-4370-BFC9-6815C9F37BBD}"/>
                  </a:ext>
                </a:extLst>
              </p:cNvPr>
              <p:cNvSpPr/>
              <p:nvPr/>
            </p:nvSpPr>
            <p:spPr bwMode="gray">
              <a:xfrm flipV="1">
                <a:off x="7488886" y="2894386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36" name="Ellipse 455">
                <a:extLst>
                  <a:ext uri="{FF2B5EF4-FFF2-40B4-BE49-F238E27FC236}">
                    <a16:creationId xmlns:a16="http://schemas.microsoft.com/office/drawing/2014/main" id="{7EB3E55E-1469-4B41-AD74-FBC411F41E48}"/>
                  </a:ext>
                </a:extLst>
              </p:cNvPr>
              <p:cNvSpPr/>
              <p:nvPr/>
            </p:nvSpPr>
            <p:spPr bwMode="gray">
              <a:xfrm flipV="1">
                <a:off x="7488886" y="343083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37" name="Ellipse 456">
                <a:extLst>
                  <a:ext uri="{FF2B5EF4-FFF2-40B4-BE49-F238E27FC236}">
                    <a16:creationId xmlns:a16="http://schemas.microsoft.com/office/drawing/2014/main" id="{4B3B8232-6864-4BC2-B052-E39B7B9174A9}"/>
                  </a:ext>
                </a:extLst>
              </p:cNvPr>
              <p:cNvSpPr/>
              <p:nvPr/>
            </p:nvSpPr>
            <p:spPr bwMode="gray">
              <a:xfrm flipV="1">
                <a:off x="7488886" y="3749327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38" name="Ellipse 457">
                <a:extLst>
                  <a:ext uri="{FF2B5EF4-FFF2-40B4-BE49-F238E27FC236}">
                    <a16:creationId xmlns:a16="http://schemas.microsoft.com/office/drawing/2014/main" id="{E89EAEA6-CEB7-476F-A578-43C152B9D013}"/>
                  </a:ext>
                </a:extLst>
              </p:cNvPr>
              <p:cNvSpPr/>
              <p:nvPr/>
            </p:nvSpPr>
            <p:spPr bwMode="gray">
              <a:xfrm flipV="1">
                <a:off x="7330509" y="359144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39" name="Ellipse 458">
                <a:extLst>
                  <a:ext uri="{FF2B5EF4-FFF2-40B4-BE49-F238E27FC236}">
                    <a16:creationId xmlns:a16="http://schemas.microsoft.com/office/drawing/2014/main" id="{F3738574-CD1C-4C58-93E6-B1DDCD170258}"/>
                  </a:ext>
                </a:extLst>
              </p:cNvPr>
              <p:cNvSpPr/>
              <p:nvPr/>
            </p:nvSpPr>
            <p:spPr bwMode="gray">
              <a:xfrm flipV="1">
                <a:off x="7168935" y="359144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40" name="Ellipse 459">
                <a:extLst>
                  <a:ext uri="{FF2B5EF4-FFF2-40B4-BE49-F238E27FC236}">
                    <a16:creationId xmlns:a16="http://schemas.microsoft.com/office/drawing/2014/main" id="{894A38EC-3884-4C6D-A3D2-8F249AF7247D}"/>
                  </a:ext>
                </a:extLst>
              </p:cNvPr>
              <p:cNvSpPr/>
              <p:nvPr/>
            </p:nvSpPr>
            <p:spPr bwMode="gray">
              <a:xfrm flipV="1">
                <a:off x="7168935" y="3268839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41" name="Ellipse 460">
                <a:extLst>
                  <a:ext uri="{FF2B5EF4-FFF2-40B4-BE49-F238E27FC236}">
                    <a16:creationId xmlns:a16="http://schemas.microsoft.com/office/drawing/2014/main" id="{0B951039-9E0B-4597-8151-04CD0A6F6C17}"/>
                  </a:ext>
                </a:extLst>
              </p:cNvPr>
              <p:cNvSpPr/>
              <p:nvPr/>
            </p:nvSpPr>
            <p:spPr bwMode="gray">
              <a:xfrm flipV="1">
                <a:off x="7168935" y="343083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42" name="Ellipse 461">
                <a:extLst>
                  <a:ext uri="{FF2B5EF4-FFF2-40B4-BE49-F238E27FC236}">
                    <a16:creationId xmlns:a16="http://schemas.microsoft.com/office/drawing/2014/main" id="{AFF7B694-7540-4241-9C3C-9E97560606EB}"/>
                  </a:ext>
                </a:extLst>
              </p:cNvPr>
              <p:cNvSpPr/>
              <p:nvPr/>
            </p:nvSpPr>
            <p:spPr bwMode="gray">
              <a:xfrm flipV="1">
                <a:off x="7168935" y="3909499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43" name="Ellipse 462">
                <a:extLst>
                  <a:ext uri="{FF2B5EF4-FFF2-40B4-BE49-F238E27FC236}">
                    <a16:creationId xmlns:a16="http://schemas.microsoft.com/office/drawing/2014/main" id="{39FC406B-2335-48CC-8900-0524E9B3EAB3}"/>
                  </a:ext>
                </a:extLst>
              </p:cNvPr>
              <p:cNvSpPr/>
              <p:nvPr/>
            </p:nvSpPr>
            <p:spPr bwMode="gray">
              <a:xfrm flipV="1">
                <a:off x="7168935" y="422652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44" name="Ellipse 463">
                <a:extLst>
                  <a:ext uri="{FF2B5EF4-FFF2-40B4-BE49-F238E27FC236}">
                    <a16:creationId xmlns:a16="http://schemas.microsoft.com/office/drawing/2014/main" id="{D6CA2707-8813-483C-B024-A14328039388}"/>
                  </a:ext>
                </a:extLst>
              </p:cNvPr>
              <p:cNvSpPr/>
              <p:nvPr/>
            </p:nvSpPr>
            <p:spPr bwMode="gray">
              <a:xfrm flipV="1">
                <a:off x="7168935" y="438557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45" name="Ellipse 464">
                <a:extLst>
                  <a:ext uri="{FF2B5EF4-FFF2-40B4-BE49-F238E27FC236}">
                    <a16:creationId xmlns:a16="http://schemas.microsoft.com/office/drawing/2014/main" id="{83D8BB9C-1D0B-4A73-8C65-1F39F1B107CC}"/>
                  </a:ext>
                </a:extLst>
              </p:cNvPr>
              <p:cNvSpPr/>
              <p:nvPr/>
            </p:nvSpPr>
            <p:spPr bwMode="gray">
              <a:xfrm flipV="1">
                <a:off x="7008659" y="359144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46" name="Ellipse 465">
                <a:extLst>
                  <a:ext uri="{FF2B5EF4-FFF2-40B4-BE49-F238E27FC236}">
                    <a16:creationId xmlns:a16="http://schemas.microsoft.com/office/drawing/2014/main" id="{1021246D-DD5D-4135-9D1F-BD7FB3894E43}"/>
                  </a:ext>
                </a:extLst>
              </p:cNvPr>
              <p:cNvSpPr/>
              <p:nvPr/>
            </p:nvSpPr>
            <p:spPr bwMode="gray">
              <a:xfrm flipV="1">
                <a:off x="7008659" y="343083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47" name="Ellipse 466">
                <a:extLst>
                  <a:ext uri="{FF2B5EF4-FFF2-40B4-BE49-F238E27FC236}">
                    <a16:creationId xmlns:a16="http://schemas.microsoft.com/office/drawing/2014/main" id="{8AF3CCD3-BDE3-4195-AA02-E2AC82B393E1}"/>
                  </a:ext>
                </a:extLst>
              </p:cNvPr>
              <p:cNvSpPr/>
              <p:nvPr/>
            </p:nvSpPr>
            <p:spPr bwMode="gray">
              <a:xfrm flipV="1">
                <a:off x="6851912" y="311081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48" name="Ellipse 467">
                <a:extLst>
                  <a:ext uri="{FF2B5EF4-FFF2-40B4-BE49-F238E27FC236}">
                    <a16:creationId xmlns:a16="http://schemas.microsoft.com/office/drawing/2014/main" id="{D1CDAD3E-C513-4F58-8C75-F03E4E275B80}"/>
                  </a:ext>
                </a:extLst>
              </p:cNvPr>
              <p:cNvSpPr/>
              <p:nvPr/>
            </p:nvSpPr>
            <p:spPr bwMode="gray">
              <a:xfrm flipV="1">
                <a:off x="6851912" y="2894386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49" name="Ellipse 468">
                <a:extLst>
                  <a:ext uri="{FF2B5EF4-FFF2-40B4-BE49-F238E27FC236}">
                    <a16:creationId xmlns:a16="http://schemas.microsoft.com/office/drawing/2014/main" id="{97A5D7C8-C731-4B41-A5D1-9EAF9DDFC6C6}"/>
                  </a:ext>
                </a:extLst>
              </p:cNvPr>
              <p:cNvSpPr/>
              <p:nvPr/>
            </p:nvSpPr>
            <p:spPr bwMode="gray">
              <a:xfrm flipV="1">
                <a:off x="6851912" y="438557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50" name="Ellipse 469">
                <a:extLst>
                  <a:ext uri="{FF2B5EF4-FFF2-40B4-BE49-F238E27FC236}">
                    <a16:creationId xmlns:a16="http://schemas.microsoft.com/office/drawing/2014/main" id="{D4070240-61FF-4E5C-8894-D8979023CCAC}"/>
                  </a:ext>
                </a:extLst>
              </p:cNvPr>
              <p:cNvSpPr/>
              <p:nvPr/>
            </p:nvSpPr>
            <p:spPr bwMode="gray">
              <a:xfrm flipV="1">
                <a:off x="6532971" y="343083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51" name="Ellipse 470">
                <a:extLst>
                  <a:ext uri="{FF2B5EF4-FFF2-40B4-BE49-F238E27FC236}">
                    <a16:creationId xmlns:a16="http://schemas.microsoft.com/office/drawing/2014/main" id="{CCFA5FEF-6732-44FB-9E0C-9CDA16F499BE}"/>
                  </a:ext>
                </a:extLst>
              </p:cNvPr>
              <p:cNvSpPr/>
              <p:nvPr/>
            </p:nvSpPr>
            <p:spPr bwMode="gray">
              <a:xfrm flipV="1">
                <a:off x="6691601" y="343083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52" name="Ellipse 471">
                <a:extLst>
                  <a:ext uri="{FF2B5EF4-FFF2-40B4-BE49-F238E27FC236}">
                    <a16:creationId xmlns:a16="http://schemas.microsoft.com/office/drawing/2014/main" id="{D0D6A59E-FBB1-4086-956A-59548D87A1A5}"/>
                  </a:ext>
                </a:extLst>
              </p:cNvPr>
              <p:cNvSpPr/>
              <p:nvPr/>
            </p:nvSpPr>
            <p:spPr bwMode="gray">
              <a:xfrm flipV="1">
                <a:off x="6691601" y="3749327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53" name="Ellipse 472">
                <a:extLst>
                  <a:ext uri="{FF2B5EF4-FFF2-40B4-BE49-F238E27FC236}">
                    <a16:creationId xmlns:a16="http://schemas.microsoft.com/office/drawing/2014/main" id="{87966CC2-ABA2-4771-A14F-78C829C4B859}"/>
                  </a:ext>
                </a:extLst>
              </p:cNvPr>
              <p:cNvSpPr/>
              <p:nvPr/>
            </p:nvSpPr>
            <p:spPr bwMode="gray">
              <a:xfrm flipV="1">
                <a:off x="6380853" y="311081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54" name="Ellipse 473">
                <a:extLst>
                  <a:ext uri="{FF2B5EF4-FFF2-40B4-BE49-F238E27FC236}">
                    <a16:creationId xmlns:a16="http://schemas.microsoft.com/office/drawing/2014/main" id="{0D98D0D9-A1A6-441A-A98E-8CBC81707661}"/>
                  </a:ext>
                </a:extLst>
              </p:cNvPr>
              <p:cNvSpPr/>
              <p:nvPr/>
            </p:nvSpPr>
            <p:spPr bwMode="gray">
              <a:xfrm flipV="1">
                <a:off x="6380853" y="359144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55" name="Ellipse 474">
                <a:extLst>
                  <a:ext uri="{FF2B5EF4-FFF2-40B4-BE49-F238E27FC236}">
                    <a16:creationId xmlns:a16="http://schemas.microsoft.com/office/drawing/2014/main" id="{0D8C75BC-700C-4D9F-AE6E-6E525B290ECF}"/>
                  </a:ext>
                </a:extLst>
              </p:cNvPr>
              <p:cNvSpPr/>
              <p:nvPr/>
            </p:nvSpPr>
            <p:spPr bwMode="gray">
              <a:xfrm flipV="1">
                <a:off x="6380853" y="422652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56" name="Ellipse 475">
                <a:extLst>
                  <a:ext uri="{FF2B5EF4-FFF2-40B4-BE49-F238E27FC236}">
                    <a16:creationId xmlns:a16="http://schemas.microsoft.com/office/drawing/2014/main" id="{B98CB3FC-5A6D-4EAC-97D9-B1FDA6A1EC50}"/>
                  </a:ext>
                </a:extLst>
              </p:cNvPr>
              <p:cNvSpPr/>
              <p:nvPr/>
            </p:nvSpPr>
            <p:spPr bwMode="gray">
              <a:xfrm flipV="1">
                <a:off x="6212416" y="438557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57" name="Ellipse 476">
                <a:extLst>
                  <a:ext uri="{FF2B5EF4-FFF2-40B4-BE49-F238E27FC236}">
                    <a16:creationId xmlns:a16="http://schemas.microsoft.com/office/drawing/2014/main" id="{A7E48A63-E275-4F83-8787-EC76CE39426B}"/>
                  </a:ext>
                </a:extLst>
              </p:cNvPr>
              <p:cNvSpPr/>
              <p:nvPr/>
            </p:nvSpPr>
            <p:spPr bwMode="gray">
              <a:xfrm flipV="1">
                <a:off x="6212416" y="422652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58" name="Ellipse 477">
                <a:extLst>
                  <a:ext uri="{FF2B5EF4-FFF2-40B4-BE49-F238E27FC236}">
                    <a16:creationId xmlns:a16="http://schemas.microsoft.com/office/drawing/2014/main" id="{DFEF79F3-B4E0-41C3-8CAE-6971942BD141}"/>
                  </a:ext>
                </a:extLst>
              </p:cNvPr>
              <p:cNvSpPr/>
              <p:nvPr/>
            </p:nvSpPr>
            <p:spPr bwMode="gray">
              <a:xfrm flipV="1">
                <a:off x="6060007" y="3749327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59" name="Ellipse 478">
                <a:extLst>
                  <a:ext uri="{FF2B5EF4-FFF2-40B4-BE49-F238E27FC236}">
                    <a16:creationId xmlns:a16="http://schemas.microsoft.com/office/drawing/2014/main" id="{F19E9E74-C618-47AE-B872-5FDF20D320CD}"/>
                  </a:ext>
                </a:extLst>
              </p:cNvPr>
              <p:cNvSpPr/>
              <p:nvPr/>
            </p:nvSpPr>
            <p:spPr bwMode="gray">
              <a:xfrm flipV="1">
                <a:off x="6060007" y="359144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60" name="Ellipse 479">
                <a:extLst>
                  <a:ext uri="{FF2B5EF4-FFF2-40B4-BE49-F238E27FC236}">
                    <a16:creationId xmlns:a16="http://schemas.microsoft.com/office/drawing/2014/main" id="{B1915941-FBD1-4443-B653-99EEC686E5C6}"/>
                  </a:ext>
                </a:extLst>
              </p:cNvPr>
              <p:cNvSpPr/>
              <p:nvPr/>
            </p:nvSpPr>
            <p:spPr bwMode="gray">
              <a:xfrm flipV="1">
                <a:off x="6060007" y="343083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61" name="Ellipse 480">
                <a:extLst>
                  <a:ext uri="{FF2B5EF4-FFF2-40B4-BE49-F238E27FC236}">
                    <a16:creationId xmlns:a16="http://schemas.microsoft.com/office/drawing/2014/main" id="{C6C14549-DAC1-4D66-BDFC-AC5BE2DA46F2}"/>
                  </a:ext>
                </a:extLst>
              </p:cNvPr>
              <p:cNvSpPr/>
              <p:nvPr/>
            </p:nvSpPr>
            <p:spPr bwMode="gray">
              <a:xfrm flipV="1">
                <a:off x="6060007" y="311081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62" name="Ellipse 481">
                <a:extLst>
                  <a:ext uri="{FF2B5EF4-FFF2-40B4-BE49-F238E27FC236}">
                    <a16:creationId xmlns:a16="http://schemas.microsoft.com/office/drawing/2014/main" id="{159F6F8E-0AED-46C7-A1A0-966F825B393A}"/>
                  </a:ext>
                </a:extLst>
              </p:cNvPr>
              <p:cNvSpPr/>
              <p:nvPr/>
            </p:nvSpPr>
            <p:spPr bwMode="gray">
              <a:xfrm flipV="1">
                <a:off x="5895662" y="438557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63" name="Ellipse 482">
                <a:extLst>
                  <a:ext uri="{FF2B5EF4-FFF2-40B4-BE49-F238E27FC236}">
                    <a16:creationId xmlns:a16="http://schemas.microsoft.com/office/drawing/2014/main" id="{6DF50F70-DB7A-4D89-B447-40D972829080}"/>
                  </a:ext>
                </a:extLst>
              </p:cNvPr>
              <p:cNvSpPr/>
              <p:nvPr/>
            </p:nvSpPr>
            <p:spPr bwMode="gray">
              <a:xfrm flipV="1">
                <a:off x="5895662" y="3749327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64" name="Ellipse 483">
                <a:extLst>
                  <a:ext uri="{FF2B5EF4-FFF2-40B4-BE49-F238E27FC236}">
                    <a16:creationId xmlns:a16="http://schemas.microsoft.com/office/drawing/2014/main" id="{6145D322-CB8D-4BF1-90CA-852670F6B2D1}"/>
                  </a:ext>
                </a:extLst>
              </p:cNvPr>
              <p:cNvSpPr/>
              <p:nvPr/>
            </p:nvSpPr>
            <p:spPr bwMode="gray">
              <a:xfrm flipV="1">
                <a:off x="5895662" y="343083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65" name="Ellipse 484">
                <a:extLst>
                  <a:ext uri="{FF2B5EF4-FFF2-40B4-BE49-F238E27FC236}">
                    <a16:creationId xmlns:a16="http://schemas.microsoft.com/office/drawing/2014/main" id="{D23D4424-06AF-40CB-98F1-1C60367D7F84}"/>
                  </a:ext>
                </a:extLst>
              </p:cNvPr>
              <p:cNvSpPr/>
              <p:nvPr/>
            </p:nvSpPr>
            <p:spPr bwMode="gray">
              <a:xfrm flipV="1">
                <a:off x="5895662" y="422652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66" name="Ellipse 485">
                <a:extLst>
                  <a:ext uri="{FF2B5EF4-FFF2-40B4-BE49-F238E27FC236}">
                    <a16:creationId xmlns:a16="http://schemas.microsoft.com/office/drawing/2014/main" id="{2275E7A2-A029-4A1C-820A-8B2A612A4255}"/>
                  </a:ext>
                </a:extLst>
              </p:cNvPr>
              <p:cNvSpPr/>
              <p:nvPr/>
            </p:nvSpPr>
            <p:spPr bwMode="gray">
              <a:xfrm flipV="1">
                <a:off x="5734457" y="422652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solidFill>
                    <a:schemeClr val="accent5"/>
                  </a:solidFill>
                  <a:latin typeface="+mj-lt"/>
                </a:endParaRPr>
              </a:p>
            </p:txBody>
          </p:sp>
          <p:sp>
            <p:nvSpPr>
              <p:cNvPr id="167" name="Ellipse 486">
                <a:extLst>
                  <a:ext uri="{FF2B5EF4-FFF2-40B4-BE49-F238E27FC236}">
                    <a16:creationId xmlns:a16="http://schemas.microsoft.com/office/drawing/2014/main" id="{FDB2B67D-9A58-4300-A365-FEACA5C9713C}"/>
                  </a:ext>
                </a:extLst>
              </p:cNvPr>
              <p:cNvSpPr/>
              <p:nvPr/>
            </p:nvSpPr>
            <p:spPr bwMode="gray">
              <a:xfrm flipV="1">
                <a:off x="5734457" y="343083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solidFill>
                    <a:schemeClr val="accent5"/>
                  </a:solidFill>
                  <a:latin typeface="+mj-lt"/>
                </a:endParaRPr>
              </a:p>
            </p:txBody>
          </p:sp>
          <p:sp>
            <p:nvSpPr>
              <p:cNvPr id="168" name="Ellipse 487">
                <a:extLst>
                  <a:ext uri="{FF2B5EF4-FFF2-40B4-BE49-F238E27FC236}">
                    <a16:creationId xmlns:a16="http://schemas.microsoft.com/office/drawing/2014/main" id="{DC07D0DE-A0FE-4889-ADBB-5BF096AE2447}"/>
                  </a:ext>
                </a:extLst>
              </p:cNvPr>
              <p:cNvSpPr/>
              <p:nvPr/>
            </p:nvSpPr>
            <p:spPr bwMode="gray">
              <a:xfrm flipV="1">
                <a:off x="5734457" y="3268839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solidFill>
                    <a:schemeClr val="accent5"/>
                  </a:solidFill>
                  <a:latin typeface="+mj-lt"/>
                </a:endParaRPr>
              </a:p>
            </p:txBody>
          </p:sp>
          <p:sp>
            <p:nvSpPr>
              <p:cNvPr id="169" name="Ellipse 488">
                <a:extLst>
                  <a:ext uri="{FF2B5EF4-FFF2-40B4-BE49-F238E27FC236}">
                    <a16:creationId xmlns:a16="http://schemas.microsoft.com/office/drawing/2014/main" id="{2F548B31-56C5-4DAE-8CBD-96678413205D}"/>
                  </a:ext>
                </a:extLst>
              </p:cNvPr>
              <p:cNvSpPr/>
              <p:nvPr/>
            </p:nvSpPr>
            <p:spPr bwMode="gray">
              <a:xfrm flipV="1">
                <a:off x="5573252" y="359144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solidFill>
                    <a:schemeClr val="accent5"/>
                  </a:solidFill>
                  <a:latin typeface="+mj-lt"/>
                </a:endParaRPr>
              </a:p>
            </p:txBody>
          </p:sp>
          <p:sp>
            <p:nvSpPr>
              <p:cNvPr id="170" name="Ellipse 489">
                <a:extLst>
                  <a:ext uri="{FF2B5EF4-FFF2-40B4-BE49-F238E27FC236}">
                    <a16:creationId xmlns:a16="http://schemas.microsoft.com/office/drawing/2014/main" id="{5C733488-A066-4A88-B10E-71133A5F8BEB}"/>
                  </a:ext>
                </a:extLst>
              </p:cNvPr>
              <p:cNvSpPr/>
              <p:nvPr/>
            </p:nvSpPr>
            <p:spPr bwMode="gray">
              <a:xfrm flipV="1">
                <a:off x="5573252" y="3749327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solidFill>
                    <a:schemeClr val="accent5"/>
                  </a:solidFill>
                  <a:latin typeface="+mj-lt"/>
                </a:endParaRPr>
              </a:p>
            </p:txBody>
          </p:sp>
          <p:sp>
            <p:nvSpPr>
              <p:cNvPr id="171" name="Ellipse 490">
                <a:extLst>
                  <a:ext uri="{FF2B5EF4-FFF2-40B4-BE49-F238E27FC236}">
                    <a16:creationId xmlns:a16="http://schemas.microsoft.com/office/drawing/2014/main" id="{57FDF988-1FF7-476B-BBB7-BCCA3001C682}"/>
                  </a:ext>
                </a:extLst>
              </p:cNvPr>
              <p:cNvSpPr/>
              <p:nvPr/>
            </p:nvSpPr>
            <p:spPr bwMode="gray">
              <a:xfrm flipV="1">
                <a:off x="5573252" y="3909499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solidFill>
                    <a:schemeClr val="accent5"/>
                  </a:solidFill>
                  <a:latin typeface="+mj-lt"/>
                </a:endParaRPr>
              </a:p>
            </p:txBody>
          </p:sp>
          <p:sp>
            <p:nvSpPr>
              <p:cNvPr id="172" name="Ellipse 491">
                <a:extLst>
                  <a:ext uri="{FF2B5EF4-FFF2-40B4-BE49-F238E27FC236}">
                    <a16:creationId xmlns:a16="http://schemas.microsoft.com/office/drawing/2014/main" id="{F44180AA-FFC4-40AD-B6F7-7D43BF33AEBD}"/>
                  </a:ext>
                </a:extLst>
              </p:cNvPr>
              <p:cNvSpPr/>
              <p:nvPr/>
            </p:nvSpPr>
            <p:spPr bwMode="gray">
              <a:xfrm flipV="1">
                <a:off x="5573252" y="406825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solidFill>
                    <a:schemeClr val="accent5"/>
                  </a:solidFill>
                  <a:latin typeface="+mj-lt"/>
                </a:endParaRPr>
              </a:p>
            </p:txBody>
          </p:sp>
          <p:sp>
            <p:nvSpPr>
              <p:cNvPr id="173" name="Ellipse 492">
                <a:extLst>
                  <a:ext uri="{FF2B5EF4-FFF2-40B4-BE49-F238E27FC236}">
                    <a16:creationId xmlns:a16="http://schemas.microsoft.com/office/drawing/2014/main" id="{0D5F8498-ADB4-4EE3-9604-6237F7D3A3C5}"/>
                  </a:ext>
                </a:extLst>
              </p:cNvPr>
              <p:cNvSpPr/>
              <p:nvPr/>
            </p:nvSpPr>
            <p:spPr bwMode="gray">
              <a:xfrm flipV="1">
                <a:off x="5414379" y="3749327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solidFill>
                    <a:schemeClr val="accent5"/>
                  </a:solidFill>
                  <a:latin typeface="+mj-lt"/>
                </a:endParaRPr>
              </a:p>
            </p:txBody>
          </p:sp>
          <p:sp>
            <p:nvSpPr>
              <p:cNvPr id="174" name="Ellipse 493">
                <a:extLst>
                  <a:ext uri="{FF2B5EF4-FFF2-40B4-BE49-F238E27FC236}">
                    <a16:creationId xmlns:a16="http://schemas.microsoft.com/office/drawing/2014/main" id="{F2D73E9C-B1D2-4EEE-A1BD-DAAC4E38BA3D}"/>
                  </a:ext>
                </a:extLst>
              </p:cNvPr>
              <p:cNvSpPr/>
              <p:nvPr/>
            </p:nvSpPr>
            <p:spPr bwMode="gray">
              <a:xfrm flipV="1">
                <a:off x="5414379" y="3909499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solidFill>
                    <a:schemeClr val="accent5"/>
                  </a:solidFill>
                  <a:latin typeface="+mj-lt"/>
                </a:endParaRPr>
              </a:p>
            </p:txBody>
          </p:sp>
          <p:sp>
            <p:nvSpPr>
              <p:cNvPr id="175" name="Ellipse 494">
                <a:extLst>
                  <a:ext uri="{FF2B5EF4-FFF2-40B4-BE49-F238E27FC236}">
                    <a16:creationId xmlns:a16="http://schemas.microsoft.com/office/drawing/2014/main" id="{A43A6E98-D241-46A3-BBAE-B5157F53EDA7}"/>
                  </a:ext>
                </a:extLst>
              </p:cNvPr>
              <p:cNvSpPr/>
              <p:nvPr/>
            </p:nvSpPr>
            <p:spPr bwMode="gray">
              <a:xfrm flipV="1">
                <a:off x="5414379" y="343083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solidFill>
                    <a:schemeClr val="accent5"/>
                  </a:solidFill>
                  <a:latin typeface="+mj-lt"/>
                </a:endParaRPr>
              </a:p>
            </p:txBody>
          </p:sp>
          <p:sp>
            <p:nvSpPr>
              <p:cNvPr id="176" name="Ellipse 495">
                <a:extLst>
                  <a:ext uri="{FF2B5EF4-FFF2-40B4-BE49-F238E27FC236}">
                    <a16:creationId xmlns:a16="http://schemas.microsoft.com/office/drawing/2014/main" id="{D0ABB8C1-8B46-409A-B501-24FC439294C7}"/>
                  </a:ext>
                </a:extLst>
              </p:cNvPr>
              <p:cNvSpPr/>
              <p:nvPr/>
            </p:nvSpPr>
            <p:spPr bwMode="gray">
              <a:xfrm flipV="1">
                <a:off x="10972460" y="437487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77" name="Ellipse 496">
                <a:extLst>
                  <a:ext uri="{FF2B5EF4-FFF2-40B4-BE49-F238E27FC236}">
                    <a16:creationId xmlns:a16="http://schemas.microsoft.com/office/drawing/2014/main" id="{FD70FB8A-06D1-4FEF-A16A-1E32EFA2D572}"/>
                  </a:ext>
                </a:extLst>
              </p:cNvPr>
              <p:cNvSpPr/>
              <p:nvPr/>
            </p:nvSpPr>
            <p:spPr bwMode="gray">
              <a:xfrm flipV="1">
                <a:off x="10972460" y="421582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78" name="Ellipse 497">
                <a:extLst>
                  <a:ext uri="{FF2B5EF4-FFF2-40B4-BE49-F238E27FC236}">
                    <a16:creationId xmlns:a16="http://schemas.microsoft.com/office/drawing/2014/main" id="{2C537DC0-64A2-4A60-B289-724F3C627992}"/>
                  </a:ext>
                </a:extLst>
              </p:cNvPr>
              <p:cNvSpPr/>
              <p:nvPr/>
            </p:nvSpPr>
            <p:spPr bwMode="gray">
              <a:xfrm flipV="1">
                <a:off x="10972460" y="405756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79" name="Ellipse 498">
                <a:extLst>
                  <a:ext uri="{FF2B5EF4-FFF2-40B4-BE49-F238E27FC236}">
                    <a16:creationId xmlns:a16="http://schemas.microsoft.com/office/drawing/2014/main" id="{ACFFD08E-57EF-4311-83BF-C8D421425885}"/>
                  </a:ext>
                </a:extLst>
              </p:cNvPr>
              <p:cNvSpPr/>
              <p:nvPr/>
            </p:nvSpPr>
            <p:spPr bwMode="gray">
              <a:xfrm flipV="1">
                <a:off x="10972460" y="358075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80" name="Ellipse 499">
                <a:extLst>
                  <a:ext uri="{FF2B5EF4-FFF2-40B4-BE49-F238E27FC236}">
                    <a16:creationId xmlns:a16="http://schemas.microsoft.com/office/drawing/2014/main" id="{3D097119-EAA9-4373-ADD9-6AA5164C4B2D}"/>
                  </a:ext>
                </a:extLst>
              </p:cNvPr>
              <p:cNvSpPr/>
              <p:nvPr/>
            </p:nvSpPr>
            <p:spPr bwMode="gray">
              <a:xfrm flipV="1">
                <a:off x="10972460" y="342013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81" name="Ellipse 500">
                <a:extLst>
                  <a:ext uri="{FF2B5EF4-FFF2-40B4-BE49-F238E27FC236}">
                    <a16:creationId xmlns:a16="http://schemas.microsoft.com/office/drawing/2014/main" id="{E4D98F62-98BC-4111-B509-AD19A86C34A3}"/>
                  </a:ext>
                </a:extLst>
              </p:cNvPr>
              <p:cNvSpPr/>
              <p:nvPr/>
            </p:nvSpPr>
            <p:spPr bwMode="gray">
              <a:xfrm flipV="1">
                <a:off x="10972460" y="325814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82" name="Ellipse 501">
                <a:extLst>
                  <a:ext uri="{FF2B5EF4-FFF2-40B4-BE49-F238E27FC236}">
                    <a16:creationId xmlns:a16="http://schemas.microsoft.com/office/drawing/2014/main" id="{2234E2B6-7F6F-402E-9EE2-D0D8314218B6}"/>
                  </a:ext>
                </a:extLst>
              </p:cNvPr>
              <p:cNvSpPr/>
              <p:nvPr/>
            </p:nvSpPr>
            <p:spPr bwMode="gray">
              <a:xfrm flipV="1">
                <a:off x="10809176" y="325814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83" name="Ellipse 502">
                <a:extLst>
                  <a:ext uri="{FF2B5EF4-FFF2-40B4-BE49-F238E27FC236}">
                    <a16:creationId xmlns:a16="http://schemas.microsoft.com/office/drawing/2014/main" id="{77FC329D-B118-4AAA-954A-265CB2231D4D}"/>
                  </a:ext>
                </a:extLst>
              </p:cNvPr>
              <p:cNvSpPr/>
              <p:nvPr/>
            </p:nvSpPr>
            <p:spPr bwMode="gray">
              <a:xfrm flipV="1">
                <a:off x="10653686" y="325814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84" name="Ellipse 503">
                <a:extLst>
                  <a:ext uri="{FF2B5EF4-FFF2-40B4-BE49-F238E27FC236}">
                    <a16:creationId xmlns:a16="http://schemas.microsoft.com/office/drawing/2014/main" id="{A2F71DAC-865B-446D-AD83-14050E800E93}"/>
                  </a:ext>
                </a:extLst>
              </p:cNvPr>
              <p:cNvSpPr/>
              <p:nvPr/>
            </p:nvSpPr>
            <p:spPr bwMode="gray">
              <a:xfrm flipV="1">
                <a:off x="10495359" y="325814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85" name="Ellipse 504">
                <a:extLst>
                  <a:ext uri="{FF2B5EF4-FFF2-40B4-BE49-F238E27FC236}">
                    <a16:creationId xmlns:a16="http://schemas.microsoft.com/office/drawing/2014/main" id="{551C8DB9-4909-4510-AAFB-D5AF2886BE90}"/>
                  </a:ext>
                </a:extLst>
              </p:cNvPr>
              <p:cNvSpPr/>
              <p:nvPr/>
            </p:nvSpPr>
            <p:spPr bwMode="gray">
              <a:xfrm flipV="1">
                <a:off x="10664375" y="311081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86" name="Ellipse 505">
                <a:extLst>
                  <a:ext uri="{FF2B5EF4-FFF2-40B4-BE49-F238E27FC236}">
                    <a16:creationId xmlns:a16="http://schemas.microsoft.com/office/drawing/2014/main" id="{313440F2-C2DD-4FDB-81BA-2D538B8CD14C}"/>
                  </a:ext>
                </a:extLst>
              </p:cNvPr>
              <p:cNvSpPr/>
              <p:nvPr/>
            </p:nvSpPr>
            <p:spPr bwMode="gray">
              <a:xfrm flipV="1">
                <a:off x="10338035" y="325814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87" name="Ellipse 506">
                <a:extLst>
                  <a:ext uri="{FF2B5EF4-FFF2-40B4-BE49-F238E27FC236}">
                    <a16:creationId xmlns:a16="http://schemas.microsoft.com/office/drawing/2014/main" id="{3B61EBC3-C85A-444D-B3FD-0E894748201B}"/>
                  </a:ext>
                </a:extLst>
              </p:cNvPr>
              <p:cNvSpPr/>
              <p:nvPr/>
            </p:nvSpPr>
            <p:spPr bwMode="gray">
              <a:xfrm flipV="1">
                <a:off x="10338035" y="342013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88" name="Ellipse 507">
                <a:extLst>
                  <a:ext uri="{FF2B5EF4-FFF2-40B4-BE49-F238E27FC236}">
                    <a16:creationId xmlns:a16="http://schemas.microsoft.com/office/drawing/2014/main" id="{C8DA80B7-E576-4A9F-9B4C-56A6834F2A29}"/>
                  </a:ext>
                </a:extLst>
              </p:cNvPr>
              <p:cNvSpPr/>
              <p:nvPr/>
            </p:nvSpPr>
            <p:spPr bwMode="gray">
              <a:xfrm flipV="1">
                <a:off x="10338035" y="358075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89" name="Ellipse 508">
                <a:extLst>
                  <a:ext uri="{FF2B5EF4-FFF2-40B4-BE49-F238E27FC236}">
                    <a16:creationId xmlns:a16="http://schemas.microsoft.com/office/drawing/2014/main" id="{2B64BBF8-F1E0-4C8D-8B80-2C3699309143}"/>
                  </a:ext>
                </a:extLst>
              </p:cNvPr>
              <p:cNvSpPr/>
              <p:nvPr/>
            </p:nvSpPr>
            <p:spPr bwMode="gray">
              <a:xfrm flipV="1">
                <a:off x="10495359" y="358075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90" name="Ellipse 509">
                <a:extLst>
                  <a:ext uri="{FF2B5EF4-FFF2-40B4-BE49-F238E27FC236}">
                    <a16:creationId xmlns:a16="http://schemas.microsoft.com/office/drawing/2014/main" id="{0BD37E60-48D7-4476-A323-5527EB44613C}"/>
                  </a:ext>
                </a:extLst>
              </p:cNvPr>
              <p:cNvSpPr/>
              <p:nvPr/>
            </p:nvSpPr>
            <p:spPr bwMode="gray">
              <a:xfrm flipV="1">
                <a:off x="10653686" y="358075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91" name="Ellipse 510">
                <a:extLst>
                  <a:ext uri="{FF2B5EF4-FFF2-40B4-BE49-F238E27FC236}">
                    <a16:creationId xmlns:a16="http://schemas.microsoft.com/office/drawing/2014/main" id="{6D461297-3A4F-442A-8211-3D856EE499DF}"/>
                  </a:ext>
                </a:extLst>
              </p:cNvPr>
              <p:cNvSpPr/>
              <p:nvPr/>
            </p:nvSpPr>
            <p:spPr bwMode="gray">
              <a:xfrm flipV="1">
                <a:off x="10809176" y="358075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92" name="Ellipse 511">
                <a:extLst>
                  <a:ext uri="{FF2B5EF4-FFF2-40B4-BE49-F238E27FC236}">
                    <a16:creationId xmlns:a16="http://schemas.microsoft.com/office/drawing/2014/main" id="{F5AD4212-B689-4A94-9B5D-D43611E9CE0C}"/>
                  </a:ext>
                </a:extLst>
              </p:cNvPr>
              <p:cNvSpPr/>
              <p:nvPr/>
            </p:nvSpPr>
            <p:spPr bwMode="gray">
              <a:xfrm flipV="1">
                <a:off x="10809176" y="3738635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93" name="Ellipse 512">
                <a:extLst>
                  <a:ext uri="{FF2B5EF4-FFF2-40B4-BE49-F238E27FC236}">
                    <a16:creationId xmlns:a16="http://schemas.microsoft.com/office/drawing/2014/main" id="{EE78D50A-282E-4B7C-BEDF-3A8908E830B7}"/>
                  </a:ext>
                </a:extLst>
              </p:cNvPr>
              <p:cNvSpPr/>
              <p:nvPr/>
            </p:nvSpPr>
            <p:spPr bwMode="gray">
              <a:xfrm flipV="1">
                <a:off x="10809176" y="389880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94" name="Ellipse 513">
                <a:extLst>
                  <a:ext uri="{FF2B5EF4-FFF2-40B4-BE49-F238E27FC236}">
                    <a16:creationId xmlns:a16="http://schemas.microsoft.com/office/drawing/2014/main" id="{D17E076E-925B-481D-B2C7-A3348BA0A21F}"/>
                  </a:ext>
                </a:extLst>
              </p:cNvPr>
              <p:cNvSpPr/>
              <p:nvPr/>
            </p:nvSpPr>
            <p:spPr bwMode="gray">
              <a:xfrm flipV="1">
                <a:off x="11134657" y="3738635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95" name="Ellipse 514">
                <a:extLst>
                  <a:ext uri="{FF2B5EF4-FFF2-40B4-BE49-F238E27FC236}">
                    <a16:creationId xmlns:a16="http://schemas.microsoft.com/office/drawing/2014/main" id="{B28F7279-1F8F-4B71-8AB7-234C7A16CBEE}"/>
                  </a:ext>
                </a:extLst>
              </p:cNvPr>
              <p:cNvSpPr/>
              <p:nvPr/>
            </p:nvSpPr>
            <p:spPr bwMode="gray">
              <a:xfrm flipV="1">
                <a:off x="11134657" y="358075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96" name="Ellipse 515">
                <a:extLst>
                  <a:ext uri="{FF2B5EF4-FFF2-40B4-BE49-F238E27FC236}">
                    <a16:creationId xmlns:a16="http://schemas.microsoft.com/office/drawing/2014/main" id="{1B2F5F7E-9001-4228-909B-9DA26A4B57B6}"/>
                  </a:ext>
                </a:extLst>
              </p:cNvPr>
              <p:cNvSpPr/>
              <p:nvPr/>
            </p:nvSpPr>
            <p:spPr bwMode="gray">
              <a:xfrm flipV="1">
                <a:off x="11286753" y="3738635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97" name="Ellipse 516">
                <a:extLst>
                  <a:ext uri="{FF2B5EF4-FFF2-40B4-BE49-F238E27FC236}">
                    <a16:creationId xmlns:a16="http://schemas.microsoft.com/office/drawing/2014/main" id="{6B57DE72-EE2C-4D66-98A0-03ECB5F74D41}"/>
                  </a:ext>
                </a:extLst>
              </p:cNvPr>
              <p:cNvSpPr/>
              <p:nvPr/>
            </p:nvSpPr>
            <p:spPr bwMode="gray">
              <a:xfrm flipV="1">
                <a:off x="11447958" y="3738635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98" name="Ellipse 517">
                <a:extLst>
                  <a:ext uri="{FF2B5EF4-FFF2-40B4-BE49-F238E27FC236}">
                    <a16:creationId xmlns:a16="http://schemas.microsoft.com/office/drawing/2014/main" id="{D78FCBF3-3817-43B1-A482-0211EBB05E4A}"/>
                  </a:ext>
                </a:extLst>
              </p:cNvPr>
              <p:cNvSpPr/>
              <p:nvPr/>
            </p:nvSpPr>
            <p:spPr bwMode="gray">
              <a:xfrm flipV="1">
                <a:off x="11458647" y="3909499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199" name="Ellipse 518">
                <a:extLst>
                  <a:ext uri="{FF2B5EF4-FFF2-40B4-BE49-F238E27FC236}">
                    <a16:creationId xmlns:a16="http://schemas.microsoft.com/office/drawing/2014/main" id="{021EBFAF-8942-46EA-9E39-DFF3A5F5BF4D}"/>
                  </a:ext>
                </a:extLst>
              </p:cNvPr>
              <p:cNvSpPr/>
              <p:nvPr/>
            </p:nvSpPr>
            <p:spPr bwMode="gray">
              <a:xfrm flipV="1">
                <a:off x="11134657" y="405756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00" name="Ellipse 519">
                <a:extLst>
                  <a:ext uri="{FF2B5EF4-FFF2-40B4-BE49-F238E27FC236}">
                    <a16:creationId xmlns:a16="http://schemas.microsoft.com/office/drawing/2014/main" id="{C6E71DA9-1A5A-4DF1-BE22-1A532D24E3AD}"/>
                  </a:ext>
                </a:extLst>
              </p:cNvPr>
              <p:cNvSpPr/>
              <p:nvPr/>
            </p:nvSpPr>
            <p:spPr bwMode="gray">
              <a:xfrm flipV="1">
                <a:off x="10653686" y="389880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01" name="Ellipse 520">
                <a:extLst>
                  <a:ext uri="{FF2B5EF4-FFF2-40B4-BE49-F238E27FC236}">
                    <a16:creationId xmlns:a16="http://schemas.microsoft.com/office/drawing/2014/main" id="{5125E6C5-E7F1-4D22-817C-DDC6D06D0E5F}"/>
                  </a:ext>
                </a:extLst>
              </p:cNvPr>
              <p:cNvSpPr/>
              <p:nvPr/>
            </p:nvSpPr>
            <p:spPr bwMode="gray">
              <a:xfrm flipV="1">
                <a:off x="10653686" y="3738635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02" name="Ellipse 521">
                <a:extLst>
                  <a:ext uri="{FF2B5EF4-FFF2-40B4-BE49-F238E27FC236}">
                    <a16:creationId xmlns:a16="http://schemas.microsoft.com/office/drawing/2014/main" id="{66A2FF73-C7BB-4030-BE3B-28F7C396CFA5}"/>
                  </a:ext>
                </a:extLst>
              </p:cNvPr>
              <p:cNvSpPr/>
              <p:nvPr/>
            </p:nvSpPr>
            <p:spPr bwMode="gray">
              <a:xfrm flipV="1">
                <a:off x="10338035" y="3738635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03" name="Ellipse 522">
                <a:extLst>
                  <a:ext uri="{FF2B5EF4-FFF2-40B4-BE49-F238E27FC236}">
                    <a16:creationId xmlns:a16="http://schemas.microsoft.com/office/drawing/2014/main" id="{91CB7C18-BB6C-4736-A944-5A78CCE27335}"/>
                  </a:ext>
                </a:extLst>
              </p:cNvPr>
              <p:cNvSpPr/>
              <p:nvPr/>
            </p:nvSpPr>
            <p:spPr bwMode="gray">
              <a:xfrm flipV="1">
                <a:off x="10495359" y="3738635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04" name="Ellipse 523">
                <a:extLst>
                  <a:ext uri="{FF2B5EF4-FFF2-40B4-BE49-F238E27FC236}">
                    <a16:creationId xmlns:a16="http://schemas.microsoft.com/office/drawing/2014/main" id="{6A3E1724-9F5E-4C97-9F19-FBAC57BFC317}"/>
                  </a:ext>
                </a:extLst>
              </p:cNvPr>
              <p:cNvSpPr/>
              <p:nvPr/>
            </p:nvSpPr>
            <p:spPr bwMode="gray">
              <a:xfrm flipV="1">
                <a:off x="10495359" y="2940249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05" name="Ellipse 524">
                <a:extLst>
                  <a:ext uri="{FF2B5EF4-FFF2-40B4-BE49-F238E27FC236}">
                    <a16:creationId xmlns:a16="http://schemas.microsoft.com/office/drawing/2014/main" id="{2E761963-F06D-4132-AA12-9E11AACE9A43}"/>
                  </a:ext>
                </a:extLst>
              </p:cNvPr>
              <p:cNvSpPr/>
              <p:nvPr/>
            </p:nvSpPr>
            <p:spPr bwMode="gray">
              <a:xfrm flipV="1">
                <a:off x="10348724" y="3110814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06" name="Ellipse 525">
                <a:extLst>
                  <a:ext uri="{FF2B5EF4-FFF2-40B4-BE49-F238E27FC236}">
                    <a16:creationId xmlns:a16="http://schemas.microsoft.com/office/drawing/2014/main" id="{18A72C66-8C28-43B8-8989-05385D1E1280}"/>
                  </a:ext>
                </a:extLst>
              </p:cNvPr>
              <p:cNvSpPr/>
              <p:nvPr/>
            </p:nvSpPr>
            <p:spPr bwMode="gray">
              <a:xfrm flipV="1">
                <a:off x="10172580" y="2940249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07" name="Ellipse 526">
                <a:extLst>
                  <a:ext uri="{FF2B5EF4-FFF2-40B4-BE49-F238E27FC236}">
                    <a16:creationId xmlns:a16="http://schemas.microsoft.com/office/drawing/2014/main" id="{FA7F9452-42AF-4871-9074-4B1A7A67EE80}"/>
                  </a:ext>
                </a:extLst>
              </p:cNvPr>
              <p:cNvSpPr/>
              <p:nvPr/>
            </p:nvSpPr>
            <p:spPr bwMode="gray">
              <a:xfrm flipV="1">
                <a:off x="10172580" y="310012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08" name="Ellipse 527">
                <a:extLst>
                  <a:ext uri="{FF2B5EF4-FFF2-40B4-BE49-F238E27FC236}">
                    <a16:creationId xmlns:a16="http://schemas.microsoft.com/office/drawing/2014/main" id="{C80F16E3-668A-45AF-97A4-66749DC11A34}"/>
                  </a:ext>
                </a:extLst>
              </p:cNvPr>
              <p:cNvSpPr/>
              <p:nvPr/>
            </p:nvSpPr>
            <p:spPr bwMode="gray">
              <a:xfrm flipV="1">
                <a:off x="10172580" y="3738635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09" name="Ellipse 528">
                <a:extLst>
                  <a:ext uri="{FF2B5EF4-FFF2-40B4-BE49-F238E27FC236}">
                    <a16:creationId xmlns:a16="http://schemas.microsoft.com/office/drawing/2014/main" id="{83E08D33-A782-4803-9092-435AA84646E4}"/>
                  </a:ext>
                </a:extLst>
              </p:cNvPr>
              <p:cNvSpPr/>
              <p:nvPr/>
            </p:nvSpPr>
            <p:spPr bwMode="gray">
              <a:xfrm flipV="1">
                <a:off x="10172580" y="421582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10" name="Ellipse 529">
                <a:extLst>
                  <a:ext uri="{FF2B5EF4-FFF2-40B4-BE49-F238E27FC236}">
                    <a16:creationId xmlns:a16="http://schemas.microsoft.com/office/drawing/2014/main" id="{BAF60FFD-4A83-4572-B6E0-9513F9E8CEE2}"/>
                  </a:ext>
                </a:extLst>
              </p:cNvPr>
              <p:cNvSpPr/>
              <p:nvPr/>
            </p:nvSpPr>
            <p:spPr bwMode="gray">
              <a:xfrm flipV="1">
                <a:off x="10172580" y="437487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11" name="Ellipse 530">
                <a:extLst>
                  <a:ext uri="{FF2B5EF4-FFF2-40B4-BE49-F238E27FC236}">
                    <a16:creationId xmlns:a16="http://schemas.microsoft.com/office/drawing/2014/main" id="{F01A7A6F-7CB0-4557-A2B5-887C3FE87CDC}"/>
                  </a:ext>
                </a:extLst>
              </p:cNvPr>
              <p:cNvSpPr/>
              <p:nvPr/>
            </p:nvSpPr>
            <p:spPr bwMode="gray">
              <a:xfrm flipV="1">
                <a:off x="10338035" y="437487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12" name="Ellipse 531">
                <a:extLst>
                  <a:ext uri="{FF2B5EF4-FFF2-40B4-BE49-F238E27FC236}">
                    <a16:creationId xmlns:a16="http://schemas.microsoft.com/office/drawing/2014/main" id="{C75F5C72-B3F8-4EFB-8D8B-BD2CE08EB9BC}"/>
                  </a:ext>
                </a:extLst>
              </p:cNvPr>
              <p:cNvSpPr/>
              <p:nvPr/>
            </p:nvSpPr>
            <p:spPr bwMode="gray">
              <a:xfrm flipV="1">
                <a:off x="10653686" y="421582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13" name="Ellipse 532">
                <a:extLst>
                  <a:ext uri="{FF2B5EF4-FFF2-40B4-BE49-F238E27FC236}">
                    <a16:creationId xmlns:a16="http://schemas.microsoft.com/office/drawing/2014/main" id="{1A6EFC51-2801-441E-9C54-1D4754645D4A}"/>
                  </a:ext>
                </a:extLst>
              </p:cNvPr>
              <p:cNvSpPr/>
              <p:nvPr/>
            </p:nvSpPr>
            <p:spPr bwMode="gray">
              <a:xfrm flipV="1">
                <a:off x="10023260" y="4531570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14" name="Ellipse 533">
                <a:extLst>
                  <a:ext uri="{FF2B5EF4-FFF2-40B4-BE49-F238E27FC236}">
                    <a16:creationId xmlns:a16="http://schemas.microsoft.com/office/drawing/2014/main" id="{04D6383D-8C7E-4CEF-9360-C4469789B4AA}"/>
                  </a:ext>
                </a:extLst>
              </p:cNvPr>
              <p:cNvSpPr/>
              <p:nvPr/>
            </p:nvSpPr>
            <p:spPr bwMode="gray">
              <a:xfrm flipV="1">
                <a:off x="10023260" y="421582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15" name="Ellipse 534">
                <a:extLst>
                  <a:ext uri="{FF2B5EF4-FFF2-40B4-BE49-F238E27FC236}">
                    <a16:creationId xmlns:a16="http://schemas.microsoft.com/office/drawing/2014/main" id="{1B8239F3-06C8-46D9-BD91-C0323E3D4CB3}"/>
                  </a:ext>
                </a:extLst>
              </p:cNvPr>
              <p:cNvSpPr/>
              <p:nvPr/>
            </p:nvSpPr>
            <p:spPr bwMode="gray">
              <a:xfrm flipV="1">
                <a:off x="10023260" y="405756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16" name="Ellipse 535">
                <a:extLst>
                  <a:ext uri="{FF2B5EF4-FFF2-40B4-BE49-F238E27FC236}">
                    <a16:creationId xmlns:a16="http://schemas.microsoft.com/office/drawing/2014/main" id="{D2520BC8-6092-4D31-9EEF-78A6D956F196}"/>
                  </a:ext>
                </a:extLst>
              </p:cNvPr>
              <p:cNvSpPr/>
              <p:nvPr/>
            </p:nvSpPr>
            <p:spPr bwMode="gray">
              <a:xfrm flipV="1">
                <a:off x="10023260" y="389880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17" name="Ellipse 536">
                <a:extLst>
                  <a:ext uri="{FF2B5EF4-FFF2-40B4-BE49-F238E27FC236}">
                    <a16:creationId xmlns:a16="http://schemas.microsoft.com/office/drawing/2014/main" id="{EBD87978-92EE-446C-A7FE-3AF73D895F30}"/>
                  </a:ext>
                </a:extLst>
              </p:cNvPr>
              <p:cNvSpPr/>
              <p:nvPr/>
            </p:nvSpPr>
            <p:spPr bwMode="gray">
              <a:xfrm flipV="1">
                <a:off x="10023260" y="3738635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18" name="Ellipse 537">
                <a:extLst>
                  <a:ext uri="{FF2B5EF4-FFF2-40B4-BE49-F238E27FC236}">
                    <a16:creationId xmlns:a16="http://schemas.microsoft.com/office/drawing/2014/main" id="{312EB94F-323B-4EA1-AC82-DFB0CA9971EC}"/>
                  </a:ext>
                </a:extLst>
              </p:cNvPr>
              <p:cNvSpPr/>
              <p:nvPr/>
            </p:nvSpPr>
            <p:spPr bwMode="gray">
              <a:xfrm flipV="1">
                <a:off x="10023260" y="358075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19" name="Ellipse 538">
                <a:extLst>
                  <a:ext uri="{FF2B5EF4-FFF2-40B4-BE49-F238E27FC236}">
                    <a16:creationId xmlns:a16="http://schemas.microsoft.com/office/drawing/2014/main" id="{1BAE66DD-FCA0-4071-A38A-E7565AEE7D79}"/>
                  </a:ext>
                </a:extLst>
              </p:cNvPr>
              <p:cNvSpPr/>
              <p:nvPr/>
            </p:nvSpPr>
            <p:spPr bwMode="gray">
              <a:xfrm flipV="1">
                <a:off x="10023260" y="342013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20" name="Ellipse 539">
                <a:extLst>
                  <a:ext uri="{FF2B5EF4-FFF2-40B4-BE49-F238E27FC236}">
                    <a16:creationId xmlns:a16="http://schemas.microsoft.com/office/drawing/2014/main" id="{218F4DD7-528E-4425-B26F-3696FCE866F5}"/>
                  </a:ext>
                </a:extLst>
              </p:cNvPr>
              <p:cNvSpPr/>
              <p:nvPr/>
            </p:nvSpPr>
            <p:spPr bwMode="gray">
              <a:xfrm flipV="1">
                <a:off x="10023260" y="2940249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21" name="Ellipse 540">
                <a:extLst>
                  <a:ext uri="{FF2B5EF4-FFF2-40B4-BE49-F238E27FC236}">
                    <a16:creationId xmlns:a16="http://schemas.microsoft.com/office/drawing/2014/main" id="{D1509C8B-BB46-4ABF-891D-2E8815C9714E}"/>
                  </a:ext>
                </a:extLst>
              </p:cNvPr>
              <p:cNvSpPr/>
              <p:nvPr/>
            </p:nvSpPr>
            <p:spPr bwMode="gray">
              <a:xfrm flipV="1">
                <a:off x="9858847" y="358075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22" name="Ellipse 541">
                <a:extLst>
                  <a:ext uri="{FF2B5EF4-FFF2-40B4-BE49-F238E27FC236}">
                    <a16:creationId xmlns:a16="http://schemas.microsoft.com/office/drawing/2014/main" id="{22D0D07B-8ECC-4729-AA4B-02E43F3B8BCB}"/>
                  </a:ext>
                </a:extLst>
              </p:cNvPr>
              <p:cNvSpPr/>
              <p:nvPr/>
            </p:nvSpPr>
            <p:spPr bwMode="gray">
              <a:xfrm flipV="1">
                <a:off x="9858847" y="405756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23" name="Ellipse 542">
                <a:extLst>
                  <a:ext uri="{FF2B5EF4-FFF2-40B4-BE49-F238E27FC236}">
                    <a16:creationId xmlns:a16="http://schemas.microsoft.com/office/drawing/2014/main" id="{098B298C-E8BE-48B2-B600-935528984A6D}"/>
                  </a:ext>
                </a:extLst>
              </p:cNvPr>
              <p:cNvSpPr/>
              <p:nvPr/>
            </p:nvSpPr>
            <p:spPr bwMode="gray">
              <a:xfrm flipV="1">
                <a:off x="9858847" y="389880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24" name="Ellipse 543">
                <a:extLst>
                  <a:ext uri="{FF2B5EF4-FFF2-40B4-BE49-F238E27FC236}">
                    <a16:creationId xmlns:a16="http://schemas.microsoft.com/office/drawing/2014/main" id="{087C5CA1-8ECC-4B23-9218-F78F991E0BC1}"/>
                  </a:ext>
                </a:extLst>
              </p:cNvPr>
              <p:cNvSpPr/>
              <p:nvPr/>
            </p:nvSpPr>
            <p:spPr bwMode="gray">
              <a:xfrm flipV="1">
                <a:off x="9699601" y="4531570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25" name="Ellipse 544">
                <a:extLst>
                  <a:ext uri="{FF2B5EF4-FFF2-40B4-BE49-F238E27FC236}">
                    <a16:creationId xmlns:a16="http://schemas.microsoft.com/office/drawing/2014/main" id="{87C24E64-C99F-4F79-B752-EB177C3003D9}"/>
                  </a:ext>
                </a:extLst>
              </p:cNvPr>
              <p:cNvSpPr/>
              <p:nvPr/>
            </p:nvSpPr>
            <p:spPr bwMode="gray">
              <a:xfrm flipV="1">
                <a:off x="9539824" y="437487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26" name="Ellipse 545">
                <a:extLst>
                  <a:ext uri="{FF2B5EF4-FFF2-40B4-BE49-F238E27FC236}">
                    <a16:creationId xmlns:a16="http://schemas.microsoft.com/office/drawing/2014/main" id="{364C4A0D-C170-4B5E-813F-14EBF99FF9D5}"/>
                  </a:ext>
                </a:extLst>
              </p:cNvPr>
              <p:cNvSpPr/>
              <p:nvPr/>
            </p:nvSpPr>
            <p:spPr bwMode="gray">
              <a:xfrm flipV="1">
                <a:off x="9699601" y="421582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27" name="Ellipse 546">
                <a:extLst>
                  <a:ext uri="{FF2B5EF4-FFF2-40B4-BE49-F238E27FC236}">
                    <a16:creationId xmlns:a16="http://schemas.microsoft.com/office/drawing/2014/main" id="{09C24AE0-040E-4625-8188-41ADE5ACC7CB}"/>
                  </a:ext>
                </a:extLst>
              </p:cNvPr>
              <p:cNvSpPr/>
              <p:nvPr/>
            </p:nvSpPr>
            <p:spPr bwMode="gray">
              <a:xfrm flipV="1">
                <a:off x="9699601" y="3738635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28" name="Ellipse 547">
                <a:extLst>
                  <a:ext uri="{FF2B5EF4-FFF2-40B4-BE49-F238E27FC236}">
                    <a16:creationId xmlns:a16="http://schemas.microsoft.com/office/drawing/2014/main" id="{A5ED4CF8-784B-4ABD-84DD-EBFF99127632}"/>
                  </a:ext>
                </a:extLst>
              </p:cNvPr>
              <p:cNvSpPr/>
              <p:nvPr/>
            </p:nvSpPr>
            <p:spPr bwMode="gray">
              <a:xfrm flipV="1">
                <a:off x="9699601" y="342013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29" name="Ellipse 548">
                <a:extLst>
                  <a:ext uri="{FF2B5EF4-FFF2-40B4-BE49-F238E27FC236}">
                    <a16:creationId xmlns:a16="http://schemas.microsoft.com/office/drawing/2014/main" id="{8DF2554A-B32C-4A47-895F-134089A2D41F}"/>
                  </a:ext>
                </a:extLst>
              </p:cNvPr>
              <p:cNvSpPr/>
              <p:nvPr/>
            </p:nvSpPr>
            <p:spPr bwMode="gray">
              <a:xfrm flipV="1">
                <a:off x="9699601" y="325814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30" name="Ellipse 549">
                <a:extLst>
                  <a:ext uri="{FF2B5EF4-FFF2-40B4-BE49-F238E27FC236}">
                    <a16:creationId xmlns:a16="http://schemas.microsoft.com/office/drawing/2014/main" id="{D1923C23-7F1D-44DD-BF0C-42733F94535B}"/>
                  </a:ext>
                </a:extLst>
              </p:cNvPr>
              <p:cNvSpPr/>
              <p:nvPr/>
            </p:nvSpPr>
            <p:spPr bwMode="gray">
              <a:xfrm flipV="1">
                <a:off x="9539824" y="325814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31" name="Ellipse 550">
                <a:extLst>
                  <a:ext uri="{FF2B5EF4-FFF2-40B4-BE49-F238E27FC236}">
                    <a16:creationId xmlns:a16="http://schemas.microsoft.com/office/drawing/2014/main" id="{B2A30FEB-5186-48DB-80CD-088888402EFC}"/>
                  </a:ext>
                </a:extLst>
              </p:cNvPr>
              <p:cNvSpPr/>
              <p:nvPr/>
            </p:nvSpPr>
            <p:spPr bwMode="gray">
              <a:xfrm flipV="1">
                <a:off x="9539824" y="342013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32" name="Ellipse 551">
                <a:extLst>
                  <a:ext uri="{FF2B5EF4-FFF2-40B4-BE49-F238E27FC236}">
                    <a16:creationId xmlns:a16="http://schemas.microsoft.com/office/drawing/2014/main" id="{2CFA870D-46EF-493E-948B-6EAC605BD6DB}"/>
                  </a:ext>
                </a:extLst>
              </p:cNvPr>
              <p:cNvSpPr/>
              <p:nvPr/>
            </p:nvSpPr>
            <p:spPr bwMode="gray">
              <a:xfrm flipV="1">
                <a:off x="9539824" y="358075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33" name="Ellipse 552">
                <a:extLst>
                  <a:ext uri="{FF2B5EF4-FFF2-40B4-BE49-F238E27FC236}">
                    <a16:creationId xmlns:a16="http://schemas.microsoft.com/office/drawing/2014/main" id="{B947148B-D76A-4B10-8E37-81D56DFC17EF}"/>
                  </a:ext>
                </a:extLst>
              </p:cNvPr>
              <p:cNvSpPr/>
              <p:nvPr/>
            </p:nvSpPr>
            <p:spPr bwMode="gray">
              <a:xfrm flipV="1">
                <a:off x="9539824" y="3738635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34" name="Ellipse 553">
                <a:extLst>
                  <a:ext uri="{FF2B5EF4-FFF2-40B4-BE49-F238E27FC236}">
                    <a16:creationId xmlns:a16="http://schemas.microsoft.com/office/drawing/2014/main" id="{2700C59E-11BF-4E46-8A99-B50DD0737848}"/>
                  </a:ext>
                </a:extLst>
              </p:cNvPr>
              <p:cNvSpPr/>
              <p:nvPr/>
            </p:nvSpPr>
            <p:spPr bwMode="gray">
              <a:xfrm flipV="1">
                <a:off x="9539824" y="421582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35" name="Ellipse 554">
                <a:extLst>
                  <a:ext uri="{FF2B5EF4-FFF2-40B4-BE49-F238E27FC236}">
                    <a16:creationId xmlns:a16="http://schemas.microsoft.com/office/drawing/2014/main" id="{F87F63BA-5399-43E7-86F3-36F84BD6F7B9}"/>
                  </a:ext>
                </a:extLst>
              </p:cNvPr>
              <p:cNvSpPr/>
              <p:nvPr/>
            </p:nvSpPr>
            <p:spPr bwMode="gray">
              <a:xfrm flipV="1">
                <a:off x="9222199" y="325814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36" name="Ellipse 555">
                <a:extLst>
                  <a:ext uri="{FF2B5EF4-FFF2-40B4-BE49-F238E27FC236}">
                    <a16:creationId xmlns:a16="http://schemas.microsoft.com/office/drawing/2014/main" id="{BA780478-6BBB-4469-BC37-2C684AC339B7}"/>
                  </a:ext>
                </a:extLst>
              </p:cNvPr>
              <p:cNvSpPr/>
              <p:nvPr/>
            </p:nvSpPr>
            <p:spPr bwMode="gray">
              <a:xfrm flipV="1">
                <a:off x="9222199" y="342013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37" name="Ellipse 556">
                <a:extLst>
                  <a:ext uri="{FF2B5EF4-FFF2-40B4-BE49-F238E27FC236}">
                    <a16:creationId xmlns:a16="http://schemas.microsoft.com/office/drawing/2014/main" id="{5DE085F4-F518-4F77-AFC0-12DC3B772021}"/>
                  </a:ext>
                </a:extLst>
              </p:cNvPr>
              <p:cNvSpPr/>
              <p:nvPr/>
            </p:nvSpPr>
            <p:spPr bwMode="gray">
              <a:xfrm flipV="1">
                <a:off x="8746986" y="405756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38" name="Ellipse 557">
                <a:extLst>
                  <a:ext uri="{FF2B5EF4-FFF2-40B4-BE49-F238E27FC236}">
                    <a16:creationId xmlns:a16="http://schemas.microsoft.com/office/drawing/2014/main" id="{E1760F06-AA23-46F1-9D02-0D4253881D51}"/>
                  </a:ext>
                </a:extLst>
              </p:cNvPr>
              <p:cNvSpPr/>
              <p:nvPr/>
            </p:nvSpPr>
            <p:spPr bwMode="gray">
              <a:xfrm flipV="1">
                <a:off x="8905400" y="405756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39" name="Ellipse 558">
                <a:extLst>
                  <a:ext uri="{FF2B5EF4-FFF2-40B4-BE49-F238E27FC236}">
                    <a16:creationId xmlns:a16="http://schemas.microsoft.com/office/drawing/2014/main" id="{080C8B47-D3ED-4F4B-BEBC-F0002F64E1C3}"/>
                  </a:ext>
                </a:extLst>
              </p:cNvPr>
              <p:cNvSpPr/>
              <p:nvPr/>
            </p:nvSpPr>
            <p:spPr bwMode="gray">
              <a:xfrm flipV="1">
                <a:off x="8588694" y="405756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40" name="Ellipse 559">
                <a:extLst>
                  <a:ext uri="{FF2B5EF4-FFF2-40B4-BE49-F238E27FC236}">
                    <a16:creationId xmlns:a16="http://schemas.microsoft.com/office/drawing/2014/main" id="{1309A899-142D-41E7-BD32-549F49B158E5}"/>
                  </a:ext>
                </a:extLst>
              </p:cNvPr>
              <p:cNvSpPr/>
              <p:nvPr/>
            </p:nvSpPr>
            <p:spPr bwMode="gray">
              <a:xfrm flipV="1">
                <a:off x="8430043" y="421582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41" name="Ellipse 560">
                <a:extLst>
                  <a:ext uri="{FF2B5EF4-FFF2-40B4-BE49-F238E27FC236}">
                    <a16:creationId xmlns:a16="http://schemas.microsoft.com/office/drawing/2014/main" id="{A008CEFC-BFD6-4959-9C53-2761278447DF}"/>
                  </a:ext>
                </a:extLst>
              </p:cNvPr>
              <p:cNvSpPr/>
              <p:nvPr/>
            </p:nvSpPr>
            <p:spPr bwMode="gray">
              <a:xfrm flipV="1">
                <a:off x="7952113" y="325814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42" name="Ellipse 561">
                <a:extLst>
                  <a:ext uri="{FF2B5EF4-FFF2-40B4-BE49-F238E27FC236}">
                    <a16:creationId xmlns:a16="http://schemas.microsoft.com/office/drawing/2014/main" id="{95683065-AFC3-43E0-BA1F-2D3C3103CCAF}"/>
                  </a:ext>
                </a:extLst>
              </p:cNvPr>
              <p:cNvSpPr/>
              <p:nvPr/>
            </p:nvSpPr>
            <p:spPr bwMode="gray">
              <a:xfrm flipV="1">
                <a:off x="7952113" y="342013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43" name="Ellipse 562">
                <a:extLst>
                  <a:ext uri="{FF2B5EF4-FFF2-40B4-BE49-F238E27FC236}">
                    <a16:creationId xmlns:a16="http://schemas.microsoft.com/office/drawing/2014/main" id="{990C2D95-6692-4476-9101-5E716D578565}"/>
                  </a:ext>
                </a:extLst>
              </p:cNvPr>
              <p:cNvSpPr/>
              <p:nvPr/>
            </p:nvSpPr>
            <p:spPr bwMode="gray">
              <a:xfrm flipV="1">
                <a:off x="7952113" y="421582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44" name="Ellipse 563">
                <a:extLst>
                  <a:ext uri="{FF2B5EF4-FFF2-40B4-BE49-F238E27FC236}">
                    <a16:creationId xmlns:a16="http://schemas.microsoft.com/office/drawing/2014/main" id="{3D3779D1-5090-4C4D-AE3A-E3B5D321EDCB}"/>
                  </a:ext>
                </a:extLst>
              </p:cNvPr>
              <p:cNvSpPr/>
              <p:nvPr/>
            </p:nvSpPr>
            <p:spPr bwMode="gray">
              <a:xfrm flipV="1">
                <a:off x="8117728" y="421582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45" name="Ellipse 564">
                <a:extLst>
                  <a:ext uri="{FF2B5EF4-FFF2-40B4-BE49-F238E27FC236}">
                    <a16:creationId xmlns:a16="http://schemas.microsoft.com/office/drawing/2014/main" id="{AA1B5C47-E37D-4A2E-BAD2-2C787E8CF1DD}"/>
                  </a:ext>
                </a:extLst>
              </p:cNvPr>
              <p:cNvSpPr/>
              <p:nvPr/>
            </p:nvSpPr>
            <p:spPr bwMode="gray">
              <a:xfrm flipV="1">
                <a:off x="7793115" y="421582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46" name="Ellipse 565">
                <a:extLst>
                  <a:ext uri="{FF2B5EF4-FFF2-40B4-BE49-F238E27FC236}">
                    <a16:creationId xmlns:a16="http://schemas.microsoft.com/office/drawing/2014/main" id="{B451E885-D944-477E-BAFF-8AF404B9C606}"/>
                  </a:ext>
                </a:extLst>
              </p:cNvPr>
              <p:cNvSpPr/>
              <p:nvPr/>
            </p:nvSpPr>
            <p:spPr bwMode="gray">
              <a:xfrm flipV="1">
                <a:off x="7793115" y="405756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47" name="Ellipse 566">
                <a:extLst>
                  <a:ext uri="{FF2B5EF4-FFF2-40B4-BE49-F238E27FC236}">
                    <a16:creationId xmlns:a16="http://schemas.microsoft.com/office/drawing/2014/main" id="{7D668E70-5ADC-4B18-A430-6B8C3582D1CE}"/>
                  </a:ext>
                </a:extLst>
              </p:cNvPr>
              <p:cNvSpPr/>
              <p:nvPr/>
            </p:nvSpPr>
            <p:spPr bwMode="gray">
              <a:xfrm flipV="1">
                <a:off x="7630929" y="325814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48" name="Ellipse 567">
                <a:extLst>
                  <a:ext uri="{FF2B5EF4-FFF2-40B4-BE49-F238E27FC236}">
                    <a16:creationId xmlns:a16="http://schemas.microsoft.com/office/drawing/2014/main" id="{655CD890-A4FF-4926-B70A-63D6B14ECDC1}"/>
                  </a:ext>
                </a:extLst>
              </p:cNvPr>
              <p:cNvSpPr/>
              <p:nvPr/>
            </p:nvSpPr>
            <p:spPr bwMode="gray">
              <a:xfrm flipV="1">
                <a:off x="7478197" y="325814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49" name="Ellipse 568">
                <a:extLst>
                  <a:ext uri="{FF2B5EF4-FFF2-40B4-BE49-F238E27FC236}">
                    <a16:creationId xmlns:a16="http://schemas.microsoft.com/office/drawing/2014/main" id="{8267E6E3-229F-49FE-8022-B61AB3E9813C}"/>
                  </a:ext>
                </a:extLst>
              </p:cNvPr>
              <p:cNvSpPr/>
              <p:nvPr/>
            </p:nvSpPr>
            <p:spPr bwMode="gray">
              <a:xfrm flipV="1">
                <a:off x="7478197" y="358075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50" name="Ellipse 569">
                <a:extLst>
                  <a:ext uri="{FF2B5EF4-FFF2-40B4-BE49-F238E27FC236}">
                    <a16:creationId xmlns:a16="http://schemas.microsoft.com/office/drawing/2014/main" id="{27F9F955-044A-4AF1-BFCC-103775C4F06C}"/>
                  </a:ext>
                </a:extLst>
              </p:cNvPr>
              <p:cNvSpPr/>
              <p:nvPr/>
            </p:nvSpPr>
            <p:spPr bwMode="gray">
              <a:xfrm flipV="1">
                <a:off x="7478197" y="421582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51" name="Ellipse 570">
                <a:extLst>
                  <a:ext uri="{FF2B5EF4-FFF2-40B4-BE49-F238E27FC236}">
                    <a16:creationId xmlns:a16="http://schemas.microsoft.com/office/drawing/2014/main" id="{461ED46F-2C61-4B91-820D-76B55EC021F4}"/>
                  </a:ext>
                </a:extLst>
              </p:cNvPr>
              <p:cNvSpPr/>
              <p:nvPr/>
            </p:nvSpPr>
            <p:spPr bwMode="gray">
              <a:xfrm flipV="1">
                <a:off x="7319820" y="421582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52" name="Ellipse 571">
                <a:extLst>
                  <a:ext uri="{FF2B5EF4-FFF2-40B4-BE49-F238E27FC236}">
                    <a16:creationId xmlns:a16="http://schemas.microsoft.com/office/drawing/2014/main" id="{EE6F0108-11DD-4494-8B4B-D817FB291A88}"/>
                  </a:ext>
                </a:extLst>
              </p:cNvPr>
              <p:cNvSpPr/>
              <p:nvPr/>
            </p:nvSpPr>
            <p:spPr bwMode="gray">
              <a:xfrm flipV="1">
                <a:off x="7319820" y="437487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53" name="Ellipse 572">
                <a:extLst>
                  <a:ext uri="{FF2B5EF4-FFF2-40B4-BE49-F238E27FC236}">
                    <a16:creationId xmlns:a16="http://schemas.microsoft.com/office/drawing/2014/main" id="{3DE3E1B1-1E6D-4655-BD7C-6C7322018019}"/>
                  </a:ext>
                </a:extLst>
              </p:cNvPr>
              <p:cNvSpPr/>
              <p:nvPr/>
            </p:nvSpPr>
            <p:spPr bwMode="gray">
              <a:xfrm flipV="1">
                <a:off x="7319820" y="4531570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54" name="Ellipse 573">
                <a:extLst>
                  <a:ext uri="{FF2B5EF4-FFF2-40B4-BE49-F238E27FC236}">
                    <a16:creationId xmlns:a16="http://schemas.microsoft.com/office/drawing/2014/main" id="{CF2D286E-F497-4A70-AA9C-90F668E963DA}"/>
                  </a:ext>
                </a:extLst>
              </p:cNvPr>
              <p:cNvSpPr/>
              <p:nvPr/>
            </p:nvSpPr>
            <p:spPr bwMode="gray">
              <a:xfrm flipV="1">
                <a:off x="7319820" y="3738635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55" name="Ellipse 574">
                <a:extLst>
                  <a:ext uri="{FF2B5EF4-FFF2-40B4-BE49-F238E27FC236}">
                    <a16:creationId xmlns:a16="http://schemas.microsoft.com/office/drawing/2014/main" id="{C63B1E75-CA24-4D98-ACD7-D3FC093B67F2}"/>
                  </a:ext>
                </a:extLst>
              </p:cNvPr>
              <p:cNvSpPr/>
              <p:nvPr/>
            </p:nvSpPr>
            <p:spPr bwMode="gray">
              <a:xfrm flipV="1">
                <a:off x="7319820" y="342013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56" name="Ellipse 575">
                <a:extLst>
                  <a:ext uri="{FF2B5EF4-FFF2-40B4-BE49-F238E27FC236}">
                    <a16:creationId xmlns:a16="http://schemas.microsoft.com/office/drawing/2014/main" id="{B1665BB8-433F-45E6-B63C-555CA734B445}"/>
                  </a:ext>
                </a:extLst>
              </p:cNvPr>
              <p:cNvSpPr/>
              <p:nvPr/>
            </p:nvSpPr>
            <p:spPr bwMode="gray">
              <a:xfrm flipV="1">
                <a:off x="7319820" y="325814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57" name="Ellipse 576">
                <a:extLst>
                  <a:ext uri="{FF2B5EF4-FFF2-40B4-BE49-F238E27FC236}">
                    <a16:creationId xmlns:a16="http://schemas.microsoft.com/office/drawing/2014/main" id="{0BD512FF-92A8-4276-928E-6B2597F39A17}"/>
                  </a:ext>
                </a:extLst>
              </p:cNvPr>
              <p:cNvSpPr/>
              <p:nvPr/>
            </p:nvSpPr>
            <p:spPr bwMode="gray">
              <a:xfrm flipV="1">
                <a:off x="7319820" y="310012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58" name="Ellipse 577">
                <a:extLst>
                  <a:ext uri="{FF2B5EF4-FFF2-40B4-BE49-F238E27FC236}">
                    <a16:creationId xmlns:a16="http://schemas.microsoft.com/office/drawing/2014/main" id="{551A91B8-50A5-4479-BC56-12F3866B7DA4}"/>
                  </a:ext>
                </a:extLst>
              </p:cNvPr>
              <p:cNvSpPr/>
              <p:nvPr/>
            </p:nvSpPr>
            <p:spPr bwMode="gray">
              <a:xfrm flipV="1">
                <a:off x="7319820" y="2883694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59" name="Ellipse 578">
                <a:extLst>
                  <a:ext uri="{FF2B5EF4-FFF2-40B4-BE49-F238E27FC236}">
                    <a16:creationId xmlns:a16="http://schemas.microsoft.com/office/drawing/2014/main" id="{6E2423BC-CBB5-4A1B-A56B-7CFCC3F5FD21}"/>
                  </a:ext>
                </a:extLst>
              </p:cNvPr>
              <p:cNvSpPr/>
              <p:nvPr/>
            </p:nvSpPr>
            <p:spPr bwMode="gray">
              <a:xfrm flipV="1">
                <a:off x="7158246" y="310012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60" name="Ellipse 579">
                <a:extLst>
                  <a:ext uri="{FF2B5EF4-FFF2-40B4-BE49-F238E27FC236}">
                    <a16:creationId xmlns:a16="http://schemas.microsoft.com/office/drawing/2014/main" id="{5828B9D2-D27C-4E41-826F-D8A1CCC2EEB6}"/>
                  </a:ext>
                </a:extLst>
              </p:cNvPr>
              <p:cNvSpPr/>
              <p:nvPr/>
            </p:nvSpPr>
            <p:spPr bwMode="gray">
              <a:xfrm flipV="1">
                <a:off x="7158246" y="2883694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61" name="Ellipse 580">
                <a:extLst>
                  <a:ext uri="{FF2B5EF4-FFF2-40B4-BE49-F238E27FC236}">
                    <a16:creationId xmlns:a16="http://schemas.microsoft.com/office/drawing/2014/main" id="{624CA268-6D31-4339-981B-0763967E319F}"/>
                  </a:ext>
                </a:extLst>
              </p:cNvPr>
              <p:cNvSpPr/>
              <p:nvPr/>
            </p:nvSpPr>
            <p:spPr bwMode="gray">
              <a:xfrm flipV="1">
                <a:off x="6997970" y="310012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62" name="Ellipse 581">
                <a:extLst>
                  <a:ext uri="{FF2B5EF4-FFF2-40B4-BE49-F238E27FC236}">
                    <a16:creationId xmlns:a16="http://schemas.microsoft.com/office/drawing/2014/main" id="{7086B485-9AF3-4805-B204-910D21B92F7D}"/>
                  </a:ext>
                </a:extLst>
              </p:cNvPr>
              <p:cNvSpPr/>
              <p:nvPr/>
            </p:nvSpPr>
            <p:spPr bwMode="gray">
              <a:xfrm flipV="1">
                <a:off x="7158246" y="3738635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63" name="Ellipse 582">
                <a:extLst>
                  <a:ext uri="{FF2B5EF4-FFF2-40B4-BE49-F238E27FC236}">
                    <a16:creationId xmlns:a16="http://schemas.microsoft.com/office/drawing/2014/main" id="{5015422E-64F6-4A8A-BD57-C2DD631215EB}"/>
                  </a:ext>
                </a:extLst>
              </p:cNvPr>
              <p:cNvSpPr/>
              <p:nvPr/>
            </p:nvSpPr>
            <p:spPr bwMode="gray">
              <a:xfrm flipV="1">
                <a:off x="6997970" y="405756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64" name="Ellipse 583">
                <a:extLst>
                  <a:ext uri="{FF2B5EF4-FFF2-40B4-BE49-F238E27FC236}">
                    <a16:creationId xmlns:a16="http://schemas.microsoft.com/office/drawing/2014/main" id="{5CE5F786-1BF1-4056-B8F3-2E7C2F3D4FB6}"/>
                  </a:ext>
                </a:extLst>
              </p:cNvPr>
              <p:cNvSpPr/>
              <p:nvPr/>
            </p:nvSpPr>
            <p:spPr bwMode="gray">
              <a:xfrm flipV="1">
                <a:off x="6997970" y="421582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65" name="Ellipse 584">
                <a:extLst>
                  <a:ext uri="{FF2B5EF4-FFF2-40B4-BE49-F238E27FC236}">
                    <a16:creationId xmlns:a16="http://schemas.microsoft.com/office/drawing/2014/main" id="{64FB1B33-0A59-48B5-BAB4-E81F758B4815}"/>
                  </a:ext>
                </a:extLst>
              </p:cNvPr>
              <p:cNvSpPr/>
              <p:nvPr/>
            </p:nvSpPr>
            <p:spPr bwMode="gray">
              <a:xfrm flipV="1">
                <a:off x="6997970" y="389880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66" name="Ellipse 585">
                <a:extLst>
                  <a:ext uri="{FF2B5EF4-FFF2-40B4-BE49-F238E27FC236}">
                    <a16:creationId xmlns:a16="http://schemas.microsoft.com/office/drawing/2014/main" id="{BE955D0E-7CD7-485B-8E8F-C04EEB3C65CB}"/>
                  </a:ext>
                </a:extLst>
              </p:cNvPr>
              <p:cNvSpPr/>
              <p:nvPr/>
            </p:nvSpPr>
            <p:spPr bwMode="gray">
              <a:xfrm flipV="1">
                <a:off x="6997970" y="3738635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67" name="Ellipse 586">
                <a:extLst>
                  <a:ext uri="{FF2B5EF4-FFF2-40B4-BE49-F238E27FC236}">
                    <a16:creationId xmlns:a16="http://schemas.microsoft.com/office/drawing/2014/main" id="{03630611-3F27-41DE-B085-D7971F9506C0}"/>
                  </a:ext>
                </a:extLst>
              </p:cNvPr>
              <p:cNvSpPr/>
              <p:nvPr/>
            </p:nvSpPr>
            <p:spPr bwMode="gray">
              <a:xfrm flipV="1">
                <a:off x="6997970" y="325814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68" name="Ellipse 587">
                <a:extLst>
                  <a:ext uri="{FF2B5EF4-FFF2-40B4-BE49-F238E27FC236}">
                    <a16:creationId xmlns:a16="http://schemas.microsoft.com/office/drawing/2014/main" id="{DE5F3DDD-9978-4279-98C4-91B9F2195532}"/>
                  </a:ext>
                </a:extLst>
              </p:cNvPr>
              <p:cNvSpPr/>
              <p:nvPr/>
            </p:nvSpPr>
            <p:spPr bwMode="gray">
              <a:xfrm flipV="1">
                <a:off x="6841223" y="325814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69" name="Ellipse 588">
                <a:extLst>
                  <a:ext uri="{FF2B5EF4-FFF2-40B4-BE49-F238E27FC236}">
                    <a16:creationId xmlns:a16="http://schemas.microsoft.com/office/drawing/2014/main" id="{1CE8A6FD-F243-4CC3-B82B-59DB1C2A6762}"/>
                  </a:ext>
                </a:extLst>
              </p:cNvPr>
              <p:cNvSpPr/>
              <p:nvPr/>
            </p:nvSpPr>
            <p:spPr bwMode="gray">
              <a:xfrm flipV="1">
                <a:off x="6841223" y="342013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70" name="Ellipse 589">
                <a:extLst>
                  <a:ext uri="{FF2B5EF4-FFF2-40B4-BE49-F238E27FC236}">
                    <a16:creationId xmlns:a16="http://schemas.microsoft.com/office/drawing/2014/main" id="{2CA4933F-6009-426E-904B-4A38C6833436}"/>
                  </a:ext>
                </a:extLst>
              </p:cNvPr>
              <p:cNvSpPr/>
              <p:nvPr/>
            </p:nvSpPr>
            <p:spPr bwMode="gray">
              <a:xfrm flipV="1">
                <a:off x="6841223" y="358075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71" name="Ellipse 590">
                <a:extLst>
                  <a:ext uri="{FF2B5EF4-FFF2-40B4-BE49-F238E27FC236}">
                    <a16:creationId xmlns:a16="http://schemas.microsoft.com/office/drawing/2014/main" id="{AF87A7C0-F93A-4248-9425-91C8C5F26EE8}"/>
                  </a:ext>
                </a:extLst>
              </p:cNvPr>
              <p:cNvSpPr/>
              <p:nvPr/>
            </p:nvSpPr>
            <p:spPr bwMode="gray">
              <a:xfrm flipV="1">
                <a:off x="6841223" y="389880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72" name="Ellipse 591">
                <a:extLst>
                  <a:ext uri="{FF2B5EF4-FFF2-40B4-BE49-F238E27FC236}">
                    <a16:creationId xmlns:a16="http://schemas.microsoft.com/office/drawing/2014/main" id="{B028A62C-A12D-4E98-85A0-66D4E67FE0A3}"/>
                  </a:ext>
                </a:extLst>
              </p:cNvPr>
              <p:cNvSpPr/>
              <p:nvPr/>
            </p:nvSpPr>
            <p:spPr bwMode="gray">
              <a:xfrm flipV="1">
                <a:off x="6841223" y="405756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73" name="Ellipse 592">
                <a:extLst>
                  <a:ext uri="{FF2B5EF4-FFF2-40B4-BE49-F238E27FC236}">
                    <a16:creationId xmlns:a16="http://schemas.microsoft.com/office/drawing/2014/main" id="{94BB5F92-F77C-4764-9A34-8616EAF2B620}"/>
                  </a:ext>
                </a:extLst>
              </p:cNvPr>
              <p:cNvSpPr/>
              <p:nvPr/>
            </p:nvSpPr>
            <p:spPr bwMode="gray">
              <a:xfrm flipV="1">
                <a:off x="6841223" y="421582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74" name="Ellipse 593">
                <a:extLst>
                  <a:ext uri="{FF2B5EF4-FFF2-40B4-BE49-F238E27FC236}">
                    <a16:creationId xmlns:a16="http://schemas.microsoft.com/office/drawing/2014/main" id="{AD7C48A8-14B9-44CE-BA7F-DD6BE6C67285}"/>
                  </a:ext>
                </a:extLst>
              </p:cNvPr>
              <p:cNvSpPr/>
              <p:nvPr/>
            </p:nvSpPr>
            <p:spPr bwMode="gray">
              <a:xfrm flipV="1">
                <a:off x="6680912" y="389880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75" name="Ellipse 594">
                <a:extLst>
                  <a:ext uri="{FF2B5EF4-FFF2-40B4-BE49-F238E27FC236}">
                    <a16:creationId xmlns:a16="http://schemas.microsoft.com/office/drawing/2014/main" id="{FF015CD0-B811-420D-88CE-818205D185FE}"/>
                  </a:ext>
                </a:extLst>
              </p:cNvPr>
              <p:cNvSpPr/>
              <p:nvPr/>
            </p:nvSpPr>
            <p:spPr bwMode="gray">
              <a:xfrm flipV="1">
                <a:off x="6680912" y="405756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76" name="Ellipse 595">
                <a:extLst>
                  <a:ext uri="{FF2B5EF4-FFF2-40B4-BE49-F238E27FC236}">
                    <a16:creationId xmlns:a16="http://schemas.microsoft.com/office/drawing/2014/main" id="{856781B2-7DBD-4F86-966A-47F6EBE50D6F}"/>
                  </a:ext>
                </a:extLst>
              </p:cNvPr>
              <p:cNvSpPr/>
              <p:nvPr/>
            </p:nvSpPr>
            <p:spPr bwMode="gray">
              <a:xfrm flipV="1">
                <a:off x="6680912" y="421582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77" name="Ellipse 596">
                <a:extLst>
                  <a:ext uri="{FF2B5EF4-FFF2-40B4-BE49-F238E27FC236}">
                    <a16:creationId xmlns:a16="http://schemas.microsoft.com/office/drawing/2014/main" id="{8FF20774-07A6-42B2-9023-6C7DFBBF58BC}"/>
                  </a:ext>
                </a:extLst>
              </p:cNvPr>
              <p:cNvSpPr/>
              <p:nvPr/>
            </p:nvSpPr>
            <p:spPr bwMode="gray">
              <a:xfrm flipV="1">
                <a:off x="6680912" y="437487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78" name="Ellipse 597">
                <a:extLst>
                  <a:ext uri="{FF2B5EF4-FFF2-40B4-BE49-F238E27FC236}">
                    <a16:creationId xmlns:a16="http://schemas.microsoft.com/office/drawing/2014/main" id="{E8AD00E3-70D9-4092-84DD-2127A58BA7E9}"/>
                  </a:ext>
                </a:extLst>
              </p:cNvPr>
              <p:cNvSpPr/>
              <p:nvPr/>
            </p:nvSpPr>
            <p:spPr bwMode="gray">
              <a:xfrm flipV="1">
                <a:off x="6680912" y="358075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79" name="Ellipse 598">
                <a:extLst>
                  <a:ext uri="{FF2B5EF4-FFF2-40B4-BE49-F238E27FC236}">
                    <a16:creationId xmlns:a16="http://schemas.microsoft.com/office/drawing/2014/main" id="{DE14DD7B-148D-4416-AB11-ED5C29BE8621}"/>
                  </a:ext>
                </a:extLst>
              </p:cNvPr>
              <p:cNvSpPr/>
              <p:nvPr/>
            </p:nvSpPr>
            <p:spPr bwMode="gray">
              <a:xfrm flipV="1">
                <a:off x="6680912" y="325814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80" name="Ellipse 599">
                <a:extLst>
                  <a:ext uri="{FF2B5EF4-FFF2-40B4-BE49-F238E27FC236}">
                    <a16:creationId xmlns:a16="http://schemas.microsoft.com/office/drawing/2014/main" id="{42E455EF-E5E2-4CC7-BCB6-C7A6DFC7C546}"/>
                  </a:ext>
                </a:extLst>
              </p:cNvPr>
              <p:cNvSpPr/>
              <p:nvPr/>
            </p:nvSpPr>
            <p:spPr bwMode="gray">
              <a:xfrm flipV="1">
                <a:off x="6680912" y="310012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81" name="Ellipse 600">
                <a:extLst>
                  <a:ext uri="{FF2B5EF4-FFF2-40B4-BE49-F238E27FC236}">
                    <a16:creationId xmlns:a16="http://schemas.microsoft.com/office/drawing/2014/main" id="{F052DA4E-722B-4F34-A977-B4183EF3FE35}"/>
                  </a:ext>
                </a:extLst>
              </p:cNvPr>
              <p:cNvSpPr/>
              <p:nvPr/>
            </p:nvSpPr>
            <p:spPr bwMode="gray">
              <a:xfrm flipV="1">
                <a:off x="6522282" y="325814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82" name="Ellipse 601">
                <a:extLst>
                  <a:ext uri="{FF2B5EF4-FFF2-40B4-BE49-F238E27FC236}">
                    <a16:creationId xmlns:a16="http://schemas.microsoft.com/office/drawing/2014/main" id="{05C73F66-32E6-49FF-AA84-0529CE8EFB44}"/>
                  </a:ext>
                </a:extLst>
              </p:cNvPr>
              <p:cNvSpPr/>
              <p:nvPr/>
            </p:nvSpPr>
            <p:spPr bwMode="gray">
              <a:xfrm flipV="1">
                <a:off x="6522282" y="310012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83" name="Ellipse 602">
                <a:extLst>
                  <a:ext uri="{FF2B5EF4-FFF2-40B4-BE49-F238E27FC236}">
                    <a16:creationId xmlns:a16="http://schemas.microsoft.com/office/drawing/2014/main" id="{90D55107-D51F-4E3E-95C2-77C2FD7F571B}"/>
                  </a:ext>
                </a:extLst>
              </p:cNvPr>
              <p:cNvSpPr/>
              <p:nvPr/>
            </p:nvSpPr>
            <p:spPr bwMode="gray">
              <a:xfrm flipV="1">
                <a:off x="6841223" y="3738635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84" name="Ellipse 603">
                <a:extLst>
                  <a:ext uri="{FF2B5EF4-FFF2-40B4-BE49-F238E27FC236}">
                    <a16:creationId xmlns:a16="http://schemas.microsoft.com/office/drawing/2014/main" id="{9DB538A1-F5BF-43CB-BBB3-6F6BBF76A05A}"/>
                  </a:ext>
                </a:extLst>
              </p:cNvPr>
              <p:cNvSpPr/>
              <p:nvPr/>
            </p:nvSpPr>
            <p:spPr bwMode="gray">
              <a:xfrm flipV="1">
                <a:off x="6522282" y="358075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85" name="Ellipse 604">
                <a:extLst>
                  <a:ext uri="{FF2B5EF4-FFF2-40B4-BE49-F238E27FC236}">
                    <a16:creationId xmlns:a16="http://schemas.microsoft.com/office/drawing/2014/main" id="{ECAF4AA1-6805-4CDF-8EFA-1D169C44A86E}"/>
                  </a:ext>
                </a:extLst>
              </p:cNvPr>
              <p:cNvSpPr/>
              <p:nvPr/>
            </p:nvSpPr>
            <p:spPr bwMode="gray">
              <a:xfrm flipV="1">
                <a:off x="6522282" y="389880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86" name="Ellipse 605">
                <a:extLst>
                  <a:ext uri="{FF2B5EF4-FFF2-40B4-BE49-F238E27FC236}">
                    <a16:creationId xmlns:a16="http://schemas.microsoft.com/office/drawing/2014/main" id="{20D5A9EA-DAB1-4C93-A89A-0887868A3C2F}"/>
                  </a:ext>
                </a:extLst>
              </p:cNvPr>
              <p:cNvSpPr/>
              <p:nvPr/>
            </p:nvSpPr>
            <p:spPr bwMode="gray">
              <a:xfrm flipV="1">
                <a:off x="6522282" y="405756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87" name="Ellipse 606">
                <a:extLst>
                  <a:ext uri="{FF2B5EF4-FFF2-40B4-BE49-F238E27FC236}">
                    <a16:creationId xmlns:a16="http://schemas.microsoft.com/office/drawing/2014/main" id="{A6B2172C-6114-4FD4-B6F5-0F041A403864}"/>
                  </a:ext>
                </a:extLst>
              </p:cNvPr>
              <p:cNvSpPr/>
              <p:nvPr/>
            </p:nvSpPr>
            <p:spPr bwMode="gray">
              <a:xfrm flipV="1">
                <a:off x="6522282" y="421582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88" name="Ellipse 607">
                <a:extLst>
                  <a:ext uri="{FF2B5EF4-FFF2-40B4-BE49-F238E27FC236}">
                    <a16:creationId xmlns:a16="http://schemas.microsoft.com/office/drawing/2014/main" id="{4D8C753C-FC27-424A-B42D-9B731B735CE6}"/>
                  </a:ext>
                </a:extLst>
              </p:cNvPr>
              <p:cNvSpPr/>
              <p:nvPr/>
            </p:nvSpPr>
            <p:spPr bwMode="gray">
              <a:xfrm flipV="1">
                <a:off x="6522282" y="3738635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89" name="Ellipse 608">
                <a:extLst>
                  <a:ext uri="{FF2B5EF4-FFF2-40B4-BE49-F238E27FC236}">
                    <a16:creationId xmlns:a16="http://schemas.microsoft.com/office/drawing/2014/main" id="{607D5929-7F72-4B32-9E8E-7EFD3F8359BD}"/>
                  </a:ext>
                </a:extLst>
              </p:cNvPr>
              <p:cNvSpPr/>
              <p:nvPr/>
            </p:nvSpPr>
            <p:spPr bwMode="gray">
              <a:xfrm flipV="1">
                <a:off x="6522282" y="437487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90" name="Ellipse 609">
                <a:extLst>
                  <a:ext uri="{FF2B5EF4-FFF2-40B4-BE49-F238E27FC236}">
                    <a16:creationId xmlns:a16="http://schemas.microsoft.com/office/drawing/2014/main" id="{027BEAB0-2A0A-4A98-90CE-C19BE48334A4}"/>
                  </a:ext>
                </a:extLst>
              </p:cNvPr>
              <p:cNvSpPr/>
              <p:nvPr/>
            </p:nvSpPr>
            <p:spPr bwMode="gray">
              <a:xfrm flipV="1">
                <a:off x="6370164" y="437487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91" name="Ellipse 610">
                <a:extLst>
                  <a:ext uri="{FF2B5EF4-FFF2-40B4-BE49-F238E27FC236}">
                    <a16:creationId xmlns:a16="http://schemas.microsoft.com/office/drawing/2014/main" id="{7D0599A0-2493-45E1-8404-CF6FA6261AD3}"/>
                  </a:ext>
                </a:extLst>
              </p:cNvPr>
              <p:cNvSpPr/>
              <p:nvPr/>
            </p:nvSpPr>
            <p:spPr bwMode="gray">
              <a:xfrm flipV="1">
                <a:off x="6370164" y="4531570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92" name="Ellipse 611">
                <a:extLst>
                  <a:ext uri="{FF2B5EF4-FFF2-40B4-BE49-F238E27FC236}">
                    <a16:creationId xmlns:a16="http://schemas.microsoft.com/office/drawing/2014/main" id="{14798AFF-EF10-4891-A352-165BDE7AC988}"/>
                  </a:ext>
                </a:extLst>
              </p:cNvPr>
              <p:cNvSpPr/>
              <p:nvPr/>
            </p:nvSpPr>
            <p:spPr bwMode="gray">
              <a:xfrm flipV="1">
                <a:off x="6370164" y="389880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93" name="Ellipse 612">
                <a:extLst>
                  <a:ext uri="{FF2B5EF4-FFF2-40B4-BE49-F238E27FC236}">
                    <a16:creationId xmlns:a16="http://schemas.microsoft.com/office/drawing/2014/main" id="{B37E6606-DD25-475E-923E-0D2C54386F5D}"/>
                  </a:ext>
                </a:extLst>
              </p:cNvPr>
              <p:cNvSpPr/>
              <p:nvPr/>
            </p:nvSpPr>
            <p:spPr bwMode="gray">
              <a:xfrm flipV="1">
                <a:off x="6370164" y="405756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94" name="Ellipse 613">
                <a:extLst>
                  <a:ext uri="{FF2B5EF4-FFF2-40B4-BE49-F238E27FC236}">
                    <a16:creationId xmlns:a16="http://schemas.microsoft.com/office/drawing/2014/main" id="{1FFC1709-D8A7-4942-9EBE-59078038E6FE}"/>
                  </a:ext>
                </a:extLst>
              </p:cNvPr>
              <p:cNvSpPr/>
              <p:nvPr/>
            </p:nvSpPr>
            <p:spPr bwMode="gray">
              <a:xfrm flipV="1">
                <a:off x="6370164" y="3738635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95" name="Ellipse 614">
                <a:extLst>
                  <a:ext uri="{FF2B5EF4-FFF2-40B4-BE49-F238E27FC236}">
                    <a16:creationId xmlns:a16="http://schemas.microsoft.com/office/drawing/2014/main" id="{36DA3E4E-94EB-474F-AE6E-770CD03BA39A}"/>
                  </a:ext>
                </a:extLst>
              </p:cNvPr>
              <p:cNvSpPr/>
              <p:nvPr/>
            </p:nvSpPr>
            <p:spPr bwMode="gray">
              <a:xfrm flipV="1">
                <a:off x="6370164" y="342013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96" name="Ellipse 615">
                <a:extLst>
                  <a:ext uri="{FF2B5EF4-FFF2-40B4-BE49-F238E27FC236}">
                    <a16:creationId xmlns:a16="http://schemas.microsoft.com/office/drawing/2014/main" id="{08F63E1C-4E44-489E-AF5F-793008BAAE0E}"/>
                  </a:ext>
                </a:extLst>
              </p:cNvPr>
              <p:cNvSpPr/>
              <p:nvPr/>
            </p:nvSpPr>
            <p:spPr bwMode="gray">
              <a:xfrm flipV="1">
                <a:off x="6370164" y="325814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97" name="Ellipse 616">
                <a:extLst>
                  <a:ext uri="{FF2B5EF4-FFF2-40B4-BE49-F238E27FC236}">
                    <a16:creationId xmlns:a16="http://schemas.microsoft.com/office/drawing/2014/main" id="{1A7DCD0E-8229-4058-8750-7E2DAD7B5F37}"/>
                  </a:ext>
                </a:extLst>
              </p:cNvPr>
              <p:cNvSpPr/>
              <p:nvPr/>
            </p:nvSpPr>
            <p:spPr bwMode="gray">
              <a:xfrm flipV="1">
                <a:off x="6201727" y="325814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98" name="Ellipse 617">
                <a:extLst>
                  <a:ext uri="{FF2B5EF4-FFF2-40B4-BE49-F238E27FC236}">
                    <a16:creationId xmlns:a16="http://schemas.microsoft.com/office/drawing/2014/main" id="{DA963C4C-BF80-4E96-A973-0275AA9616F8}"/>
                  </a:ext>
                </a:extLst>
              </p:cNvPr>
              <p:cNvSpPr/>
              <p:nvPr/>
            </p:nvSpPr>
            <p:spPr bwMode="gray">
              <a:xfrm flipV="1">
                <a:off x="6201727" y="342013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299" name="Ellipse 618">
                <a:extLst>
                  <a:ext uri="{FF2B5EF4-FFF2-40B4-BE49-F238E27FC236}">
                    <a16:creationId xmlns:a16="http://schemas.microsoft.com/office/drawing/2014/main" id="{46FE18B8-E841-486D-BB2D-EBF8C11CDB33}"/>
                  </a:ext>
                </a:extLst>
              </p:cNvPr>
              <p:cNvSpPr/>
              <p:nvPr/>
            </p:nvSpPr>
            <p:spPr bwMode="gray">
              <a:xfrm flipV="1">
                <a:off x="6201727" y="358075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300" name="Ellipse 619">
                <a:extLst>
                  <a:ext uri="{FF2B5EF4-FFF2-40B4-BE49-F238E27FC236}">
                    <a16:creationId xmlns:a16="http://schemas.microsoft.com/office/drawing/2014/main" id="{6778753B-81B2-467B-AD3A-3EA66E723144}"/>
                  </a:ext>
                </a:extLst>
              </p:cNvPr>
              <p:cNvSpPr/>
              <p:nvPr/>
            </p:nvSpPr>
            <p:spPr bwMode="gray">
              <a:xfrm flipV="1">
                <a:off x="6201727" y="3738635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301" name="Ellipse 620">
                <a:extLst>
                  <a:ext uri="{FF2B5EF4-FFF2-40B4-BE49-F238E27FC236}">
                    <a16:creationId xmlns:a16="http://schemas.microsoft.com/office/drawing/2014/main" id="{261128BB-DBF0-446D-8216-D7756A63BFC5}"/>
                  </a:ext>
                </a:extLst>
              </p:cNvPr>
              <p:cNvSpPr/>
              <p:nvPr/>
            </p:nvSpPr>
            <p:spPr bwMode="gray">
              <a:xfrm flipV="1">
                <a:off x="6201727" y="389880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302" name="Ellipse 621">
                <a:extLst>
                  <a:ext uri="{FF2B5EF4-FFF2-40B4-BE49-F238E27FC236}">
                    <a16:creationId xmlns:a16="http://schemas.microsoft.com/office/drawing/2014/main" id="{24CDB27C-BFB0-4891-A1B9-1CFB1E54A01B}"/>
                  </a:ext>
                </a:extLst>
              </p:cNvPr>
              <p:cNvSpPr/>
              <p:nvPr/>
            </p:nvSpPr>
            <p:spPr bwMode="gray">
              <a:xfrm flipV="1">
                <a:off x="6049318" y="325814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303" name="Ellipse 622">
                <a:extLst>
                  <a:ext uri="{FF2B5EF4-FFF2-40B4-BE49-F238E27FC236}">
                    <a16:creationId xmlns:a16="http://schemas.microsoft.com/office/drawing/2014/main" id="{66EECA24-166D-4D0C-B149-49BD78898D9A}"/>
                  </a:ext>
                </a:extLst>
              </p:cNvPr>
              <p:cNvSpPr/>
              <p:nvPr/>
            </p:nvSpPr>
            <p:spPr bwMode="gray">
              <a:xfrm flipV="1">
                <a:off x="5884973" y="325814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304" name="Ellipse 623">
                <a:extLst>
                  <a:ext uri="{FF2B5EF4-FFF2-40B4-BE49-F238E27FC236}">
                    <a16:creationId xmlns:a16="http://schemas.microsoft.com/office/drawing/2014/main" id="{D0909A76-90CC-4127-B4DF-06D92EAD36B0}"/>
                  </a:ext>
                </a:extLst>
              </p:cNvPr>
              <p:cNvSpPr/>
              <p:nvPr/>
            </p:nvSpPr>
            <p:spPr bwMode="gray">
              <a:xfrm flipV="1">
                <a:off x="5884973" y="358075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305" name="Ellipse 624">
                <a:extLst>
                  <a:ext uri="{FF2B5EF4-FFF2-40B4-BE49-F238E27FC236}">
                    <a16:creationId xmlns:a16="http://schemas.microsoft.com/office/drawing/2014/main" id="{DA3FE0E9-A262-41CE-9757-8730B99571DE}"/>
                  </a:ext>
                </a:extLst>
              </p:cNvPr>
              <p:cNvSpPr/>
              <p:nvPr/>
            </p:nvSpPr>
            <p:spPr bwMode="gray">
              <a:xfrm flipV="1">
                <a:off x="5884973" y="389880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306" name="Ellipse 625">
                <a:extLst>
                  <a:ext uri="{FF2B5EF4-FFF2-40B4-BE49-F238E27FC236}">
                    <a16:creationId xmlns:a16="http://schemas.microsoft.com/office/drawing/2014/main" id="{35268D1F-ACBC-4D37-B9F1-F511A8149FB3}"/>
                  </a:ext>
                </a:extLst>
              </p:cNvPr>
              <p:cNvSpPr/>
              <p:nvPr/>
            </p:nvSpPr>
            <p:spPr bwMode="gray">
              <a:xfrm flipV="1">
                <a:off x="5884973" y="405756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307" name="Ellipse 626">
                <a:extLst>
                  <a:ext uri="{FF2B5EF4-FFF2-40B4-BE49-F238E27FC236}">
                    <a16:creationId xmlns:a16="http://schemas.microsoft.com/office/drawing/2014/main" id="{6ABD01A0-8B44-4A75-BDA8-A2804D9A76A2}"/>
                  </a:ext>
                </a:extLst>
              </p:cNvPr>
              <p:cNvSpPr/>
              <p:nvPr/>
            </p:nvSpPr>
            <p:spPr bwMode="gray">
              <a:xfrm flipV="1">
                <a:off x="6049318" y="389880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308" name="Ellipse 627">
                <a:extLst>
                  <a:ext uri="{FF2B5EF4-FFF2-40B4-BE49-F238E27FC236}">
                    <a16:creationId xmlns:a16="http://schemas.microsoft.com/office/drawing/2014/main" id="{14FEE89C-5F57-400A-B150-453158FC6F17}"/>
                  </a:ext>
                </a:extLst>
              </p:cNvPr>
              <p:cNvSpPr/>
              <p:nvPr/>
            </p:nvSpPr>
            <p:spPr bwMode="gray">
              <a:xfrm flipV="1">
                <a:off x="6049318" y="421582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309" name="Ellipse 628">
                <a:extLst>
                  <a:ext uri="{FF2B5EF4-FFF2-40B4-BE49-F238E27FC236}">
                    <a16:creationId xmlns:a16="http://schemas.microsoft.com/office/drawing/2014/main" id="{F7DE2B5B-E8E9-4900-83CA-5475B37E0312}"/>
                  </a:ext>
                </a:extLst>
              </p:cNvPr>
              <p:cNvSpPr/>
              <p:nvPr/>
            </p:nvSpPr>
            <p:spPr bwMode="gray">
              <a:xfrm flipV="1">
                <a:off x="6049318" y="4374878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310" name="Ellipse 629">
                <a:extLst>
                  <a:ext uri="{FF2B5EF4-FFF2-40B4-BE49-F238E27FC236}">
                    <a16:creationId xmlns:a16="http://schemas.microsoft.com/office/drawing/2014/main" id="{27AADE09-2727-4714-AB80-CC5C08F6F74C}"/>
                  </a:ext>
                </a:extLst>
              </p:cNvPr>
              <p:cNvSpPr/>
              <p:nvPr/>
            </p:nvSpPr>
            <p:spPr bwMode="gray">
              <a:xfrm flipV="1">
                <a:off x="5723768" y="358075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solidFill>
                    <a:schemeClr val="accent5"/>
                  </a:solidFill>
                  <a:latin typeface="+mj-lt"/>
                </a:endParaRPr>
              </a:p>
            </p:txBody>
          </p:sp>
          <p:sp>
            <p:nvSpPr>
              <p:cNvPr id="311" name="Ellipse 630">
                <a:extLst>
                  <a:ext uri="{FF2B5EF4-FFF2-40B4-BE49-F238E27FC236}">
                    <a16:creationId xmlns:a16="http://schemas.microsoft.com/office/drawing/2014/main" id="{1B467E42-34CE-4AFA-A8B3-2AE921F38524}"/>
                  </a:ext>
                </a:extLst>
              </p:cNvPr>
              <p:cNvSpPr/>
              <p:nvPr/>
            </p:nvSpPr>
            <p:spPr bwMode="gray">
              <a:xfrm flipV="1">
                <a:off x="5723768" y="3898807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solidFill>
                    <a:schemeClr val="accent5"/>
                  </a:solidFill>
                  <a:latin typeface="+mj-lt"/>
                </a:endParaRPr>
              </a:p>
            </p:txBody>
          </p:sp>
          <p:sp>
            <p:nvSpPr>
              <p:cNvPr id="312" name="Ellipse 631">
                <a:extLst>
                  <a:ext uri="{FF2B5EF4-FFF2-40B4-BE49-F238E27FC236}">
                    <a16:creationId xmlns:a16="http://schemas.microsoft.com/office/drawing/2014/main" id="{F88B6124-FA52-4718-9965-5F85503E4946}"/>
                  </a:ext>
                </a:extLst>
              </p:cNvPr>
              <p:cNvSpPr/>
              <p:nvPr/>
            </p:nvSpPr>
            <p:spPr bwMode="gray">
              <a:xfrm flipV="1">
                <a:off x="5723768" y="4057562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solidFill>
                    <a:schemeClr val="accent5"/>
                  </a:solidFill>
                  <a:latin typeface="+mj-lt"/>
                </a:endParaRPr>
              </a:p>
            </p:txBody>
          </p:sp>
          <p:sp>
            <p:nvSpPr>
              <p:cNvPr id="313" name="Ellipse 632">
                <a:extLst>
                  <a:ext uri="{FF2B5EF4-FFF2-40B4-BE49-F238E27FC236}">
                    <a16:creationId xmlns:a16="http://schemas.microsoft.com/office/drawing/2014/main" id="{938EEDD6-52F3-42C4-8D9F-96287C04977E}"/>
                  </a:ext>
                </a:extLst>
              </p:cNvPr>
              <p:cNvSpPr/>
              <p:nvPr/>
            </p:nvSpPr>
            <p:spPr bwMode="gray">
              <a:xfrm flipV="1">
                <a:off x="5723768" y="3738635"/>
                <a:ext cx="64134" cy="64155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solidFill>
                    <a:schemeClr val="accent5"/>
                  </a:solidFill>
                  <a:latin typeface="+mj-lt"/>
                </a:endParaRPr>
              </a:p>
            </p:txBody>
          </p:sp>
          <p:sp>
            <p:nvSpPr>
              <p:cNvPr id="314" name="Ellipse 633">
                <a:extLst>
                  <a:ext uri="{FF2B5EF4-FFF2-40B4-BE49-F238E27FC236}">
                    <a16:creationId xmlns:a16="http://schemas.microsoft.com/office/drawing/2014/main" id="{1A2BDB26-FCB0-41B7-B290-EDF999F1425D}"/>
                  </a:ext>
                </a:extLst>
              </p:cNvPr>
              <p:cNvSpPr/>
              <p:nvPr/>
            </p:nvSpPr>
            <p:spPr bwMode="gray">
              <a:xfrm flipV="1">
                <a:off x="11643945" y="3909365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  <p:sp>
            <p:nvSpPr>
              <p:cNvPr id="315" name="Ellipse 634">
                <a:extLst>
                  <a:ext uri="{FF2B5EF4-FFF2-40B4-BE49-F238E27FC236}">
                    <a16:creationId xmlns:a16="http://schemas.microsoft.com/office/drawing/2014/main" id="{2F94933B-B7F6-4DEB-834C-613842A29230}"/>
                  </a:ext>
                </a:extLst>
              </p:cNvPr>
              <p:cNvSpPr/>
              <p:nvPr/>
            </p:nvSpPr>
            <p:spPr bwMode="gray">
              <a:xfrm flipV="1">
                <a:off x="11643945" y="3591310"/>
                <a:ext cx="42757" cy="42771"/>
              </a:xfrm>
              <a:prstGeom prst="ellipse">
                <a:avLst/>
              </a:prstGeom>
              <a:grpFill/>
              <a:ln w="12700"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endParaRPr lang="de-DE" sz="1200" b="1" dirty="0">
                  <a:latin typeface="+mj-lt"/>
                </a:endParaRPr>
              </a:p>
            </p:txBody>
          </p:sp>
        </p:grpSp>
        <p:sp>
          <p:nvSpPr>
            <p:cNvPr id="63" name="Freeform 673">
              <a:extLst>
                <a:ext uri="{FF2B5EF4-FFF2-40B4-BE49-F238E27FC236}">
                  <a16:creationId xmlns:a16="http://schemas.microsoft.com/office/drawing/2014/main" id="{CD75EF54-60FA-40A8-9B75-E044CB7E94C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74916" y="5096529"/>
              <a:ext cx="255239" cy="357143"/>
            </a:xfrm>
            <a:custGeom>
              <a:avLst/>
              <a:gdLst>
                <a:gd name="T0" fmla="*/ 67 w 422"/>
                <a:gd name="T1" fmla="*/ 221 h 557"/>
                <a:gd name="T2" fmla="*/ 67 w 422"/>
                <a:gd name="T3" fmla="*/ 143 h 557"/>
                <a:gd name="T4" fmla="*/ 210 w 422"/>
                <a:gd name="T5" fmla="*/ 0 h 557"/>
                <a:gd name="T6" fmla="*/ 212 w 422"/>
                <a:gd name="T7" fmla="*/ 0 h 557"/>
                <a:gd name="T8" fmla="*/ 355 w 422"/>
                <a:gd name="T9" fmla="*/ 143 h 557"/>
                <a:gd name="T10" fmla="*/ 355 w 422"/>
                <a:gd name="T11" fmla="*/ 221 h 557"/>
                <a:gd name="T12" fmla="*/ 307 w 422"/>
                <a:gd name="T13" fmla="*/ 221 h 557"/>
                <a:gd name="T14" fmla="*/ 307 w 422"/>
                <a:gd name="T15" fmla="*/ 149 h 557"/>
                <a:gd name="T16" fmla="*/ 212 w 422"/>
                <a:gd name="T17" fmla="*/ 48 h 557"/>
                <a:gd name="T18" fmla="*/ 210 w 422"/>
                <a:gd name="T19" fmla="*/ 48 h 557"/>
                <a:gd name="T20" fmla="*/ 115 w 422"/>
                <a:gd name="T21" fmla="*/ 149 h 557"/>
                <a:gd name="T22" fmla="*/ 115 w 422"/>
                <a:gd name="T23" fmla="*/ 221 h 557"/>
                <a:gd name="T24" fmla="*/ 67 w 422"/>
                <a:gd name="T25" fmla="*/ 221 h 557"/>
                <a:gd name="T26" fmla="*/ 422 w 422"/>
                <a:gd name="T27" fmla="*/ 557 h 557"/>
                <a:gd name="T28" fmla="*/ 0 w 422"/>
                <a:gd name="T29" fmla="*/ 557 h 557"/>
                <a:gd name="T30" fmla="*/ 0 w 422"/>
                <a:gd name="T31" fmla="*/ 231 h 557"/>
                <a:gd name="T32" fmla="*/ 422 w 422"/>
                <a:gd name="T33" fmla="*/ 231 h 557"/>
                <a:gd name="T34" fmla="*/ 422 w 422"/>
                <a:gd name="T35" fmla="*/ 557 h 557"/>
                <a:gd name="T36" fmla="*/ 321 w 422"/>
                <a:gd name="T37" fmla="*/ 394 h 557"/>
                <a:gd name="T38" fmla="*/ 211 w 422"/>
                <a:gd name="T39" fmla="*/ 283 h 557"/>
                <a:gd name="T40" fmla="*/ 101 w 422"/>
                <a:gd name="T41" fmla="*/ 394 h 557"/>
                <a:gd name="T42" fmla="*/ 211 w 422"/>
                <a:gd name="T43" fmla="*/ 504 h 557"/>
                <a:gd name="T44" fmla="*/ 321 w 422"/>
                <a:gd name="T45" fmla="*/ 394 h 557"/>
                <a:gd name="T46" fmla="*/ 312 w 422"/>
                <a:gd name="T47" fmla="*/ 394 h 557"/>
                <a:gd name="T48" fmla="*/ 211 w 422"/>
                <a:gd name="T49" fmla="*/ 495 h 557"/>
                <a:gd name="T50" fmla="*/ 110 w 422"/>
                <a:gd name="T51" fmla="*/ 394 h 557"/>
                <a:gd name="T52" fmla="*/ 211 w 422"/>
                <a:gd name="T53" fmla="*/ 293 h 557"/>
                <a:gd name="T54" fmla="*/ 312 w 422"/>
                <a:gd name="T55" fmla="*/ 394 h 557"/>
                <a:gd name="T56" fmla="*/ 240 w 422"/>
                <a:gd name="T57" fmla="*/ 375 h 557"/>
                <a:gd name="T58" fmla="*/ 211 w 422"/>
                <a:gd name="T59" fmla="*/ 346 h 557"/>
                <a:gd name="T60" fmla="*/ 182 w 422"/>
                <a:gd name="T61" fmla="*/ 375 h 557"/>
                <a:gd name="T62" fmla="*/ 197 w 422"/>
                <a:gd name="T63" fmla="*/ 400 h 557"/>
                <a:gd name="T64" fmla="*/ 197 w 422"/>
                <a:gd name="T65" fmla="*/ 442 h 557"/>
                <a:gd name="T66" fmla="*/ 225 w 422"/>
                <a:gd name="T67" fmla="*/ 442 h 557"/>
                <a:gd name="T68" fmla="*/ 225 w 422"/>
                <a:gd name="T69" fmla="*/ 400 h 557"/>
                <a:gd name="T70" fmla="*/ 240 w 422"/>
                <a:gd name="T71" fmla="*/ 375 h 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22" h="557">
                  <a:moveTo>
                    <a:pt x="67" y="221"/>
                  </a:moveTo>
                  <a:cubicBezTo>
                    <a:pt x="67" y="143"/>
                    <a:pt x="67" y="143"/>
                    <a:pt x="67" y="143"/>
                  </a:cubicBezTo>
                  <a:cubicBezTo>
                    <a:pt x="67" y="64"/>
                    <a:pt x="131" y="0"/>
                    <a:pt x="210" y="0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291" y="0"/>
                    <a:pt x="355" y="64"/>
                    <a:pt x="355" y="143"/>
                  </a:cubicBezTo>
                  <a:cubicBezTo>
                    <a:pt x="355" y="221"/>
                    <a:pt x="355" y="221"/>
                    <a:pt x="355" y="221"/>
                  </a:cubicBezTo>
                  <a:cubicBezTo>
                    <a:pt x="307" y="221"/>
                    <a:pt x="307" y="221"/>
                    <a:pt x="307" y="221"/>
                  </a:cubicBezTo>
                  <a:cubicBezTo>
                    <a:pt x="307" y="149"/>
                    <a:pt x="307" y="149"/>
                    <a:pt x="307" y="149"/>
                  </a:cubicBezTo>
                  <a:cubicBezTo>
                    <a:pt x="307" y="93"/>
                    <a:pt x="264" y="48"/>
                    <a:pt x="212" y="48"/>
                  </a:cubicBezTo>
                  <a:cubicBezTo>
                    <a:pt x="210" y="48"/>
                    <a:pt x="210" y="48"/>
                    <a:pt x="210" y="48"/>
                  </a:cubicBezTo>
                  <a:cubicBezTo>
                    <a:pt x="158" y="48"/>
                    <a:pt x="115" y="93"/>
                    <a:pt x="115" y="149"/>
                  </a:cubicBezTo>
                  <a:cubicBezTo>
                    <a:pt x="115" y="221"/>
                    <a:pt x="115" y="221"/>
                    <a:pt x="115" y="221"/>
                  </a:cubicBezTo>
                  <a:lnTo>
                    <a:pt x="67" y="221"/>
                  </a:lnTo>
                  <a:close/>
                  <a:moveTo>
                    <a:pt x="422" y="557"/>
                  </a:moveTo>
                  <a:cubicBezTo>
                    <a:pt x="0" y="557"/>
                    <a:pt x="0" y="557"/>
                    <a:pt x="0" y="557"/>
                  </a:cubicBezTo>
                  <a:cubicBezTo>
                    <a:pt x="0" y="231"/>
                    <a:pt x="0" y="231"/>
                    <a:pt x="0" y="231"/>
                  </a:cubicBezTo>
                  <a:cubicBezTo>
                    <a:pt x="422" y="231"/>
                    <a:pt x="422" y="231"/>
                    <a:pt x="422" y="231"/>
                  </a:cubicBezTo>
                  <a:lnTo>
                    <a:pt x="422" y="557"/>
                  </a:lnTo>
                  <a:close/>
                  <a:moveTo>
                    <a:pt x="321" y="394"/>
                  </a:moveTo>
                  <a:cubicBezTo>
                    <a:pt x="321" y="333"/>
                    <a:pt x="272" y="283"/>
                    <a:pt x="211" y="283"/>
                  </a:cubicBezTo>
                  <a:cubicBezTo>
                    <a:pt x="150" y="283"/>
                    <a:pt x="101" y="333"/>
                    <a:pt x="101" y="394"/>
                  </a:cubicBezTo>
                  <a:cubicBezTo>
                    <a:pt x="101" y="455"/>
                    <a:pt x="150" y="504"/>
                    <a:pt x="211" y="504"/>
                  </a:cubicBezTo>
                  <a:cubicBezTo>
                    <a:pt x="272" y="504"/>
                    <a:pt x="321" y="455"/>
                    <a:pt x="321" y="394"/>
                  </a:cubicBezTo>
                  <a:moveTo>
                    <a:pt x="312" y="394"/>
                  </a:moveTo>
                  <a:cubicBezTo>
                    <a:pt x="312" y="450"/>
                    <a:pt x="267" y="495"/>
                    <a:pt x="211" y="495"/>
                  </a:cubicBezTo>
                  <a:cubicBezTo>
                    <a:pt x="155" y="495"/>
                    <a:pt x="110" y="450"/>
                    <a:pt x="110" y="394"/>
                  </a:cubicBezTo>
                  <a:cubicBezTo>
                    <a:pt x="110" y="338"/>
                    <a:pt x="155" y="293"/>
                    <a:pt x="211" y="293"/>
                  </a:cubicBezTo>
                  <a:cubicBezTo>
                    <a:pt x="267" y="293"/>
                    <a:pt x="312" y="338"/>
                    <a:pt x="312" y="394"/>
                  </a:cubicBezTo>
                  <a:moveTo>
                    <a:pt x="240" y="375"/>
                  </a:moveTo>
                  <a:cubicBezTo>
                    <a:pt x="240" y="359"/>
                    <a:pt x="227" y="346"/>
                    <a:pt x="211" y="346"/>
                  </a:cubicBezTo>
                  <a:cubicBezTo>
                    <a:pt x="195" y="346"/>
                    <a:pt x="182" y="359"/>
                    <a:pt x="182" y="375"/>
                  </a:cubicBezTo>
                  <a:cubicBezTo>
                    <a:pt x="182" y="385"/>
                    <a:pt x="188" y="395"/>
                    <a:pt x="197" y="400"/>
                  </a:cubicBezTo>
                  <a:cubicBezTo>
                    <a:pt x="197" y="442"/>
                    <a:pt x="197" y="442"/>
                    <a:pt x="197" y="442"/>
                  </a:cubicBezTo>
                  <a:cubicBezTo>
                    <a:pt x="225" y="442"/>
                    <a:pt x="225" y="442"/>
                    <a:pt x="225" y="442"/>
                  </a:cubicBezTo>
                  <a:cubicBezTo>
                    <a:pt x="225" y="400"/>
                    <a:pt x="225" y="400"/>
                    <a:pt x="225" y="400"/>
                  </a:cubicBezTo>
                  <a:cubicBezTo>
                    <a:pt x="234" y="395"/>
                    <a:pt x="240" y="385"/>
                    <a:pt x="240" y="37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1200" dirty="0">
                <a:latin typeface="+mj-lt"/>
              </a:endParaRPr>
            </a:p>
          </p:txBody>
        </p:sp>
        <p:sp>
          <p:nvSpPr>
            <p:cNvPr id="64" name="Textfeld 273">
              <a:extLst>
                <a:ext uri="{FF2B5EF4-FFF2-40B4-BE49-F238E27FC236}">
                  <a16:creationId xmlns:a16="http://schemas.microsoft.com/office/drawing/2014/main" id="{51A96BE6-EB57-4FCA-ACED-AFCD15E97A5B}"/>
                </a:ext>
              </a:extLst>
            </p:cNvPr>
            <p:cNvSpPr txBox="1"/>
            <p:nvPr/>
          </p:nvSpPr>
          <p:spPr bwMode="gray">
            <a:xfrm>
              <a:off x="7552353" y="5552275"/>
              <a:ext cx="1657042" cy="34732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spcBef>
                  <a:spcPct val="0"/>
                </a:spcBef>
                <a:buFont typeface="Wingdings" charset="0"/>
                <a:buNone/>
              </a:pPr>
              <a:r>
                <a:rPr lang="de-DE" sz="2000" b="1" dirty="0">
                  <a:solidFill>
                    <a:srgbClr val="FFFFFF"/>
                  </a:solidFill>
                  <a:latin typeface="+mj-lt"/>
                </a:rPr>
                <a:t>MindSphere</a:t>
              </a:r>
            </a:p>
          </p:txBody>
        </p:sp>
      </p:grp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064DE816-ECE3-4932-8CBD-7E504992B842}"/>
              </a:ext>
            </a:extLst>
          </p:cNvPr>
          <p:cNvCxnSpPr>
            <a:cxnSpLocks/>
          </p:cNvCxnSpPr>
          <p:nvPr/>
        </p:nvCxnSpPr>
        <p:spPr bwMode="auto">
          <a:xfrm flipV="1">
            <a:off x="9195382" y="2148419"/>
            <a:ext cx="914679" cy="52292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7" name="Grafik 6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22B77D8D-1EE3-4908-A8E0-DDA8E7330E0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81759" y="2115831"/>
            <a:ext cx="2426227" cy="1364494"/>
          </a:xfrm>
          <a:prstGeom prst="rect">
            <a:avLst/>
          </a:prstGeom>
          <a:effectLst/>
        </p:spPr>
      </p:pic>
      <p:sp>
        <p:nvSpPr>
          <p:cNvPr id="341" name="Freihandform: Form 340">
            <a:extLst>
              <a:ext uri="{FF2B5EF4-FFF2-40B4-BE49-F238E27FC236}">
                <a16:creationId xmlns:a16="http://schemas.microsoft.com/office/drawing/2014/main" id="{ADE3750D-2BDA-4D89-8BAB-B8CC3A783FF6}"/>
              </a:ext>
            </a:extLst>
          </p:cNvPr>
          <p:cNvSpPr/>
          <p:nvPr/>
        </p:nvSpPr>
        <p:spPr>
          <a:xfrm rot="18900000">
            <a:off x="8388772" y="3444082"/>
            <a:ext cx="626837" cy="775905"/>
          </a:xfrm>
          <a:custGeom>
            <a:avLst/>
            <a:gdLst>
              <a:gd name="connsiteX0" fmla="*/ 72008 w 1089102"/>
              <a:gd name="connsiteY0" fmla="*/ 736034 h 1348101"/>
              <a:gd name="connsiteX1" fmla="*/ 140398 w 1089102"/>
              <a:gd name="connsiteY1" fmla="*/ 736034 h 1348101"/>
              <a:gd name="connsiteX2" fmla="*/ 140398 w 1089102"/>
              <a:gd name="connsiteY2" fmla="*/ 772038 h 1348101"/>
              <a:gd name="connsiteX3" fmla="*/ 209396 w 1089102"/>
              <a:gd name="connsiteY3" fmla="*/ 772038 h 1348101"/>
              <a:gd name="connsiteX4" fmla="*/ 209396 w 1089102"/>
              <a:gd name="connsiteY4" fmla="*/ 916850 h 1348101"/>
              <a:gd name="connsiteX5" fmla="*/ 139632 w 1089102"/>
              <a:gd name="connsiteY5" fmla="*/ 916850 h 1348101"/>
              <a:gd name="connsiteX6" fmla="*/ 139632 w 1089102"/>
              <a:gd name="connsiteY6" fmla="*/ 810962 h 1348101"/>
              <a:gd name="connsiteX7" fmla="*/ 72008 w 1089102"/>
              <a:gd name="connsiteY7" fmla="*/ 810962 h 1348101"/>
              <a:gd name="connsiteX8" fmla="*/ 1017094 w 1089102"/>
              <a:gd name="connsiteY8" fmla="*/ 599912 h 1348101"/>
              <a:gd name="connsiteX9" fmla="*/ 1089102 w 1089102"/>
              <a:gd name="connsiteY9" fmla="*/ 599912 h 1348101"/>
              <a:gd name="connsiteX10" fmla="*/ 1089102 w 1089102"/>
              <a:gd name="connsiteY10" fmla="*/ 952058 h 1348101"/>
              <a:gd name="connsiteX11" fmla="*/ 1017094 w 1089102"/>
              <a:gd name="connsiteY11" fmla="*/ 952058 h 1348101"/>
              <a:gd name="connsiteX12" fmla="*/ 1017094 w 1089102"/>
              <a:gd name="connsiteY12" fmla="*/ 1158058 h 1348101"/>
              <a:gd name="connsiteX13" fmla="*/ 949649 w 1089102"/>
              <a:gd name="connsiteY13" fmla="*/ 1158058 h 1348101"/>
              <a:gd name="connsiteX14" fmla="*/ 949649 w 1089102"/>
              <a:gd name="connsiteY14" fmla="*/ 1348100 h 1348101"/>
              <a:gd name="connsiteX15" fmla="*/ 894962 w 1089102"/>
              <a:gd name="connsiteY15" fmla="*/ 1348100 h 1348101"/>
              <a:gd name="connsiteX16" fmla="*/ 877641 w 1089102"/>
              <a:gd name="connsiteY16" fmla="*/ 1348100 h 1348101"/>
              <a:gd name="connsiteX17" fmla="*/ 422428 w 1089102"/>
              <a:gd name="connsiteY17" fmla="*/ 1348100 h 1348101"/>
              <a:gd name="connsiteX18" fmla="*/ 422428 w 1089102"/>
              <a:gd name="connsiteY18" fmla="*/ 1348101 h 1348101"/>
              <a:gd name="connsiteX19" fmla="*/ 350420 w 1089102"/>
              <a:gd name="connsiteY19" fmla="*/ 1348101 h 1348101"/>
              <a:gd name="connsiteX20" fmla="*/ 350420 w 1089102"/>
              <a:gd name="connsiteY20" fmla="*/ 1158059 h 1348101"/>
              <a:gd name="connsiteX21" fmla="*/ 282894 w 1089102"/>
              <a:gd name="connsiteY21" fmla="*/ 1158059 h 1348101"/>
              <a:gd name="connsiteX22" fmla="*/ 282894 w 1089102"/>
              <a:gd name="connsiteY22" fmla="*/ 1007483 h 1348101"/>
              <a:gd name="connsiteX23" fmla="*/ 211263 w 1089102"/>
              <a:gd name="connsiteY23" fmla="*/ 1007483 h 1348101"/>
              <a:gd name="connsiteX24" fmla="*/ 211263 w 1089102"/>
              <a:gd name="connsiteY24" fmla="*/ 869310 h 1348101"/>
              <a:gd name="connsiteX25" fmla="*/ 283271 w 1089102"/>
              <a:gd name="connsiteY25" fmla="*/ 869310 h 1348101"/>
              <a:gd name="connsiteX26" fmla="*/ 283271 w 1089102"/>
              <a:gd name="connsiteY26" fmla="*/ 1007483 h 1348101"/>
              <a:gd name="connsiteX27" fmla="*/ 354902 w 1089102"/>
              <a:gd name="connsiteY27" fmla="*/ 1007483 h 1348101"/>
              <a:gd name="connsiteX28" fmla="*/ 354902 w 1089102"/>
              <a:gd name="connsiteY28" fmla="*/ 1096074 h 1348101"/>
              <a:gd name="connsiteX29" fmla="*/ 422428 w 1089102"/>
              <a:gd name="connsiteY29" fmla="*/ 1096074 h 1348101"/>
              <a:gd name="connsiteX30" fmla="*/ 422428 w 1089102"/>
              <a:gd name="connsiteY30" fmla="*/ 1280279 h 1348101"/>
              <a:gd name="connsiteX31" fmla="*/ 877641 w 1089102"/>
              <a:gd name="connsiteY31" fmla="*/ 1280279 h 1348101"/>
              <a:gd name="connsiteX32" fmla="*/ 877641 w 1089102"/>
              <a:gd name="connsiteY32" fmla="*/ 1069361 h 1348101"/>
              <a:gd name="connsiteX33" fmla="*/ 945086 w 1089102"/>
              <a:gd name="connsiteY33" fmla="*/ 1069361 h 1348101"/>
              <a:gd name="connsiteX34" fmla="*/ 945086 w 1089102"/>
              <a:gd name="connsiteY34" fmla="*/ 900577 h 1348101"/>
              <a:gd name="connsiteX35" fmla="*/ 1017094 w 1089102"/>
              <a:gd name="connsiteY35" fmla="*/ 900577 h 1348101"/>
              <a:gd name="connsiteX36" fmla="*/ 945086 w 1089102"/>
              <a:gd name="connsiteY36" fmla="*/ 496952 h 1348101"/>
              <a:gd name="connsiteX37" fmla="*/ 1017094 w 1089102"/>
              <a:gd name="connsiteY37" fmla="*/ 496952 h 1348101"/>
              <a:gd name="connsiteX38" fmla="*/ 1017094 w 1089102"/>
              <a:gd name="connsiteY38" fmla="*/ 599912 h 1348101"/>
              <a:gd name="connsiteX39" fmla="*/ 945086 w 1089102"/>
              <a:gd name="connsiteY39" fmla="*/ 599912 h 1348101"/>
              <a:gd name="connsiteX40" fmla="*/ 37819 w 1089102"/>
              <a:gd name="connsiteY40" fmla="*/ 444072 h 1348101"/>
              <a:gd name="connsiteX41" fmla="*/ 139632 w 1089102"/>
              <a:gd name="connsiteY41" fmla="*/ 444072 h 1348101"/>
              <a:gd name="connsiteX42" fmla="*/ 139632 w 1089102"/>
              <a:gd name="connsiteY42" fmla="*/ 519000 h 1348101"/>
              <a:gd name="connsiteX43" fmla="*/ 72008 w 1089102"/>
              <a:gd name="connsiteY43" fmla="*/ 519000 h 1348101"/>
              <a:gd name="connsiteX44" fmla="*/ 72008 w 1089102"/>
              <a:gd name="connsiteY44" fmla="*/ 736034 h 1348101"/>
              <a:gd name="connsiteX45" fmla="*/ 0 w 1089102"/>
              <a:gd name="connsiteY45" fmla="*/ 736034 h 1348101"/>
              <a:gd name="connsiteX46" fmla="*/ 0 w 1089102"/>
              <a:gd name="connsiteY46" fmla="*/ 519000 h 1348101"/>
              <a:gd name="connsiteX47" fmla="*/ 37819 w 1089102"/>
              <a:gd name="connsiteY47" fmla="*/ 519000 h 1348101"/>
              <a:gd name="connsiteX48" fmla="*/ 456338 w 1089102"/>
              <a:gd name="connsiteY48" fmla="*/ 69049 h 1348101"/>
              <a:gd name="connsiteX49" fmla="*/ 528346 w 1089102"/>
              <a:gd name="connsiteY49" fmla="*/ 69049 h 1348101"/>
              <a:gd name="connsiteX50" fmla="*/ 528346 w 1089102"/>
              <a:gd name="connsiteY50" fmla="*/ 272168 h 1348101"/>
              <a:gd name="connsiteX51" fmla="*/ 628596 w 1089102"/>
              <a:gd name="connsiteY51" fmla="*/ 272168 h 1348101"/>
              <a:gd name="connsiteX52" fmla="*/ 628596 w 1089102"/>
              <a:gd name="connsiteY52" fmla="*/ 347096 h 1348101"/>
              <a:gd name="connsiteX53" fmla="*/ 700227 w 1089102"/>
              <a:gd name="connsiteY53" fmla="*/ 347096 h 1348101"/>
              <a:gd name="connsiteX54" fmla="*/ 802040 w 1089102"/>
              <a:gd name="connsiteY54" fmla="*/ 347096 h 1348101"/>
              <a:gd name="connsiteX55" fmla="*/ 802040 w 1089102"/>
              <a:gd name="connsiteY55" fmla="*/ 422024 h 1348101"/>
              <a:gd name="connsiteX56" fmla="*/ 842375 w 1089102"/>
              <a:gd name="connsiteY56" fmla="*/ 422024 h 1348101"/>
              <a:gd name="connsiteX57" fmla="*/ 872701 w 1089102"/>
              <a:gd name="connsiteY57" fmla="*/ 422024 h 1348101"/>
              <a:gd name="connsiteX58" fmla="*/ 944188 w 1089102"/>
              <a:gd name="connsiteY58" fmla="*/ 422024 h 1348101"/>
              <a:gd name="connsiteX59" fmla="*/ 944188 w 1089102"/>
              <a:gd name="connsiteY59" fmla="*/ 496952 h 1348101"/>
              <a:gd name="connsiteX60" fmla="*/ 872701 w 1089102"/>
              <a:gd name="connsiteY60" fmla="*/ 496952 h 1348101"/>
              <a:gd name="connsiteX61" fmla="*/ 872701 w 1089102"/>
              <a:gd name="connsiteY61" fmla="*/ 664026 h 1348101"/>
              <a:gd name="connsiteX62" fmla="*/ 800693 w 1089102"/>
              <a:gd name="connsiteY62" fmla="*/ 664026 h 1348101"/>
              <a:gd name="connsiteX63" fmla="*/ 800693 w 1089102"/>
              <a:gd name="connsiteY63" fmla="*/ 422024 h 1348101"/>
              <a:gd name="connsiteX64" fmla="*/ 700227 w 1089102"/>
              <a:gd name="connsiteY64" fmla="*/ 422024 h 1348101"/>
              <a:gd name="connsiteX65" fmla="*/ 700227 w 1089102"/>
              <a:gd name="connsiteY65" fmla="*/ 599913 h 1348101"/>
              <a:gd name="connsiteX66" fmla="*/ 628219 w 1089102"/>
              <a:gd name="connsiteY66" fmla="*/ 599913 h 1348101"/>
              <a:gd name="connsiteX67" fmla="*/ 628219 w 1089102"/>
              <a:gd name="connsiteY67" fmla="*/ 347096 h 1348101"/>
              <a:gd name="connsiteX68" fmla="*/ 528346 w 1089102"/>
              <a:gd name="connsiteY68" fmla="*/ 347096 h 1348101"/>
              <a:gd name="connsiteX69" fmla="*/ 528346 w 1089102"/>
              <a:gd name="connsiteY69" fmla="*/ 628022 h 1348101"/>
              <a:gd name="connsiteX70" fmla="*/ 456338 w 1089102"/>
              <a:gd name="connsiteY70" fmla="*/ 628022 h 1348101"/>
              <a:gd name="connsiteX71" fmla="*/ 354524 w 1089102"/>
              <a:gd name="connsiteY71" fmla="*/ 0 h 1348101"/>
              <a:gd name="connsiteX72" fmla="*/ 456337 w 1089102"/>
              <a:gd name="connsiteY72" fmla="*/ 0 h 1348101"/>
              <a:gd name="connsiteX73" fmla="*/ 456337 w 1089102"/>
              <a:gd name="connsiteY73" fmla="*/ 69049 h 1348101"/>
              <a:gd name="connsiteX74" fmla="*/ 354902 w 1089102"/>
              <a:gd name="connsiteY74" fmla="*/ 69049 h 1348101"/>
              <a:gd name="connsiteX75" fmla="*/ 354902 w 1089102"/>
              <a:gd name="connsiteY75" fmla="*/ 810962 h 1348101"/>
              <a:gd name="connsiteX76" fmla="*/ 282894 w 1089102"/>
              <a:gd name="connsiteY76" fmla="*/ 810962 h 1348101"/>
              <a:gd name="connsiteX77" fmla="*/ 282894 w 1089102"/>
              <a:gd name="connsiteY77" fmla="*/ 664026 h 1348101"/>
              <a:gd name="connsiteX78" fmla="*/ 211263 w 1089102"/>
              <a:gd name="connsiteY78" fmla="*/ 664026 h 1348101"/>
              <a:gd name="connsiteX79" fmla="*/ 211263 w 1089102"/>
              <a:gd name="connsiteY79" fmla="*/ 599282 h 1348101"/>
              <a:gd name="connsiteX80" fmla="*/ 139632 w 1089102"/>
              <a:gd name="connsiteY80" fmla="*/ 599282 h 1348101"/>
              <a:gd name="connsiteX81" fmla="*/ 139632 w 1089102"/>
              <a:gd name="connsiteY81" fmla="*/ 519000 h 1348101"/>
              <a:gd name="connsiteX82" fmla="*/ 211640 w 1089102"/>
              <a:gd name="connsiteY82" fmla="*/ 519000 h 1348101"/>
              <a:gd name="connsiteX83" fmla="*/ 211640 w 1089102"/>
              <a:gd name="connsiteY83" fmla="*/ 594153 h 1348101"/>
              <a:gd name="connsiteX84" fmla="*/ 282894 w 1089102"/>
              <a:gd name="connsiteY84" fmla="*/ 594153 h 1348101"/>
              <a:gd name="connsiteX85" fmla="*/ 282894 w 1089102"/>
              <a:gd name="connsiteY85" fmla="*/ 69049 h 1348101"/>
              <a:gd name="connsiteX86" fmla="*/ 354524 w 1089102"/>
              <a:gd name="connsiteY86" fmla="*/ 69049 h 1348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1089102" h="1348101">
                <a:moveTo>
                  <a:pt x="72008" y="736034"/>
                </a:moveTo>
                <a:lnTo>
                  <a:pt x="140398" y="736034"/>
                </a:lnTo>
                <a:lnTo>
                  <a:pt x="140398" y="772038"/>
                </a:lnTo>
                <a:lnTo>
                  <a:pt x="209396" y="772038"/>
                </a:lnTo>
                <a:lnTo>
                  <a:pt x="209396" y="916850"/>
                </a:lnTo>
                <a:lnTo>
                  <a:pt x="139632" y="916850"/>
                </a:lnTo>
                <a:lnTo>
                  <a:pt x="139632" y="810962"/>
                </a:lnTo>
                <a:lnTo>
                  <a:pt x="72008" y="810962"/>
                </a:lnTo>
                <a:close/>
                <a:moveTo>
                  <a:pt x="1017094" y="599912"/>
                </a:moveTo>
                <a:lnTo>
                  <a:pt x="1089102" y="599912"/>
                </a:lnTo>
                <a:lnTo>
                  <a:pt x="1089102" y="952058"/>
                </a:lnTo>
                <a:lnTo>
                  <a:pt x="1017094" y="952058"/>
                </a:lnTo>
                <a:lnTo>
                  <a:pt x="1017094" y="1158058"/>
                </a:lnTo>
                <a:lnTo>
                  <a:pt x="949649" y="1158058"/>
                </a:lnTo>
                <a:lnTo>
                  <a:pt x="949649" y="1348100"/>
                </a:lnTo>
                <a:lnTo>
                  <a:pt x="894962" y="1348100"/>
                </a:lnTo>
                <a:lnTo>
                  <a:pt x="877641" y="1348100"/>
                </a:lnTo>
                <a:lnTo>
                  <a:pt x="422428" y="1348100"/>
                </a:lnTo>
                <a:lnTo>
                  <a:pt x="422428" y="1348101"/>
                </a:lnTo>
                <a:lnTo>
                  <a:pt x="350420" y="1348101"/>
                </a:lnTo>
                <a:lnTo>
                  <a:pt x="350420" y="1158059"/>
                </a:lnTo>
                <a:lnTo>
                  <a:pt x="282894" y="1158059"/>
                </a:lnTo>
                <a:lnTo>
                  <a:pt x="282894" y="1007483"/>
                </a:lnTo>
                <a:lnTo>
                  <a:pt x="211263" y="1007483"/>
                </a:lnTo>
                <a:lnTo>
                  <a:pt x="211263" y="869310"/>
                </a:lnTo>
                <a:lnTo>
                  <a:pt x="283271" y="869310"/>
                </a:lnTo>
                <a:lnTo>
                  <a:pt x="283271" y="1007483"/>
                </a:lnTo>
                <a:lnTo>
                  <a:pt x="354902" y="1007483"/>
                </a:lnTo>
                <a:lnTo>
                  <a:pt x="354902" y="1096074"/>
                </a:lnTo>
                <a:lnTo>
                  <a:pt x="422428" y="1096074"/>
                </a:lnTo>
                <a:lnTo>
                  <a:pt x="422428" y="1280279"/>
                </a:lnTo>
                <a:lnTo>
                  <a:pt x="877641" y="1280279"/>
                </a:lnTo>
                <a:lnTo>
                  <a:pt x="877641" y="1069361"/>
                </a:lnTo>
                <a:lnTo>
                  <a:pt x="945086" y="1069361"/>
                </a:lnTo>
                <a:lnTo>
                  <a:pt x="945086" y="900577"/>
                </a:lnTo>
                <a:lnTo>
                  <a:pt x="1017094" y="900577"/>
                </a:lnTo>
                <a:close/>
                <a:moveTo>
                  <a:pt x="945086" y="496952"/>
                </a:moveTo>
                <a:lnTo>
                  <a:pt x="1017094" y="496952"/>
                </a:lnTo>
                <a:lnTo>
                  <a:pt x="1017094" y="599912"/>
                </a:lnTo>
                <a:lnTo>
                  <a:pt x="945086" y="599912"/>
                </a:lnTo>
                <a:close/>
                <a:moveTo>
                  <a:pt x="37819" y="444072"/>
                </a:moveTo>
                <a:lnTo>
                  <a:pt x="139632" y="444072"/>
                </a:lnTo>
                <a:lnTo>
                  <a:pt x="139632" y="519000"/>
                </a:lnTo>
                <a:lnTo>
                  <a:pt x="72008" y="519000"/>
                </a:lnTo>
                <a:lnTo>
                  <a:pt x="72008" y="736034"/>
                </a:lnTo>
                <a:lnTo>
                  <a:pt x="0" y="736034"/>
                </a:lnTo>
                <a:lnTo>
                  <a:pt x="0" y="519000"/>
                </a:lnTo>
                <a:lnTo>
                  <a:pt x="37819" y="519000"/>
                </a:lnTo>
                <a:close/>
                <a:moveTo>
                  <a:pt x="456338" y="69049"/>
                </a:moveTo>
                <a:lnTo>
                  <a:pt x="528346" y="69049"/>
                </a:lnTo>
                <a:lnTo>
                  <a:pt x="528346" y="272168"/>
                </a:lnTo>
                <a:lnTo>
                  <a:pt x="628596" y="272168"/>
                </a:lnTo>
                <a:lnTo>
                  <a:pt x="628596" y="347096"/>
                </a:lnTo>
                <a:lnTo>
                  <a:pt x="700227" y="347096"/>
                </a:lnTo>
                <a:lnTo>
                  <a:pt x="802040" y="347096"/>
                </a:lnTo>
                <a:lnTo>
                  <a:pt x="802040" y="422024"/>
                </a:lnTo>
                <a:lnTo>
                  <a:pt x="842375" y="422024"/>
                </a:lnTo>
                <a:lnTo>
                  <a:pt x="872701" y="422024"/>
                </a:lnTo>
                <a:lnTo>
                  <a:pt x="944188" y="422024"/>
                </a:lnTo>
                <a:lnTo>
                  <a:pt x="944188" y="496952"/>
                </a:lnTo>
                <a:lnTo>
                  <a:pt x="872701" y="496952"/>
                </a:lnTo>
                <a:lnTo>
                  <a:pt x="872701" y="664026"/>
                </a:lnTo>
                <a:lnTo>
                  <a:pt x="800693" y="664026"/>
                </a:lnTo>
                <a:lnTo>
                  <a:pt x="800693" y="422024"/>
                </a:lnTo>
                <a:lnTo>
                  <a:pt x="700227" y="422024"/>
                </a:lnTo>
                <a:lnTo>
                  <a:pt x="700227" y="599913"/>
                </a:lnTo>
                <a:lnTo>
                  <a:pt x="628219" y="599913"/>
                </a:lnTo>
                <a:lnTo>
                  <a:pt x="628219" y="347096"/>
                </a:lnTo>
                <a:lnTo>
                  <a:pt x="528346" y="347096"/>
                </a:lnTo>
                <a:lnTo>
                  <a:pt x="528346" y="628022"/>
                </a:lnTo>
                <a:lnTo>
                  <a:pt x="456338" y="628022"/>
                </a:lnTo>
                <a:close/>
                <a:moveTo>
                  <a:pt x="354524" y="0"/>
                </a:moveTo>
                <a:lnTo>
                  <a:pt x="456337" y="0"/>
                </a:lnTo>
                <a:lnTo>
                  <a:pt x="456337" y="69049"/>
                </a:lnTo>
                <a:lnTo>
                  <a:pt x="354902" y="69049"/>
                </a:lnTo>
                <a:lnTo>
                  <a:pt x="354902" y="810962"/>
                </a:lnTo>
                <a:lnTo>
                  <a:pt x="282894" y="810962"/>
                </a:lnTo>
                <a:lnTo>
                  <a:pt x="282894" y="664026"/>
                </a:lnTo>
                <a:lnTo>
                  <a:pt x="211263" y="664026"/>
                </a:lnTo>
                <a:lnTo>
                  <a:pt x="211263" y="599282"/>
                </a:lnTo>
                <a:lnTo>
                  <a:pt x="139632" y="599282"/>
                </a:lnTo>
                <a:lnTo>
                  <a:pt x="139632" y="519000"/>
                </a:lnTo>
                <a:lnTo>
                  <a:pt x="211640" y="519000"/>
                </a:lnTo>
                <a:lnTo>
                  <a:pt x="211640" y="594153"/>
                </a:lnTo>
                <a:lnTo>
                  <a:pt x="282894" y="594153"/>
                </a:lnTo>
                <a:lnTo>
                  <a:pt x="282894" y="69049"/>
                </a:lnTo>
                <a:lnTo>
                  <a:pt x="354524" y="69049"/>
                </a:lnTo>
                <a:close/>
              </a:path>
            </a:pathLst>
          </a:custGeom>
          <a:solidFill>
            <a:srgbClr val="FFFFFF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8111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 p14:presetBounceEnd="7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5000">
                                          <p:cBhvr additive="base">
                                            <p:cTn id="7" dur="750" fill="hold"/>
                                            <p:tgtEl>
                                              <p:spTgt spid="34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5000">
                                          <p:cBhvr additive="base">
                                            <p:cTn id="8" dur="750" fill="hold"/>
                                            <p:tgtEl>
                                              <p:spTgt spid="34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750"/>
                                </p:stCondLst>
                                <p:childTnLst>
                                  <p:par>
                                    <p:cTn id="10" presetID="26" presetClass="emph" presetSubtype="0" fill="hold" grpId="1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11" dur="500" tmFilter="0, 0; .2, .5; .8, .5; 1, 0"/>
                                            <p:tgtEl>
                                              <p:spTgt spid="341"/>
                                            </p:tgtEl>
                                          </p:cBhvr>
                                        </p:animEffect>
                                        <p:animScale>
                                          <p:cBhvr>
                                            <p:cTn id="12" dur="250" autoRev="1" fill="hold"/>
                                            <p:tgtEl>
                                              <p:spTgt spid="341"/>
                                            </p:tgtEl>
                                          </p:cBhvr>
                                          <p:by x="105000" y="10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3" presetID="26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14" dur="500" tmFilter="0, 0; .2, .5; .8, .5; 1, 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  <p:animScale>
                                          <p:cBhvr>
                                            <p:cTn id="15" dur="250" autoRev="1" fill="hold"/>
                                            <p:tgtEl>
                                              <p:spTgt spid="7"/>
                                            </p:tgtEl>
                                          </p:cBhvr>
                                          <p:by x="105000" y="105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41" grpId="0" animBg="1"/>
          <p:bldP spid="341" grpId="1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34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34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750"/>
                                </p:stCondLst>
                                <p:childTnLst>
                                  <p:par>
                                    <p:cTn id="10" presetID="26" presetClass="emph" presetSubtype="0" fill="hold" grpId="1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11" dur="500" tmFilter="0, 0; .2, .5; .8, .5; 1, 0"/>
                                            <p:tgtEl>
                                              <p:spTgt spid="341"/>
                                            </p:tgtEl>
                                          </p:cBhvr>
                                        </p:animEffect>
                                        <p:animScale>
                                          <p:cBhvr>
                                            <p:cTn id="12" dur="250" autoRev="1" fill="hold"/>
                                            <p:tgtEl>
                                              <p:spTgt spid="341"/>
                                            </p:tgtEl>
                                          </p:cBhvr>
                                          <p:by x="105000" y="10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3" presetID="26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14" dur="500" tmFilter="0, 0; .2, .5; .8, .5; 1, 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  <p:animScale>
                                          <p:cBhvr>
                                            <p:cTn id="15" dur="250" autoRev="1" fill="hold"/>
                                            <p:tgtEl>
                                              <p:spTgt spid="7"/>
                                            </p:tgtEl>
                                          </p:cBhvr>
                                          <p:by x="105000" y="105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41" grpId="0" animBg="1"/>
          <p:bldP spid="341" grpId="1" animBg="1"/>
        </p:bldLst>
      </p:timing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BC6A62-EB1A-4FB5-AB8A-D70A833E7C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Die App – Vision: </a:t>
            </a:r>
            <a:br>
              <a:rPr lang="de-DE"/>
            </a:br>
            <a:r>
              <a:rPr lang="de-DE"/>
              <a:t>Sie(C)FO-Dashboard</a:t>
            </a:r>
            <a:endParaRPr lang="en-US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9061D22E-C92E-4C10-B948-A53E594E4C80}"/>
              </a:ext>
            </a:extLst>
          </p:cNvPr>
          <p:cNvSpPr/>
          <p:nvPr/>
        </p:nvSpPr>
        <p:spPr bwMode="auto">
          <a:xfrm>
            <a:off x="4010120" y="333376"/>
            <a:ext cx="7705630" cy="5861050"/>
          </a:xfrm>
          <a:prstGeom prst="rect">
            <a:avLst/>
          </a:prstGeom>
          <a:solidFill>
            <a:srgbClr val="22333F"/>
          </a:solidFill>
          <a:ln>
            <a:noFill/>
          </a:ln>
          <a:effectLst>
            <a:outerShdw blurRad="63500" sx="102000" sy="102000" algn="ctr" rotWithShape="0">
              <a:srgbClr val="FFFFFF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BBABD5F9-74A6-4D7E-B5D5-155D9830A60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13" t="556" r="720" b="1063"/>
          <a:stretch/>
        </p:blipFill>
        <p:spPr>
          <a:xfrm>
            <a:off x="4010120" y="333375"/>
            <a:ext cx="7710342" cy="5736121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845323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">
        <p14:prism isContent="1"/>
      </p:transition>
    </mc:Choice>
    <mc:Fallback xmlns="">
      <p:transition spd="slow" advClick="0" advTm="1000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F87331EC-ECC7-4A00-AFE4-C68FC6475665}"/>
              </a:ext>
            </a:extLst>
          </p:cNvPr>
          <p:cNvSpPr/>
          <p:nvPr/>
        </p:nvSpPr>
        <p:spPr bwMode="auto">
          <a:xfrm>
            <a:off x="4010120" y="333376"/>
            <a:ext cx="7705630" cy="5861050"/>
          </a:xfrm>
          <a:prstGeom prst="rect">
            <a:avLst/>
          </a:prstGeom>
          <a:solidFill>
            <a:srgbClr val="22333F"/>
          </a:solidFill>
          <a:ln>
            <a:noFill/>
          </a:ln>
          <a:effectLst>
            <a:outerShdw blurRad="63500" sx="102000" sy="102000" algn="ctr" rotWithShape="0">
              <a:srgbClr val="FFFFFF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5697D1F0-8D35-46FE-BFA5-A31D93091564}"/>
              </a:ext>
            </a:extLst>
          </p:cNvPr>
          <p:cNvSpPr/>
          <p:nvPr/>
        </p:nvSpPr>
        <p:spPr bwMode="auto">
          <a:xfrm>
            <a:off x="4010120" y="5445224"/>
            <a:ext cx="7705630" cy="749201"/>
          </a:xfrm>
          <a:prstGeom prst="rect">
            <a:avLst/>
          </a:prstGeom>
          <a:solidFill>
            <a:srgbClr val="22333F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3DF7A9FC-AF17-41EE-BF57-1F0BC8C6DBFE}"/>
              </a:ext>
            </a:extLst>
          </p:cNvPr>
          <p:cNvGrpSpPr/>
          <p:nvPr/>
        </p:nvGrpSpPr>
        <p:grpSpPr>
          <a:xfrm>
            <a:off x="4010120" y="333375"/>
            <a:ext cx="7710342" cy="5861050"/>
            <a:chOff x="4010120" y="333375"/>
            <a:chExt cx="7710342" cy="5861050"/>
          </a:xfrm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C1871879-C315-47EB-BCCD-24809DE84BAF}"/>
                </a:ext>
              </a:extLst>
            </p:cNvPr>
            <p:cNvSpPr/>
            <p:nvPr/>
          </p:nvSpPr>
          <p:spPr bwMode="auto">
            <a:xfrm>
              <a:off x="4010120" y="5445224"/>
              <a:ext cx="7705630" cy="749201"/>
            </a:xfrm>
            <a:prstGeom prst="rect">
              <a:avLst/>
            </a:prstGeom>
            <a:solidFill>
              <a:srgbClr val="22333F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 err="1"/>
            </a:p>
          </p:txBody>
        </p:sp>
        <p:pic>
          <p:nvPicPr>
            <p:cNvPr id="19" name="Picture 6">
              <a:extLst>
                <a:ext uri="{FF2B5EF4-FFF2-40B4-BE49-F238E27FC236}">
                  <a16:creationId xmlns:a16="http://schemas.microsoft.com/office/drawing/2014/main" id="{058A378D-A14D-4244-A04B-C1A59D8F04E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13" t="556" r="720" b="1063"/>
            <a:stretch/>
          </p:blipFill>
          <p:spPr>
            <a:xfrm>
              <a:off x="4010120" y="333375"/>
              <a:ext cx="7710342" cy="5736121"/>
            </a:xfrm>
            <a:prstGeom prst="rect">
              <a:avLst/>
            </a:prstGeom>
            <a:ln>
              <a:noFill/>
            </a:ln>
            <a:effectLst/>
          </p:spPr>
        </p:pic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CCBC6A62-EB1A-4FB5-AB8A-D70A833E7C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Sie(C)FO-Dashboard, </a:t>
            </a:r>
            <a:br>
              <a:rPr lang="de-DE"/>
            </a:br>
            <a:r>
              <a:rPr lang="de-DE"/>
              <a:t>Problemanalyse</a:t>
            </a: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BF31E0E1-600C-48B9-9393-104DDB67FA9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alphaModFix/>
          </a:blip>
          <a:srcRect l="58950" t="555" r="25092" b="80494"/>
          <a:stretch/>
        </p:blipFill>
        <p:spPr>
          <a:xfrm>
            <a:off x="8579908" y="333375"/>
            <a:ext cx="1243313" cy="1104854"/>
          </a:xfrm>
          <a:prstGeom prst="rect">
            <a:avLst/>
          </a:prstGeom>
          <a:ln>
            <a:noFill/>
          </a:ln>
          <a:effectLst/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5E1DABA4-7084-4C63-B2A9-635618B19393}"/>
              </a:ext>
            </a:extLst>
          </p:cNvPr>
          <p:cNvSpPr/>
          <p:nvPr/>
        </p:nvSpPr>
        <p:spPr bwMode="auto">
          <a:xfrm>
            <a:off x="4010120" y="1440137"/>
            <a:ext cx="5191956" cy="57350"/>
          </a:xfrm>
          <a:prstGeom prst="rect">
            <a:avLst/>
          </a:prstGeom>
          <a:solidFill>
            <a:srgbClr val="C76117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D5C15D0-4D6C-49D2-ADCA-57CBE2D8AC5D}"/>
              </a:ext>
            </a:extLst>
          </p:cNvPr>
          <p:cNvSpPr/>
          <p:nvPr/>
        </p:nvSpPr>
        <p:spPr bwMode="auto">
          <a:xfrm>
            <a:off x="9201565" y="1440137"/>
            <a:ext cx="2512209" cy="57350"/>
          </a:xfrm>
          <a:prstGeom prst="rect">
            <a:avLst/>
          </a:prstGeom>
          <a:solidFill>
            <a:srgbClr val="C76117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A9267FE-9877-459D-A528-F6E256A91993}"/>
              </a:ext>
            </a:extLst>
          </p:cNvPr>
          <p:cNvSpPr/>
          <p:nvPr/>
        </p:nvSpPr>
        <p:spPr bwMode="auto">
          <a:xfrm flipV="1">
            <a:off x="4009655" y="1520821"/>
            <a:ext cx="7704119" cy="4673604"/>
          </a:xfrm>
          <a:prstGeom prst="rect">
            <a:avLst/>
          </a:prstGeom>
          <a:solidFill>
            <a:srgbClr val="0C1B2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39" name="Picture 11">
            <a:extLst>
              <a:ext uri="{FF2B5EF4-FFF2-40B4-BE49-F238E27FC236}">
                <a16:creationId xmlns:a16="http://schemas.microsoft.com/office/drawing/2014/main" id="{DCB45C1A-ADA9-44A6-B43B-8E3495AC5DB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16" t="581" r="316" b="20560"/>
          <a:stretch/>
        </p:blipFill>
        <p:spPr>
          <a:xfrm>
            <a:off x="4010121" y="1520825"/>
            <a:ext cx="7710341" cy="4601301"/>
          </a:xfrm>
          <a:prstGeom prst="rect">
            <a:avLst/>
          </a:prstGeom>
          <a:effectLst/>
        </p:spPr>
      </p:pic>
      <p:pic>
        <p:nvPicPr>
          <p:cNvPr id="10" name="Picture 11">
            <a:extLst>
              <a:ext uri="{FF2B5EF4-FFF2-40B4-BE49-F238E27FC236}">
                <a16:creationId xmlns:a16="http://schemas.microsoft.com/office/drawing/2014/main" id="{8494347A-A101-4B2E-9677-DCA64D3F486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alphaModFix/>
          </a:blip>
          <a:srcRect l="82446" t="18934" r="316" b="72484"/>
          <a:stretch/>
        </p:blipFill>
        <p:spPr>
          <a:xfrm>
            <a:off x="10382250" y="2597946"/>
            <a:ext cx="1338212" cy="500997"/>
          </a:xfrm>
          <a:prstGeom prst="rect">
            <a:avLst/>
          </a:prstGeom>
          <a:ln>
            <a:noFill/>
          </a:ln>
          <a:effectLst/>
        </p:spPr>
      </p:pic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EB12EB4F-3208-482B-82BA-698E74070360}"/>
              </a:ext>
            </a:extLst>
          </p:cNvPr>
          <p:cNvSpPr/>
          <p:nvPr/>
        </p:nvSpPr>
        <p:spPr>
          <a:xfrm rot="18900000">
            <a:off x="10853517" y="2850493"/>
            <a:ext cx="626837" cy="775905"/>
          </a:xfrm>
          <a:custGeom>
            <a:avLst/>
            <a:gdLst>
              <a:gd name="connsiteX0" fmla="*/ 72008 w 1089102"/>
              <a:gd name="connsiteY0" fmla="*/ 736034 h 1348101"/>
              <a:gd name="connsiteX1" fmla="*/ 140398 w 1089102"/>
              <a:gd name="connsiteY1" fmla="*/ 736034 h 1348101"/>
              <a:gd name="connsiteX2" fmla="*/ 140398 w 1089102"/>
              <a:gd name="connsiteY2" fmla="*/ 772038 h 1348101"/>
              <a:gd name="connsiteX3" fmla="*/ 209396 w 1089102"/>
              <a:gd name="connsiteY3" fmla="*/ 772038 h 1348101"/>
              <a:gd name="connsiteX4" fmla="*/ 209396 w 1089102"/>
              <a:gd name="connsiteY4" fmla="*/ 916850 h 1348101"/>
              <a:gd name="connsiteX5" fmla="*/ 139632 w 1089102"/>
              <a:gd name="connsiteY5" fmla="*/ 916850 h 1348101"/>
              <a:gd name="connsiteX6" fmla="*/ 139632 w 1089102"/>
              <a:gd name="connsiteY6" fmla="*/ 810962 h 1348101"/>
              <a:gd name="connsiteX7" fmla="*/ 72008 w 1089102"/>
              <a:gd name="connsiteY7" fmla="*/ 810962 h 1348101"/>
              <a:gd name="connsiteX8" fmla="*/ 1017094 w 1089102"/>
              <a:gd name="connsiteY8" fmla="*/ 599912 h 1348101"/>
              <a:gd name="connsiteX9" fmla="*/ 1089102 w 1089102"/>
              <a:gd name="connsiteY9" fmla="*/ 599912 h 1348101"/>
              <a:gd name="connsiteX10" fmla="*/ 1089102 w 1089102"/>
              <a:gd name="connsiteY10" fmla="*/ 952058 h 1348101"/>
              <a:gd name="connsiteX11" fmla="*/ 1017094 w 1089102"/>
              <a:gd name="connsiteY11" fmla="*/ 952058 h 1348101"/>
              <a:gd name="connsiteX12" fmla="*/ 1017094 w 1089102"/>
              <a:gd name="connsiteY12" fmla="*/ 1158058 h 1348101"/>
              <a:gd name="connsiteX13" fmla="*/ 949649 w 1089102"/>
              <a:gd name="connsiteY13" fmla="*/ 1158058 h 1348101"/>
              <a:gd name="connsiteX14" fmla="*/ 949649 w 1089102"/>
              <a:gd name="connsiteY14" fmla="*/ 1348100 h 1348101"/>
              <a:gd name="connsiteX15" fmla="*/ 894962 w 1089102"/>
              <a:gd name="connsiteY15" fmla="*/ 1348100 h 1348101"/>
              <a:gd name="connsiteX16" fmla="*/ 877641 w 1089102"/>
              <a:gd name="connsiteY16" fmla="*/ 1348100 h 1348101"/>
              <a:gd name="connsiteX17" fmla="*/ 422428 w 1089102"/>
              <a:gd name="connsiteY17" fmla="*/ 1348100 h 1348101"/>
              <a:gd name="connsiteX18" fmla="*/ 422428 w 1089102"/>
              <a:gd name="connsiteY18" fmla="*/ 1348101 h 1348101"/>
              <a:gd name="connsiteX19" fmla="*/ 350420 w 1089102"/>
              <a:gd name="connsiteY19" fmla="*/ 1348101 h 1348101"/>
              <a:gd name="connsiteX20" fmla="*/ 350420 w 1089102"/>
              <a:gd name="connsiteY20" fmla="*/ 1158059 h 1348101"/>
              <a:gd name="connsiteX21" fmla="*/ 282894 w 1089102"/>
              <a:gd name="connsiteY21" fmla="*/ 1158059 h 1348101"/>
              <a:gd name="connsiteX22" fmla="*/ 282894 w 1089102"/>
              <a:gd name="connsiteY22" fmla="*/ 1007483 h 1348101"/>
              <a:gd name="connsiteX23" fmla="*/ 211263 w 1089102"/>
              <a:gd name="connsiteY23" fmla="*/ 1007483 h 1348101"/>
              <a:gd name="connsiteX24" fmla="*/ 211263 w 1089102"/>
              <a:gd name="connsiteY24" fmla="*/ 869310 h 1348101"/>
              <a:gd name="connsiteX25" fmla="*/ 283271 w 1089102"/>
              <a:gd name="connsiteY25" fmla="*/ 869310 h 1348101"/>
              <a:gd name="connsiteX26" fmla="*/ 283271 w 1089102"/>
              <a:gd name="connsiteY26" fmla="*/ 1007483 h 1348101"/>
              <a:gd name="connsiteX27" fmla="*/ 354902 w 1089102"/>
              <a:gd name="connsiteY27" fmla="*/ 1007483 h 1348101"/>
              <a:gd name="connsiteX28" fmla="*/ 354902 w 1089102"/>
              <a:gd name="connsiteY28" fmla="*/ 1096074 h 1348101"/>
              <a:gd name="connsiteX29" fmla="*/ 422428 w 1089102"/>
              <a:gd name="connsiteY29" fmla="*/ 1096074 h 1348101"/>
              <a:gd name="connsiteX30" fmla="*/ 422428 w 1089102"/>
              <a:gd name="connsiteY30" fmla="*/ 1280279 h 1348101"/>
              <a:gd name="connsiteX31" fmla="*/ 877641 w 1089102"/>
              <a:gd name="connsiteY31" fmla="*/ 1280279 h 1348101"/>
              <a:gd name="connsiteX32" fmla="*/ 877641 w 1089102"/>
              <a:gd name="connsiteY32" fmla="*/ 1069361 h 1348101"/>
              <a:gd name="connsiteX33" fmla="*/ 945086 w 1089102"/>
              <a:gd name="connsiteY33" fmla="*/ 1069361 h 1348101"/>
              <a:gd name="connsiteX34" fmla="*/ 945086 w 1089102"/>
              <a:gd name="connsiteY34" fmla="*/ 900577 h 1348101"/>
              <a:gd name="connsiteX35" fmla="*/ 1017094 w 1089102"/>
              <a:gd name="connsiteY35" fmla="*/ 900577 h 1348101"/>
              <a:gd name="connsiteX36" fmla="*/ 945086 w 1089102"/>
              <a:gd name="connsiteY36" fmla="*/ 496952 h 1348101"/>
              <a:gd name="connsiteX37" fmla="*/ 1017094 w 1089102"/>
              <a:gd name="connsiteY37" fmla="*/ 496952 h 1348101"/>
              <a:gd name="connsiteX38" fmla="*/ 1017094 w 1089102"/>
              <a:gd name="connsiteY38" fmla="*/ 599912 h 1348101"/>
              <a:gd name="connsiteX39" fmla="*/ 945086 w 1089102"/>
              <a:gd name="connsiteY39" fmla="*/ 599912 h 1348101"/>
              <a:gd name="connsiteX40" fmla="*/ 37819 w 1089102"/>
              <a:gd name="connsiteY40" fmla="*/ 444072 h 1348101"/>
              <a:gd name="connsiteX41" fmla="*/ 139632 w 1089102"/>
              <a:gd name="connsiteY41" fmla="*/ 444072 h 1348101"/>
              <a:gd name="connsiteX42" fmla="*/ 139632 w 1089102"/>
              <a:gd name="connsiteY42" fmla="*/ 519000 h 1348101"/>
              <a:gd name="connsiteX43" fmla="*/ 72008 w 1089102"/>
              <a:gd name="connsiteY43" fmla="*/ 519000 h 1348101"/>
              <a:gd name="connsiteX44" fmla="*/ 72008 w 1089102"/>
              <a:gd name="connsiteY44" fmla="*/ 736034 h 1348101"/>
              <a:gd name="connsiteX45" fmla="*/ 0 w 1089102"/>
              <a:gd name="connsiteY45" fmla="*/ 736034 h 1348101"/>
              <a:gd name="connsiteX46" fmla="*/ 0 w 1089102"/>
              <a:gd name="connsiteY46" fmla="*/ 519000 h 1348101"/>
              <a:gd name="connsiteX47" fmla="*/ 37819 w 1089102"/>
              <a:gd name="connsiteY47" fmla="*/ 519000 h 1348101"/>
              <a:gd name="connsiteX48" fmla="*/ 456338 w 1089102"/>
              <a:gd name="connsiteY48" fmla="*/ 69049 h 1348101"/>
              <a:gd name="connsiteX49" fmla="*/ 528346 w 1089102"/>
              <a:gd name="connsiteY49" fmla="*/ 69049 h 1348101"/>
              <a:gd name="connsiteX50" fmla="*/ 528346 w 1089102"/>
              <a:gd name="connsiteY50" fmla="*/ 272168 h 1348101"/>
              <a:gd name="connsiteX51" fmla="*/ 628596 w 1089102"/>
              <a:gd name="connsiteY51" fmla="*/ 272168 h 1348101"/>
              <a:gd name="connsiteX52" fmla="*/ 628596 w 1089102"/>
              <a:gd name="connsiteY52" fmla="*/ 347096 h 1348101"/>
              <a:gd name="connsiteX53" fmla="*/ 700227 w 1089102"/>
              <a:gd name="connsiteY53" fmla="*/ 347096 h 1348101"/>
              <a:gd name="connsiteX54" fmla="*/ 802040 w 1089102"/>
              <a:gd name="connsiteY54" fmla="*/ 347096 h 1348101"/>
              <a:gd name="connsiteX55" fmla="*/ 802040 w 1089102"/>
              <a:gd name="connsiteY55" fmla="*/ 422024 h 1348101"/>
              <a:gd name="connsiteX56" fmla="*/ 842375 w 1089102"/>
              <a:gd name="connsiteY56" fmla="*/ 422024 h 1348101"/>
              <a:gd name="connsiteX57" fmla="*/ 872701 w 1089102"/>
              <a:gd name="connsiteY57" fmla="*/ 422024 h 1348101"/>
              <a:gd name="connsiteX58" fmla="*/ 944188 w 1089102"/>
              <a:gd name="connsiteY58" fmla="*/ 422024 h 1348101"/>
              <a:gd name="connsiteX59" fmla="*/ 944188 w 1089102"/>
              <a:gd name="connsiteY59" fmla="*/ 496952 h 1348101"/>
              <a:gd name="connsiteX60" fmla="*/ 872701 w 1089102"/>
              <a:gd name="connsiteY60" fmla="*/ 496952 h 1348101"/>
              <a:gd name="connsiteX61" fmla="*/ 872701 w 1089102"/>
              <a:gd name="connsiteY61" fmla="*/ 664026 h 1348101"/>
              <a:gd name="connsiteX62" fmla="*/ 800693 w 1089102"/>
              <a:gd name="connsiteY62" fmla="*/ 664026 h 1348101"/>
              <a:gd name="connsiteX63" fmla="*/ 800693 w 1089102"/>
              <a:gd name="connsiteY63" fmla="*/ 422024 h 1348101"/>
              <a:gd name="connsiteX64" fmla="*/ 700227 w 1089102"/>
              <a:gd name="connsiteY64" fmla="*/ 422024 h 1348101"/>
              <a:gd name="connsiteX65" fmla="*/ 700227 w 1089102"/>
              <a:gd name="connsiteY65" fmla="*/ 599913 h 1348101"/>
              <a:gd name="connsiteX66" fmla="*/ 628219 w 1089102"/>
              <a:gd name="connsiteY66" fmla="*/ 599913 h 1348101"/>
              <a:gd name="connsiteX67" fmla="*/ 628219 w 1089102"/>
              <a:gd name="connsiteY67" fmla="*/ 347096 h 1348101"/>
              <a:gd name="connsiteX68" fmla="*/ 528346 w 1089102"/>
              <a:gd name="connsiteY68" fmla="*/ 347096 h 1348101"/>
              <a:gd name="connsiteX69" fmla="*/ 528346 w 1089102"/>
              <a:gd name="connsiteY69" fmla="*/ 628022 h 1348101"/>
              <a:gd name="connsiteX70" fmla="*/ 456338 w 1089102"/>
              <a:gd name="connsiteY70" fmla="*/ 628022 h 1348101"/>
              <a:gd name="connsiteX71" fmla="*/ 354524 w 1089102"/>
              <a:gd name="connsiteY71" fmla="*/ 0 h 1348101"/>
              <a:gd name="connsiteX72" fmla="*/ 456337 w 1089102"/>
              <a:gd name="connsiteY72" fmla="*/ 0 h 1348101"/>
              <a:gd name="connsiteX73" fmla="*/ 456337 w 1089102"/>
              <a:gd name="connsiteY73" fmla="*/ 69049 h 1348101"/>
              <a:gd name="connsiteX74" fmla="*/ 354902 w 1089102"/>
              <a:gd name="connsiteY74" fmla="*/ 69049 h 1348101"/>
              <a:gd name="connsiteX75" fmla="*/ 354902 w 1089102"/>
              <a:gd name="connsiteY75" fmla="*/ 810962 h 1348101"/>
              <a:gd name="connsiteX76" fmla="*/ 282894 w 1089102"/>
              <a:gd name="connsiteY76" fmla="*/ 810962 h 1348101"/>
              <a:gd name="connsiteX77" fmla="*/ 282894 w 1089102"/>
              <a:gd name="connsiteY77" fmla="*/ 664026 h 1348101"/>
              <a:gd name="connsiteX78" fmla="*/ 211263 w 1089102"/>
              <a:gd name="connsiteY78" fmla="*/ 664026 h 1348101"/>
              <a:gd name="connsiteX79" fmla="*/ 211263 w 1089102"/>
              <a:gd name="connsiteY79" fmla="*/ 599282 h 1348101"/>
              <a:gd name="connsiteX80" fmla="*/ 139632 w 1089102"/>
              <a:gd name="connsiteY80" fmla="*/ 599282 h 1348101"/>
              <a:gd name="connsiteX81" fmla="*/ 139632 w 1089102"/>
              <a:gd name="connsiteY81" fmla="*/ 519000 h 1348101"/>
              <a:gd name="connsiteX82" fmla="*/ 211640 w 1089102"/>
              <a:gd name="connsiteY82" fmla="*/ 519000 h 1348101"/>
              <a:gd name="connsiteX83" fmla="*/ 211640 w 1089102"/>
              <a:gd name="connsiteY83" fmla="*/ 594153 h 1348101"/>
              <a:gd name="connsiteX84" fmla="*/ 282894 w 1089102"/>
              <a:gd name="connsiteY84" fmla="*/ 594153 h 1348101"/>
              <a:gd name="connsiteX85" fmla="*/ 282894 w 1089102"/>
              <a:gd name="connsiteY85" fmla="*/ 69049 h 1348101"/>
              <a:gd name="connsiteX86" fmla="*/ 354524 w 1089102"/>
              <a:gd name="connsiteY86" fmla="*/ 69049 h 1348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1089102" h="1348101">
                <a:moveTo>
                  <a:pt x="72008" y="736034"/>
                </a:moveTo>
                <a:lnTo>
                  <a:pt x="140398" y="736034"/>
                </a:lnTo>
                <a:lnTo>
                  <a:pt x="140398" y="772038"/>
                </a:lnTo>
                <a:lnTo>
                  <a:pt x="209396" y="772038"/>
                </a:lnTo>
                <a:lnTo>
                  <a:pt x="209396" y="916850"/>
                </a:lnTo>
                <a:lnTo>
                  <a:pt x="139632" y="916850"/>
                </a:lnTo>
                <a:lnTo>
                  <a:pt x="139632" y="810962"/>
                </a:lnTo>
                <a:lnTo>
                  <a:pt x="72008" y="810962"/>
                </a:lnTo>
                <a:close/>
                <a:moveTo>
                  <a:pt x="1017094" y="599912"/>
                </a:moveTo>
                <a:lnTo>
                  <a:pt x="1089102" y="599912"/>
                </a:lnTo>
                <a:lnTo>
                  <a:pt x="1089102" y="952058"/>
                </a:lnTo>
                <a:lnTo>
                  <a:pt x="1017094" y="952058"/>
                </a:lnTo>
                <a:lnTo>
                  <a:pt x="1017094" y="1158058"/>
                </a:lnTo>
                <a:lnTo>
                  <a:pt x="949649" y="1158058"/>
                </a:lnTo>
                <a:lnTo>
                  <a:pt x="949649" y="1348100"/>
                </a:lnTo>
                <a:lnTo>
                  <a:pt x="894962" y="1348100"/>
                </a:lnTo>
                <a:lnTo>
                  <a:pt x="877641" y="1348100"/>
                </a:lnTo>
                <a:lnTo>
                  <a:pt x="422428" y="1348100"/>
                </a:lnTo>
                <a:lnTo>
                  <a:pt x="422428" y="1348101"/>
                </a:lnTo>
                <a:lnTo>
                  <a:pt x="350420" y="1348101"/>
                </a:lnTo>
                <a:lnTo>
                  <a:pt x="350420" y="1158059"/>
                </a:lnTo>
                <a:lnTo>
                  <a:pt x="282894" y="1158059"/>
                </a:lnTo>
                <a:lnTo>
                  <a:pt x="282894" y="1007483"/>
                </a:lnTo>
                <a:lnTo>
                  <a:pt x="211263" y="1007483"/>
                </a:lnTo>
                <a:lnTo>
                  <a:pt x="211263" y="869310"/>
                </a:lnTo>
                <a:lnTo>
                  <a:pt x="283271" y="869310"/>
                </a:lnTo>
                <a:lnTo>
                  <a:pt x="283271" y="1007483"/>
                </a:lnTo>
                <a:lnTo>
                  <a:pt x="354902" y="1007483"/>
                </a:lnTo>
                <a:lnTo>
                  <a:pt x="354902" y="1096074"/>
                </a:lnTo>
                <a:lnTo>
                  <a:pt x="422428" y="1096074"/>
                </a:lnTo>
                <a:lnTo>
                  <a:pt x="422428" y="1280279"/>
                </a:lnTo>
                <a:lnTo>
                  <a:pt x="877641" y="1280279"/>
                </a:lnTo>
                <a:lnTo>
                  <a:pt x="877641" y="1069361"/>
                </a:lnTo>
                <a:lnTo>
                  <a:pt x="945086" y="1069361"/>
                </a:lnTo>
                <a:lnTo>
                  <a:pt x="945086" y="900577"/>
                </a:lnTo>
                <a:lnTo>
                  <a:pt x="1017094" y="900577"/>
                </a:lnTo>
                <a:close/>
                <a:moveTo>
                  <a:pt x="945086" y="496952"/>
                </a:moveTo>
                <a:lnTo>
                  <a:pt x="1017094" y="496952"/>
                </a:lnTo>
                <a:lnTo>
                  <a:pt x="1017094" y="599912"/>
                </a:lnTo>
                <a:lnTo>
                  <a:pt x="945086" y="599912"/>
                </a:lnTo>
                <a:close/>
                <a:moveTo>
                  <a:pt x="37819" y="444072"/>
                </a:moveTo>
                <a:lnTo>
                  <a:pt x="139632" y="444072"/>
                </a:lnTo>
                <a:lnTo>
                  <a:pt x="139632" y="519000"/>
                </a:lnTo>
                <a:lnTo>
                  <a:pt x="72008" y="519000"/>
                </a:lnTo>
                <a:lnTo>
                  <a:pt x="72008" y="736034"/>
                </a:lnTo>
                <a:lnTo>
                  <a:pt x="0" y="736034"/>
                </a:lnTo>
                <a:lnTo>
                  <a:pt x="0" y="519000"/>
                </a:lnTo>
                <a:lnTo>
                  <a:pt x="37819" y="519000"/>
                </a:lnTo>
                <a:close/>
                <a:moveTo>
                  <a:pt x="456338" y="69049"/>
                </a:moveTo>
                <a:lnTo>
                  <a:pt x="528346" y="69049"/>
                </a:lnTo>
                <a:lnTo>
                  <a:pt x="528346" y="272168"/>
                </a:lnTo>
                <a:lnTo>
                  <a:pt x="628596" y="272168"/>
                </a:lnTo>
                <a:lnTo>
                  <a:pt x="628596" y="347096"/>
                </a:lnTo>
                <a:lnTo>
                  <a:pt x="700227" y="347096"/>
                </a:lnTo>
                <a:lnTo>
                  <a:pt x="802040" y="347096"/>
                </a:lnTo>
                <a:lnTo>
                  <a:pt x="802040" y="422024"/>
                </a:lnTo>
                <a:lnTo>
                  <a:pt x="842375" y="422024"/>
                </a:lnTo>
                <a:lnTo>
                  <a:pt x="872701" y="422024"/>
                </a:lnTo>
                <a:lnTo>
                  <a:pt x="944188" y="422024"/>
                </a:lnTo>
                <a:lnTo>
                  <a:pt x="944188" y="496952"/>
                </a:lnTo>
                <a:lnTo>
                  <a:pt x="872701" y="496952"/>
                </a:lnTo>
                <a:lnTo>
                  <a:pt x="872701" y="664026"/>
                </a:lnTo>
                <a:lnTo>
                  <a:pt x="800693" y="664026"/>
                </a:lnTo>
                <a:lnTo>
                  <a:pt x="800693" y="422024"/>
                </a:lnTo>
                <a:lnTo>
                  <a:pt x="700227" y="422024"/>
                </a:lnTo>
                <a:lnTo>
                  <a:pt x="700227" y="599913"/>
                </a:lnTo>
                <a:lnTo>
                  <a:pt x="628219" y="599913"/>
                </a:lnTo>
                <a:lnTo>
                  <a:pt x="628219" y="347096"/>
                </a:lnTo>
                <a:lnTo>
                  <a:pt x="528346" y="347096"/>
                </a:lnTo>
                <a:lnTo>
                  <a:pt x="528346" y="628022"/>
                </a:lnTo>
                <a:lnTo>
                  <a:pt x="456338" y="628022"/>
                </a:lnTo>
                <a:close/>
                <a:moveTo>
                  <a:pt x="354524" y="0"/>
                </a:moveTo>
                <a:lnTo>
                  <a:pt x="456337" y="0"/>
                </a:lnTo>
                <a:lnTo>
                  <a:pt x="456337" y="69049"/>
                </a:lnTo>
                <a:lnTo>
                  <a:pt x="354902" y="69049"/>
                </a:lnTo>
                <a:lnTo>
                  <a:pt x="354902" y="810962"/>
                </a:lnTo>
                <a:lnTo>
                  <a:pt x="282894" y="810962"/>
                </a:lnTo>
                <a:lnTo>
                  <a:pt x="282894" y="664026"/>
                </a:lnTo>
                <a:lnTo>
                  <a:pt x="211263" y="664026"/>
                </a:lnTo>
                <a:lnTo>
                  <a:pt x="211263" y="599282"/>
                </a:lnTo>
                <a:lnTo>
                  <a:pt x="139632" y="599282"/>
                </a:lnTo>
                <a:lnTo>
                  <a:pt x="139632" y="519000"/>
                </a:lnTo>
                <a:lnTo>
                  <a:pt x="211640" y="519000"/>
                </a:lnTo>
                <a:lnTo>
                  <a:pt x="211640" y="594153"/>
                </a:lnTo>
                <a:lnTo>
                  <a:pt x="282894" y="594153"/>
                </a:lnTo>
                <a:lnTo>
                  <a:pt x="282894" y="69049"/>
                </a:lnTo>
                <a:lnTo>
                  <a:pt x="354524" y="69049"/>
                </a:lnTo>
                <a:close/>
              </a:path>
            </a:pathLst>
          </a:custGeom>
          <a:solidFill>
            <a:srgbClr val="FFFFFF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61E45D53-36B7-48B2-A950-C7595EBA8603}"/>
              </a:ext>
            </a:extLst>
          </p:cNvPr>
          <p:cNvPicPr>
            <a:picLocks/>
          </p:cNvPicPr>
          <p:nvPr/>
        </p:nvPicPr>
        <p:blipFill rotWithShape="1">
          <a:blip r:embed="rId5"/>
          <a:srcRect l="1248" t="4609" r="1380" b="4025"/>
          <a:stretch/>
        </p:blipFill>
        <p:spPr>
          <a:xfrm>
            <a:off x="6243638" y="3179764"/>
            <a:ext cx="5327600" cy="2877527"/>
          </a:xfrm>
          <a:prstGeom prst="rect">
            <a:avLst/>
          </a:prstGeom>
          <a:ln w="12700">
            <a:solidFill>
              <a:srgbClr val="FFFFFF"/>
            </a:solidFill>
            <a:miter lim="800000"/>
          </a:ln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F221C8C3-67A1-4E65-B5A6-78E490E169F2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6"/>
          <a:srcRect l="861" t="6838" r="861" b="3396"/>
          <a:stretch/>
        </p:blipFill>
        <p:spPr>
          <a:xfrm>
            <a:off x="627063" y="3179764"/>
            <a:ext cx="5437023" cy="2877528"/>
          </a:xfrm>
          <a:prstGeom prst="rect">
            <a:avLst/>
          </a:prstGeom>
          <a:ln w="12700">
            <a:solidFill>
              <a:srgbClr val="FFFFFF"/>
            </a:solidFill>
            <a:miter lim="800000"/>
          </a:ln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2DD8872D-45AC-489B-9D53-11CBD09DA7AC}"/>
              </a:ext>
            </a:extLst>
          </p:cNvPr>
          <p:cNvPicPr>
            <a:picLocks/>
          </p:cNvPicPr>
          <p:nvPr/>
        </p:nvPicPr>
        <p:blipFill rotWithShape="1">
          <a:blip r:embed="rId5"/>
          <a:srcRect l="21028" t="44257" r="53494" b="34551"/>
          <a:stretch/>
        </p:blipFill>
        <p:spPr>
          <a:xfrm>
            <a:off x="7322130" y="4439146"/>
            <a:ext cx="1393989" cy="667440"/>
          </a:xfrm>
          <a:prstGeom prst="rect">
            <a:avLst/>
          </a:prstGeom>
          <a:ln w="25400">
            <a:noFill/>
            <a:miter lim="800000"/>
          </a:ln>
        </p:spPr>
      </p:pic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9834408B-2CAA-431D-8E55-F9BCF52CBDF7}"/>
              </a:ext>
            </a:extLst>
          </p:cNvPr>
          <p:cNvSpPr/>
          <p:nvPr/>
        </p:nvSpPr>
        <p:spPr>
          <a:xfrm rot="18900000">
            <a:off x="8125680" y="4752901"/>
            <a:ext cx="626837" cy="775905"/>
          </a:xfrm>
          <a:custGeom>
            <a:avLst/>
            <a:gdLst>
              <a:gd name="connsiteX0" fmla="*/ 72008 w 1089102"/>
              <a:gd name="connsiteY0" fmla="*/ 736034 h 1348101"/>
              <a:gd name="connsiteX1" fmla="*/ 140398 w 1089102"/>
              <a:gd name="connsiteY1" fmla="*/ 736034 h 1348101"/>
              <a:gd name="connsiteX2" fmla="*/ 140398 w 1089102"/>
              <a:gd name="connsiteY2" fmla="*/ 772038 h 1348101"/>
              <a:gd name="connsiteX3" fmla="*/ 209396 w 1089102"/>
              <a:gd name="connsiteY3" fmla="*/ 772038 h 1348101"/>
              <a:gd name="connsiteX4" fmla="*/ 209396 w 1089102"/>
              <a:gd name="connsiteY4" fmla="*/ 916850 h 1348101"/>
              <a:gd name="connsiteX5" fmla="*/ 139632 w 1089102"/>
              <a:gd name="connsiteY5" fmla="*/ 916850 h 1348101"/>
              <a:gd name="connsiteX6" fmla="*/ 139632 w 1089102"/>
              <a:gd name="connsiteY6" fmla="*/ 810962 h 1348101"/>
              <a:gd name="connsiteX7" fmla="*/ 72008 w 1089102"/>
              <a:gd name="connsiteY7" fmla="*/ 810962 h 1348101"/>
              <a:gd name="connsiteX8" fmla="*/ 1017094 w 1089102"/>
              <a:gd name="connsiteY8" fmla="*/ 599912 h 1348101"/>
              <a:gd name="connsiteX9" fmla="*/ 1089102 w 1089102"/>
              <a:gd name="connsiteY9" fmla="*/ 599912 h 1348101"/>
              <a:gd name="connsiteX10" fmla="*/ 1089102 w 1089102"/>
              <a:gd name="connsiteY10" fmla="*/ 952058 h 1348101"/>
              <a:gd name="connsiteX11" fmla="*/ 1017094 w 1089102"/>
              <a:gd name="connsiteY11" fmla="*/ 952058 h 1348101"/>
              <a:gd name="connsiteX12" fmla="*/ 1017094 w 1089102"/>
              <a:gd name="connsiteY12" fmla="*/ 1158058 h 1348101"/>
              <a:gd name="connsiteX13" fmla="*/ 949649 w 1089102"/>
              <a:gd name="connsiteY13" fmla="*/ 1158058 h 1348101"/>
              <a:gd name="connsiteX14" fmla="*/ 949649 w 1089102"/>
              <a:gd name="connsiteY14" fmla="*/ 1348100 h 1348101"/>
              <a:gd name="connsiteX15" fmla="*/ 894962 w 1089102"/>
              <a:gd name="connsiteY15" fmla="*/ 1348100 h 1348101"/>
              <a:gd name="connsiteX16" fmla="*/ 877641 w 1089102"/>
              <a:gd name="connsiteY16" fmla="*/ 1348100 h 1348101"/>
              <a:gd name="connsiteX17" fmla="*/ 422428 w 1089102"/>
              <a:gd name="connsiteY17" fmla="*/ 1348100 h 1348101"/>
              <a:gd name="connsiteX18" fmla="*/ 422428 w 1089102"/>
              <a:gd name="connsiteY18" fmla="*/ 1348101 h 1348101"/>
              <a:gd name="connsiteX19" fmla="*/ 350420 w 1089102"/>
              <a:gd name="connsiteY19" fmla="*/ 1348101 h 1348101"/>
              <a:gd name="connsiteX20" fmla="*/ 350420 w 1089102"/>
              <a:gd name="connsiteY20" fmla="*/ 1158059 h 1348101"/>
              <a:gd name="connsiteX21" fmla="*/ 282894 w 1089102"/>
              <a:gd name="connsiteY21" fmla="*/ 1158059 h 1348101"/>
              <a:gd name="connsiteX22" fmla="*/ 282894 w 1089102"/>
              <a:gd name="connsiteY22" fmla="*/ 1007483 h 1348101"/>
              <a:gd name="connsiteX23" fmla="*/ 211263 w 1089102"/>
              <a:gd name="connsiteY23" fmla="*/ 1007483 h 1348101"/>
              <a:gd name="connsiteX24" fmla="*/ 211263 w 1089102"/>
              <a:gd name="connsiteY24" fmla="*/ 869310 h 1348101"/>
              <a:gd name="connsiteX25" fmla="*/ 283271 w 1089102"/>
              <a:gd name="connsiteY25" fmla="*/ 869310 h 1348101"/>
              <a:gd name="connsiteX26" fmla="*/ 283271 w 1089102"/>
              <a:gd name="connsiteY26" fmla="*/ 1007483 h 1348101"/>
              <a:gd name="connsiteX27" fmla="*/ 354902 w 1089102"/>
              <a:gd name="connsiteY27" fmla="*/ 1007483 h 1348101"/>
              <a:gd name="connsiteX28" fmla="*/ 354902 w 1089102"/>
              <a:gd name="connsiteY28" fmla="*/ 1096074 h 1348101"/>
              <a:gd name="connsiteX29" fmla="*/ 422428 w 1089102"/>
              <a:gd name="connsiteY29" fmla="*/ 1096074 h 1348101"/>
              <a:gd name="connsiteX30" fmla="*/ 422428 w 1089102"/>
              <a:gd name="connsiteY30" fmla="*/ 1280279 h 1348101"/>
              <a:gd name="connsiteX31" fmla="*/ 877641 w 1089102"/>
              <a:gd name="connsiteY31" fmla="*/ 1280279 h 1348101"/>
              <a:gd name="connsiteX32" fmla="*/ 877641 w 1089102"/>
              <a:gd name="connsiteY32" fmla="*/ 1069361 h 1348101"/>
              <a:gd name="connsiteX33" fmla="*/ 945086 w 1089102"/>
              <a:gd name="connsiteY33" fmla="*/ 1069361 h 1348101"/>
              <a:gd name="connsiteX34" fmla="*/ 945086 w 1089102"/>
              <a:gd name="connsiteY34" fmla="*/ 900577 h 1348101"/>
              <a:gd name="connsiteX35" fmla="*/ 1017094 w 1089102"/>
              <a:gd name="connsiteY35" fmla="*/ 900577 h 1348101"/>
              <a:gd name="connsiteX36" fmla="*/ 945086 w 1089102"/>
              <a:gd name="connsiteY36" fmla="*/ 496952 h 1348101"/>
              <a:gd name="connsiteX37" fmla="*/ 1017094 w 1089102"/>
              <a:gd name="connsiteY37" fmla="*/ 496952 h 1348101"/>
              <a:gd name="connsiteX38" fmla="*/ 1017094 w 1089102"/>
              <a:gd name="connsiteY38" fmla="*/ 599912 h 1348101"/>
              <a:gd name="connsiteX39" fmla="*/ 945086 w 1089102"/>
              <a:gd name="connsiteY39" fmla="*/ 599912 h 1348101"/>
              <a:gd name="connsiteX40" fmla="*/ 37819 w 1089102"/>
              <a:gd name="connsiteY40" fmla="*/ 444072 h 1348101"/>
              <a:gd name="connsiteX41" fmla="*/ 139632 w 1089102"/>
              <a:gd name="connsiteY41" fmla="*/ 444072 h 1348101"/>
              <a:gd name="connsiteX42" fmla="*/ 139632 w 1089102"/>
              <a:gd name="connsiteY42" fmla="*/ 519000 h 1348101"/>
              <a:gd name="connsiteX43" fmla="*/ 72008 w 1089102"/>
              <a:gd name="connsiteY43" fmla="*/ 519000 h 1348101"/>
              <a:gd name="connsiteX44" fmla="*/ 72008 w 1089102"/>
              <a:gd name="connsiteY44" fmla="*/ 736034 h 1348101"/>
              <a:gd name="connsiteX45" fmla="*/ 0 w 1089102"/>
              <a:gd name="connsiteY45" fmla="*/ 736034 h 1348101"/>
              <a:gd name="connsiteX46" fmla="*/ 0 w 1089102"/>
              <a:gd name="connsiteY46" fmla="*/ 519000 h 1348101"/>
              <a:gd name="connsiteX47" fmla="*/ 37819 w 1089102"/>
              <a:gd name="connsiteY47" fmla="*/ 519000 h 1348101"/>
              <a:gd name="connsiteX48" fmla="*/ 456338 w 1089102"/>
              <a:gd name="connsiteY48" fmla="*/ 69049 h 1348101"/>
              <a:gd name="connsiteX49" fmla="*/ 528346 w 1089102"/>
              <a:gd name="connsiteY49" fmla="*/ 69049 h 1348101"/>
              <a:gd name="connsiteX50" fmla="*/ 528346 w 1089102"/>
              <a:gd name="connsiteY50" fmla="*/ 272168 h 1348101"/>
              <a:gd name="connsiteX51" fmla="*/ 628596 w 1089102"/>
              <a:gd name="connsiteY51" fmla="*/ 272168 h 1348101"/>
              <a:gd name="connsiteX52" fmla="*/ 628596 w 1089102"/>
              <a:gd name="connsiteY52" fmla="*/ 347096 h 1348101"/>
              <a:gd name="connsiteX53" fmla="*/ 700227 w 1089102"/>
              <a:gd name="connsiteY53" fmla="*/ 347096 h 1348101"/>
              <a:gd name="connsiteX54" fmla="*/ 802040 w 1089102"/>
              <a:gd name="connsiteY54" fmla="*/ 347096 h 1348101"/>
              <a:gd name="connsiteX55" fmla="*/ 802040 w 1089102"/>
              <a:gd name="connsiteY55" fmla="*/ 422024 h 1348101"/>
              <a:gd name="connsiteX56" fmla="*/ 842375 w 1089102"/>
              <a:gd name="connsiteY56" fmla="*/ 422024 h 1348101"/>
              <a:gd name="connsiteX57" fmla="*/ 872701 w 1089102"/>
              <a:gd name="connsiteY57" fmla="*/ 422024 h 1348101"/>
              <a:gd name="connsiteX58" fmla="*/ 944188 w 1089102"/>
              <a:gd name="connsiteY58" fmla="*/ 422024 h 1348101"/>
              <a:gd name="connsiteX59" fmla="*/ 944188 w 1089102"/>
              <a:gd name="connsiteY59" fmla="*/ 496952 h 1348101"/>
              <a:gd name="connsiteX60" fmla="*/ 872701 w 1089102"/>
              <a:gd name="connsiteY60" fmla="*/ 496952 h 1348101"/>
              <a:gd name="connsiteX61" fmla="*/ 872701 w 1089102"/>
              <a:gd name="connsiteY61" fmla="*/ 664026 h 1348101"/>
              <a:gd name="connsiteX62" fmla="*/ 800693 w 1089102"/>
              <a:gd name="connsiteY62" fmla="*/ 664026 h 1348101"/>
              <a:gd name="connsiteX63" fmla="*/ 800693 w 1089102"/>
              <a:gd name="connsiteY63" fmla="*/ 422024 h 1348101"/>
              <a:gd name="connsiteX64" fmla="*/ 700227 w 1089102"/>
              <a:gd name="connsiteY64" fmla="*/ 422024 h 1348101"/>
              <a:gd name="connsiteX65" fmla="*/ 700227 w 1089102"/>
              <a:gd name="connsiteY65" fmla="*/ 599913 h 1348101"/>
              <a:gd name="connsiteX66" fmla="*/ 628219 w 1089102"/>
              <a:gd name="connsiteY66" fmla="*/ 599913 h 1348101"/>
              <a:gd name="connsiteX67" fmla="*/ 628219 w 1089102"/>
              <a:gd name="connsiteY67" fmla="*/ 347096 h 1348101"/>
              <a:gd name="connsiteX68" fmla="*/ 528346 w 1089102"/>
              <a:gd name="connsiteY68" fmla="*/ 347096 h 1348101"/>
              <a:gd name="connsiteX69" fmla="*/ 528346 w 1089102"/>
              <a:gd name="connsiteY69" fmla="*/ 628022 h 1348101"/>
              <a:gd name="connsiteX70" fmla="*/ 456338 w 1089102"/>
              <a:gd name="connsiteY70" fmla="*/ 628022 h 1348101"/>
              <a:gd name="connsiteX71" fmla="*/ 354524 w 1089102"/>
              <a:gd name="connsiteY71" fmla="*/ 0 h 1348101"/>
              <a:gd name="connsiteX72" fmla="*/ 456337 w 1089102"/>
              <a:gd name="connsiteY72" fmla="*/ 0 h 1348101"/>
              <a:gd name="connsiteX73" fmla="*/ 456337 w 1089102"/>
              <a:gd name="connsiteY73" fmla="*/ 69049 h 1348101"/>
              <a:gd name="connsiteX74" fmla="*/ 354902 w 1089102"/>
              <a:gd name="connsiteY74" fmla="*/ 69049 h 1348101"/>
              <a:gd name="connsiteX75" fmla="*/ 354902 w 1089102"/>
              <a:gd name="connsiteY75" fmla="*/ 810962 h 1348101"/>
              <a:gd name="connsiteX76" fmla="*/ 282894 w 1089102"/>
              <a:gd name="connsiteY76" fmla="*/ 810962 h 1348101"/>
              <a:gd name="connsiteX77" fmla="*/ 282894 w 1089102"/>
              <a:gd name="connsiteY77" fmla="*/ 664026 h 1348101"/>
              <a:gd name="connsiteX78" fmla="*/ 211263 w 1089102"/>
              <a:gd name="connsiteY78" fmla="*/ 664026 h 1348101"/>
              <a:gd name="connsiteX79" fmla="*/ 211263 w 1089102"/>
              <a:gd name="connsiteY79" fmla="*/ 599282 h 1348101"/>
              <a:gd name="connsiteX80" fmla="*/ 139632 w 1089102"/>
              <a:gd name="connsiteY80" fmla="*/ 599282 h 1348101"/>
              <a:gd name="connsiteX81" fmla="*/ 139632 w 1089102"/>
              <a:gd name="connsiteY81" fmla="*/ 519000 h 1348101"/>
              <a:gd name="connsiteX82" fmla="*/ 211640 w 1089102"/>
              <a:gd name="connsiteY82" fmla="*/ 519000 h 1348101"/>
              <a:gd name="connsiteX83" fmla="*/ 211640 w 1089102"/>
              <a:gd name="connsiteY83" fmla="*/ 594153 h 1348101"/>
              <a:gd name="connsiteX84" fmla="*/ 282894 w 1089102"/>
              <a:gd name="connsiteY84" fmla="*/ 594153 h 1348101"/>
              <a:gd name="connsiteX85" fmla="*/ 282894 w 1089102"/>
              <a:gd name="connsiteY85" fmla="*/ 69049 h 1348101"/>
              <a:gd name="connsiteX86" fmla="*/ 354524 w 1089102"/>
              <a:gd name="connsiteY86" fmla="*/ 69049 h 1348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1089102" h="1348101">
                <a:moveTo>
                  <a:pt x="72008" y="736034"/>
                </a:moveTo>
                <a:lnTo>
                  <a:pt x="140398" y="736034"/>
                </a:lnTo>
                <a:lnTo>
                  <a:pt x="140398" y="772038"/>
                </a:lnTo>
                <a:lnTo>
                  <a:pt x="209396" y="772038"/>
                </a:lnTo>
                <a:lnTo>
                  <a:pt x="209396" y="916850"/>
                </a:lnTo>
                <a:lnTo>
                  <a:pt x="139632" y="916850"/>
                </a:lnTo>
                <a:lnTo>
                  <a:pt x="139632" y="810962"/>
                </a:lnTo>
                <a:lnTo>
                  <a:pt x="72008" y="810962"/>
                </a:lnTo>
                <a:close/>
                <a:moveTo>
                  <a:pt x="1017094" y="599912"/>
                </a:moveTo>
                <a:lnTo>
                  <a:pt x="1089102" y="599912"/>
                </a:lnTo>
                <a:lnTo>
                  <a:pt x="1089102" y="952058"/>
                </a:lnTo>
                <a:lnTo>
                  <a:pt x="1017094" y="952058"/>
                </a:lnTo>
                <a:lnTo>
                  <a:pt x="1017094" y="1158058"/>
                </a:lnTo>
                <a:lnTo>
                  <a:pt x="949649" y="1158058"/>
                </a:lnTo>
                <a:lnTo>
                  <a:pt x="949649" y="1348100"/>
                </a:lnTo>
                <a:lnTo>
                  <a:pt x="894962" y="1348100"/>
                </a:lnTo>
                <a:lnTo>
                  <a:pt x="877641" y="1348100"/>
                </a:lnTo>
                <a:lnTo>
                  <a:pt x="422428" y="1348100"/>
                </a:lnTo>
                <a:lnTo>
                  <a:pt x="422428" y="1348101"/>
                </a:lnTo>
                <a:lnTo>
                  <a:pt x="350420" y="1348101"/>
                </a:lnTo>
                <a:lnTo>
                  <a:pt x="350420" y="1158059"/>
                </a:lnTo>
                <a:lnTo>
                  <a:pt x="282894" y="1158059"/>
                </a:lnTo>
                <a:lnTo>
                  <a:pt x="282894" y="1007483"/>
                </a:lnTo>
                <a:lnTo>
                  <a:pt x="211263" y="1007483"/>
                </a:lnTo>
                <a:lnTo>
                  <a:pt x="211263" y="869310"/>
                </a:lnTo>
                <a:lnTo>
                  <a:pt x="283271" y="869310"/>
                </a:lnTo>
                <a:lnTo>
                  <a:pt x="283271" y="1007483"/>
                </a:lnTo>
                <a:lnTo>
                  <a:pt x="354902" y="1007483"/>
                </a:lnTo>
                <a:lnTo>
                  <a:pt x="354902" y="1096074"/>
                </a:lnTo>
                <a:lnTo>
                  <a:pt x="422428" y="1096074"/>
                </a:lnTo>
                <a:lnTo>
                  <a:pt x="422428" y="1280279"/>
                </a:lnTo>
                <a:lnTo>
                  <a:pt x="877641" y="1280279"/>
                </a:lnTo>
                <a:lnTo>
                  <a:pt x="877641" y="1069361"/>
                </a:lnTo>
                <a:lnTo>
                  <a:pt x="945086" y="1069361"/>
                </a:lnTo>
                <a:lnTo>
                  <a:pt x="945086" y="900577"/>
                </a:lnTo>
                <a:lnTo>
                  <a:pt x="1017094" y="900577"/>
                </a:lnTo>
                <a:close/>
                <a:moveTo>
                  <a:pt x="945086" y="496952"/>
                </a:moveTo>
                <a:lnTo>
                  <a:pt x="1017094" y="496952"/>
                </a:lnTo>
                <a:lnTo>
                  <a:pt x="1017094" y="599912"/>
                </a:lnTo>
                <a:lnTo>
                  <a:pt x="945086" y="599912"/>
                </a:lnTo>
                <a:close/>
                <a:moveTo>
                  <a:pt x="37819" y="444072"/>
                </a:moveTo>
                <a:lnTo>
                  <a:pt x="139632" y="444072"/>
                </a:lnTo>
                <a:lnTo>
                  <a:pt x="139632" y="519000"/>
                </a:lnTo>
                <a:lnTo>
                  <a:pt x="72008" y="519000"/>
                </a:lnTo>
                <a:lnTo>
                  <a:pt x="72008" y="736034"/>
                </a:lnTo>
                <a:lnTo>
                  <a:pt x="0" y="736034"/>
                </a:lnTo>
                <a:lnTo>
                  <a:pt x="0" y="519000"/>
                </a:lnTo>
                <a:lnTo>
                  <a:pt x="37819" y="519000"/>
                </a:lnTo>
                <a:close/>
                <a:moveTo>
                  <a:pt x="456338" y="69049"/>
                </a:moveTo>
                <a:lnTo>
                  <a:pt x="528346" y="69049"/>
                </a:lnTo>
                <a:lnTo>
                  <a:pt x="528346" y="272168"/>
                </a:lnTo>
                <a:lnTo>
                  <a:pt x="628596" y="272168"/>
                </a:lnTo>
                <a:lnTo>
                  <a:pt x="628596" y="347096"/>
                </a:lnTo>
                <a:lnTo>
                  <a:pt x="700227" y="347096"/>
                </a:lnTo>
                <a:lnTo>
                  <a:pt x="802040" y="347096"/>
                </a:lnTo>
                <a:lnTo>
                  <a:pt x="802040" y="422024"/>
                </a:lnTo>
                <a:lnTo>
                  <a:pt x="842375" y="422024"/>
                </a:lnTo>
                <a:lnTo>
                  <a:pt x="872701" y="422024"/>
                </a:lnTo>
                <a:lnTo>
                  <a:pt x="944188" y="422024"/>
                </a:lnTo>
                <a:lnTo>
                  <a:pt x="944188" y="496952"/>
                </a:lnTo>
                <a:lnTo>
                  <a:pt x="872701" y="496952"/>
                </a:lnTo>
                <a:lnTo>
                  <a:pt x="872701" y="664026"/>
                </a:lnTo>
                <a:lnTo>
                  <a:pt x="800693" y="664026"/>
                </a:lnTo>
                <a:lnTo>
                  <a:pt x="800693" y="422024"/>
                </a:lnTo>
                <a:lnTo>
                  <a:pt x="700227" y="422024"/>
                </a:lnTo>
                <a:lnTo>
                  <a:pt x="700227" y="599913"/>
                </a:lnTo>
                <a:lnTo>
                  <a:pt x="628219" y="599913"/>
                </a:lnTo>
                <a:lnTo>
                  <a:pt x="628219" y="347096"/>
                </a:lnTo>
                <a:lnTo>
                  <a:pt x="528346" y="347096"/>
                </a:lnTo>
                <a:lnTo>
                  <a:pt x="528346" y="628022"/>
                </a:lnTo>
                <a:lnTo>
                  <a:pt x="456338" y="628022"/>
                </a:lnTo>
                <a:close/>
                <a:moveTo>
                  <a:pt x="354524" y="0"/>
                </a:moveTo>
                <a:lnTo>
                  <a:pt x="456337" y="0"/>
                </a:lnTo>
                <a:lnTo>
                  <a:pt x="456337" y="69049"/>
                </a:lnTo>
                <a:lnTo>
                  <a:pt x="354902" y="69049"/>
                </a:lnTo>
                <a:lnTo>
                  <a:pt x="354902" y="810962"/>
                </a:lnTo>
                <a:lnTo>
                  <a:pt x="282894" y="810962"/>
                </a:lnTo>
                <a:lnTo>
                  <a:pt x="282894" y="664026"/>
                </a:lnTo>
                <a:lnTo>
                  <a:pt x="211263" y="664026"/>
                </a:lnTo>
                <a:lnTo>
                  <a:pt x="211263" y="599282"/>
                </a:lnTo>
                <a:lnTo>
                  <a:pt x="139632" y="599282"/>
                </a:lnTo>
                <a:lnTo>
                  <a:pt x="139632" y="519000"/>
                </a:lnTo>
                <a:lnTo>
                  <a:pt x="211640" y="519000"/>
                </a:lnTo>
                <a:lnTo>
                  <a:pt x="211640" y="594153"/>
                </a:lnTo>
                <a:lnTo>
                  <a:pt x="282894" y="594153"/>
                </a:lnTo>
                <a:lnTo>
                  <a:pt x="282894" y="69049"/>
                </a:lnTo>
                <a:lnTo>
                  <a:pt x="354524" y="69049"/>
                </a:lnTo>
                <a:close/>
              </a:path>
            </a:pathLst>
          </a:custGeom>
          <a:solidFill>
            <a:srgbClr val="FFFFFF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6112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afterEffect" p14:presetBounceEnd="7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5000">
                                          <p:cBhvr additive="base">
                                            <p:cTn id="7" dur="20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5000">
                                          <p:cBhvr additive="base">
                                            <p:cTn id="8" dur="20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2" presetClass="entr" presetSubtype="1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11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2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13" presetID="35" presetClass="emph" presetSubtype="0" repeatCount="3000" fill="hold" nodeType="afterEffect">
                                      <p:stCondLst>
                                        <p:cond delay="250"/>
                                      </p:stCondLst>
                                      <p:childTnLst>
                                        <p:anim calcmode="discrete" valueType="str">
                                          <p:cBhvr>
                                            <p:cTn id="14" dur="1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hidden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visible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5" fill="hold">
                                <p:stCondLst>
                                  <p:cond delay="5250"/>
                                </p:stCondLst>
                                <p:childTnLst>
                                  <p:par>
                                    <p:cTn id="16" presetID="17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8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9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0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2" presetID="17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4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5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6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8" presetID="2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30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1" fill="hold">
                                <p:stCondLst>
                                  <p:cond delay="5750"/>
                                </p:stCondLst>
                                <p:childTnLst>
                                  <p:par>
                                    <p:cTn id="32" presetID="22" presetClass="entr" presetSubtype="1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34" dur="500"/>
                                            <p:tgtEl>
                                              <p:spTgt spid="3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5" fill="hold">
                                <p:stCondLst>
                                  <p:cond delay="6250"/>
                                </p:stCondLst>
                                <p:childTnLst>
                                  <p:par>
                                    <p:cTn id="36" presetID="22" presetClass="entr" presetSubtype="2" fill="hold" nodeType="after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38" dur="5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7250"/>
                                </p:stCondLst>
                                <p:childTnLst>
                                  <p:par>
                                    <p:cTn id="40" presetID="35" presetClass="emph" presetSubtype="0" repeatCount="3000" fill="hold" nodeType="afterEffect">
                                      <p:stCondLst>
                                        <p:cond delay="250"/>
                                      </p:stCondLst>
                                      <p:childTnLst>
                                        <p:anim calcmode="discrete" valueType="str">
                                          <p:cBhvr>
                                            <p:cTn id="41" dur="1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hidden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visible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2" fill="hold">
                                <p:stCondLst>
                                  <p:cond delay="10500"/>
                                </p:stCondLst>
                                <p:childTnLst>
                                  <p:par>
                                    <p:cTn id="43" presetID="2" presetClass="entr" presetSubtype="2" fill="hold" grpId="0" nodeType="afterEffect" p14:presetBounceEnd="7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5000">
                                          <p:cBhvr additive="base">
                                            <p:cTn id="45" dur="75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5000">
                                          <p:cBhvr additive="base">
                                            <p:cTn id="46" dur="75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7" fill="hold">
                                <p:stCondLst>
                                  <p:cond delay="11250"/>
                                </p:stCondLst>
                                <p:childTnLst>
                                  <p:par>
                                    <p:cTn id="48" presetID="26" presetClass="emph" presetSubtype="0" fill="hold" grpId="1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49" dur="500" tmFilter="0, 0; .2, .5; .8, .5; 1, 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  <p:animScale>
                                          <p:cBhvr>
                                            <p:cTn id="50" dur="250" autoRev="1" fill="hold"/>
                                            <p:tgtEl>
                                              <p:spTgt spid="11"/>
                                            </p:tgtEl>
                                          </p:cBhvr>
                                          <p:by x="105000" y="10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51" presetID="26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52" dur="500" tmFilter="0, 0; .2, .5; .8, .5; 1, 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  <p:animScale>
                                          <p:cBhvr>
                                            <p:cTn id="53" dur="250" autoRev="1" fill="hold"/>
                                            <p:tgtEl>
                                              <p:spTgt spid="10"/>
                                            </p:tgtEl>
                                          </p:cBhvr>
                                          <p:by x="105000" y="105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4" fill="hold">
                                <p:stCondLst>
                                  <p:cond delay="11750"/>
                                </p:stCondLst>
                                <p:childTnLst>
                                  <p:par>
                                    <p:cTn id="55" presetID="22" presetClass="entr" presetSubtype="1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57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8" presetID="10" presetClass="exit" presetSubtype="0" fill="hold" grpId="2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59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1" fill="hold">
                                <p:stCondLst>
                                  <p:cond delay="12250"/>
                                </p:stCondLst>
                                <p:childTnLst>
                                  <p:par>
                                    <p:cTn id="62" presetID="2" presetClass="entr" presetSubtype="2" fill="hold" grpId="0" nodeType="afterEffect" p14:presetBounceEnd="7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5000">
                                          <p:cBhvr additive="base">
                                            <p:cTn id="64" dur="75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5000">
                                          <p:cBhvr additive="base">
                                            <p:cTn id="65" dur="75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6" presetID="1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8" fill="hold">
                                <p:stCondLst>
                                  <p:cond delay="13000"/>
                                </p:stCondLst>
                                <p:childTnLst>
                                  <p:par>
                                    <p:cTn id="69" presetID="26" presetClass="emph" presetSubtype="0" fill="hold" grpId="1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70" dur="500" tmFilter="0, 0; .2, .5; .8, .5; 1, 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  <p:animScale>
                                          <p:cBhvr>
                                            <p:cTn id="71" dur="250" autoRev="1" fill="hold"/>
                                            <p:tgtEl>
                                              <p:spTgt spid="20"/>
                                            </p:tgtEl>
                                          </p:cBhvr>
                                          <p:by x="105000" y="10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72" presetID="26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73" dur="500" tmFilter="0, 0; .2, .5; .8, .5; 1, 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  <p:animScale>
                                          <p:cBhvr>
                                            <p:cTn id="74" dur="250" autoRev="1" fill="hold"/>
                                            <p:tgtEl>
                                              <p:spTgt spid="21"/>
                                            </p:tgtEl>
                                          </p:cBhvr>
                                          <p:by x="105000" y="105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5" fill="hold">
                                <p:stCondLst>
                                  <p:cond delay="13500"/>
                                </p:stCondLst>
                                <p:childTnLst>
                                  <p:par>
                                    <p:cTn id="76" presetID="2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78" dur="500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9" presetID="10" presetClass="exit" presetSubtype="0" fill="hold" grpId="2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80" dur="50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81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" grpId="0"/>
          <p:bldP spid="3" grpId="0" animBg="1"/>
          <p:bldP spid="8" grpId="0" animBg="1"/>
          <p:bldP spid="9" grpId="0" animBg="1"/>
          <p:bldP spid="11" grpId="0" animBg="1"/>
          <p:bldP spid="11" grpId="1" animBg="1"/>
          <p:bldP spid="11" grpId="2" animBg="1"/>
          <p:bldP spid="20" grpId="0" animBg="1"/>
          <p:bldP spid="20" grpId="1" animBg="1"/>
          <p:bldP spid="20" grpId="2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20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20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2" presetClass="entr" presetSubtype="1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11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2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13" presetID="35" presetClass="emph" presetSubtype="0" repeatCount="3000" fill="hold" nodeType="afterEffect">
                                      <p:stCondLst>
                                        <p:cond delay="250"/>
                                      </p:stCondLst>
                                      <p:childTnLst>
                                        <p:anim calcmode="discrete" valueType="str">
                                          <p:cBhvr>
                                            <p:cTn id="14" dur="1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hidden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visible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5" fill="hold">
                                <p:stCondLst>
                                  <p:cond delay="5250"/>
                                </p:stCondLst>
                                <p:childTnLst>
                                  <p:par>
                                    <p:cTn id="16" presetID="17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8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9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0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2" presetID="17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4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5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6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8" presetID="2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30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1" fill="hold">
                                <p:stCondLst>
                                  <p:cond delay="5750"/>
                                </p:stCondLst>
                                <p:childTnLst>
                                  <p:par>
                                    <p:cTn id="32" presetID="22" presetClass="entr" presetSubtype="1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34" dur="500"/>
                                            <p:tgtEl>
                                              <p:spTgt spid="3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5" fill="hold">
                                <p:stCondLst>
                                  <p:cond delay="6250"/>
                                </p:stCondLst>
                                <p:childTnLst>
                                  <p:par>
                                    <p:cTn id="36" presetID="22" presetClass="entr" presetSubtype="2" fill="hold" nodeType="after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38" dur="5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7250"/>
                                </p:stCondLst>
                                <p:childTnLst>
                                  <p:par>
                                    <p:cTn id="40" presetID="35" presetClass="emph" presetSubtype="0" repeatCount="3000" fill="hold" nodeType="afterEffect">
                                      <p:stCondLst>
                                        <p:cond delay="250"/>
                                      </p:stCondLst>
                                      <p:childTnLst>
                                        <p:anim calcmode="discrete" valueType="str">
                                          <p:cBhvr>
                                            <p:cTn id="41" dur="1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hidden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visible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2" fill="hold">
                                <p:stCondLst>
                                  <p:cond delay="10500"/>
                                </p:stCondLst>
                                <p:childTnLst>
                                  <p:par>
                                    <p:cTn id="43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5" dur="75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6" dur="75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7" fill="hold">
                                <p:stCondLst>
                                  <p:cond delay="11250"/>
                                </p:stCondLst>
                                <p:childTnLst>
                                  <p:par>
                                    <p:cTn id="48" presetID="26" presetClass="emph" presetSubtype="0" fill="hold" grpId="1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49" dur="500" tmFilter="0, 0; .2, .5; .8, .5; 1, 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  <p:animScale>
                                          <p:cBhvr>
                                            <p:cTn id="50" dur="250" autoRev="1" fill="hold"/>
                                            <p:tgtEl>
                                              <p:spTgt spid="11"/>
                                            </p:tgtEl>
                                          </p:cBhvr>
                                          <p:by x="105000" y="10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51" presetID="26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52" dur="500" tmFilter="0, 0; .2, .5; .8, .5; 1, 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  <p:animScale>
                                          <p:cBhvr>
                                            <p:cTn id="53" dur="250" autoRev="1" fill="hold"/>
                                            <p:tgtEl>
                                              <p:spTgt spid="10"/>
                                            </p:tgtEl>
                                          </p:cBhvr>
                                          <p:by x="105000" y="105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4" fill="hold">
                                <p:stCondLst>
                                  <p:cond delay="11750"/>
                                </p:stCondLst>
                                <p:childTnLst>
                                  <p:par>
                                    <p:cTn id="55" presetID="22" presetClass="entr" presetSubtype="1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57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8" presetID="10" presetClass="exit" presetSubtype="0" fill="hold" grpId="2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59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1" fill="hold">
                                <p:stCondLst>
                                  <p:cond delay="12250"/>
                                </p:stCondLst>
                                <p:childTnLst>
                                  <p:par>
                                    <p:cTn id="62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4" dur="75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5" dur="75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6" presetID="1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8" fill="hold">
                                <p:stCondLst>
                                  <p:cond delay="13000"/>
                                </p:stCondLst>
                                <p:childTnLst>
                                  <p:par>
                                    <p:cTn id="69" presetID="26" presetClass="emph" presetSubtype="0" fill="hold" grpId="1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70" dur="500" tmFilter="0, 0; .2, .5; .8, .5; 1, 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  <p:animScale>
                                          <p:cBhvr>
                                            <p:cTn id="71" dur="250" autoRev="1" fill="hold"/>
                                            <p:tgtEl>
                                              <p:spTgt spid="20"/>
                                            </p:tgtEl>
                                          </p:cBhvr>
                                          <p:by x="105000" y="10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72" presetID="26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73" dur="500" tmFilter="0, 0; .2, .5; .8, .5; 1, 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  <p:animScale>
                                          <p:cBhvr>
                                            <p:cTn id="74" dur="250" autoRev="1" fill="hold"/>
                                            <p:tgtEl>
                                              <p:spTgt spid="21"/>
                                            </p:tgtEl>
                                          </p:cBhvr>
                                          <p:by x="105000" y="105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5" fill="hold">
                                <p:stCondLst>
                                  <p:cond delay="13500"/>
                                </p:stCondLst>
                                <p:childTnLst>
                                  <p:par>
                                    <p:cTn id="76" presetID="2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78" dur="500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9" presetID="10" presetClass="exit" presetSubtype="0" fill="hold" grpId="2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80" dur="50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81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" grpId="0"/>
          <p:bldP spid="3" grpId="0" animBg="1"/>
          <p:bldP spid="8" grpId="0" animBg="1"/>
          <p:bldP spid="9" grpId="0" animBg="1"/>
          <p:bldP spid="11" grpId="0" animBg="1"/>
          <p:bldP spid="11" grpId="1" animBg="1"/>
          <p:bldP spid="11" grpId="2" animBg="1"/>
          <p:bldP spid="20" grpId="0" animBg="1"/>
          <p:bldP spid="20" grpId="1" animBg="1"/>
          <p:bldP spid="20" grpId="2" animBg="1"/>
        </p:bldLst>
      </p:timing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3175" y="-5428"/>
            <a:ext cx="12211744" cy="6875677"/>
          </a:xfrm>
          <a:prstGeom prst="rect">
            <a:avLst/>
          </a:prstGeom>
          <a:gradFill flip="none" rotWithShape="0">
            <a:gsLst>
              <a:gs pos="0">
                <a:srgbClr val="E4003A"/>
              </a:gs>
              <a:gs pos="100000">
                <a:srgbClr val="EF7D00">
                  <a:lumMod val="100000"/>
                </a:srgb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8" tIns="60933" rIns="121868" bIns="60933" rtlCol="0" anchor="ctr"/>
          <a:lstStyle/>
          <a:p>
            <a:pPr lvl="0" algn="ctr"/>
            <a:endParaRPr lang="de-DE"/>
          </a:p>
        </p:txBody>
      </p:sp>
      <p:sp>
        <p:nvSpPr>
          <p:cNvPr id="3" name="Rechteck 2"/>
          <p:cNvSpPr/>
          <p:nvPr/>
        </p:nvSpPr>
        <p:spPr>
          <a:xfrm>
            <a:off x="5715135" y="1786"/>
            <a:ext cx="6513809" cy="6868463"/>
          </a:xfrm>
          <a:custGeom>
            <a:avLst/>
            <a:gdLst>
              <a:gd name="connsiteX0" fmla="*/ 0 w 5883275"/>
              <a:gd name="connsiteY0" fmla="*/ 0 h 6886177"/>
              <a:gd name="connsiteX1" fmla="*/ 5883275 w 5883275"/>
              <a:gd name="connsiteY1" fmla="*/ 0 h 6886177"/>
              <a:gd name="connsiteX2" fmla="*/ 5883275 w 5883275"/>
              <a:gd name="connsiteY2" fmla="*/ 6886177 h 6886177"/>
              <a:gd name="connsiteX3" fmla="*/ 0 w 5883275"/>
              <a:gd name="connsiteY3" fmla="*/ 6886177 h 6886177"/>
              <a:gd name="connsiteX4" fmla="*/ 0 w 5883275"/>
              <a:gd name="connsiteY4" fmla="*/ 0 h 6886177"/>
              <a:gd name="connsiteX0" fmla="*/ 0 w 7902575"/>
              <a:gd name="connsiteY0" fmla="*/ 0 h 6890940"/>
              <a:gd name="connsiteX1" fmla="*/ 7902575 w 7902575"/>
              <a:gd name="connsiteY1" fmla="*/ 4763 h 6890940"/>
              <a:gd name="connsiteX2" fmla="*/ 7902575 w 7902575"/>
              <a:gd name="connsiteY2" fmla="*/ 6890940 h 6890940"/>
              <a:gd name="connsiteX3" fmla="*/ 2019300 w 7902575"/>
              <a:gd name="connsiteY3" fmla="*/ 6890940 h 6890940"/>
              <a:gd name="connsiteX4" fmla="*/ 0 w 7902575"/>
              <a:gd name="connsiteY4" fmla="*/ 0 h 6890940"/>
              <a:gd name="connsiteX0" fmla="*/ 0 w 7902575"/>
              <a:gd name="connsiteY0" fmla="*/ 0 h 6890940"/>
              <a:gd name="connsiteX1" fmla="*/ 6263489 w 7902575"/>
              <a:gd name="connsiteY1" fmla="*/ 11611 h 6890940"/>
              <a:gd name="connsiteX2" fmla="*/ 7902575 w 7902575"/>
              <a:gd name="connsiteY2" fmla="*/ 6890940 h 6890940"/>
              <a:gd name="connsiteX3" fmla="*/ 2019300 w 7902575"/>
              <a:gd name="connsiteY3" fmla="*/ 6890940 h 6890940"/>
              <a:gd name="connsiteX4" fmla="*/ 0 w 7902575"/>
              <a:gd name="connsiteY4" fmla="*/ 0 h 6890940"/>
              <a:gd name="connsiteX0" fmla="*/ 0 w 7902575"/>
              <a:gd name="connsiteY0" fmla="*/ 0 h 6890940"/>
              <a:gd name="connsiteX1" fmla="*/ 6327075 w 7902575"/>
              <a:gd name="connsiteY1" fmla="*/ 4763 h 6890940"/>
              <a:gd name="connsiteX2" fmla="*/ 7902575 w 7902575"/>
              <a:gd name="connsiteY2" fmla="*/ 6890940 h 6890940"/>
              <a:gd name="connsiteX3" fmla="*/ 2019300 w 7902575"/>
              <a:gd name="connsiteY3" fmla="*/ 6890940 h 6890940"/>
              <a:gd name="connsiteX4" fmla="*/ 0 w 7902575"/>
              <a:gd name="connsiteY4" fmla="*/ 0 h 6890940"/>
              <a:gd name="connsiteX0" fmla="*/ 0 w 6327075"/>
              <a:gd name="connsiteY0" fmla="*/ 0 h 6890940"/>
              <a:gd name="connsiteX1" fmla="*/ 6327075 w 6327075"/>
              <a:gd name="connsiteY1" fmla="*/ 4763 h 6890940"/>
              <a:gd name="connsiteX2" fmla="*/ 6320011 w 6327075"/>
              <a:gd name="connsiteY2" fmla="*/ 6863548 h 6890940"/>
              <a:gd name="connsiteX3" fmla="*/ 2019300 w 6327075"/>
              <a:gd name="connsiteY3" fmla="*/ 6890940 h 6890940"/>
              <a:gd name="connsiteX4" fmla="*/ 0 w 6327075"/>
              <a:gd name="connsiteY4" fmla="*/ 0 h 6890940"/>
              <a:gd name="connsiteX0" fmla="*/ 0 w 6327755"/>
              <a:gd name="connsiteY0" fmla="*/ 0 h 6897788"/>
              <a:gd name="connsiteX1" fmla="*/ 6327075 w 6327755"/>
              <a:gd name="connsiteY1" fmla="*/ 4763 h 6897788"/>
              <a:gd name="connsiteX2" fmla="*/ 6327076 w 6327755"/>
              <a:gd name="connsiteY2" fmla="*/ 6897788 h 6897788"/>
              <a:gd name="connsiteX3" fmla="*/ 2019300 w 6327755"/>
              <a:gd name="connsiteY3" fmla="*/ 6890940 h 6897788"/>
              <a:gd name="connsiteX4" fmla="*/ 0 w 6327755"/>
              <a:gd name="connsiteY4" fmla="*/ 0 h 6897788"/>
              <a:gd name="connsiteX0" fmla="*/ 0 w 6336322"/>
              <a:gd name="connsiteY0" fmla="*/ 0 h 6902137"/>
              <a:gd name="connsiteX1" fmla="*/ 6327075 w 6336322"/>
              <a:gd name="connsiteY1" fmla="*/ 4763 h 6902137"/>
              <a:gd name="connsiteX2" fmla="*/ 6336049 w 6336322"/>
              <a:gd name="connsiteY2" fmla="*/ 6902137 h 6902137"/>
              <a:gd name="connsiteX3" fmla="*/ 2019300 w 6336322"/>
              <a:gd name="connsiteY3" fmla="*/ 6890940 h 6902137"/>
              <a:gd name="connsiteX4" fmla="*/ 0 w 6336322"/>
              <a:gd name="connsiteY4" fmla="*/ 0 h 6902137"/>
              <a:gd name="connsiteX0" fmla="*/ 0 w 6345194"/>
              <a:gd name="connsiteY0" fmla="*/ 0 h 6890940"/>
              <a:gd name="connsiteX1" fmla="*/ 6327075 w 6345194"/>
              <a:gd name="connsiteY1" fmla="*/ 4763 h 6890940"/>
              <a:gd name="connsiteX2" fmla="*/ 6345023 w 6345194"/>
              <a:gd name="connsiteY2" fmla="*/ 6880393 h 6890940"/>
              <a:gd name="connsiteX3" fmla="*/ 2019300 w 6345194"/>
              <a:gd name="connsiteY3" fmla="*/ 6890940 h 6890940"/>
              <a:gd name="connsiteX4" fmla="*/ 0 w 6345194"/>
              <a:gd name="connsiteY4" fmla="*/ 0 h 6890940"/>
              <a:gd name="connsiteX0" fmla="*/ 0 w 6349654"/>
              <a:gd name="connsiteY0" fmla="*/ 0 h 6897788"/>
              <a:gd name="connsiteX1" fmla="*/ 6327075 w 6349654"/>
              <a:gd name="connsiteY1" fmla="*/ 4763 h 6897788"/>
              <a:gd name="connsiteX2" fmla="*/ 6349509 w 6349654"/>
              <a:gd name="connsiteY2" fmla="*/ 6897788 h 6897788"/>
              <a:gd name="connsiteX3" fmla="*/ 2019300 w 6349654"/>
              <a:gd name="connsiteY3" fmla="*/ 6890940 h 6897788"/>
              <a:gd name="connsiteX4" fmla="*/ 0 w 6349654"/>
              <a:gd name="connsiteY4" fmla="*/ 0 h 6897788"/>
              <a:gd name="connsiteX0" fmla="*/ 0 w 6349680"/>
              <a:gd name="connsiteY0" fmla="*/ 0 h 6897788"/>
              <a:gd name="connsiteX1" fmla="*/ 6331563 w 6349680"/>
              <a:gd name="connsiteY1" fmla="*/ 414 h 6897788"/>
              <a:gd name="connsiteX2" fmla="*/ 6349509 w 6349680"/>
              <a:gd name="connsiteY2" fmla="*/ 6897788 h 6897788"/>
              <a:gd name="connsiteX3" fmla="*/ 2019300 w 6349680"/>
              <a:gd name="connsiteY3" fmla="*/ 6890940 h 6897788"/>
              <a:gd name="connsiteX4" fmla="*/ 0 w 6349680"/>
              <a:gd name="connsiteY4" fmla="*/ 0 h 689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9680" h="6897788">
                <a:moveTo>
                  <a:pt x="0" y="0"/>
                </a:moveTo>
                <a:lnTo>
                  <a:pt x="6331563" y="414"/>
                </a:lnTo>
                <a:cubicBezTo>
                  <a:pt x="6329208" y="2286676"/>
                  <a:pt x="6351864" y="4611526"/>
                  <a:pt x="6349509" y="6897788"/>
                </a:cubicBezTo>
                <a:lnTo>
                  <a:pt x="2019300" y="689094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8" tIns="45685" rIns="91368" bIns="45685" rtlCol="0" anchor="ctr"/>
          <a:lstStyle/>
          <a:p>
            <a:pPr algn="ctr"/>
            <a:endParaRPr lang="de-DE" dirty="0"/>
          </a:p>
        </p:txBody>
      </p:sp>
      <p:pic>
        <p:nvPicPr>
          <p:cNvPr id="9" name="Picture 3" descr="\\Mac\Home\Desktop\MindSphere_Word_1C 2 [Konvertiert]-01.png"/>
          <p:cNvPicPr>
            <a:picLocks noChangeAspect="1" noChangeArrowheads="1"/>
          </p:cNvPicPr>
          <p:nvPr/>
        </p:nvPicPr>
        <p:blipFill rotWithShape="1">
          <a:blip r:embed="rId3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4449"/>
          <a:stretch/>
        </p:blipFill>
        <p:spPr bwMode="auto">
          <a:xfrm>
            <a:off x="621144" y="2973826"/>
            <a:ext cx="5238872" cy="601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" descr="\\Mac\Home\Desktop\Unbenannt-1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1342907" y="3428038"/>
            <a:ext cx="624000" cy="756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" descr="\\.psf\Jobs\SIE_Siemens\DFFA\170497_MindSphere_User_Organisation\02_work\02_Umsetzung\12_Grafiken\Gruenderlogos\FESTO_Logo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16954" y="550180"/>
            <a:ext cx="1632181" cy="423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" descr="\\.psf\Jobs\SIE_Siemens\DFFA\170497_MindSphere_User_Organisation\02_work\02_Umsetzung\12_Grafiken\Gruenderlogos\EISENMANN_Logo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2140" y="646141"/>
            <a:ext cx="1601451" cy="219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4" descr="\\.psf\Jobs\SIE_Siemens\DFFA\170497_MindSphere_User_Organisation\02_work\02_Umsetzung\12_Grafiken\Gruenderlogos\sie-logo-layer-claim-petrol-rgb.pn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349403" y="5814004"/>
            <a:ext cx="1460769" cy="525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5" descr="\\.psf\Jobs\SIE_Siemens\DFFA\170497_MindSphere_User_Organisation\02_work\02_Umsetzung\12_Grafiken\Gruenderlogos\KUKA_Logo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5359" y="1583008"/>
            <a:ext cx="1391477" cy="2381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6" descr="\\.psf\Jobs\SIE_Siemens\DFFA\170497_MindSphere_User_Organisation\02_work\02_Umsetzung\12_Grafiken\Gruenderlogos\HELLER_Logo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0945" y="1364028"/>
            <a:ext cx="1948340" cy="676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7" descr="\\.psf\Jobs\SIE_Siemens\DFFA\170497_MindSphere_User_Organisation\02_work\02_Umsetzung\12_Grafiken\Gruenderlogos\RITTAL_Log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3500" y="550181"/>
            <a:ext cx="581255" cy="816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8" descr="\\.psf\Jobs\SIE_Siemens\DFFA\170497_MindSphere_User_Organisation\02_work\02_Umsetzung\12_Grafiken\Gruenderlogos\WEINIG_Logo.pn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603634" y="2277770"/>
            <a:ext cx="624000" cy="799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9" descr="\\.psf\Jobs\SIE_Siemens\DFFA\170497_MindSphere_User_Organisation\02_work\02_Umsetzung\12_Grafiken\Gruenderlogos\SICK_Logo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1251" y="2469691"/>
            <a:ext cx="1248139" cy="510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10" descr="\\.psf\Jobs\SIE_Siemens\DFFA\170497_MindSphere_User_Organisation\02_work\02_Umsetzung\12_Grafiken\Gruenderlogos\TruLogo_Print_CMYK_mini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9077" y="550181"/>
            <a:ext cx="553468" cy="552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1" descr="\\.psf\Jobs\SIE_Siemens\DFFA\170497_MindSphere_User_Organisation\02_work\02_Umsetzung\12_Grafiken\Gruenderlogos\ASM_Logo.png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604986" y="1537964"/>
            <a:ext cx="1530061" cy="328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2" descr="\\.psf\Jobs\SIE_Siemens\DFFA\170497_MindSphere_User_Organisation\02_work\02_Umsetzung\12_Grafiken\Gruenderlogos\BAADER_Logo.png"/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537967" y="2411557"/>
            <a:ext cx="1609880" cy="574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3" descr="\\.psf\Jobs\SIE_Siemens\DFFA\170497_MindSphere_User_Organisation\02_work\02_Umsetzung\12_Grafiken\Gruenderlogos\CHIRONGroup_Logo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7116" y="5060630"/>
            <a:ext cx="1844332" cy="553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14" descr="\\.psf\Jobs\SIE_Siemens\DFFA\170497_MindSphere_User_Organisation\02_work\02_Umsetzung\12_Grafiken\Gruenderlogos\FFG_Eu_Us.png"/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141157" y="2469691"/>
            <a:ext cx="1209917" cy="554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15" descr="\\.psf\Jobs\SIE_Siemens\DFFA\170497_MindSphere_User_Organisation\02_work\02_Umsetzung\12_Grafiken\Gruenderlogos\GROB_Logo.svg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5146" y="4388905"/>
            <a:ext cx="1307693" cy="407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16" descr="\\.psf\Jobs\SIE_Siemens\DFFA\170497_MindSphere_User_Organisation\02_work\02_Umsetzung\12_Grafiken\Gruenderlogos\HEITEC_Logo.png"/>
          <p:cNvPicPr>
            <a:picLocks noChangeAspect="1" noChangeArrowheads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203384" y="3444265"/>
            <a:ext cx="1024252" cy="616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17" descr="\\.psf\Jobs\SIE_Siemens\DFFA\170497_MindSphere_User_Organisation\02_work\02_Umsetzung\12_Grafiken\Gruenderlogos\IN-TR_Logo.png"/>
          <p:cNvPicPr>
            <a:picLocks noChangeAspect="1" noChangeArrowheads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828353" y="4249120"/>
            <a:ext cx="1042100" cy="767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19" descr="\\.psf\Jobs\SIE_Siemens\DFFA\170497_MindSphere_User_Organisation\02_work\02_Umsetzung\12_Grafiken\Gruenderlogos\SCHMALZ_Logo.png"/>
          <p:cNvPicPr>
            <a:picLocks noChangeAspect="1" noChangeArrowheads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333180" y="5761818"/>
            <a:ext cx="1247049" cy="546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18" descr="\\.psf\Jobs\SIE_Siemens\DFFA\170497_MindSphere_User_Organisation\02_work\02_Umsetzung\12_Grafiken\Gruenderlogos\J-KAMPF_Logo.png"/>
          <p:cNvPicPr>
            <a:picLocks noChangeAspect="1" noChangeArrowheads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926836" y="3512701"/>
            <a:ext cx="1482336" cy="4559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11" descr="\\.psf\Jobs\SIE_Siemens\DFFA\170497_MindSphere_User_Organisation\02_work\02_Umsetzung\12_Grafiken\Gruenderlogos\ASM_Logo.png"/>
          <p:cNvPicPr>
            <a:picLocks noChangeAspect="1" noChangeArrowheads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141157" y="1388617"/>
            <a:ext cx="1530061" cy="612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\\Mac\AllFiles\Volumes\Assets\Siemens\Industry_Sector\DFFA\13_MindSphere_World\01_Logos\Gruender_Logos\Balluff_Logo_CS5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2840" y="6495856"/>
            <a:ext cx="1471521" cy="188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3" descr="\\Mac\AllFiles\Volumes\Assets\Siemens\Industry_Sector\DFFA\13_MindSphere_World\01_Logos\Mitglieder-Logos\EOS_Logo_noClaim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2267" y="1988568"/>
            <a:ext cx="761280" cy="276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EEB63111-3A30-4636-B6A2-D3772D871DA5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8074" y="5193608"/>
            <a:ext cx="1437527" cy="304641"/>
          </a:xfrm>
          <a:prstGeom prst="rect">
            <a:avLst/>
          </a:prstGeom>
        </p:spPr>
      </p:pic>
      <p:sp>
        <p:nvSpPr>
          <p:cNvPr id="28" name="Rechteck 27">
            <a:extLst>
              <a:ext uri="{FF2B5EF4-FFF2-40B4-BE49-F238E27FC236}">
                <a16:creationId xmlns:a16="http://schemas.microsoft.com/office/drawing/2014/main" id="{5E7515D2-B4E7-4034-89E1-CD30BA8D9B58}"/>
              </a:ext>
            </a:extLst>
          </p:cNvPr>
          <p:cNvSpPr/>
          <p:nvPr/>
        </p:nvSpPr>
        <p:spPr>
          <a:xfrm>
            <a:off x="518555" y="6472117"/>
            <a:ext cx="4439331" cy="235860"/>
          </a:xfrm>
          <a:prstGeom prst="rect">
            <a:avLst/>
          </a:prstGeom>
        </p:spPr>
        <p:txBody>
          <a:bodyPr wrap="square" lIns="91404" tIns="45701" rIns="91404" bIns="45701">
            <a:spAutoFit/>
          </a:bodyPr>
          <a:lstStyle/>
          <a:p>
            <a:r>
              <a:rPr lang="de-DE" sz="933" i="1" dirty="0">
                <a:solidFill>
                  <a:srgbClr val="FFFFFF"/>
                </a:solidFill>
              </a:rPr>
              <a:t>Quelle: MindSphere World e.V.</a:t>
            </a:r>
          </a:p>
        </p:txBody>
      </p:sp>
      <p:pic>
        <p:nvPicPr>
          <p:cNvPr id="24578" name="Picture 2" descr="Bildergebnis fÃ¼r hdi">
            <a:extLst>
              <a:ext uri="{FF2B5EF4-FFF2-40B4-BE49-F238E27FC236}">
                <a16:creationId xmlns:a16="http://schemas.microsoft.com/office/drawing/2014/main" id="{057B4F87-AB0B-4B3E-97E6-2C7F8F5418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3857" y="4443609"/>
            <a:ext cx="1042100" cy="462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82" name="Picture 6" descr="Bildergebnis fÃ¼r deutsche bank logo">
            <a:extLst>
              <a:ext uri="{FF2B5EF4-FFF2-40B4-BE49-F238E27FC236}">
                <a16:creationId xmlns:a16="http://schemas.microsoft.com/office/drawing/2014/main" id="{5E3865F0-EC13-4657-89AF-F268D1A039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9281" y="4956999"/>
            <a:ext cx="1661567" cy="963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84" name="Picture 8" descr="klimapartner_oberrhein_logo.jpg">
            <a:extLst>
              <a:ext uri="{FF2B5EF4-FFF2-40B4-BE49-F238E27FC236}">
                <a16:creationId xmlns:a16="http://schemas.microsoft.com/office/drawing/2014/main" id="{C2318C38-AEA9-4AA3-BB60-E22FF69E89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6263" y="3910378"/>
            <a:ext cx="1031753" cy="407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67F3D890-9DCD-4A4D-BADB-B013AF805776}"/>
              </a:ext>
            </a:extLst>
          </p:cNvPr>
          <p:cNvSpPr/>
          <p:nvPr/>
        </p:nvSpPr>
        <p:spPr bwMode="auto">
          <a:xfrm>
            <a:off x="621144" y="3857370"/>
            <a:ext cx="5183239" cy="199181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2400" b="1" dirty="0">
                <a:solidFill>
                  <a:srgbClr val="FFFFFF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2. Financial Summit der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2400" b="1" dirty="0">
                <a:solidFill>
                  <a:srgbClr val="FFFFFF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indSphere World e.V.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>
              <a:solidFill>
                <a:srgbClr val="FFFFFF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dirty="0">
                <a:solidFill>
                  <a:srgbClr val="FFFFFF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in kleiner Rückblick – 04. März 2020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800" dirty="0">
                <a:solidFill>
                  <a:srgbClr val="FFFFFF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In der Zentrale der Deutschen Bank AG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dirty="0">
                <a:solidFill>
                  <a:srgbClr val="FFFFFF"/>
                </a:solidFill>
                <a:hlinkClick r:id="rId3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mindsphereworld.de/erfolgreiches-2-financial-summit-der-mindsphere-world-e-v/</a:t>
            </a:r>
            <a:endParaRPr lang="de-DE" sz="1000" dirty="0">
              <a:solidFill>
                <a:srgbClr val="FFFFFF"/>
              </a:solidFill>
            </a:endParaRPr>
          </a:p>
        </p:txBody>
      </p:sp>
      <p:pic>
        <p:nvPicPr>
          <p:cNvPr id="55" name="Grafik 54">
            <a:extLst>
              <a:ext uri="{FF2B5EF4-FFF2-40B4-BE49-F238E27FC236}">
                <a16:creationId xmlns:a16="http://schemas.microsoft.com/office/drawing/2014/main" id="{D40FBD17-F338-4050-B559-097B4A3F2265}"/>
              </a:ext>
            </a:extLst>
          </p:cNvPr>
          <p:cNvPicPr>
            <a:picLocks noChangeAspect="1"/>
          </p:cNvPicPr>
          <p:nvPr/>
        </p:nvPicPr>
        <p:blipFill rotWithShape="1">
          <a:blip r:embed="rId31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557"/>
          <a:stretch/>
        </p:blipFill>
        <p:spPr>
          <a:xfrm>
            <a:off x="5207584" y="4853276"/>
            <a:ext cx="466031" cy="478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468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5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en-US" sz="2200" b="1" dirty="0">
              <a:solidFill>
                <a:schemeClr val="tx1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begleiten diesen Prozess mit allgemeinen </a:t>
            </a:r>
            <a:r>
              <a:rPr lang="de-DE"/>
              <a:t>Untersuchungen – </a:t>
            </a:r>
            <a:r>
              <a:rPr lang="de-DE" dirty="0"/>
              <a:t>Unsere Studien</a:t>
            </a:r>
            <a:endParaRPr lang="en-US" dirty="0"/>
          </a:p>
        </p:txBody>
      </p:sp>
      <p:sp>
        <p:nvSpPr>
          <p:cNvPr id="7" name="cdtTextBox 13 Id19"/>
          <p:cNvSpPr txBox="1"/>
          <p:nvPr>
            <p:custDataLst>
              <p:tags r:id="rId4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endParaRPr lang="en-US" sz="1000" noProof="0" dirty="0">
              <a:solidFill>
                <a:schemeClr val="bg1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CA7DB76-D7B1-46D3-93A1-A2BF4E0E359D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303" t="142" r="390" b="3475"/>
          <a:stretch/>
        </p:blipFill>
        <p:spPr>
          <a:xfrm rot="20700000">
            <a:off x="6651234" y="1266353"/>
            <a:ext cx="3674993" cy="4749799"/>
          </a:xfrm>
          <a:prstGeom prst="rect">
            <a:avLst/>
          </a:prstGeom>
          <a:noFill/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65CB9C5B-DBA2-445D-97CC-FF2E87E4E8F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20700000">
            <a:off x="2560884" y="1552893"/>
            <a:ext cx="3708139" cy="4749800"/>
          </a:xfrm>
          <a:prstGeom prst="rect">
            <a:avLst/>
          </a:prstGeom>
          <a:noFill/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0407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77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6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77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>
            <p:custDataLst>
              <p:tags r:id="rId3"/>
            </p:custDataLst>
          </p:nvPr>
        </p:nvSpPr>
        <p:spPr bwMode="auto">
          <a:xfrm>
            <a:off x="-125132" y="-127501"/>
            <a:ext cx="462041" cy="41375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72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200" dirty="0"/>
              <a:t>Deutschland 4.0 – Sprechen Sie uns an!</a:t>
            </a:r>
          </a:p>
        </p:txBody>
      </p:sp>
      <p:pic>
        <p:nvPicPr>
          <p:cNvPr id="6147" name="Picture 3" descr="C:\0_Daten\1_Welp\6_Fotos\Siemens\aus Brandville (frei)\28728_dpi150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567" y="1443038"/>
            <a:ext cx="11089184" cy="4722266"/>
          </a:xfrm>
          <a:prstGeom prst="rect">
            <a:avLst/>
          </a:prstGeom>
          <a:ln w="12700">
            <a:solidFill>
              <a:srgbClr val="FFFFFF"/>
            </a:solidFill>
            <a:miter lim="800000"/>
          </a:ln>
          <a:effectLst/>
        </p:spPr>
      </p:pic>
      <p:sp>
        <p:nvSpPr>
          <p:cNvPr id="17" name="Textplatzhalter 7"/>
          <p:cNvSpPr txBox="1">
            <a:spLocks/>
          </p:cNvSpPr>
          <p:nvPr/>
        </p:nvSpPr>
        <p:spPr bwMode="auto">
          <a:xfrm>
            <a:off x="2415418" y="1794000"/>
            <a:ext cx="3423027" cy="1980000"/>
          </a:xfrm>
          <a:prstGeom prst="rect">
            <a:avLst/>
          </a:prstGeom>
          <a:solidFill>
            <a:schemeClr val="lt1"/>
          </a:solidFill>
          <a:ln w="12700">
            <a:solidFill>
              <a:srgbClr val="FFFFFF"/>
            </a:solidFill>
            <a:miter lim="800000"/>
            <a:headEnd/>
            <a:tailEnd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252000" tIns="144000" rIns="482400" bIns="1440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pPr>
            <a:b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</a:br>
            <a:endParaRPr kumimoji="0" lang="de-DE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S PGothic"/>
              <a:cs typeface="+mn-cs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2566715" y="2920862"/>
            <a:ext cx="1584176" cy="8020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Dipl. Ing.</a:t>
            </a:r>
            <a:b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</a:br>
            <a:r>
              <a: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Peter Welp</a:t>
            </a:r>
            <a:br>
              <a: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</a:br>
            <a:endParaRPr kumimoji="0" lang="de-DE" sz="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S PGothic"/>
              <a:cs typeface="+mn-cs"/>
            </a:endParaRPr>
          </a:p>
          <a:p>
            <a:pPr>
              <a:lnSpc>
                <a:spcPct val="110000"/>
              </a:lnSpc>
              <a:spcBef>
                <a:spcPts val="0"/>
              </a:spcBef>
              <a:defRPr/>
            </a:pPr>
            <a:r>
              <a:rPr lang="de-DE" sz="800" kern="0" dirty="0">
                <a:solidFill>
                  <a:srgbClr val="000000"/>
                </a:solidFill>
                <a:latin typeface="Arial"/>
                <a:ea typeface="MS PGothic"/>
              </a:rPr>
              <a:t>Financing Solution Partner</a:t>
            </a:r>
            <a:br>
              <a:rPr lang="de-DE" sz="800" kern="0" dirty="0">
                <a:solidFill>
                  <a:srgbClr val="000000"/>
                </a:solidFill>
                <a:latin typeface="Arial"/>
                <a:ea typeface="MS PGothic"/>
              </a:rPr>
            </a:br>
            <a:r>
              <a:rPr lang="de-DE" sz="800" kern="0" dirty="0">
                <a:solidFill>
                  <a:srgbClr val="000000"/>
                </a:solidFill>
                <a:latin typeface="Arial"/>
                <a:ea typeface="MS PGothic"/>
              </a:rPr>
              <a:t>Account Management</a:t>
            </a:r>
            <a:br>
              <a:rPr lang="de-DE" sz="800" kern="0" dirty="0">
                <a:solidFill>
                  <a:srgbClr val="000000"/>
                </a:solidFill>
                <a:latin typeface="Arial"/>
                <a:ea typeface="MS PGothic"/>
              </a:rPr>
            </a:br>
            <a:r>
              <a:rPr lang="de-DE" sz="800" kern="0" dirty="0">
                <a:solidFill>
                  <a:srgbClr val="000000"/>
                </a:solidFill>
                <a:latin typeface="Arial"/>
                <a:ea typeface="MS PGothic"/>
              </a:rPr>
              <a:t>Siemens Deutschland (RC-DE)</a:t>
            </a:r>
            <a:endParaRPr lang="de-DE" sz="800" dirty="0">
              <a:solidFill>
                <a:srgbClr val="000000"/>
              </a:solidFill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4201388" y="2476572"/>
            <a:ext cx="1526059" cy="124976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Siemens Finance &amp; Leasing GmbH</a:t>
            </a:r>
            <a:br>
              <a:rPr kumimoji="0" lang="de-DE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</a:br>
            <a:r>
              <a:rPr kumimoji="0" lang="de-DE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A Siemens Financial Service Busines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Schnewlinstr. 6 </a:t>
            </a:r>
            <a:br>
              <a:rPr kumimoji="0" lang="de-DE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</a:br>
            <a:r>
              <a:rPr kumimoji="0" lang="de-DE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79098 Freiburg i.Br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Tel.: +49 (761) 2712-300</a:t>
            </a:r>
            <a:br>
              <a:rPr kumimoji="0" lang="de-DE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</a:br>
            <a:r>
              <a:rPr kumimoji="0" lang="de-DE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Fax: +49 (7643) 93329-64</a:t>
            </a:r>
            <a:br>
              <a:rPr kumimoji="0" lang="de-DE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</a:br>
            <a:r>
              <a:rPr kumimoji="0" lang="de-DE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Mobil: +49 (172) 721 79 77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peter.welp@siemens.com </a:t>
            </a:r>
          </a:p>
        </p:txBody>
      </p:sp>
      <p:pic>
        <p:nvPicPr>
          <p:cNvPr id="20" name="Grafik 1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5519" y="1817509"/>
            <a:ext cx="1268792" cy="538178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1263" y="4041068"/>
            <a:ext cx="4393025" cy="2027550"/>
          </a:xfrm>
          <a:prstGeom prst="rect">
            <a:avLst/>
          </a:prstGeom>
          <a:effectLst>
            <a:outerShdw blurRad="228600" dist="76200" dir="7200000" sx="106000" sy="106000" algn="tl" rotWithShape="0">
              <a:prstClr val="black">
                <a:alpha val="50000"/>
              </a:prstClr>
            </a:outerShdw>
          </a:effectLst>
        </p:spPr>
      </p:pic>
      <p:pic>
        <p:nvPicPr>
          <p:cNvPr id="16462" name="Picture 78" descr="C:\0_Daten\1_Welp\6_Fotos\Siemens\Welp\Welp-Peter (2017-10)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147" y="1802269"/>
            <a:ext cx="1310480" cy="1965600"/>
          </a:xfrm>
          <a:prstGeom prst="rect">
            <a:avLst/>
          </a:prstGeom>
          <a:ln w="12700">
            <a:solidFill>
              <a:srgbClr val="FFFFFF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4" descr="http://www.milestonemktg.com/wp-content/uploads/2014/04/twitter-logo.jpg">
            <a:hlinkClick r:id="rId12"/>
            <a:extLst>
              <a:ext uri="{FF2B5EF4-FFF2-40B4-BE49-F238E27FC236}">
                <a16:creationId xmlns:a16="http://schemas.microsoft.com/office/drawing/2014/main" id="{8D319312-879E-4DF6-97B7-23825FA459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042632" y="3948001"/>
            <a:ext cx="360000" cy="360000"/>
          </a:xfrm>
          <a:prstGeom prst="roundRect">
            <a:avLst>
              <a:gd name="adj" fmla="val 17238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http://upload.wikimedia.org/wikipedia/commons/thumb/c/ca/LinkedIn_logo_initials.png/240px-LinkedIn_logo_initials.png">
            <a:hlinkClick r:id="rId14"/>
            <a:extLst>
              <a:ext uri="{FF2B5EF4-FFF2-40B4-BE49-F238E27FC236}">
                <a16:creationId xmlns:a16="http://schemas.microsoft.com/office/drawing/2014/main" id="{B95D24C4-C3C3-4B6D-B05D-4D5B18577F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602155" y="3947961"/>
            <a:ext cx="360586" cy="360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 descr="http://i2.wp.com/www.mobiflip.de/wp-content/uploads/2014/03/facebook-logo-header.png?resize=590%2C318">
            <a:hlinkClick r:id="rId16"/>
            <a:extLst>
              <a:ext uri="{FF2B5EF4-FFF2-40B4-BE49-F238E27FC236}">
                <a16:creationId xmlns:a16="http://schemas.microsoft.com/office/drawing/2014/main" id="{985BE9A7-D141-46E2-8BFD-FEBE8081672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5478530" y="3948001"/>
            <a:ext cx="359915" cy="360000"/>
          </a:xfrm>
          <a:prstGeom prst="roundRect">
            <a:avLst>
              <a:gd name="adj" fmla="val 5751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5505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D06E9A-C88E-46EF-A396-9A74ECEC3C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200" dirty="0"/>
              <a:t>Waren es Irrtümer der Geschichte …</a:t>
            </a:r>
            <a:br>
              <a:rPr lang="de-DE" sz="2200" dirty="0"/>
            </a:br>
            <a:r>
              <a:rPr lang="de-DE" sz="2200" dirty="0"/>
              <a:t>… oder die falsche Perspektive?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F0E1CBFB-4049-44F9-815F-5432436C8078}"/>
              </a:ext>
            </a:extLst>
          </p:cNvPr>
          <p:cNvGrpSpPr/>
          <p:nvPr/>
        </p:nvGrpSpPr>
        <p:grpSpPr>
          <a:xfrm>
            <a:off x="643136" y="1435570"/>
            <a:ext cx="3627909" cy="1993430"/>
            <a:chOff x="483897" y="1435570"/>
            <a:chExt cx="3627909" cy="1993430"/>
          </a:xfrm>
        </p:grpSpPr>
        <p:sp>
          <p:nvSpPr>
            <p:cNvPr id="20" name="Grafik 5">
              <a:extLst>
                <a:ext uri="{FF2B5EF4-FFF2-40B4-BE49-F238E27FC236}">
                  <a16:creationId xmlns:a16="http://schemas.microsoft.com/office/drawing/2014/main" id="{12A6738A-9CE0-4BBC-AE3A-6B67F71BFED9}"/>
                </a:ext>
              </a:extLst>
            </p:cNvPr>
            <p:cNvSpPr>
              <a:spLocks/>
            </p:cNvSpPr>
            <p:nvPr/>
          </p:nvSpPr>
          <p:spPr>
            <a:xfrm>
              <a:off x="483897" y="1443038"/>
              <a:ext cx="3627909" cy="1985962"/>
            </a:xfrm>
            <a:custGeom>
              <a:avLst/>
              <a:gdLst>
                <a:gd name="connsiteX0" fmla="*/ 0 w 11363325"/>
                <a:gd name="connsiteY0" fmla="*/ 0 h 3495675"/>
                <a:gd name="connsiteX1" fmla="*/ 0 w 11363325"/>
                <a:gd name="connsiteY1" fmla="*/ 2568226 h 3495675"/>
                <a:gd name="connsiteX2" fmla="*/ 19336 w 11363325"/>
                <a:gd name="connsiteY2" fmla="*/ 2547080 h 3495675"/>
                <a:gd name="connsiteX3" fmla="*/ 91535 w 11363325"/>
                <a:gd name="connsiteY3" fmla="*/ 2541841 h 3495675"/>
                <a:gd name="connsiteX4" fmla="*/ 102775 w 11363325"/>
                <a:gd name="connsiteY4" fmla="*/ 2636520 h 3495675"/>
                <a:gd name="connsiteX5" fmla="*/ 78772 w 11363325"/>
                <a:gd name="connsiteY5" fmla="*/ 2749677 h 3495675"/>
                <a:gd name="connsiteX6" fmla="*/ 210312 w 11363325"/>
                <a:gd name="connsiteY6" fmla="*/ 2682907 h 3495675"/>
                <a:gd name="connsiteX7" fmla="*/ 278511 w 11363325"/>
                <a:gd name="connsiteY7" fmla="*/ 2680145 h 3495675"/>
                <a:gd name="connsiteX8" fmla="*/ 299847 w 11363325"/>
                <a:gd name="connsiteY8" fmla="*/ 2746153 h 3495675"/>
                <a:gd name="connsiteX9" fmla="*/ 268700 w 11363325"/>
                <a:gd name="connsiteY9" fmla="*/ 2873407 h 3495675"/>
                <a:gd name="connsiteX10" fmla="*/ 378619 w 11363325"/>
                <a:gd name="connsiteY10" fmla="*/ 2834164 h 3495675"/>
                <a:gd name="connsiteX11" fmla="*/ 383381 w 11363325"/>
                <a:gd name="connsiteY11" fmla="*/ 2910840 h 3495675"/>
                <a:gd name="connsiteX12" fmla="*/ 404241 w 11363325"/>
                <a:gd name="connsiteY12" fmla="*/ 2994470 h 3495675"/>
                <a:gd name="connsiteX13" fmla="*/ 479108 w 11363325"/>
                <a:gd name="connsiteY13" fmla="*/ 3001995 h 3495675"/>
                <a:gd name="connsiteX14" fmla="*/ 559308 w 11363325"/>
                <a:gd name="connsiteY14" fmla="*/ 2948559 h 3495675"/>
                <a:gd name="connsiteX15" fmla="*/ 590169 w 11363325"/>
                <a:gd name="connsiteY15" fmla="*/ 3082671 h 3495675"/>
                <a:gd name="connsiteX16" fmla="*/ 659035 w 11363325"/>
                <a:gd name="connsiteY16" fmla="*/ 3032570 h 3495675"/>
                <a:gd name="connsiteX17" fmla="*/ 714089 w 11363325"/>
                <a:gd name="connsiteY17" fmla="*/ 3084005 h 3495675"/>
                <a:gd name="connsiteX18" fmla="*/ 758285 w 11363325"/>
                <a:gd name="connsiteY18" fmla="*/ 3006757 h 3495675"/>
                <a:gd name="connsiteX19" fmla="*/ 775811 w 11363325"/>
                <a:gd name="connsiteY19" fmla="*/ 3059621 h 3495675"/>
                <a:gd name="connsiteX20" fmla="*/ 819722 w 11363325"/>
                <a:gd name="connsiteY20" fmla="*/ 3041714 h 3495675"/>
                <a:gd name="connsiteX21" fmla="*/ 893350 w 11363325"/>
                <a:gd name="connsiteY21" fmla="*/ 3040952 h 3495675"/>
                <a:gd name="connsiteX22" fmla="*/ 892112 w 11363325"/>
                <a:gd name="connsiteY22" fmla="*/ 3111532 h 3495675"/>
                <a:gd name="connsiteX23" fmla="*/ 1005364 w 11363325"/>
                <a:gd name="connsiteY23" fmla="*/ 3103721 h 3495675"/>
                <a:gd name="connsiteX24" fmla="*/ 976027 w 11363325"/>
                <a:gd name="connsiteY24" fmla="*/ 3173063 h 3495675"/>
                <a:gd name="connsiteX25" fmla="*/ 1054703 w 11363325"/>
                <a:gd name="connsiteY25" fmla="*/ 3175159 h 3495675"/>
                <a:gd name="connsiteX26" fmla="*/ 1054703 w 11363325"/>
                <a:gd name="connsiteY26" fmla="*/ 3175064 h 3495675"/>
                <a:gd name="connsiteX27" fmla="*/ 1111472 w 11363325"/>
                <a:gd name="connsiteY27" fmla="*/ 3158490 h 3495675"/>
                <a:gd name="connsiteX28" fmla="*/ 1200245 w 11363325"/>
                <a:gd name="connsiteY28" fmla="*/ 3255550 h 3495675"/>
                <a:gd name="connsiteX29" fmla="*/ 1274255 w 11363325"/>
                <a:gd name="connsiteY29" fmla="*/ 3154775 h 3495675"/>
                <a:gd name="connsiteX30" fmla="*/ 1294067 w 11363325"/>
                <a:gd name="connsiteY30" fmla="*/ 3253073 h 3495675"/>
                <a:gd name="connsiteX31" fmla="*/ 1185577 w 11363325"/>
                <a:gd name="connsiteY31" fmla="*/ 3354800 h 3495675"/>
                <a:gd name="connsiteX32" fmla="*/ 1302639 w 11363325"/>
                <a:gd name="connsiteY32" fmla="*/ 3385947 h 3495675"/>
                <a:gd name="connsiteX33" fmla="*/ 1340072 w 11363325"/>
                <a:gd name="connsiteY33" fmla="*/ 3302127 h 3495675"/>
                <a:gd name="connsiteX34" fmla="*/ 1414367 w 11363325"/>
                <a:gd name="connsiteY34" fmla="*/ 3363087 h 3495675"/>
                <a:gd name="connsiteX35" fmla="*/ 1432274 w 11363325"/>
                <a:gd name="connsiteY35" fmla="*/ 3434048 h 3495675"/>
                <a:gd name="connsiteX36" fmla="*/ 1498759 w 11363325"/>
                <a:gd name="connsiteY36" fmla="*/ 3388043 h 3495675"/>
                <a:gd name="connsiteX37" fmla="*/ 1507712 w 11363325"/>
                <a:gd name="connsiteY37" fmla="*/ 3467386 h 3495675"/>
                <a:gd name="connsiteX38" fmla="*/ 1620488 w 11363325"/>
                <a:gd name="connsiteY38" fmla="*/ 3370803 h 3495675"/>
                <a:gd name="connsiteX39" fmla="*/ 1609725 w 11363325"/>
                <a:gd name="connsiteY39" fmla="*/ 3390233 h 3495675"/>
                <a:gd name="connsiteX40" fmla="*/ 1657922 w 11363325"/>
                <a:gd name="connsiteY40" fmla="*/ 3376041 h 3495675"/>
                <a:gd name="connsiteX41" fmla="*/ 1776032 w 11363325"/>
                <a:gd name="connsiteY41" fmla="*/ 3499295 h 3495675"/>
                <a:gd name="connsiteX42" fmla="*/ 1755553 w 11363325"/>
                <a:gd name="connsiteY42" fmla="*/ 3349657 h 3495675"/>
                <a:gd name="connsiteX43" fmla="*/ 1822990 w 11363325"/>
                <a:gd name="connsiteY43" fmla="*/ 3340227 h 3495675"/>
                <a:gd name="connsiteX44" fmla="*/ 1915192 w 11363325"/>
                <a:gd name="connsiteY44" fmla="*/ 3379661 h 3495675"/>
                <a:gd name="connsiteX45" fmla="*/ 2007680 w 11363325"/>
                <a:gd name="connsiteY45" fmla="*/ 3332703 h 3495675"/>
                <a:gd name="connsiteX46" fmla="*/ 2005870 w 11363325"/>
                <a:gd name="connsiteY46" fmla="*/ 3231261 h 3495675"/>
                <a:gd name="connsiteX47" fmla="*/ 1929193 w 11363325"/>
                <a:gd name="connsiteY47" fmla="*/ 3188684 h 3495675"/>
                <a:gd name="connsiteX48" fmla="*/ 1961960 w 11363325"/>
                <a:gd name="connsiteY48" fmla="*/ 3130677 h 3495675"/>
                <a:gd name="connsiteX49" fmla="*/ 1847850 w 11363325"/>
                <a:gd name="connsiteY49" fmla="*/ 3093625 h 3495675"/>
                <a:gd name="connsiteX50" fmla="*/ 1863281 w 11363325"/>
                <a:gd name="connsiteY50" fmla="*/ 2997137 h 3495675"/>
                <a:gd name="connsiteX51" fmla="*/ 1957673 w 11363325"/>
                <a:gd name="connsiteY51" fmla="*/ 3006471 h 3495675"/>
                <a:gd name="connsiteX52" fmla="*/ 2019776 w 11363325"/>
                <a:gd name="connsiteY52" fmla="*/ 3112484 h 3495675"/>
                <a:gd name="connsiteX53" fmla="*/ 2068830 w 11363325"/>
                <a:gd name="connsiteY53" fmla="*/ 3065526 h 3495675"/>
                <a:gd name="connsiteX54" fmla="*/ 2061020 w 11363325"/>
                <a:gd name="connsiteY54" fmla="*/ 2944559 h 3495675"/>
                <a:gd name="connsiteX55" fmla="*/ 2064639 w 11363325"/>
                <a:gd name="connsiteY55" fmla="*/ 2930938 h 3495675"/>
                <a:gd name="connsiteX56" fmla="*/ 2164461 w 11363325"/>
                <a:gd name="connsiteY56" fmla="*/ 2904935 h 3495675"/>
                <a:gd name="connsiteX57" fmla="*/ 2174462 w 11363325"/>
                <a:gd name="connsiteY57" fmla="*/ 2844737 h 3495675"/>
                <a:gd name="connsiteX58" fmla="*/ 2144363 w 11363325"/>
                <a:gd name="connsiteY58" fmla="*/ 2754535 h 3495675"/>
                <a:gd name="connsiteX59" fmla="*/ 2286476 w 11363325"/>
                <a:gd name="connsiteY59" fmla="*/ 2780538 h 3495675"/>
                <a:gd name="connsiteX60" fmla="*/ 2292858 w 11363325"/>
                <a:gd name="connsiteY60" fmla="*/ 2739485 h 3495675"/>
                <a:gd name="connsiteX61" fmla="*/ 2337340 w 11363325"/>
                <a:gd name="connsiteY61" fmla="*/ 2786729 h 3495675"/>
                <a:gd name="connsiteX62" fmla="*/ 2405253 w 11363325"/>
                <a:gd name="connsiteY62" fmla="*/ 2622518 h 3495675"/>
                <a:gd name="connsiteX63" fmla="*/ 2478405 w 11363325"/>
                <a:gd name="connsiteY63" fmla="*/ 2735390 h 3495675"/>
                <a:gd name="connsiteX64" fmla="*/ 2416683 w 11363325"/>
                <a:gd name="connsiteY64" fmla="*/ 2594324 h 3495675"/>
                <a:gd name="connsiteX65" fmla="*/ 2517743 w 11363325"/>
                <a:gd name="connsiteY65" fmla="*/ 2600516 h 3495675"/>
                <a:gd name="connsiteX66" fmla="*/ 2563273 w 11363325"/>
                <a:gd name="connsiteY66" fmla="*/ 2546033 h 3495675"/>
                <a:gd name="connsiteX67" fmla="*/ 2633948 w 11363325"/>
                <a:gd name="connsiteY67" fmla="*/ 2504980 h 3495675"/>
                <a:gd name="connsiteX68" fmla="*/ 2691194 w 11363325"/>
                <a:gd name="connsiteY68" fmla="*/ 2545271 h 3495675"/>
                <a:gd name="connsiteX69" fmla="*/ 2742724 w 11363325"/>
                <a:gd name="connsiteY69" fmla="*/ 2633186 h 3495675"/>
                <a:gd name="connsiteX70" fmla="*/ 2794635 w 11363325"/>
                <a:gd name="connsiteY70" fmla="*/ 2642045 h 3495675"/>
                <a:gd name="connsiteX71" fmla="*/ 2876931 w 11363325"/>
                <a:gd name="connsiteY71" fmla="*/ 2517077 h 3495675"/>
                <a:gd name="connsiteX72" fmla="*/ 2886551 w 11363325"/>
                <a:gd name="connsiteY72" fmla="*/ 2505170 h 3495675"/>
                <a:gd name="connsiteX73" fmla="*/ 2947226 w 11363325"/>
                <a:gd name="connsiteY73" fmla="*/ 2548033 h 3495675"/>
                <a:gd name="connsiteX74" fmla="*/ 2941034 w 11363325"/>
                <a:gd name="connsiteY74" fmla="*/ 2456593 h 3495675"/>
                <a:gd name="connsiteX75" fmla="*/ 3068670 w 11363325"/>
                <a:gd name="connsiteY75" fmla="*/ 2516600 h 3495675"/>
                <a:gd name="connsiteX76" fmla="*/ 3110674 w 11363325"/>
                <a:gd name="connsiteY76" fmla="*/ 2553272 h 3495675"/>
                <a:gd name="connsiteX77" fmla="*/ 3139916 w 11363325"/>
                <a:gd name="connsiteY77" fmla="*/ 2377821 h 3495675"/>
                <a:gd name="connsiteX78" fmla="*/ 3192304 w 11363325"/>
                <a:gd name="connsiteY78" fmla="*/ 2410873 h 3495675"/>
                <a:gd name="connsiteX79" fmla="*/ 3257264 w 11363325"/>
                <a:gd name="connsiteY79" fmla="*/ 2440496 h 3495675"/>
                <a:gd name="connsiteX80" fmla="*/ 3289173 w 11363325"/>
                <a:gd name="connsiteY80" fmla="*/ 2366772 h 3495675"/>
                <a:gd name="connsiteX81" fmla="*/ 3355181 w 11363325"/>
                <a:gd name="connsiteY81" fmla="*/ 2377535 h 3495675"/>
                <a:gd name="connsiteX82" fmla="*/ 3412141 w 11363325"/>
                <a:gd name="connsiteY82" fmla="*/ 2373249 h 3495675"/>
                <a:gd name="connsiteX83" fmla="*/ 3476244 w 11363325"/>
                <a:gd name="connsiteY83" fmla="*/ 2477643 h 3495675"/>
                <a:gd name="connsiteX84" fmla="*/ 3508153 w 11363325"/>
                <a:gd name="connsiteY84" fmla="*/ 2424208 h 3495675"/>
                <a:gd name="connsiteX85" fmla="*/ 3585115 w 11363325"/>
                <a:gd name="connsiteY85" fmla="*/ 2405539 h 3495675"/>
                <a:gd name="connsiteX86" fmla="*/ 3557207 w 11363325"/>
                <a:gd name="connsiteY86" fmla="*/ 2539937 h 3495675"/>
                <a:gd name="connsiteX87" fmla="*/ 3666839 w 11363325"/>
                <a:gd name="connsiteY87" fmla="*/ 2508980 h 3495675"/>
                <a:gd name="connsiteX88" fmla="*/ 3724466 w 11363325"/>
                <a:gd name="connsiteY88" fmla="*/ 2408777 h 3495675"/>
                <a:gd name="connsiteX89" fmla="*/ 3774948 w 11363325"/>
                <a:gd name="connsiteY89" fmla="*/ 2464308 h 3495675"/>
                <a:gd name="connsiteX90" fmla="*/ 3826859 w 11363325"/>
                <a:gd name="connsiteY90" fmla="*/ 2478215 h 3495675"/>
                <a:gd name="connsiteX91" fmla="*/ 3947351 w 11363325"/>
                <a:gd name="connsiteY91" fmla="*/ 2479358 h 3495675"/>
                <a:gd name="connsiteX92" fmla="*/ 3789998 w 11363325"/>
                <a:gd name="connsiteY92" fmla="*/ 2525745 h 3495675"/>
                <a:gd name="connsiteX93" fmla="*/ 3752945 w 11363325"/>
                <a:gd name="connsiteY93" fmla="*/ 2572417 h 3495675"/>
                <a:gd name="connsiteX94" fmla="*/ 3806190 w 11363325"/>
                <a:gd name="connsiteY94" fmla="*/ 2666048 h 3495675"/>
                <a:gd name="connsiteX95" fmla="*/ 3809714 w 11363325"/>
                <a:gd name="connsiteY95" fmla="*/ 2662714 h 3495675"/>
                <a:gd name="connsiteX96" fmla="*/ 3865340 w 11363325"/>
                <a:gd name="connsiteY96" fmla="*/ 2649379 h 3495675"/>
                <a:gd name="connsiteX97" fmla="*/ 3939826 w 11363325"/>
                <a:gd name="connsiteY97" fmla="*/ 2774537 h 3495675"/>
                <a:gd name="connsiteX98" fmla="*/ 3989165 w 11363325"/>
                <a:gd name="connsiteY98" fmla="*/ 2772632 h 3495675"/>
                <a:gd name="connsiteX99" fmla="*/ 4054126 w 11363325"/>
                <a:gd name="connsiteY99" fmla="*/ 2664333 h 3495675"/>
                <a:gd name="connsiteX100" fmla="*/ 4105942 w 11363325"/>
                <a:gd name="connsiteY100" fmla="*/ 2733866 h 3495675"/>
                <a:gd name="connsiteX101" fmla="*/ 4232720 w 11363325"/>
                <a:gd name="connsiteY101" fmla="*/ 2643949 h 3495675"/>
                <a:gd name="connsiteX102" fmla="*/ 4207002 w 11363325"/>
                <a:gd name="connsiteY102" fmla="*/ 2763203 h 3495675"/>
                <a:gd name="connsiteX103" fmla="*/ 4325112 w 11363325"/>
                <a:gd name="connsiteY103" fmla="*/ 2712339 h 3495675"/>
                <a:gd name="connsiteX104" fmla="*/ 4293394 w 11363325"/>
                <a:gd name="connsiteY104" fmla="*/ 2770441 h 3495675"/>
                <a:gd name="connsiteX105" fmla="*/ 4329780 w 11363325"/>
                <a:gd name="connsiteY105" fmla="*/ 2794540 h 3495675"/>
                <a:gd name="connsiteX106" fmla="*/ 4331018 w 11363325"/>
                <a:gd name="connsiteY106" fmla="*/ 2734532 h 3495675"/>
                <a:gd name="connsiteX107" fmla="*/ 4397121 w 11363325"/>
                <a:gd name="connsiteY107" fmla="*/ 2718149 h 3495675"/>
                <a:gd name="connsiteX108" fmla="*/ 4338923 w 11363325"/>
                <a:gd name="connsiteY108" fmla="*/ 2617946 h 3495675"/>
                <a:gd name="connsiteX109" fmla="*/ 4433507 w 11363325"/>
                <a:gd name="connsiteY109" fmla="*/ 2586419 h 3495675"/>
                <a:gd name="connsiteX110" fmla="*/ 4473321 w 11363325"/>
                <a:gd name="connsiteY110" fmla="*/ 2668143 h 3495675"/>
                <a:gd name="connsiteX111" fmla="*/ 4467987 w 11363325"/>
                <a:gd name="connsiteY111" fmla="*/ 2766155 h 3495675"/>
                <a:gd name="connsiteX112" fmla="*/ 4549521 w 11363325"/>
                <a:gd name="connsiteY112" fmla="*/ 2746058 h 3495675"/>
                <a:gd name="connsiteX113" fmla="*/ 4628293 w 11363325"/>
                <a:gd name="connsiteY113" fmla="*/ 2674144 h 3495675"/>
                <a:gd name="connsiteX114" fmla="*/ 4675347 w 11363325"/>
                <a:gd name="connsiteY114" fmla="*/ 2786824 h 3495675"/>
                <a:gd name="connsiteX115" fmla="*/ 4728020 w 11363325"/>
                <a:gd name="connsiteY115" fmla="*/ 2775299 h 3495675"/>
                <a:gd name="connsiteX116" fmla="*/ 4784598 w 11363325"/>
                <a:gd name="connsiteY116" fmla="*/ 2799683 h 3495675"/>
                <a:gd name="connsiteX117" fmla="*/ 4829937 w 11363325"/>
                <a:gd name="connsiteY117" fmla="*/ 2765298 h 3495675"/>
                <a:gd name="connsiteX118" fmla="*/ 4878229 w 11363325"/>
                <a:gd name="connsiteY118" fmla="*/ 2720626 h 3495675"/>
                <a:gd name="connsiteX119" fmla="*/ 4904804 w 11363325"/>
                <a:gd name="connsiteY119" fmla="*/ 2598611 h 3495675"/>
                <a:gd name="connsiteX120" fmla="*/ 5019771 w 11363325"/>
                <a:gd name="connsiteY120" fmla="*/ 2779966 h 3495675"/>
                <a:gd name="connsiteX121" fmla="*/ 5027962 w 11363325"/>
                <a:gd name="connsiteY121" fmla="*/ 2644140 h 3495675"/>
                <a:gd name="connsiteX122" fmla="*/ 5083874 w 11363325"/>
                <a:gd name="connsiteY122" fmla="*/ 2629757 h 3495675"/>
                <a:gd name="connsiteX123" fmla="*/ 5119497 w 11363325"/>
                <a:gd name="connsiteY123" fmla="*/ 2744915 h 3495675"/>
                <a:gd name="connsiteX124" fmla="*/ 5197317 w 11363325"/>
                <a:gd name="connsiteY124" fmla="*/ 2591276 h 3495675"/>
                <a:gd name="connsiteX125" fmla="*/ 5202841 w 11363325"/>
                <a:gd name="connsiteY125" fmla="*/ 2732437 h 3495675"/>
                <a:gd name="connsiteX126" fmla="*/ 5277231 w 11363325"/>
                <a:gd name="connsiteY126" fmla="*/ 2699576 h 3495675"/>
                <a:gd name="connsiteX127" fmla="*/ 5273802 w 11363325"/>
                <a:gd name="connsiteY127" fmla="*/ 2781110 h 3495675"/>
                <a:gd name="connsiteX128" fmla="*/ 5398389 w 11363325"/>
                <a:gd name="connsiteY128" fmla="*/ 2727865 h 3495675"/>
                <a:gd name="connsiteX129" fmla="*/ 5428203 w 11363325"/>
                <a:gd name="connsiteY129" fmla="*/ 2786348 h 3495675"/>
                <a:gd name="connsiteX130" fmla="*/ 5460969 w 11363325"/>
                <a:gd name="connsiteY130" fmla="*/ 2842546 h 3495675"/>
                <a:gd name="connsiteX131" fmla="*/ 5500688 w 11363325"/>
                <a:gd name="connsiteY131" fmla="*/ 2872740 h 3495675"/>
                <a:gd name="connsiteX132" fmla="*/ 5535740 w 11363325"/>
                <a:gd name="connsiteY132" fmla="*/ 2865691 h 3495675"/>
                <a:gd name="connsiteX133" fmla="*/ 5566982 w 11363325"/>
                <a:gd name="connsiteY133" fmla="*/ 2777204 h 3495675"/>
                <a:gd name="connsiteX134" fmla="*/ 5644134 w 11363325"/>
                <a:gd name="connsiteY134" fmla="*/ 2910459 h 3495675"/>
                <a:gd name="connsiteX135" fmla="*/ 5638610 w 11363325"/>
                <a:gd name="connsiteY135" fmla="*/ 2917889 h 3495675"/>
                <a:gd name="connsiteX136" fmla="*/ 5649659 w 11363325"/>
                <a:gd name="connsiteY136" fmla="*/ 2919984 h 3495675"/>
                <a:gd name="connsiteX137" fmla="*/ 5657088 w 11363325"/>
                <a:gd name="connsiteY137" fmla="*/ 2932748 h 3495675"/>
                <a:gd name="connsiteX138" fmla="*/ 5662517 w 11363325"/>
                <a:gd name="connsiteY138" fmla="*/ 2922461 h 3495675"/>
                <a:gd name="connsiteX139" fmla="*/ 5778723 w 11363325"/>
                <a:gd name="connsiteY139" fmla="*/ 2944845 h 3495675"/>
                <a:gd name="connsiteX140" fmla="*/ 5660612 w 11363325"/>
                <a:gd name="connsiteY140" fmla="*/ 3022854 h 3495675"/>
                <a:gd name="connsiteX141" fmla="*/ 5781675 w 11363325"/>
                <a:gd name="connsiteY141" fmla="*/ 3000851 h 3495675"/>
                <a:gd name="connsiteX142" fmla="*/ 5779389 w 11363325"/>
                <a:gd name="connsiteY142" fmla="*/ 2953131 h 3495675"/>
                <a:gd name="connsiteX143" fmla="*/ 5835586 w 11363325"/>
                <a:gd name="connsiteY143" fmla="*/ 3020473 h 3495675"/>
                <a:gd name="connsiteX144" fmla="*/ 5890260 w 11363325"/>
                <a:gd name="connsiteY144" fmla="*/ 3056001 h 3495675"/>
                <a:gd name="connsiteX145" fmla="*/ 5937980 w 11363325"/>
                <a:gd name="connsiteY145" fmla="*/ 2973896 h 3495675"/>
                <a:gd name="connsiteX146" fmla="*/ 5989796 w 11363325"/>
                <a:gd name="connsiteY146" fmla="*/ 2964466 h 3495675"/>
                <a:gd name="connsiteX147" fmla="*/ 6043422 w 11363325"/>
                <a:gd name="connsiteY147" fmla="*/ 2964085 h 3495675"/>
                <a:gd name="connsiteX148" fmla="*/ 6100667 w 11363325"/>
                <a:gd name="connsiteY148" fmla="*/ 3137249 h 3495675"/>
                <a:gd name="connsiteX149" fmla="*/ 6154865 w 11363325"/>
                <a:gd name="connsiteY149" fmla="*/ 3053239 h 3495675"/>
                <a:gd name="connsiteX150" fmla="*/ 6206585 w 11363325"/>
                <a:gd name="connsiteY150" fmla="*/ 3067812 h 3495675"/>
                <a:gd name="connsiteX151" fmla="*/ 6266021 w 11363325"/>
                <a:gd name="connsiteY151" fmla="*/ 3155156 h 3495675"/>
                <a:gd name="connsiteX152" fmla="*/ 6308122 w 11363325"/>
                <a:gd name="connsiteY152" fmla="*/ 3008757 h 3495675"/>
                <a:gd name="connsiteX153" fmla="*/ 6352604 w 11363325"/>
                <a:gd name="connsiteY153" fmla="*/ 2945225 h 3495675"/>
                <a:gd name="connsiteX154" fmla="*/ 6431852 w 11363325"/>
                <a:gd name="connsiteY154" fmla="*/ 2983802 h 3495675"/>
                <a:gd name="connsiteX155" fmla="*/ 6442805 w 11363325"/>
                <a:gd name="connsiteY155" fmla="*/ 3129153 h 3495675"/>
                <a:gd name="connsiteX156" fmla="*/ 6550343 w 11363325"/>
                <a:gd name="connsiteY156" fmla="*/ 3018949 h 3495675"/>
                <a:gd name="connsiteX157" fmla="*/ 6579394 w 11363325"/>
                <a:gd name="connsiteY157" fmla="*/ 3141059 h 3495675"/>
                <a:gd name="connsiteX158" fmla="*/ 6610446 w 11363325"/>
                <a:gd name="connsiteY158" fmla="*/ 3038094 h 3495675"/>
                <a:gd name="connsiteX159" fmla="*/ 6685217 w 11363325"/>
                <a:gd name="connsiteY159" fmla="*/ 3083338 h 3495675"/>
                <a:gd name="connsiteX160" fmla="*/ 6709124 w 11363325"/>
                <a:gd name="connsiteY160" fmla="*/ 3018187 h 3495675"/>
                <a:gd name="connsiteX161" fmla="*/ 6730365 w 11363325"/>
                <a:gd name="connsiteY161" fmla="*/ 3103912 h 3495675"/>
                <a:gd name="connsiteX162" fmla="*/ 6825139 w 11363325"/>
                <a:gd name="connsiteY162" fmla="*/ 3023140 h 3495675"/>
                <a:gd name="connsiteX163" fmla="*/ 6762941 w 11363325"/>
                <a:gd name="connsiteY163" fmla="*/ 3139821 h 3495675"/>
                <a:gd name="connsiteX164" fmla="*/ 6843522 w 11363325"/>
                <a:gd name="connsiteY164" fmla="*/ 3145822 h 3495675"/>
                <a:gd name="connsiteX165" fmla="*/ 6879812 w 11363325"/>
                <a:gd name="connsiteY165" fmla="*/ 3212592 h 3495675"/>
                <a:gd name="connsiteX166" fmla="*/ 6966680 w 11363325"/>
                <a:gd name="connsiteY166" fmla="*/ 3236405 h 3495675"/>
                <a:gd name="connsiteX167" fmla="*/ 6997732 w 11363325"/>
                <a:gd name="connsiteY167" fmla="*/ 3128963 h 3495675"/>
                <a:gd name="connsiteX168" fmla="*/ 7064693 w 11363325"/>
                <a:gd name="connsiteY168" fmla="*/ 3150013 h 3495675"/>
                <a:gd name="connsiteX169" fmla="*/ 7140035 w 11363325"/>
                <a:gd name="connsiteY169" fmla="*/ 3183350 h 3495675"/>
                <a:gd name="connsiteX170" fmla="*/ 7155847 w 11363325"/>
                <a:gd name="connsiteY170" fmla="*/ 3057144 h 3495675"/>
                <a:gd name="connsiteX171" fmla="*/ 7217569 w 11363325"/>
                <a:gd name="connsiteY171" fmla="*/ 3106007 h 3495675"/>
                <a:gd name="connsiteX172" fmla="*/ 7228523 w 11363325"/>
                <a:gd name="connsiteY172" fmla="*/ 3169539 h 3495675"/>
                <a:gd name="connsiteX173" fmla="*/ 7318724 w 11363325"/>
                <a:gd name="connsiteY173" fmla="*/ 3154395 h 3495675"/>
                <a:gd name="connsiteX174" fmla="*/ 7378636 w 11363325"/>
                <a:gd name="connsiteY174" fmla="*/ 3157252 h 3495675"/>
                <a:gd name="connsiteX175" fmla="*/ 7376541 w 11363325"/>
                <a:gd name="connsiteY175" fmla="*/ 3102007 h 3495675"/>
                <a:gd name="connsiteX176" fmla="*/ 7427881 w 11363325"/>
                <a:gd name="connsiteY176" fmla="*/ 3095435 h 3495675"/>
                <a:gd name="connsiteX177" fmla="*/ 7499414 w 11363325"/>
                <a:gd name="connsiteY177" fmla="*/ 3116771 h 3495675"/>
                <a:gd name="connsiteX178" fmla="*/ 7593616 w 11363325"/>
                <a:gd name="connsiteY178" fmla="*/ 3121247 h 3495675"/>
                <a:gd name="connsiteX179" fmla="*/ 7505319 w 11363325"/>
                <a:gd name="connsiteY179" fmla="*/ 2943701 h 3495675"/>
                <a:gd name="connsiteX180" fmla="*/ 7592283 w 11363325"/>
                <a:gd name="connsiteY180" fmla="*/ 2956465 h 3495675"/>
                <a:gd name="connsiteX181" fmla="*/ 7650576 w 11363325"/>
                <a:gd name="connsiteY181" fmla="*/ 2972467 h 3495675"/>
                <a:gd name="connsiteX182" fmla="*/ 7683627 w 11363325"/>
                <a:gd name="connsiteY182" fmla="*/ 2913126 h 3495675"/>
                <a:gd name="connsiteX183" fmla="*/ 7722394 w 11363325"/>
                <a:gd name="connsiteY183" fmla="*/ 2943511 h 3495675"/>
                <a:gd name="connsiteX184" fmla="*/ 7827169 w 11363325"/>
                <a:gd name="connsiteY184" fmla="*/ 2891409 h 3495675"/>
                <a:gd name="connsiteX185" fmla="*/ 7635907 w 11363325"/>
                <a:gd name="connsiteY185" fmla="*/ 2838545 h 3495675"/>
                <a:gd name="connsiteX186" fmla="*/ 7828121 w 11363325"/>
                <a:gd name="connsiteY186" fmla="*/ 2805779 h 3495675"/>
                <a:gd name="connsiteX187" fmla="*/ 7762494 w 11363325"/>
                <a:gd name="connsiteY187" fmla="*/ 2701671 h 3495675"/>
                <a:gd name="connsiteX188" fmla="*/ 7867936 w 11363325"/>
                <a:gd name="connsiteY188" fmla="*/ 2752725 h 3495675"/>
                <a:gd name="connsiteX189" fmla="*/ 7875556 w 11363325"/>
                <a:gd name="connsiteY189" fmla="*/ 2668810 h 3495675"/>
                <a:gd name="connsiteX190" fmla="*/ 7986999 w 11363325"/>
                <a:gd name="connsiteY190" fmla="*/ 2623185 h 3495675"/>
                <a:gd name="connsiteX191" fmla="*/ 7884605 w 11363325"/>
                <a:gd name="connsiteY191" fmla="*/ 2554129 h 3495675"/>
                <a:gd name="connsiteX192" fmla="*/ 7876699 w 11363325"/>
                <a:gd name="connsiteY192" fmla="*/ 2488787 h 3495675"/>
                <a:gd name="connsiteX193" fmla="*/ 7953280 w 11363325"/>
                <a:gd name="connsiteY193" fmla="*/ 2466975 h 3495675"/>
                <a:gd name="connsiteX194" fmla="*/ 7977569 w 11363325"/>
                <a:gd name="connsiteY194" fmla="*/ 2409825 h 3495675"/>
                <a:gd name="connsiteX195" fmla="*/ 8022622 w 11363325"/>
                <a:gd name="connsiteY195" fmla="*/ 2384393 h 3495675"/>
                <a:gd name="connsiteX196" fmla="*/ 8080344 w 11363325"/>
                <a:gd name="connsiteY196" fmla="*/ 2448020 h 3495675"/>
                <a:gd name="connsiteX197" fmla="*/ 8132636 w 11363325"/>
                <a:gd name="connsiteY197" fmla="*/ 2333816 h 3495675"/>
                <a:gd name="connsiteX198" fmla="*/ 8196167 w 11363325"/>
                <a:gd name="connsiteY198" fmla="*/ 2343055 h 3495675"/>
                <a:gd name="connsiteX199" fmla="*/ 8258556 w 11363325"/>
                <a:gd name="connsiteY199" fmla="*/ 2300288 h 3495675"/>
                <a:gd name="connsiteX200" fmla="*/ 8308181 w 11363325"/>
                <a:gd name="connsiteY200" fmla="*/ 2355723 h 3495675"/>
                <a:gd name="connsiteX201" fmla="*/ 8366760 w 11363325"/>
                <a:gd name="connsiteY201" fmla="*/ 2337626 h 3495675"/>
                <a:gd name="connsiteX202" fmla="*/ 8412670 w 11363325"/>
                <a:gd name="connsiteY202" fmla="*/ 2463165 h 3495675"/>
                <a:gd name="connsiteX203" fmla="*/ 8475059 w 11363325"/>
                <a:gd name="connsiteY203" fmla="*/ 2357533 h 3495675"/>
                <a:gd name="connsiteX204" fmla="*/ 8535638 w 11363325"/>
                <a:gd name="connsiteY204" fmla="*/ 2278952 h 3495675"/>
                <a:gd name="connsiteX205" fmla="*/ 8584216 w 11363325"/>
                <a:gd name="connsiteY205" fmla="*/ 2373249 h 3495675"/>
                <a:gd name="connsiteX206" fmla="*/ 8644985 w 11363325"/>
                <a:gd name="connsiteY206" fmla="*/ 2288096 h 3495675"/>
                <a:gd name="connsiteX207" fmla="*/ 8691372 w 11363325"/>
                <a:gd name="connsiteY207" fmla="*/ 2334863 h 3495675"/>
                <a:gd name="connsiteX208" fmla="*/ 8765000 w 11363325"/>
                <a:gd name="connsiteY208" fmla="*/ 2487359 h 3495675"/>
                <a:gd name="connsiteX209" fmla="*/ 8790623 w 11363325"/>
                <a:gd name="connsiteY209" fmla="*/ 2265712 h 3495675"/>
                <a:gd name="connsiteX210" fmla="*/ 8843010 w 11363325"/>
                <a:gd name="connsiteY210" fmla="*/ 2436876 h 3495675"/>
                <a:gd name="connsiteX211" fmla="*/ 8906446 w 11363325"/>
                <a:gd name="connsiteY211" fmla="*/ 2404396 h 3495675"/>
                <a:gd name="connsiteX212" fmla="*/ 8903303 w 11363325"/>
                <a:gd name="connsiteY212" fmla="*/ 2516981 h 3495675"/>
                <a:gd name="connsiteX213" fmla="*/ 9019413 w 11363325"/>
                <a:gd name="connsiteY213" fmla="*/ 2434400 h 3495675"/>
                <a:gd name="connsiteX214" fmla="*/ 9086564 w 11363325"/>
                <a:gd name="connsiteY214" fmla="*/ 2541270 h 3495675"/>
                <a:gd name="connsiteX215" fmla="*/ 9122759 w 11363325"/>
                <a:gd name="connsiteY215" fmla="*/ 2414016 h 3495675"/>
                <a:gd name="connsiteX216" fmla="*/ 9184100 w 11363325"/>
                <a:gd name="connsiteY216" fmla="*/ 2409063 h 3495675"/>
                <a:gd name="connsiteX217" fmla="*/ 9242393 w 11363325"/>
                <a:gd name="connsiteY217" fmla="*/ 2520410 h 3495675"/>
                <a:gd name="connsiteX218" fmla="*/ 9300972 w 11363325"/>
                <a:gd name="connsiteY218" fmla="*/ 2389537 h 3495675"/>
                <a:gd name="connsiteX219" fmla="*/ 9385268 w 11363325"/>
                <a:gd name="connsiteY219" fmla="*/ 2362772 h 3495675"/>
                <a:gd name="connsiteX220" fmla="*/ 9360027 w 11363325"/>
                <a:gd name="connsiteY220" fmla="*/ 2527268 h 3495675"/>
                <a:gd name="connsiteX221" fmla="*/ 9484805 w 11363325"/>
                <a:gd name="connsiteY221" fmla="*/ 2473833 h 3495675"/>
                <a:gd name="connsiteX222" fmla="*/ 9536430 w 11363325"/>
                <a:gd name="connsiteY222" fmla="*/ 2477453 h 3495675"/>
                <a:gd name="connsiteX223" fmla="*/ 9564148 w 11363325"/>
                <a:gd name="connsiteY223" fmla="*/ 2533269 h 3495675"/>
                <a:gd name="connsiteX224" fmla="*/ 9616726 w 11363325"/>
                <a:gd name="connsiteY224" fmla="*/ 2570798 h 3495675"/>
                <a:gd name="connsiteX225" fmla="*/ 9686258 w 11363325"/>
                <a:gd name="connsiteY225" fmla="*/ 2645759 h 3495675"/>
                <a:gd name="connsiteX226" fmla="*/ 9744646 w 11363325"/>
                <a:gd name="connsiteY226" fmla="*/ 2589943 h 3495675"/>
                <a:gd name="connsiteX227" fmla="*/ 9790462 w 11363325"/>
                <a:gd name="connsiteY227" fmla="*/ 2561463 h 3495675"/>
                <a:gd name="connsiteX228" fmla="*/ 9787985 w 11363325"/>
                <a:gd name="connsiteY228" fmla="*/ 2486025 h 3495675"/>
                <a:gd name="connsiteX229" fmla="*/ 9823418 w 11363325"/>
                <a:gd name="connsiteY229" fmla="*/ 2454212 h 3495675"/>
                <a:gd name="connsiteX230" fmla="*/ 9873805 w 11363325"/>
                <a:gd name="connsiteY230" fmla="*/ 2365724 h 3495675"/>
                <a:gd name="connsiteX231" fmla="*/ 9928956 w 11363325"/>
                <a:gd name="connsiteY231" fmla="*/ 2379726 h 3495675"/>
                <a:gd name="connsiteX232" fmla="*/ 9994202 w 11363325"/>
                <a:gd name="connsiteY232" fmla="*/ 2399348 h 3495675"/>
                <a:gd name="connsiteX233" fmla="*/ 10029634 w 11363325"/>
                <a:gd name="connsiteY233" fmla="*/ 2462498 h 3495675"/>
                <a:gd name="connsiteX234" fmla="*/ 10074212 w 11363325"/>
                <a:gd name="connsiteY234" fmla="*/ 2483930 h 3495675"/>
                <a:gd name="connsiteX235" fmla="*/ 10165461 w 11363325"/>
                <a:gd name="connsiteY235" fmla="*/ 2416397 h 3495675"/>
                <a:gd name="connsiteX236" fmla="*/ 10164699 w 11363325"/>
                <a:gd name="connsiteY236" fmla="*/ 2471547 h 3495675"/>
                <a:gd name="connsiteX237" fmla="*/ 10189178 w 11363325"/>
                <a:gd name="connsiteY237" fmla="*/ 2433828 h 3495675"/>
                <a:gd name="connsiteX238" fmla="*/ 10224897 w 11363325"/>
                <a:gd name="connsiteY238" fmla="*/ 2398109 h 3495675"/>
                <a:gd name="connsiteX239" fmla="*/ 10310051 w 11363325"/>
                <a:gd name="connsiteY239" fmla="*/ 2404015 h 3495675"/>
                <a:gd name="connsiteX240" fmla="*/ 10311765 w 11363325"/>
                <a:gd name="connsiteY240" fmla="*/ 2411349 h 3495675"/>
                <a:gd name="connsiteX241" fmla="*/ 10438734 w 11363325"/>
                <a:gd name="connsiteY241" fmla="*/ 2362391 h 3495675"/>
                <a:gd name="connsiteX242" fmla="*/ 10370820 w 11363325"/>
                <a:gd name="connsiteY242" fmla="*/ 2528888 h 3495675"/>
                <a:gd name="connsiteX243" fmla="*/ 10491883 w 11363325"/>
                <a:gd name="connsiteY243" fmla="*/ 2405539 h 3495675"/>
                <a:gd name="connsiteX244" fmla="*/ 10486359 w 11363325"/>
                <a:gd name="connsiteY244" fmla="*/ 2384774 h 3495675"/>
                <a:gd name="connsiteX245" fmla="*/ 10622852 w 11363325"/>
                <a:gd name="connsiteY245" fmla="*/ 2485263 h 3495675"/>
                <a:gd name="connsiteX246" fmla="*/ 10613897 w 11363325"/>
                <a:gd name="connsiteY246" fmla="*/ 2343055 h 3495675"/>
                <a:gd name="connsiteX247" fmla="*/ 10724769 w 11363325"/>
                <a:gd name="connsiteY247" fmla="*/ 2486692 h 3495675"/>
                <a:gd name="connsiteX248" fmla="*/ 10763250 w 11363325"/>
                <a:gd name="connsiteY248" fmla="*/ 2421350 h 3495675"/>
                <a:gd name="connsiteX249" fmla="*/ 10827830 w 11363325"/>
                <a:gd name="connsiteY249" fmla="*/ 2432018 h 3495675"/>
                <a:gd name="connsiteX250" fmla="*/ 10874026 w 11363325"/>
                <a:gd name="connsiteY250" fmla="*/ 2385536 h 3495675"/>
                <a:gd name="connsiteX251" fmla="*/ 10932795 w 11363325"/>
                <a:gd name="connsiteY251" fmla="*/ 2380202 h 3495675"/>
                <a:gd name="connsiteX252" fmla="*/ 10960228 w 11363325"/>
                <a:gd name="connsiteY252" fmla="*/ 2225421 h 3495675"/>
                <a:gd name="connsiteX253" fmla="*/ 10986992 w 11363325"/>
                <a:gd name="connsiteY253" fmla="*/ 2382869 h 3495675"/>
                <a:gd name="connsiteX254" fmla="*/ 11046809 w 11363325"/>
                <a:gd name="connsiteY254" fmla="*/ 2397062 h 3495675"/>
                <a:gd name="connsiteX255" fmla="*/ 11124534 w 11363325"/>
                <a:gd name="connsiteY255" fmla="*/ 2365534 h 3495675"/>
                <a:gd name="connsiteX256" fmla="*/ 11182445 w 11363325"/>
                <a:gd name="connsiteY256" fmla="*/ 2383155 h 3495675"/>
                <a:gd name="connsiteX257" fmla="*/ 11250454 w 11363325"/>
                <a:gd name="connsiteY257" fmla="*/ 2375249 h 3495675"/>
                <a:gd name="connsiteX258" fmla="*/ 11303508 w 11363325"/>
                <a:gd name="connsiteY258" fmla="*/ 2327243 h 3495675"/>
                <a:gd name="connsiteX259" fmla="*/ 11356467 w 11363325"/>
                <a:gd name="connsiteY259" fmla="*/ 2424494 h 3495675"/>
                <a:gd name="connsiteX260" fmla="*/ 11372564 w 11363325"/>
                <a:gd name="connsiteY260" fmla="*/ 2435924 h 3495675"/>
                <a:gd name="connsiteX261" fmla="*/ 11372564 w 11363325"/>
                <a:gd name="connsiteY261" fmla="*/ 0 h 3495675"/>
                <a:gd name="connsiteX262" fmla="*/ 0 w 11363325"/>
                <a:gd name="connsiteY262" fmla="*/ 0 h 3495675"/>
                <a:gd name="connsiteX263" fmla="*/ 7624191 w 11363325"/>
                <a:gd name="connsiteY263" fmla="*/ 2067973 h 3495675"/>
                <a:gd name="connsiteX264" fmla="*/ 7586187 w 11363325"/>
                <a:gd name="connsiteY264" fmla="*/ 1943672 h 3495675"/>
                <a:gd name="connsiteX265" fmla="*/ 7601522 w 11363325"/>
                <a:gd name="connsiteY265" fmla="*/ 1930813 h 3495675"/>
                <a:gd name="connsiteX266" fmla="*/ 7634669 w 11363325"/>
                <a:gd name="connsiteY266" fmla="*/ 1941100 h 3495675"/>
                <a:gd name="connsiteX267" fmla="*/ 7624191 w 11363325"/>
                <a:gd name="connsiteY267" fmla="*/ 2067973 h 3495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</a:cxnLst>
              <a:rect l="l" t="t" r="r" b="b"/>
              <a:pathLst>
                <a:path w="11363325" h="3495675">
                  <a:moveTo>
                    <a:pt x="0" y="0"/>
                  </a:moveTo>
                  <a:lnTo>
                    <a:pt x="0" y="2568226"/>
                  </a:lnTo>
                  <a:lnTo>
                    <a:pt x="19336" y="2547080"/>
                  </a:lnTo>
                  <a:lnTo>
                    <a:pt x="91535" y="2541841"/>
                  </a:lnTo>
                  <a:lnTo>
                    <a:pt x="102775" y="2636520"/>
                  </a:lnTo>
                  <a:lnTo>
                    <a:pt x="78772" y="2749677"/>
                  </a:lnTo>
                  <a:lnTo>
                    <a:pt x="210312" y="2682907"/>
                  </a:lnTo>
                  <a:lnTo>
                    <a:pt x="278511" y="2680145"/>
                  </a:lnTo>
                  <a:lnTo>
                    <a:pt x="299847" y="2746153"/>
                  </a:lnTo>
                  <a:lnTo>
                    <a:pt x="268700" y="2873407"/>
                  </a:lnTo>
                  <a:lnTo>
                    <a:pt x="378619" y="2834164"/>
                  </a:lnTo>
                  <a:lnTo>
                    <a:pt x="383381" y="2910840"/>
                  </a:lnTo>
                  <a:lnTo>
                    <a:pt x="404241" y="2994470"/>
                  </a:lnTo>
                  <a:lnTo>
                    <a:pt x="479108" y="3001995"/>
                  </a:lnTo>
                  <a:lnTo>
                    <a:pt x="559308" y="2948559"/>
                  </a:lnTo>
                  <a:lnTo>
                    <a:pt x="590169" y="3082671"/>
                  </a:lnTo>
                  <a:lnTo>
                    <a:pt x="659035" y="3032570"/>
                  </a:lnTo>
                  <a:lnTo>
                    <a:pt x="714089" y="3084005"/>
                  </a:lnTo>
                  <a:lnTo>
                    <a:pt x="758285" y="3006757"/>
                  </a:lnTo>
                  <a:lnTo>
                    <a:pt x="775811" y="3059621"/>
                  </a:lnTo>
                  <a:lnTo>
                    <a:pt x="819722" y="3041714"/>
                  </a:lnTo>
                  <a:lnTo>
                    <a:pt x="893350" y="3040952"/>
                  </a:lnTo>
                  <a:lnTo>
                    <a:pt x="892112" y="3111532"/>
                  </a:lnTo>
                  <a:lnTo>
                    <a:pt x="1005364" y="3103721"/>
                  </a:lnTo>
                  <a:lnTo>
                    <a:pt x="976027" y="3173063"/>
                  </a:lnTo>
                  <a:lnTo>
                    <a:pt x="1054703" y="3175159"/>
                  </a:lnTo>
                  <a:lnTo>
                    <a:pt x="1054703" y="3175064"/>
                  </a:lnTo>
                  <a:lnTo>
                    <a:pt x="1111472" y="3158490"/>
                  </a:lnTo>
                  <a:lnTo>
                    <a:pt x="1200245" y="3255550"/>
                  </a:lnTo>
                  <a:lnTo>
                    <a:pt x="1274255" y="3154775"/>
                  </a:lnTo>
                  <a:lnTo>
                    <a:pt x="1294067" y="3253073"/>
                  </a:lnTo>
                  <a:lnTo>
                    <a:pt x="1185577" y="3354800"/>
                  </a:lnTo>
                  <a:lnTo>
                    <a:pt x="1302639" y="3385947"/>
                  </a:lnTo>
                  <a:lnTo>
                    <a:pt x="1340072" y="3302127"/>
                  </a:lnTo>
                  <a:lnTo>
                    <a:pt x="1414367" y="3363087"/>
                  </a:lnTo>
                  <a:lnTo>
                    <a:pt x="1432274" y="3434048"/>
                  </a:lnTo>
                  <a:lnTo>
                    <a:pt x="1498759" y="3388043"/>
                  </a:lnTo>
                  <a:lnTo>
                    <a:pt x="1507712" y="3467386"/>
                  </a:lnTo>
                  <a:lnTo>
                    <a:pt x="1620488" y="3370803"/>
                  </a:lnTo>
                  <a:lnTo>
                    <a:pt x="1609725" y="3390233"/>
                  </a:lnTo>
                  <a:lnTo>
                    <a:pt x="1657922" y="3376041"/>
                  </a:lnTo>
                  <a:lnTo>
                    <a:pt x="1776032" y="3499295"/>
                  </a:lnTo>
                  <a:lnTo>
                    <a:pt x="1755553" y="3349657"/>
                  </a:lnTo>
                  <a:lnTo>
                    <a:pt x="1822990" y="3340227"/>
                  </a:lnTo>
                  <a:lnTo>
                    <a:pt x="1915192" y="3379661"/>
                  </a:lnTo>
                  <a:lnTo>
                    <a:pt x="2007680" y="3332703"/>
                  </a:lnTo>
                  <a:lnTo>
                    <a:pt x="2005870" y="3231261"/>
                  </a:lnTo>
                  <a:lnTo>
                    <a:pt x="1929193" y="3188684"/>
                  </a:lnTo>
                  <a:lnTo>
                    <a:pt x="1961960" y="3130677"/>
                  </a:lnTo>
                  <a:lnTo>
                    <a:pt x="1847850" y="3093625"/>
                  </a:lnTo>
                  <a:lnTo>
                    <a:pt x="1863281" y="2997137"/>
                  </a:lnTo>
                  <a:lnTo>
                    <a:pt x="1957673" y="3006471"/>
                  </a:lnTo>
                  <a:lnTo>
                    <a:pt x="2019776" y="3112484"/>
                  </a:lnTo>
                  <a:lnTo>
                    <a:pt x="2068830" y="3065526"/>
                  </a:lnTo>
                  <a:lnTo>
                    <a:pt x="2061020" y="2944559"/>
                  </a:lnTo>
                  <a:lnTo>
                    <a:pt x="2064639" y="2930938"/>
                  </a:lnTo>
                  <a:lnTo>
                    <a:pt x="2164461" y="2904935"/>
                  </a:lnTo>
                  <a:lnTo>
                    <a:pt x="2174462" y="2844737"/>
                  </a:lnTo>
                  <a:lnTo>
                    <a:pt x="2144363" y="2754535"/>
                  </a:lnTo>
                  <a:lnTo>
                    <a:pt x="2286476" y="2780538"/>
                  </a:lnTo>
                  <a:lnTo>
                    <a:pt x="2292858" y="2739485"/>
                  </a:lnTo>
                  <a:lnTo>
                    <a:pt x="2337340" y="2786729"/>
                  </a:lnTo>
                  <a:lnTo>
                    <a:pt x="2405253" y="2622518"/>
                  </a:lnTo>
                  <a:lnTo>
                    <a:pt x="2478405" y="2735390"/>
                  </a:lnTo>
                  <a:lnTo>
                    <a:pt x="2416683" y="2594324"/>
                  </a:lnTo>
                  <a:lnTo>
                    <a:pt x="2517743" y="2600516"/>
                  </a:lnTo>
                  <a:lnTo>
                    <a:pt x="2563273" y="2546033"/>
                  </a:lnTo>
                  <a:lnTo>
                    <a:pt x="2633948" y="2504980"/>
                  </a:lnTo>
                  <a:lnTo>
                    <a:pt x="2691194" y="2545271"/>
                  </a:lnTo>
                  <a:lnTo>
                    <a:pt x="2742724" y="2633186"/>
                  </a:lnTo>
                  <a:lnTo>
                    <a:pt x="2794635" y="2642045"/>
                  </a:lnTo>
                  <a:lnTo>
                    <a:pt x="2876931" y="2517077"/>
                  </a:lnTo>
                  <a:lnTo>
                    <a:pt x="2886551" y="2505170"/>
                  </a:lnTo>
                  <a:lnTo>
                    <a:pt x="2947226" y="2548033"/>
                  </a:lnTo>
                  <a:lnTo>
                    <a:pt x="2941034" y="2456593"/>
                  </a:lnTo>
                  <a:lnTo>
                    <a:pt x="3068670" y="2516600"/>
                  </a:lnTo>
                  <a:lnTo>
                    <a:pt x="3110674" y="2553272"/>
                  </a:lnTo>
                  <a:lnTo>
                    <a:pt x="3139916" y="2377821"/>
                  </a:lnTo>
                  <a:lnTo>
                    <a:pt x="3192304" y="2410873"/>
                  </a:lnTo>
                  <a:lnTo>
                    <a:pt x="3257264" y="2440496"/>
                  </a:lnTo>
                  <a:lnTo>
                    <a:pt x="3289173" y="2366772"/>
                  </a:lnTo>
                  <a:lnTo>
                    <a:pt x="3355181" y="2377535"/>
                  </a:lnTo>
                  <a:lnTo>
                    <a:pt x="3412141" y="2373249"/>
                  </a:lnTo>
                  <a:lnTo>
                    <a:pt x="3476244" y="2477643"/>
                  </a:lnTo>
                  <a:lnTo>
                    <a:pt x="3508153" y="2424208"/>
                  </a:lnTo>
                  <a:lnTo>
                    <a:pt x="3585115" y="2405539"/>
                  </a:lnTo>
                  <a:lnTo>
                    <a:pt x="3557207" y="2539937"/>
                  </a:lnTo>
                  <a:lnTo>
                    <a:pt x="3666839" y="2508980"/>
                  </a:lnTo>
                  <a:lnTo>
                    <a:pt x="3724466" y="2408777"/>
                  </a:lnTo>
                  <a:lnTo>
                    <a:pt x="3774948" y="2464308"/>
                  </a:lnTo>
                  <a:lnTo>
                    <a:pt x="3826859" y="2478215"/>
                  </a:lnTo>
                  <a:lnTo>
                    <a:pt x="3947351" y="2479358"/>
                  </a:lnTo>
                  <a:lnTo>
                    <a:pt x="3789998" y="2525745"/>
                  </a:lnTo>
                  <a:lnTo>
                    <a:pt x="3752945" y="2572417"/>
                  </a:lnTo>
                  <a:lnTo>
                    <a:pt x="3806190" y="2666048"/>
                  </a:lnTo>
                  <a:lnTo>
                    <a:pt x="3809714" y="2662714"/>
                  </a:lnTo>
                  <a:lnTo>
                    <a:pt x="3865340" y="2649379"/>
                  </a:lnTo>
                  <a:lnTo>
                    <a:pt x="3939826" y="2774537"/>
                  </a:lnTo>
                  <a:lnTo>
                    <a:pt x="3989165" y="2772632"/>
                  </a:lnTo>
                  <a:lnTo>
                    <a:pt x="4054126" y="2664333"/>
                  </a:lnTo>
                  <a:lnTo>
                    <a:pt x="4105942" y="2733866"/>
                  </a:lnTo>
                  <a:lnTo>
                    <a:pt x="4232720" y="2643949"/>
                  </a:lnTo>
                  <a:lnTo>
                    <a:pt x="4207002" y="2763203"/>
                  </a:lnTo>
                  <a:lnTo>
                    <a:pt x="4325112" y="2712339"/>
                  </a:lnTo>
                  <a:lnTo>
                    <a:pt x="4293394" y="2770441"/>
                  </a:lnTo>
                  <a:lnTo>
                    <a:pt x="4329780" y="2794540"/>
                  </a:lnTo>
                  <a:lnTo>
                    <a:pt x="4331018" y="2734532"/>
                  </a:lnTo>
                  <a:lnTo>
                    <a:pt x="4397121" y="2718149"/>
                  </a:lnTo>
                  <a:lnTo>
                    <a:pt x="4338923" y="2617946"/>
                  </a:lnTo>
                  <a:lnTo>
                    <a:pt x="4433507" y="2586419"/>
                  </a:lnTo>
                  <a:lnTo>
                    <a:pt x="4473321" y="2668143"/>
                  </a:lnTo>
                  <a:lnTo>
                    <a:pt x="4467987" y="2766155"/>
                  </a:lnTo>
                  <a:lnTo>
                    <a:pt x="4549521" y="2746058"/>
                  </a:lnTo>
                  <a:lnTo>
                    <a:pt x="4628293" y="2674144"/>
                  </a:lnTo>
                  <a:lnTo>
                    <a:pt x="4675347" y="2786824"/>
                  </a:lnTo>
                  <a:lnTo>
                    <a:pt x="4728020" y="2775299"/>
                  </a:lnTo>
                  <a:lnTo>
                    <a:pt x="4784598" y="2799683"/>
                  </a:lnTo>
                  <a:lnTo>
                    <a:pt x="4829937" y="2765298"/>
                  </a:lnTo>
                  <a:lnTo>
                    <a:pt x="4878229" y="2720626"/>
                  </a:lnTo>
                  <a:lnTo>
                    <a:pt x="4904804" y="2598611"/>
                  </a:lnTo>
                  <a:lnTo>
                    <a:pt x="5019771" y="2779966"/>
                  </a:lnTo>
                  <a:lnTo>
                    <a:pt x="5027962" y="2644140"/>
                  </a:lnTo>
                  <a:lnTo>
                    <a:pt x="5083874" y="2629757"/>
                  </a:lnTo>
                  <a:lnTo>
                    <a:pt x="5119497" y="2744915"/>
                  </a:lnTo>
                  <a:lnTo>
                    <a:pt x="5197317" y="2591276"/>
                  </a:lnTo>
                  <a:lnTo>
                    <a:pt x="5202841" y="2732437"/>
                  </a:lnTo>
                  <a:lnTo>
                    <a:pt x="5277231" y="2699576"/>
                  </a:lnTo>
                  <a:lnTo>
                    <a:pt x="5273802" y="2781110"/>
                  </a:lnTo>
                  <a:lnTo>
                    <a:pt x="5398389" y="2727865"/>
                  </a:lnTo>
                  <a:lnTo>
                    <a:pt x="5428203" y="2786348"/>
                  </a:lnTo>
                  <a:lnTo>
                    <a:pt x="5460969" y="2842546"/>
                  </a:lnTo>
                  <a:lnTo>
                    <a:pt x="5500688" y="2872740"/>
                  </a:lnTo>
                  <a:lnTo>
                    <a:pt x="5535740" y="2865691"/>
                  </a:lnTo>
                  <a:lnTo>
                    <a:pt x="5566982" y="2777204"/>
                  </a:lnTo>
                  <a:lnTo>
                    <a:pt x="5644134" y="2910459"/>
                  </a:lnTo>
                  <a:lnTo>
                    <a:pt x="5638610" y="2917889"/>
                  </a:lnTo>
                  <a:lnTo>
                    <a:pt x="5649659" y="2919984"/>
                  </a:lnTo>
                  <a:lnTo>
                    <a:pt x="5657088" y="2932748"/>
                  </a:lnTo>
                  <a:lnTo>
                    <a:pt x="5662517" y="2922461"/>
                  </a:lnTo>
                  <a:lnTo>
                    <a:pt x="5778723" y="2944845"/>
                  </a:lnTo>
                  <a:lnTo>
                    <a:pt x="5660612" y="3022854"/>
                  </a:lnTo>
                  <a:lnTo>
                    <a:pt x="5781675" y="3000851"/>
                  </a:lnTo>
                  <a:lnTo>
                    <a:pt x="5779389" y="2953131"/>
                  </a:lnTo>
                  <a:lnTo>
                    <a:pt x="5835586" y="3020473"/>
                  </a:lnTo>
                  <a:lnTo>
                    <a:pt x="5890260" y="3056001"/>
                  </a:lnTo>
                  <a:lnTo>
                    <a:pt x="5937980" y="2973896"/>
                  </a:lnTo>
                  <a:lnTo>
                    <a:pt x="5989796" y="2964466"/>
                  </a:lnTo>
                  <a:lnTo>
                    <a:pt x="6043422" y="2964085"/>
                  </a:lnTo>
                  <a:lnTo>
                    <a:pt x="6100667" y="3137249"/>
                  </a:lnTo>
                  <a:lnTo>
                    <a:pt x="6154865" y="3053239"/>
                  </a:lnTo>
                  <a:lnTo>
                    <a:pt x="6206585" y="3067812"/>
                  </a:lnTo>
                  <a:lnTo>
                    <a:pt x="6266021" y="3155156"/>
                  </a:lnTo>
                  <a:lnTo>
                    <a:pt x="6308122" y="3008757"/>
                  </a:lnTo>
                  <a:lnTo>
                    <a:pt x="6352604" y="2945225"/>
                  </a:lnTo>
                  <a:lnTo>
                    <a:pt x="6431852" y="2983802"/>
                  </a:lnTo>
                  <a:lnTo>
                    <a:pt x="6442805" y="3129153"/>
                  </a:lnTo>
                  <a:lnTo>
                    <a:pt x="6550343" y="3018949"/>
                  </a:lnTo>
                  <a:lnTo>
                    <a:pt x="6579394" y="3141059"/>
                  </a:lnTo>
                  <a:lnTo>
                    <a:pt x="6610446" y="3038094"/>
                  </a:lnTo>
                  <a:lnTo>
                    <a:pt x="6685217" y="3083338"/>
                  </a:lnTo>
                  <a:lnTo>
                    <a:pt x="6709124" y="3018187"/>
                  </a:lnTo>
                  <a:lnTo>
                    <a:pt x="6730365" y="3103912"/>
                  </a:lnTo>
                  <a:lnTo>
                    <a:pt x="6825139" y="3023140"/>
                  </a:lnTo>
                  <a:lnTo>
                    <a:pt x="6762941" y="3139821"/>
                  </a:lnTo>
                  <a:lnTo>
                    <a:pt x="6843522" y="3145822"/>
                  </a:lnTo>
                  <a:lnTo>
                    <a:pt x="6879812" y="3212592"/>
                  </a:lnTo>
                  <a:lnTo>
                    <a:pt x="6966680" y="3236405"/>
                  </a:lnTo>
                  <a:lnTo>
                    <a:pt x="6997732" y="3128963"/>
                  </a:lnTo>
                  <a:lnTo>
                    <a:pt x="7064693" y="3150013"/>
                  </a:lnTo>
                  <a:lnTo>
                    <a:pt x="7140035" y="3183350"/>
                  </a:lnTo>
                  <a:lnTo>
                    <a:pt x="7155847" y="3057144"/>
                  </a:lnTo>
                  <a:lnTo>
                    <a:pt x="7217569" y="3106007"/>
                  </a:lnTo>
                  <a:lnTo>
                    <a:pt x="7228523" y="3169539"/>
                  </a:lnTo>
                  <a:lnTo>
                    <a:pt x="7318724" y="3154395"/>
                  </a:lnTo>
                  <a:lnTo>
                    <a:pt x="7378636" y="3157252"/>
                  </a:lnTo>
                  <a:lnTo>
                    <a:pt x="7376541" y="3102007"/>
                  </a:lnTo>
                  <a:lnTo>
                    <a:pt x="7427881" y="3095435"/>
                  </a:lnTo>
                  <a:lnTo>
                    <a:pt x="7499414" y="3116771"/>
                  </a:lnTo>
                  <a:lnTo>
                    <a:pt x="7593616" y="3121247"/>
                  </a:lnTo>
                  <a:lnTo>
                    <a:pt x="7505319" y="2943701"/>
                  </a:lnTo>
                  <a:lnTo>
                    <a:pt x="7592283" y="2956465"/>
                  </a:lnTo>
                  <a:lnTo>
                    <a:pt x="7650576" y="2972467"/>
                  </a:lnTo>
                  <a:lnTo>
                    <a:pt x="7683627" y="2913126"/>
                  </a:lnTo>
                  <a:lnTo>
                    <a:pt x="7722394" y="2943511"/>
                  </a:lnTo>
                  <a:lnTo>
                    <a:pt x="7827169" y="2891409"/>
                  </a:lnTo>
                  <a:lnTo>
                    <a:pt x="7635907" y="2838545"/>
                  </a:lnTo>
                  <a:lnTo>
                    <a:pt x="7828121" y="2805779"/>
                  </a:lnTo>
                  <a:lnTo>
                    <a:pt x="7762494" y="2701671"/>
                  </a:lnTo>
                  <a:lnTo>
                    <a:pt x="7867936" y="2752725"/>
                  </a:lnTo>
                  <a:lnTo>
                    <a:pt x="7875556" y="2668810"/>
                  </a:lnTo>
                  <a:lnTo>
                    <a:pt x="7986999" y="2623185"/>
                  </a:lnTo>
                  <a:lnTo>
                    <a:pt x="7884605" y="2554129"/>
                  </a:lnTo>
                  <a:lnTo>
                    <a:pt x="7876699" y="2488787"/>
                  </a:lnTo>
                  <a:lnTo>
                    <a:pt x="7953280" y="2466975"/>
                  </a:lnTo>
                  <a:lnTo>
                    <a:pt x="7977569" y="2409825"/>
                  </a:lnTo>
                  <a:lnTo>
                    <a:pt x="8022622" y="2384393"/>
                  </a:lnTo>
                  <a:lnTo>
                    <a:pt x="8080344" y="2448020"/>
                  </a:lnTo>
                  <a:lnTo>
                    <a:pt x="8132636" y="2333816"/>
                  </a:lnTo>
                  <a:lnTo>
                    <a:pt x="8196167" y="2343055"/>
                  </a:lnTo>
                  <a:lnTo>
                    <a:pt x="8258556" y="2300288"/>
                  </a:lnTo>
                  <a:lnTo>
                    <a:pt x="8308181" y="2355723"/>
                  </a:lnTo>
                  <a:lnTo>
                    <a:pt x="8366760" y="2337626"/>
                  </a:lnTo>
                  <a:lnTo>
                    <a:pt x="8412670" y="2463165"/>
                  </a:lnTo>
                  <a:lnTo>
                    <a:pt x="8475059" y="2357533"/>
                  </a:lnTo>
                  <a:lnTo>
                    <a:pt x="8535638" y="2278952"/>
                  </a:lnTo>
                  <a:lnTo>
                    <a:pt x="8584216" y="2373249"/>
                  </a:lnTo>
                  <a:lnTo>
                    <a:pt x="8644985" y="2288096"/>
                  </a:lnTo>
                  <a:lnTo>
                    <a:pt x="8691372" y="2334863"/>
                  </a:lnTo>
                  <a:lnTo>
                    <a:pt x="8765000" y="2487359"/>
                  </a:lnTo>
                  <a:lnTo>
                    <a:pt x="8790623" y="2265712"/>
                  </a:lnTo>
                  <a:lnTo>
                    <a:pt x="8843010" y="2436876"/>
                  </a:lnTo>
                  <a:lnTo>
                    <a:pt x="8906446" y="2404396"/>
                  </a:lnTo>
                  <a:lnTo>
                    <a:pt x="8903303" y="2516981"/>
                  </a:lnTo>
                  <a:lnTo>
                    <a:pt x="9019413" y="2434400"/>
                  </a:lnTo>
                  <a:lnTo>
                    <a:pt x="9086564" y="2541270"/>
                  </a:lnTo>
                  <a:lnTo>
                    <a:pt x="9122759" y="2414016"/>
                  </a:lnTo>
                  <a:lnTo>
                    <a:pt x="9184100" y="2409063"/>
                  </a:lnTo>
                  <a:lnTo>
                    <a:pt x="9242393" y="2520410"/>
                  </a:lnTo>
                  <a:lnTo>
                    <a:pt x="9300972" y="2389537"/>
                  </a:lnTo>
                  <a:lnTo>
                    <a:pt x="9385268" y="2362772"/>
                  </a:lnTo>
                  <a:lnTo>
                    <a:pt x="9360027" y="2527268"/>
                  </a:lnTo>
                  <a:lnTo>
                    <a:pt x="9484805" y="2473833"/>
                  </a:lnTo>
                  <a:lnTo>
                    <a:pt x="9536430" y="2477453"/>
                  </a:lnTo>
                  <a:lnTo>
                    <a:pt x="9564148" y="2533269"/>
                  </a:lnTo>
                  <a:lnTo>
                    <a:pt x="9616726" y="2570798"/>
                  </a:lnTo>
                  <a:lnTo>
                    <a:pt x="9686258" y="2645759"/>
                  </a:lnTo>
                  <a:lnTo>
                    <a:pt x="9744646" y="2589943"/>
                  </a:lnTo>
                  <a:lnTo>
                    <a:pt x="9790462" y="2561463"/>
                  </a:lnTo>
                  <a:lnTo>
                    <a:pt x="9787985" y="2486025"/>
                  </a:lnTo>
                  <a:lnTo>
                    <a:pt x="9823418" y="2454212"/>
                  </a:lnTo>
                  <a:lnTo>
                    <a:pt x="9873805" y="2365724"/>
                  </a:lnTo>
                  <a:lnTo>
                    <a:pt x="9928956" y="2379726"/>
                  </a:lnTo>
                  <a:lnTo>
                    <a:pt x="9994202" y="2399348"/>
                  </a:lnTo>
                  <a:lnTo>
                    <a:pt x="10029634" y="2462498"/>
                  </a:lnTo>
                  <a:lnTo>
                    <a:pt x="10074212" y="2483930"/>
                  </a:lnTo>
                  <a:lnTo>
                    <a:pt x="10165461" y="2416397"/>
                  </a:lnTo>
                  <a:lnTo>
                    <a:pt x="10164699" y="2471547"/>
                  </a:lnTo>
                  <a:lnTo>
                    <a:pt x="10189178" y="2433828"/>
                  </a:lnTo>
                  <a:lnTo>
                    <a:pt x="10224897" y="2398109"/>
                  </a:lnTo>
                  <a:lnTo>
                    <a:pt x="10310051" y="2404015"/>
                  </a:lnTo>
                  <a:lnTo>
                    <a:pt x="10311765" y="2411349"/>
                  </a:lnTo>
                  <a:lnTo>
                    <a:pt x="10438734" y="2362391"/>
                  </a:lnTo>
                  <a:lnTo>
                    <a:pt x="10370820" y="2528888"/>
                  </a:lnTo>
                  <a:lnTo>
                    <a:pt x="10491883" y="2405539"/>
                  </a:lnTo>
                  <a:lnTo>
                    <a:pt x="10486359" y="2384774"/>
                  </a:lnTo>
                  <a:lnTo>
                    <a:pt x="10622852" y="2485263"/>
                  </a:lnTo>
                  <a:lnTo>
                    <a:pt x="10613897" y="2343055"/>
                  </a:lnTo>
                  <a:lnTo>
                    <a:pt x="10724769" y="2486692"/>
                  </a:lnTo>
                  <a:lnTo>
                    <a:pt x="10763250" y="2421350"/>
                  </a:lnTo>
                  <a:lnTo>
                    <a:pt x="10827830" y="2432018"/>
                  </a:lnTo>
                  <a:lnTo>
                    <a:pt x="10874026" y="2385536"/>
                  </a:lnTo>
                  <a:lnTo>
                    <a:pt x="10932795" y="2380202"/>
                  </a:lnTo>
                  <a:lnTo>
                    <a:pt x="10960228" y="2225421"/>
                  </a:lnTo>
                  <a:lnTo>
                    <a:pt x="10986992" y="2382869"/>
                  </a:lnTo>
                  <a:lnTo>
                    <a:pt x="11046809" y="2397062"/>
                  </a:lnTo>
                  <a:lnTo>
                    <a:pt x="11124534" y="2365534"/>
                  </a:lnTo>
                  <a:lnTo>
                    <a:pt x="11182445" y="2383155"/>
                  </a:lnTo>
                  <a:lnTo>
                    <a:pt x="11250454" y="2375249"/>
                  </a:lnTo>
                  <a:lnTo>
                    <a:pt x="11303508" y="2327243"/>
                  </a:lnTo>
                  <a:lnTo>
                    <a:pt x="11356467" y="2424494"/>
                  </a:lnTo>
                  <a:lnTo>
                    <a:pt x="11372564" y="2435924"/>
                  </a:lnTo>
                  <a:lnTo>
                    <a:pt x="11372564" y="0"/>
                  </a:lnTo>
                  <a:lnTo>
                    <a:pt x="0" y="0"/>
                  </a:lnTo>
                  <a:close/>
                  <a:moveTo>
                    <a:pt x="7624191" y="2067973"/>
                  </a:moveTo>
                  <a:lnTo>
                    <a:pt x="7586187" y="1943672"/>
                  </a:lnTo>
                  <a:lnTo>
                    <a:pt x="7601522" y="1930813"/>
                  </a:lnTo>
                  <a:lnTo>
                    <a:pt x="7634669" y="1941100"/>
                  </a:lnTo>
                  <a:lnTo>
                    <a:pt x="7624191" y="2067973"/>
                  </a:lnTo>
                  <a:close/>
                </a:path>
              </a:pathLst>
            </a:custGeom>
            <a:solidFill>
              <a:srgbClr val="F5F5F0"/>
            </a:solidFill>
            <a:ln w="9525" cap="flat">
              <a:noFill/>
              <a:prstDash val="solid"/>
              <a:miter/>
            </a:ln>
            <a:effectLst>
              <a:outerShdw blurRad="101600" dist="38100" dir="4200000" algn="l" rotWithShape="0">
                <a:prstClr val="black">
                  <a:alpha val="7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2DD68C1D-BFEA-40FD-9F50-45492239B06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7106" y="1435570"/>
              <a:ext cx="3168000" cy="1507396"/>
            </a:xfrm>
            <a:prstGeom prst="rect">
              <a:avLst/>
            </a:prstGeom>
            <a:ln>
              <a:noFill/>
            </a:ln>
            <a:effectLst/>
          </p:spPr>
        </p:pic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DFB9C2A9-60B2-41EE-9FF5-5EEA7157183F}"/>
              </a:ext>
            </a:extLst>
          </p:cNvPr>
          <p:cNvGrpSpPr/>
          <p:nvPr/>
        </p:nvGrpSpPr>
        <p:grpSpPr>
          <a:xfrm>
            <a:off x="4419237" y="1708469"/>
            <a:ext cx="3786117" cy="2779313"/>
            <a:chOff x="4404758" y="1440690"/>
            <a:chExt cx="3786117" cy="2779313"/>
          </a:xfrm>
        </p:grpSpPr>
        <p:sp>
          <p:nvSpPr>
            <p:cNvPr id="27" name="Freeform 79">
              <a:extLst>
                <a:ext uri="{FF2B5EF4-FFF2-40B4-BE49-F238E27FC236}">
                  <a16:creationId xmlns:a16="http://schemas.microsoft.com/office/drawing/2014/main" id="{C12358E5-E7F6-4067-B554-75A4CB2FBE62}"/>
                </a:ext>
              </a:extLst>
            </p:cNvPr>
            <p:cNvSpPr>
              <a:spLocks/>
            </p:cNvSpPr>
            <p:nvPr/>
          </p:nvSpPr>
          <p:spPr bwMode="auto">
            <a:xfrm rot="10800000" flipH="1">
              <a:off x="4404758" y="1440690"/>
              <a:ext cx="3786117" cy="2779313"/>
            </a:xfrm>
            <a:custGeom>
              <a:avLst/>
              <a:gdLst>
                <a:gd name="T0" fmla="*/ 283 w 7680"/>
                <a:gd name="T1" fmla="*/ 2552 h 3188"/>
                <a:gd name="T2" fmla="*/ 397 w 7680"/>
                <a:gd name="T3" fmla="*/ 2764 h 3188"/>
                <a:gd name="T4" fmla="*/ 539 w 7680"/>
                <a:gd name="T5" fmla="*/ 2797 h 3188"/>
                <a:gd name="T6" fmla="*/ 722 w 7680"/>
                <a:gd name="T7" fmla="*/ 2771 h 3188"/>
                <a:gd name="T8" fmla="*/ 950 w 7680"/>
                <a:gd name="T9" fmla="*/ 2803 h 3188"/>
                <a:gd name="T10" fmla="*/ 1187 w 7680"/>
                <a:gd name="T11" fmla="*/ 2713 h 3188"/>
                <a:gd name="T12" fmla="*/ 1344 w 7680"/>
                <a:gd name="T13" fmla="*/ 2797 h 3188"/>
                <a:gd name="T14" fmla="*/ 1455 w 7680"/>
                <a:gd name="T15" fmla="*/ 2724 h 3188"/>
                <a:gd name="T16" fmla="*/ 1685 w 7680"/>
                <a:gd name="T17" fmla="*/ 2867 h 3188"/>
                <a:gd name="T18" fmla="*/ 1885 w 7680"/>
                <a:gd name="T19" fmla="*/ 2948 h 3188"/>
                <a:gd name="T20" fmla="*/ 2078 w 7680"/>
                <a:gd name="T21" fmla="*/ 2940 h 3188"/>
                <a:gd name="T22" fmla="*/ 2337 w 7680"/>
                <a:gd name="T23" fmla="*/ 3067 h 3188"/>
                <a:gd name="T24" fmla="*/ 2575 w 7680"/>
                <a:gd name="T25" fmla="*/ 3148 h 3188"/>
                <a:gd name="T26" fmla="*/ 2764 w 7680"/>
                <a:gd name="T27" fmla="*/ 3062 h 3188"/>
                <a:gd name="T28" fmla="*/ 3001 w 7680"/>
                <a:gd name="T29" fmla="*/ 2900 h 3188"/>
                <a:gd name="T30" fmla="*/ 3306 w 7680"/>
                <a:gd name="T31" fmla="*/ 2892 h 3188"/>
                <a:gd name="T32" fmla="*/ 3459 w 7680"/>
                <a:gd name="T33" fmla="*/ 2946 h 3188"/>
                <a:gd name="T34" fmla="*/ 3734 w 7680"/>
                <a:gd name="T35" fmla="*/ 2980 h 3188"/>
                <a:gd name="T36" fmla="*/ 3959 w 7680"/>
                <a:gd name="T37" fmla="*/ 3062 h 3188"/>
                <a:gd name="T38" fmla="*/ 4229 w 7680"/>
                <a:gd name="T39" fmla="*/ 3096 h 3188"/>
                <a:gd name="T40" fmla="*/ 4438 w 7680"/>
                <a:gd name="T41" fmla="*/ 2972 h 3188"/>
                <a:gd name="T42" fmla="*/ 4676 w 7680"/>
                <a:gd name="T43" fmla="*/ 2850 h 3188"/>
                <a:gd name="T44" fmla="*/ 4982 w 7680"/>
                <a:gd name="T45" fmla="*/ 2924 h 3188"/>
                <a:gd name="T46" fmla="*/ 5162 w 7680"/>
                <a:gd name="T47" fmla="*/ 2906 h 3188"/>
                <a:gd name="T48" fmla="*/ 5471 w 7680"/>
                <a:gd name="T49" fmla="*/ 2850 h 3188"/>
                <a:gd name="T50" fmla="*/ 5773 w 7680"/>
                <a:gd name="T51" fmla="*/ 2856 h 3188"/>
                <a:gd name="T52" fmla="*/ 6046 w 7680"/>
                <a:gd name="T53" fmla="*/ 2925 h 3188"/>
                <a:gd name="T54" fmla="*/ 6291 w 7680"/>
                <a:gd name="T55" fmla="*/ 3004 h 3188"/>
                <a:gd name="T56" fmla="*/ 6583 w 7680"/>
                <a:gd name="T57" fmla="*/ 3035 h 3188"/>
                <a:gd name="T58" fmla="*/ 6794 w 7680"/>
                <a:gd name="T59" fmla="*/ 2938 h 3188"/>
                <a:gd name="T60" fmla="*/ 7040 w 7680"/>
                <a:gd name="T61" fmla="*/ 2971 h 3188"/>
                <a:gd name="T62" fmla="*/ 7315 w 7680"/>
                <a:gd name="T63" fmla="*/ 2983 h 3188"/>
                <a:gd name="T64" fmla="*/ 7587 w 7680"/>
                <a:gd name="T65" fmla="*/ 2925 h 3188"/>
                <a:gd name="T66" fmla="*/ 7526 w 7680"/>
                <a:gd name="T67" fmla="*/ 417 h 3188"/>
                <a:gd name="T68" fmla="*/ 7246 w 7680"/>
                <a:gd name="T69" fmla="*/ 472 h 3188"/>
                <a:gd name="T70" fmla="*/ 6958 w 7680"/>
                <a:gd name="T71" fmla="*/ 467 h 3188"/>
                <a:gd name="T72" fmla="*/ 6741 w 7680"/>
                <a:gd name="T73" fmla="*/ 502 h 3188"/>
                <a:gd name="T74" fmla="*/ 6535 w 7680"/>
                <a:gd name="T75" fmla="*/ 535 h 3188"/>
                <a:gd name="T76" fmla="*/ 6271 w 7680"/>
                <a:gd name="T77" fmla="*/ 486 h 3188"/>
                <a:gd name="T78" fmla="*/ 5963 w 7680"/>
                <a:gd name="T79" fmla="*/ 504 h 3188"/>
                <a:gd name="T80" fmla="*/ 5713 w 7680"/>
                <a:gd name="T81" fmla="*/ 486 h 3188"/>
                <a:gd name="T82" fmla="*/ 5427 w 7680"/>
                <a:gd name="T83" fmla="*/ 504 h 3188"/>
                <a:gd name="T84" fmla="*/ 5147 w 7680"/>
                <a:gd name="T85" fmla="*/ 459 h 3188"/>
                <a:gd name="T86" fmla="*/ 4845 w 7680"/>
                <a:gd name="T87" fmla="*/ 469 h 3188"/>
                <a:gd name="T88" fmla="*/ 4613 w 7680"/>
                <a:gd name="T89" fmla="*/ 425 h 3188"/>
                <a:gd name="T90" fmla="*/ 4358 w 7680"/>
                <a:gd name="T91" fmla="*/ 440 h 3188"/>
                <a:gd name="T92" fmla="*/ 4115 w 7680"/>
                <a:gd name="T93" fmla="*/ 420 h 3188"/>
                <a:gd name="T94" fmla="*/ 3832 w 7680"/>
                <a:gd name="T95" fmla="*/ 467 h 3188"/>
                <a:gd name="T96" fmla="*/ 3554 w 7680"/>
                <a:gd name="T97" fmla="*/ 469 h 3188"/>
                <a:gd name="T98" fmla="*/ 3300 w 7680"/>
                <a:gd name="T99" fmla="*/ 462 h 3188"/>
                <a:gd name="T100" fmla="*/ 3022 w 7680"/>
                <a:gd name="T101" fmla="*/ 428 h 3188"/>
                <a:gd name="T102" fmla="*/ 2747 w 7680"/>
                <a:gd name="T103" fmla="*/ 417 h 3188"/>
                <a:gd name="T104" fmla="*/ 2465 w 7680"/>
                <a:gd name="T105" fmla="*/ 396 h 3188"/>
                <a:gd name="T106" fmla="*/ 2184 w 7680"/>
                <a:gd name="T107" fmla="*/ 377 h 3188"/>
                <a:gd name="T108" fmla="*/ 1923 w 7680"/>
                <a:gd name="T109" fmla="*/ 301 h 3188"/>
                <a:gd name="T110" fmla="*/ 1648 w 7680"/>
                <a:gd name="T111" fmla="*/ 285 h 3188"/>
                <a:gd name="T112" fmla="*/ 1439 w 7680"/>
                <a:gd name="T113" fmla="*/ 206 h 3188"/>
                <a:gd name="T114" fmla="*/ 1235 w 7680"/>
                <a:gd name="T115" fmla="*/ 195 h 3188"/>
                <a:gd name="T116" fmla="*/ 975 w 7680"/>
                <a:gd name="T117" fmla="*/ 106 h 3188"/>
                <a:gd name="T118" fmla="*/ 727 w 7680"/>
                <a:gd name="T119" fmla="*/ 90 h 3188"/>
                <a:gd name="T120" fmla="*/ 434 w 7680"/>
                <a:gd name="T121" fmla="*/ 75 h 3188"/>
                <a:gd name="T122" fmla="*/ 151 w 7680"/>
                <a:gd name="T123" fmla="*/ 50 h 3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680" h="3188">
                  <a:moveTo>
                    <a:pt x="10" y="2518"/>
                  </a:moveTo>
                  <a:lnTo>
                    <a:pt x="40" y="2505"/>
                  </a:lnTo>
                  <a:lnTo>
                    <a:pt x="19" y="2565"/>
                  </a:lnTo>
                  <a:lnTo>
                    <a:pt x="55" y="2524"/>
                  </a:lnTo>
                  <a:lnTo>
                    <a:pt x="68" y="2552"/>
                  </a:lnTo>
                  <a:lnTo>
                    <a:pt x="80" y="2532"/>
                  </a:lnTo>
                  <a:lnTo>
                    <a:pt x="98" y="2529"/>
                  </a:lnTo>
                  <a:lnTo>
                    <a:pt x="114" y="2540"/>
                  </a:lnTo>
                  <a:lnTo>
                    <a:pt x="129" y="2553"/>
                  </a:lnTo>
                  <a:lnTo>
                    <a:pt x="145" y="2524"/>
                  </a:lnTo>
                  <a:lnTo>
                    <a:pt x="166" y="2560"/>
                  </a:lnTo>
                  <a:lnTo>
                    <a:pt x="172" y="2505"/>
                  </a:lnTo>
                  <a:lnTo>
                    <a:pt x="190" y="2510"/>
                  </a:lnTo>
                  <a:lnTo>
                    <a:pt x="212" y="2548"/>
                  </a:lnTo>
                  <a:lnTo>
                    <a:pt x="228" y="2558"/>
                  </a:lnTo>
                  <a:lnTo>
                    <a:pt x="240" y="2528"/>
                  </a:lnTo>
                  <a:lnTo>
                    <a:pt x="262" y="2528"/>
                  </a:lnTo>
                  <a:lnTo>
                    <a:pt x="235" y="2569"/>
                  </a:lnTo>
                  <a:lnTo>
                    <a:pt x="283" y="2552"/>
                  </a:lnTo>
                  <a:lnTo>
                    <a:pt x="285" y="2560"/>
                  </a:lnTo>
                  <a:lnTo>
                    <a:pt x="296" y="2568"/>
                  </a:lnTo>
                  <a:lnTo>
                    <a:pt x="294" y="2595"/>
                  </a:lnTo>
                  <a:lnTo>
                    <a:pt x="314" y="2582"/>
                  </a:lnTo>
                  <a:lnTo>
                    <a:pt x="327" y="2579"/>
                  </a:lnTo>
                  <a:lnTo>
                    <a:pt x="330" y="2595"/>
                  </a:lnTo>
                  <a:lnTo>
                    <a:pt x="344" y="2611"/>
                  </a:lnTo>
                  <a:lnTo>
                    <a:pt x="359" y="2624"/>
                  </a:lnTo>
                  <a:lnTo>
                    <a:pt x="315" y="2644"/>
                  </a:lnTo>
                  <a:lnTo>
                    <a:pt x="304" y="2660"/>
                  </a:lnTo>
                  <a:lnTo>
                    <a:pt x="306" y="2676"/>
                  </a:lnTo>
                  <a:lnTo>
                    <a:pt x="354" y="2689"/>
                  </a:lnTo>
                  <a:lnTo>
                    <a:pt x="330" y="2706"/>
                  </a:lnTo>
                  <a:lnTo>
                    <a:pt x="338" y="2722"/>
                  </a:lnTo>
                  <a:lnTo>
                    <a:pt x="336" y="2739"/>
                  </a:lnTo>
                  <a:lnTo>
                    <a:pt x="352" y="2748"/>
                  </a:lnTo>
                  <a:lnTo>
                    <a:pt x="357" y="2760"/>
                  </a:lnTo>
                  <a:lnTo>
                    <a:pt x="380" y="2760"/>
                  </a:lnTo>
                  <a:lnTo>
                    <a:pt x="397" y="2764"/>
                  </a:lnTo>
                  <a:lnTo>
                    <a:pt x="392" y="2801"/>
                  </a:lnTo>
                  <a:lnTo>
                    <a:pt x="426" y="2793"/>
                  </a:lnTo>
                  <a:lnTo>
                    <a:pt x="396" y="2834"/>
                  </a:lnTo>
                  <a:lnTo>
                    <a:pt x="404" y="2848"/>
                  </a:lnTo>
                  <a:lnTo>
                    <a:pt x="425" y="2872"/>
                  </a:lnTo>
                  <a:lnTo>
                    <a:pt x="437" y="2840"/>
                  </a:lnTo>
                  <a:lnTo>
                    <a:pt x="462" y="2847"/>
                  </a:lnTo>
                  <a:lnTo>
                    <a:pt x="474" y="2838"/>
                  </a:lnTo>
                  <a:lnTo>
                    <a:pt x="476" y="2805"/>
                  </a:lnTo>
                  <a:lnTo>
                    <a:pt x="478" y="2835"/>
                  </a:lnTo>
                  <a:lnTo>
                    <a:pt x="500" y="2835"/>
                  </a:lnTo>
                  <a:lnTo>
                    <a:pt x="481" y="2871"/>
                  </a:lnTo>
                  <a:lnTo>
                    <a:pt x="518" y="2859"/>
                  </a:lnTo>
                  <a:lnTo>
                    <a:pt x="521" y="2869"/>
                  </a:lnTo>
                  <a:lnTo>
                    <a:pt x="553" y="2856"/>
                  </a:lnTo>
                  <a:lnTo>
                    <a:pt x="516" y="2842"/>
                  </a:lnTo>
                  <a:lnTo>
                    <a:pt x="550" y="2822"/>
                  </a:lnTo>
                  <a:lnTo>
                    <a:pt x="495" y="2805"/>
                  </a:lnTo>
                  <a:lnTo>
                    <a:pt x="539" y="2797"/>
                  </a:lnTo>
                  <a:lnTo>
                    <a:pt x="540" y="2780"/>
                  </a:lnTo>
                  <a:lnTo>
                    <a:pt x="534" y="2761"/>
                  </a:lnTo>
                  <a:lnTo>
                    <a:pt x="555" y="2763"/>
                  </a:lnTo>
                  <a:lnTo>
                    <a:pt x="545" y="2808"/>
                  </a:lnTo>
                  <a:lnTo>
                    <a:pt x="581" y="2785"/>
                  </a:lnTo>
                  <a:lnTo>
                    <a:pt x="590" y="2780"/>
                  </a:lnTo>
                  <a:lnTo>
                    <a:pt x="610" y="2809"/>
                  </a:lnTo>
                  <a:lnTo>
                    <a:pt x="630" y="2805"/>
                  </a:lnTo>
                  <a:lnTo>
                    <a:pt x="629" y="2771"/>
                  </a:lnTo>
                  <a:lnTo>
                    <a:pt x="663" y="2780"/>
                  </a:lnTo>
                  <a:lnTo>
                    <a:pt x="638" y="2727"/>
                  </a:lnTo>
                  <a:lnTo>
                    <a:pt x="656" y="2722"/>
                  </a:lnTo>
                  <a:lnTo>
                    <a:pt x="663" y="2703"/>
                  </a:lnTo>
                  <a:lnTo>
                    <a:pt x="692" y="2739"/>
                  </a:lnTo>
                  <a:lnTo>
                    <a:pt x="729" y="2721"/>
                  </a:lnTo>
                  <a:lnTo>
                    <a:pt x="675" y="2748"/>
                  </a:lnTo>
                  <a:lnTo>
                    <a:pt x="725" y="2751"/>
                  </a:lnTo>
                  <a:lnTo>
                    <a:pt x="735" y="2766"/>
                  </a:lnTo>
                  <a:lnTo>
                    <a:pt x="722" y="2771"/>
                  </a:lnTo>
                  <a:lnTo>
                    <a:pt x="746" y="2800"/>
                  </a:lnTo>
                  <a:lnTo>
                    <a:pt x="751" y="2764"/>
                  </a:lnTo>
                  <a:lnTo>
                    <a:pt x="777" y="2798"/>
                  </a:lnTo>
                  <a:lnTo>
                    <a:pt x="793" y="2793"/>
                  </a:lnTo>
                  <a:lnTo>
                    <a:pt x="804" y="2763"/>
                  </a:lnTo>
                  <a:lnTo>
                    <a:pt x="825" y="2758"/>
                  </a:lnTo>
                  <a:lnTo>
                    <a:pt x="825" y="2792"/>
                  </a:lnTo>
                  <a:lnTo>
                    <a:pt x="859" y="2774"/>
                  </a:lnTo>
                  <a:lnTo>
                    <a:pt x="872" y="2782"/>
                  </a:lnTo>
                  <a:lnTo>
                    <a:pt x="880" y="2800"/>
                  </a:lnTo>
                  <a:lnTo>
                    <a:pt x="888" y="2814"/>
                  </a:lnTo>
                  <a:lnTo>
                    <a:pt x="886" y="2832"/>
                  </a:lnTo>
                  <a:lnTo>
                    <a:pt x="865" y="2861"/>
                  </a:lnTo>
                  <a:lnTo>
                    <a:pt x="896" y="2853"/>
                  </a:lnTo>
                  <a:lnTo>
                    <a:pt x="899" y="2842"/>
                  </a:lnTo>
                  <a:lnTo>
                    <a:pt x="894" y="2816"/>
                  </a:lnTo>
                  <a:lnTo>
                    <a:pt x="912" y="2801"/>
                  </a:lnTo>
                  <a:lnTo>
                    <a:pt x="931" y="2800"/>
                  </a:lnTo>
                  <a:lnTo>
                    <a:pt x="950" y="2803"/>
                  </a:lnTo>
                  <a:lnTo>
                    <a:pt x="965" y="2771"/>
                  </a:lnTo>
                  <a:lnTo>
                    <a:pt x="984" y="2785"/>
                  </a:lnTo>
                  <a:lnTo>
                    <a:pt x="1007" y="2805"/>
                  </a:lnTo>
                  <a:lnTo>
                    <a:pt x="1007" y="2766"/>
                  </a:lnTo>
                  <a:lnTo>
                    <a:pt x="1039" y="2795"/>
                  </a:lnTo>
                  <a:lnTo>
                    <a:pt x="1052" y="2790"/>
                  </a:lnTo>
                  <a:lnTo>
                    <a:pt x="1052" y="2739"/>
                  </a:lnTo>
                  <a:lnTo>
                    <a:pt x="1068" y="2742"/>
                  </a:lnTo>
                  <a:lnTo>
                    <a:pt x="1090" y="2745"/>
                  </a:lnTo>
                  <a:lnTo>
                    <a:pt x="1105" y="2766"/>
                  </a:lnTo>
                  <a:lnTo>
                    <a:pt x="1118" y="2797"/>
                  </a:lnTo>
                  <a:lnTo>
                    <a:pt x="1140" y="2787"/>
                  </a:lnTo>
                  <a:lnTo>
                    <a:pt x="1163" y="2771"/>
                  </a:lnTo>
                  <a:lnTo>
                    <a:pt x="1143" y="2745"/>
                  </a:lnTo>
                  <a:lnTo>
                    <a:pt x="1177" y="2740"/>
                  </a:lnTo>
                  <a:lnTo>
                    <a:pt x="1188" y="2735"/>
                  </a:lnTo>
                  <a:lnTo>
                    <a:pt x="1145" y="2708"/>
                  </a:lnTo>
                  <a:lnTo>
                    <a:pt x="1179" y="2703"/>
                  </a:lnTo>
                  <a:lnTo>
                    <a:pt x="1187" y="2713"/>
                  </a:lnTo>
                  <a:lnTo>
                    <a:pt x="1211" y="2724"/>
                  </a:lnTo>
                  <a:lnTo>
                    <a:pt x="1188" y="2735"/>
                  </a:lnTo>
                  <a:lnTo>
                    <a:pt x="1193" y="2739"/>
                  </a:lnTo>
                  <a:lnTo>
                    <a:pt x="1177" y="2740"/>
                  </a:lnTo>
                  <a:lnTo>
                    <a:pt x="1158" y="2750"/>
                  </a:lnTo>
                  <a:lnTo>
                    <a:pt x="1203" y="2758"/>
                  </a:lnTo>
                  <a:lnTo>
                    <a:pt x="1182" y="2784"/>
                  </a:lnTo>
                  <a:lnTo>
                    <a:pt x="1195" y="2811"/>
                  </a:lnTo>
                  <a:lnTo>
                    <a:pt x="1219" y="2798"/>
                  </a:lnTo>
                  <a:lnTo>
                    <a:pt x="1253" y="2772"/>
                  </a:lnTo>
                  <a:lnTo>
                    <a:pt x="1248" y="2809"/>
                  </a:lnTo>
                  <a:lnTo>
                    <a:pt x="1262" y="2816"/>
                  </a:lnTo>
                  <a:lnTo>
                    <a:pt x="1267" y="2834"/>
                  </a:lnTo>
                  <a:lnTo>
                    <a:pt x="1286" y="2832"/>
                  </a:lnTo>
                  <a:lnTo>
                    <a:pt x="1309" y="2834"/>
                  </a:lnTo>
                  <a:lnTo>
                    <a:pt x="1312" y="2818"/>
                  </a:lnTo>
                  <a:lnTo>
                    <a:pt x="1299" y="2787"/>
                  </a:lnTo>
                  <a:lnTo>
                    <a:pt x="1317" y="2780"/>
                  </a:lnTo>
                  <a:lnTo>
                    <a:pt x="1344" y="2797"/>
                  </a:lnTo>
                  <a:lnTo>
                    <a:pt x="1351" y="2776"/>
                  </a:lnTo>
                  <a:lnTo>
                    <a:pt x="1365" y="2785"/>
                  </a:lnTo>
                  <a:lnTo>
                    <a:pt x="1375" y="2784"/>
                  </a:lnTo>
                  <a:lnTo>
                    <a:pt x="1377" y="2760"/>
                  </a:lnTo>
                  <a:lnTo>
                    <a:pt x="1393" y="2760"/>
                  </a:lnTo>
                  <a:lnTo>
                    <a:pt x="1415" y="2776"/>
                  </a:lnTo>
                  <a:lnTo>
                    <a:pt x="1375" y="2784"/>
                  </a:lnTo>
                  <a:lnTo>
                    <a:pt x="1375" y="2792"/>
                  </a:lnTo>
                  <a:lnTo>
                    <a:pt x="1407" y="2806"/>
                  </a:lnTo>
                  <a:lnTo>
                    <a:pt x="1394" y="2806"/>
                  </a:lnTo>
                  <a:lnTo>
                    <a:pt x="1414" y="2832"/>
                  </a:lnTo>
                  <a:lnTo>
                    <a:pt x="1418" y="2813"/>
                  </a:lnTo>
                  <a:lnTo>
                    <a:pt x="1423" y="2790"/>
                  </a:lnTo>
                  <a:lnTo>
                    <a:pt x="1426" y="2771"/>
                  </a:lnTo>
                  <a:lnTo>
                    <a:pt x="1468" y="2795"/>
                  </a:lnTo>
                  <a:lnTo>
                    <a:pt x="1442" y="2748"/>
                  </a:lnTo>
                  <a:lnTo>
                    <a:pt x="1452" y="2747"/>
                  </a:lnTo>
                  <a:lnTo>
                    <a:pt x="1442" y="2735"/>
                  </a:lnTo>
                  <a:lnTo>
                    <a:pt x="1455" y="2724"/>
                  </a:lnTo>
                  <a:lnTo>
                    <a:pt x="1479" y="2713"/>
                  </a:lnTo>
                  <a:lnTo>
                    <a:pt x="1494" y="2724"/>
                  </a:lnTo>
                  <a:lnTo>
                    <a:pt x="1487" y="2748"/>
                  </a:lnTo>
                  <a:lnTo>
                    <a:pt x="1523" y="2734"/>
                  </a:lnTo>
                  <a:lnTo>
                    <a:pt x="1516" y="2782"/>
                  </a:lnTo>
                  <a:lnTo>
                    <a:pt x="1533" y="2779"/>
                  </a:lnTo>
                  <a:lnTo>
                    <a:pt x="1553" y="2734"/>
                  </a:lnTo>
                  <a:lnTo>
                    <a:pt x="1579" y="2748"/>
                  </a:lnTo>
                  <a:lnTo>
                    <a:pt x="1578" y="2776"/>
                  </a:lnTo>
                  <a:lnTo>
                    <a:pt x="1578" y="2792"/>
                  </a:lnTo>
                  <a:lnTo>
                    <a:pt x="1561" y="2813"/>
                  </a:lnTo>
                  <a:lnTo>
                    <a:pt x="1592" y="2814"/>
                  </a:lnTo>
                  <a:lnTo>
                    <a:pt x="1573" y="2851"/>
                  </a:lnTo>
                  <a:lnTo>
                    <a:pt x="1589" y="2859"/>
                  </a:lnTo>
                  <a:lnTo>
                    <a:pt x="1606" y="2872"/>
                  </a:lnTo>
                  <a:lnTo>
                    <a:pt x="1635" y="2856"/>
                  </a:lnTo>
                  <a:lnTo>
                    <a:pt x="1650" y="2866"/>
                  </a:lnTo>
                  <a:lnTo>
                    <a:pt x="1664" y="2877"/>
                  </a:lnTo>
                  <a:lnTo>
                    <a:pt x="1685" y="2867"/>
                  </a:lnTo>
                  <a:lnTo>
                    <a:pt x="1701" y="2877"/>
                  </a:lnTo>
                  <a:lnTo>
                    <a:pt x="1727" y="2877"/>
                  </a:lnTo>
                  <a:lnTo>
                    <a:pt x="1709" y="2908"/>
                  </a:lnTo>
                  <a:lnTo>
                    <a:pt x="1717" y="2922"/>
                  </a:lnTo>
                  <a:lnTo>
                    <a:pt x="1759" y="2924"/>
                  </a:lnTo>
                  <a:lnTo>
                    <a:pt x="1738" y="2945"/>
                  </a:lnTo>
                  <a:lnTo>
                    <a:pt x="1754" y="2929"/>
                  </a:lnTo>
                  <a:lnTo>
                    <a:pt x="1772" y="2934"/>
                  </a:lnTo>
                  <a:lnTo>
                    <a:pt x="1788" y="2956"/>
                  </a:lnTo>
                  <a:lnTo>
                    <a:pt x="1798" y="2969"/>
                  </a:lnTo>
                  <a:lnTo>
                    <a:pt x="1822" y="2954"/>
                  </a:lnTo>
                  <a:lnTo>
                    <a:pt x="1840" y="2963"/>
                  </a:lnTo>
                  <a:lnTo>
                    <a:pt x="1865" y="2975"/>
                  </a:lnTo>
                  <a:lnTo>
                    <a:pt x="1825" y="3001"/>
                  </a:lnTo>
                  <a:lnTo>
                    <a:pt x="1862" y="3003"/>
                  </a:lnTo>
                  <a:lnTo>
                    <a:pt x="1853" y="2990"/>
                  </a:lnTo>
                  <a:lnTo>
                    <a:pt x="1865" y="2983"/>
                  </a:lnTo>
                  <a:lnTo>
                    <a:pt x="1896" y="2990"/>
                  </a:lnTo>
                  <a:lnTo>
                    <a:pt x="1885" y="2948"/>
                  </a:lnTo>
                  <a:lnTo>
                    <a:pt x="1904" y="2964"/>
                  </a:lnTo>
                  <a:lnTo>
                    <a:pt x="1928" y="2953"/>
                  </a:lnTo>
                  <a:lnTo>
                    <a:pt x="1923" y="2977"/>
                  </a:lnTo>
                  <a:lnTo>
                    <a:pt x="1949" y="2996"/>
                  </a:lnTo>
                  <a:lnTo>
                    <a:pt x="1984" y="2983"/>
                  </a:lnTo>
                  <a:lnTo>
                    <a:pt x="1939" y="2959"/>
                  </a:lnTo>
                  <a:lnTo>
                    <a:pt x="1923" y="2948"/>
                  </a:lnTo>
                  <a:lnTo>
                    <a:pt x="1938" y="2925"/>
                  </a:lnTo>
                  <a:lnTo>
                    <a:pt x="1939" y="2895"/>
                  </a:lnTo>
                  <a:lnTo>
                    <a:pt x="1959" y="2890"/>
                  </a:lnTo>
                  <a:lnTo>
                    <a:pt x="1991" y="2903"/>
                  </a:lnTo>
                  <a:lnTo>
                    <a:pt x="2015" y="2900"/>
                  </a:lnTo>
                  <a:lnTo>
                    <a:pt x="2007" y="2859"/>
                  </a:lnTo>
                  <a:lnTo>
                    <a:pt x="2037" y="2874"/>
                  </a:lnTo>
                  <a:lnTo>
                    <a:pt x="2037" y="2874"/>
                  </a:lnTo>
                  <a:lnTo>
                    <a:pt x="2060" y="2885"/>
                  </a:lnTo>
                  <a:lnTo>
                    <a:pt x="2062" y="2898"/>
                  </a:lnTo>
                  <a:lnTo>
                    <a:pt x="2065" y="2925"/>
                  </a:lnTo>
                  <a:lnTo>
                    <a:pt x="2078" y="2940"/>
                  </a:lnTo>
                  <a:lnTo>
                    <a:pt x="2097" y="2922"/>
                  </a:lnTo>
                  <a:lnTo>
                    <a:pt x="2111" y="2903"/>
                  </a:lnTo>
                  <a:lnTo>
                    <a:pt x="2126" y="2942"/>
                  </a:lnTo>
                  <a:lnTo>
                    <a:pt x="2136" y="2937"/>
                  </a:lnTo>
                  <a:lnTo>
                    <a:pt x="2150" y="2937"/>
                  </a:lnTo>
                  <a:lnTo>
                    <a:pt x="2173" y="2913"/>
                  </a:lnTo>
                  <a:lnTo>
                    <a:pt x="2193" y="2911"/>
                  </a:lnTo>
                  <a:lnTo>
                    <a:pt x="2197" y="2938"/>
                  </a:lnTo>
                  <a:lnTo>
                    <a:pt x="2189" y="2971"/>
                  </a:lnTo>
                  <a:lnTo>
                    <a:pt x="2227" y="2951"/>
                  </a:lnTo>
                  <a:lnTo>
                    <a:pt x="2246" y="2951"/>
                  </a:lnTo>
                  <a:lnTo>
                    <a:pt x="2253" y="2969"/>
                  </a:lnTo>
                  <a:lnTo>
                    <a:pt x="2243" y="3006"/>
                  </a:lnTo>
                  <a:lnTo>
                    <a:pt x="2275" y="2995"/>
                  </a:lnTo>
                  <a:lnTo>
                    <a:pt x="2277" y="3017"/>
                  </a:lnTo>
                  <a:lnTo>
                    <a:pt x="2283" y="3041"/>
                  </a:lnTo>
                  <a:lnTo>
                    <a:pt x="2304" y="3043"/>
                  </a:lnTo>
                  <a:lnTo>
                    <a:pt x="2328" y="3029"/>
                  </a:lnTo>
                  <a:lnTo>
                    <a:pt x="2337" y="3067"/>
                  </a:lnTo>
                  <a:lnTo>
                    <a:pt x="2357" y="3053"/>
                  </a:lnTo>
                  <a:lnTo>
                    <a:pt x="2372" y="3067"/>
                  </a:lnTo>
                  <a:lnTo>
                    <a:pt x="2385" y="3045"/>
                  </a:lnTo>
                  <a:lnTo>
                    <a:pt x="2390" y="3061"/>
                  </a:lnTo>
                  <a:lnTo>
                    <a:pt x="2402" y="3054"/>
                  </a:lnTo>
                  <a:lnTo>
                    <a:pt x="2425" y="3054"/>
                  </a:lnTo>
                  <a:lnTo>
                    <a:pt x="2423" y="3075"/>
                  </a:lnTo>
                  <a:lnTo>
                    <a:pt x="2457" y="3074"/>
                  </a:lnTo>
                  <a:lnTo>
                    <a:pt x="2447" y="3093"/>
                  </a:lnTo>
                  <a:lnTo>
                    <a:pt x="2472" y="3093"/>
                  </a:lnTo>
                  <a:lnTo>
                    <a:pt x="2472" y="3093"/>
                  </a:lnTo>
                  <a:lnTo>
                    <a:pt x="2488" y="3088"/>
                  </a:lnTo>
                  <a:lnTo>
                    <a:pt x="2513" y="3117"/>
                  </a:lnTo>
                  <a:lnTo>
                    <a:pt x="2534" y="3088"/>
                  </a:lnTo>
                  <a:lnTo>
                    <a:pt x="2541" y="3116"/>
                  </a:lnTo>
                  <a:lnTo>
                    <a:pt x="2509" y="3146"/>
                  </a:lnTo>
                  <a:lnTo>
                    <a:pt x="2542" y="3154"/>
                  </a:lnTo>
                  <a:lnTo>
                    <a:pt x="2554" y="3130"/>
                  </a:lnTo>
                  <a:lnTo>
                    <a:pt x="2575" y="3148"/>
                  </a:lnTo>
                  <a:lnTo>
                    <a:pt x="2579" y="3169"/>
                  </a:lnTo>
                  <a:lnTo>
                    <a:pt x="2599" y="3156"/>
                  </a:lnTo>
                  <a:lnTo>
                    <a:pt x="2602" y="3178"/>
                  </a:lnTo>
                  <a:lnTo>
                    <a:pt x="2634" y="3151"/>
                  </a:lnTo>
                  <a:lnTo>
                    <a:pt x="2631" y="3156"/>
                  </a:lnTo>
                  <a:lnTo>
                    <a:pt x="2645" y="3153"/>
                  </a:lnTo>
                  <a:lnTo>
                    <a:pt x="2679" y="3188"/>
                  </a:lnTo>
                  <a:lnTo>
                    <a:pt x="2674" y="3145"/>
                  </a:lnTo>
                  <a:lnTo>
                    <a:pt x="2694" y="3141"/>
                  </a:lnTo>
                  <a:lnTo>
                    <a:pt x="2719" y="3153"/>
                  </a:lnTo>
                  <a:lnTo>
                    <a:pt x="2747" y="3140"/>
                  </a:lnTo>
                  <a:lnTo>
                    <a:pt x="2745" y="3111"/>
                  </a:lnTo>
                  <a:lnTo>
                    <a:pt x="2724" y="3098"/>
                  </a:lnTo>
                  <a:lnTo>
                    <a:pt x="2734" y="3080"/>
                  </a:lnTo>
                  <a:lnTo>
                    <a:pt x="2700" y="3070"/>
                  </a:lnTo>
                  <a:lnTo>
                    <a:pt x="2705" y="3041"/>
                  </a:lnTo>
                  <a:lnTo>
                    <a:pt x="2732" y="3045"/>
                  </a:lnTo>
                  <a:lnTo>
                    <a:pt x="2750" y="3075"/>
                  </a:lnTo>
                  <a:lnTo>
                    <a:pt x="2764" y="3062"/>
                  </a:lnTo>
                  <a:lnTo>
                    <a:pt x="2761" y="3027"/>
                  </a:lnTo>
                  <a:lnTo>
                    <a:pt x="2763" y="3024"/>
                  </a:lnTo>
                  <a:lnTo>
                    <a:pt x="2792" y="3016"/>
                  </a:lnTo>
                  <a:lnTo>
                    <a:pt x="2795" y="2998"/>
                  </a:lnTo>
                  <a:lnTo>
                    <a:pt x="2785" y="2972"/>
                  </a:lnTo>
                  <a:lnTo>
                    <a:pt x="2827" y="2980"/>
                  </a:lnTo>
                  <a:lnTo>
                    <a:pt x="2829" y="2967"/>
                  </a:lnTo>
                  <a:lnTo>
                    <a:pt x="2841" y="2982"/>
                  </a:lnTo>
                  <a:lnTo>
                    <a:pt x="2861" y="2934"/>
                  </a:lnTo>
                  <a:lnTo>
                    <a:pt x="2882" y="2966"/>
                  </a:lnTo>
                  <a:lnTo>
                    <a:pt x="2864" y="2925"/>
                  </a:lnTo>
                  <a:lnTo>
                    <a:pt x="2893" y="2927"/>
                  </a:lnTo>
                  <a:lnTo>
                    <a:pt x="2907" y="2911"/>
                  </a:lnTo>
                  <a:lnTo>
                    <a:pt x="2927" y="2900"/>
                  </a:lnTo>
                  <a:lnTo>
                    <a:pt x="2944" y="2911"/>
                  </a:lnTo>
                  <a:lnTo>
                    <a:pt x="2959" y="2937"/>
                  </a:lnTo>
                  <a:lnTo>
                    <a:pt x="2973" y="2940"/>
                  </a:lnTo>
                  <a:lnTo>
                    <a:pt x="2997" y="2903"/>
                  </a:lnTo>
                  <a:lnTo>
                    <a:pt x="3001" y="2900"/>
                  </a:lnTo>
                  <a:lnTo>
                    <a:pt x="3018" y="2913"/>
                  </a:lnTo>
                  <a:lnTo>
                    <a:pt x="3015" y="2885"/>
                  </a:lnTo>
                  <a:lnTo>
                    <a:pt x="3052" y="2903"/>
                  </a:lnTo>
                  <a:lnTo>
                    <a:pt x="3065" y="2914"/>
                  </a:lnTo>
                  <a:lnTo>
                    <a:pt x="3073" y="2863"/>
                  </a:lnTo>
                  <a:lnTo>
                    <a:pt x="3089" y="2872"/>
                  </a:lnTo>
                  <a:lnTo>
                    <a:pt x="3107" y="2880"/>
                  </a:lnTo>
                  <a:lnTo>
                    <a:pt x="3116" y="2859"/>
                  </a:lnTo>
                  <a:lnTo>
                    <a:pt x="3136" y="2863"/>
                  </a:lnTo>
                  <a:lnTo>
                    <a:pt x="3152" y="2861"/>
                  </a:lnTo>
                  <a:lnTo>
                    <a:pt x="3171" y="2892"/>
                  </a:lnTo>
                  <a:lnTo>
                    <a:pt x="3179" y="2877"/>
                  </a:lnTo>
                  <a:lnTo>
                    <a:pt x="3202" y="2871"/>
                  </a:lnTo>
                  <a:lnTo>
                    <a:pt x="3194" y="2909"/>
                  </a:lnTo>
                  <a:lnTo>
                    <a:pt x="3226" y="2901"/>
                  </a:lnTo>
                  <a:lnTo>
                    <a:pt x="3242" y="2872"/>
                  </a:lnTo>
                  <a:lnTo>
                    <a:pt x="3256" y="2888"/>
                  </a:lnTo>
                  <a:lnTo>
                    <a:pt x="3272" y="2892"/>
                  </a:lnTo>
                  <a:lnTo>
                    <a:pt x="3306" y="2892"/>
                  </a:lnTo>
                  <a:lnTo>
                    <a:pt x="3261" y="2906"/>
                  </a:lnTo>
                  <a:lnTo>
                    <a:pt x="3250" y="2919"/>
                  </a:lnTo>
                  <a:lnTo>
                    <a:pt x="3266" y="2946"/>
                  </a:lnTo>
                  <a:lnTo>
                    <a:pt x="3266" y="2945"/>
                  </a:lnTo>
                  <a:lnTo>
                    <a:pt x="3282" y="2942"/>
                  </a:lnTo>
                  <a:lnTo>
                    <a:pt x="3305" y="2977"/>
                  </a:lnTo>
                  <a:lnTo>
                    <a:pt x="3319" y="2977"/>
                  </a:lnTo>
                  <a:lnTo>
                    <a:pt x="3337" y="2946"/>
                  </a:lnTo>
                  <a:lnTo>
                    <a:pt x="3353" y="2966"/>
                  </a:lnTo>
                  <a:lnTo>
                    <a:pt x="3388" y="2940"/>
                  </a:lnTo>
                  <a:lnTo>
                    <a:pt x="3382" y="2974"/>
                  </a:lnTo>
                  <a:lnTo>
                    <a:pt x="3415" y="2959"/>
                  </a:lnTo>
                  <a:lnTo>
                    <a:pt x="3406" y="2977"/>
                  </a:lnTo>
                  <a:lnTo>
                    <a:pt x="3417" y="2983"/>
                  </a:lnTo>
                  <a:lnTo>
                    <a:pt x="3417" y="2966"/>
                  </a:lnTo>
                  <a:lnTo>
                    <a:pt x="3436" y="2961"/>
                  </a:lnTo>
                  <a:lnTo>
                    <a:pt x="3420" y="2932"/>
                  </a:lnTo>
                  <a:lnTo>
                    <a:pt x="3448" y="2924"/>
                  </a:lnTo>
                  <a:lnTo>
                    <a:pt x="3459" y="2946"/>
                  </a:lnTo>
                  <a:lnTo>
                    <a:pt x="3457" y="2975"/>
                  </a:lnTo>
                  <a:lnTo>
                    <a:pt x="3480" y="2969"/>
                  </a:lnTo>
                  <a:lnTo>
                    <a:pt x="3502" y="2948"/>
                  </a:lnTo>
                  <a:lnTo>
                    <a:pt x="3517" y="2982"/>
                  </a:lnTo>
                  <a:lnTo>
                    <a:pt x="3531" y="2979"/>
                  </a:lnTo>
                  <a:lnTo>
                    <a:pt x="3549" y="2985"/>
                  </a:lnTo>
                  <a:lnTo>
                    <a:pt x="3562" y="2975"/>
                  </a:lnTo>
                  <a:lnTo>
                    <a:pt x="3575" y="2963"/>
                  </a:lnTo>
                  <a:lnTo>
                    <a:pt x="3583" y="2927"/>
                  </a:lnTo>
                  <a:lnTo>
                    <a:pt x="3616" y="2979"/>
                  </a:lnTo>
                  <a:lnTo>
                    <a:pt x="3618" y="2940"/>
                  </a:lnTo>
                  <a:lnTo>
                    <a:pt x="3634" y="2935"/>
                  </a:lnTo>
                  <a:lnTo>
                    <a:pt x="3645" y="2969"/>
                  </a:lnTo>
                  <a:lnTo>
                    <a:pt x="3668" y="2924"/>
                  </a:lnTo>
                  <a:lnTo>
                    <a:pt x="3670" y="2966"/>
                  </a:lnTo>
                  <a:lnTo>
                    <a:pt x="3690" y="2956"/>
                  </a:lnTo>
                  <a:lnTo>
                    <a:pt x="3689" y="2980"/>
                  </a:lnTo>
                  <a:lnTo>
                    <a:pt x="3726" y="2964"/>
                  </a:lnTo>
                  <a:lnTo>
                    <a:pt x="3734" y="2980"/>
                  </a:lnTo>
                  <a:lnTo>
                    <a:pt x="3744" y="2998"/>
                  </a:lnTo>
                  <a:lnTo>
                    <a:pt x="3755" y="3006"/>
                  </a:lnTo>
                  <a:lnTo>
                    <a:pt x="3766" y="3004"/>
                  </a:lnTo>
                  <a:lnTo>
                    <a:pt x="3774" y="2979"/>
                  </a:lnTo>
                  <a:lnTo>
                    <a:pt x="3797" y="3017"/>
                  </a:lnTo>
                  <a:lnTo>
                    <a:pt x="3821" y="2985"/>
                  </a:lnTo>
                  <a:lnTo>
                    <a:pt x="3801" y="3021"/>
                  </a:lnTo>
                  <a:lnTo>
                    <a:pt x="3835" y="3027"/>
                  </a:lnTo>
                  <a:lnTo>
                    <a:pt x="3801" y="3050"/>
                  </a:lnTo>
                  <a:lnTo>
                    <a:pt x="3837" y="3043"/>
                  </a:lnTo>
                  <a:lnTo>
                    <a:pt x="3835" y="3029"/>
                  </a:lnTo>
                  <a:lnTo>
                    <a:pt x="3851" y="3050"/>
                  </a:lnTo>
                  <a:lnTo>
                    <a:pt x="3867" y="3059"/>
                  </a:lnTo>
                  <a:lnTo>
                    <a:pt x="3882" y="3035"/>
                  </a:lnTo>
                  <a:lnTo>
                    <a:pt x="3896" y="3032"/>
                  </a:lnTo>
                  <a:lnTo>
                    <a:pt x="3912" y="3032"/>
                  </a:lnTo>
                  <a:lnTo>
                    <a:pt x="3928" y="3083"/>
                  </a:lnTo>
                  <a:lnTo>
                    <a:pt x="3945" y="3058"/>
                  </a:lnTo>
                  <a:lnTo>
                    <a:pt x="3959" y="3062"/>
                  </a:lnTo>
                  <a:lnTo>
                    <a:pt x="3977" y="3088"/>
                  </a:lnTo>
                  <a:lnTo>
                    <a:pt x="3988" y="3045"/>
                  </a:lnTo>
                  <a:lnTo>
                    <a:pt x="4001" y="3027"/>
                  </a:lnTo>
                  <a:lnTo>
                    <a:pt x="4023" y="3038"/>
                  </a:lnTo>
                  <a:lnTo>
                    <a:pt x="4027" y="3080"/>
                  </a:lnTo>
                  <a:lnTo>
                    <a:pt x="4059" y="3048"/>
                  </a:lnTo>
                  <a:lnTo>
                    <a:pt x="4067" y="3083"/>
                  </a:lnTo>
                  <a:lnTo>
                    <a:pt x="4076" y="3054"/>
                  </a:lnTo>
                  <a:lnTo>
                    <a:pt x="4097" y="3067"/>
                  </a:lnTo>
                  <a:lnTo>
                    <a:pt x="4104" y="3048"/>
                  </a:lnTo>
                  <a:lnTo>
                    <a:pt x="4110" y="3074"/>
                  </a:lnTo>
                  <a:lnTo>
                    <a:pt x="4137" y="3050"/>
                  </a:lnTo>
                  <a:lnTo>
                    <a:pt x="4120" y="3083"/>
                  </a:lnTo>
                  <a:lnTo>
                    <a:pt x="4142" y="3085"/>
                  </a:lnTo>
                  <a:lnTo>
                    <a:pt x="4154" y="3104"/>
                  </a:lnTo>
                  <a:lnTo>
                    <a:pt x="4179" y="3111"/>
                  </a:lnTo>
                  <a:lnTo>
                    <a:pt x="4187" y="3080"/>
                  </a:lnTo>
                  <a:lnTo>
                    <a:pt x="4207" y="3087"/>
                  </a:lnTo>
                  <a:lnTo>
                    <a:pt x="4229" y="3096"/>
                  </a:lnTo>
                  <a:lnTo>
                    <a:pt x="4234" y="3059"/>
                  </a:lnTo>
                  <a:lnTo>
                    <a:pt x="4252" y="3074"/>
                  </a:lnTo>
                  <a:lnTo>
                    <a:pt x="4255" y="3091"/>
                  </a:lnTo>
                  <a:lnTo>
                    <a:pt x="4281" y="3088"/>
                  </a:lnTo>
                  <a:lnTo>
                    <a:pt x="4298" y="3088"/>
                  </a:lnTo>
                  <a:lnTo>
                    <a:pt x="4297" y="3072"/>
                  </a:lnTo>
                  <a:lnTo>
                    <a:pt x="4311" y="3070"/>
                  </a:lnTo>
                  <a:lnTo>
                    <a:pt x="4332" y="3077"/>
                  </a:lnTo>
                  <a:lnTo>
                    <a:pt x="4359" y="3079"/>
                  </a:lnTo>
                  <a:lnTo>
                    <a:pt x="4334" y="3027"/>
                  </a:lnTo>
                  <a:lnTo>
                    <a:pt x="4359" y="3030"/>
                  </a:lnTo>
                  <a:lnTo>
                    <a:pt x="4375" y="3035"/>
                  </a:lnTo>
                  <a:lnTo>
                    <a:pt x="4385" y="3017"/>
                  </a:lnTo>
                  <a:lnTo>
                    <a:pt x="4396" y="3027"/>
                  </a:lnTo>
                  <a:lnTo>
                    <a:pt x="4427" y="3011"/>
                  </a:lnTo>
                  <a:lnTo>
                    <a:pt x="4372" y="2996"/>
                  </a:lnTo>
                  <a:lnTo>
                    <a:pt x="4427" y="2987"/>
                  </a:lnTo>
                  <a:lnTo>
                    <a:pt x="4408" y="2956"/>
                  </a:lnTo>
                  <a:lnTo>
                    <a:pt x="4438" y="2972"/>
                  </a:lnTo>
                  <a:lnTo>
                    <a:pt x="4441" y="2946"/>
                  </a:lnTo>
                  <a:lnTo>
                    <a:pt x="4474" y="2934"/>
                  </a:lnTo>
                  <a:lnTo>
                    <a:pt x="4443" y="2914"/>
                  </a:lnTo>
                  <a:lnTo>
                    <a:pt x="4441" y="2895"/>
                  </a:lnTo>
                  <a:lnTo>
                    <a:pt x="4464" y="2888"/>
                  </a:lnTo>
                  <a:lnTo>
                    <a:pt x="4470" y="2872"/>
                  </a:lnTo>
                  <a:lnTo>
                    <a:pt x="4483" y="2864"/>
                  </a:lnTo>
                  <a:lnTo>
                    <a:pt x="4501" y="2884"/>
                  </a:lnTo>
                  <a:lnTo>
                    <a:pt x="4515" y="2850"/>
                  </a:lnTo>
                  <a:lnTo>
                    <a:pt x="4533" y="2853"/>
                  </a:lnTo>
                  <a:lnTo>
                    <a:pt x="4552" y="2840"/>
                  </a:lnTo>
                  <a:lnTo>
                    <a:pt x="4565" y="2856"/>
                  </a:lnTo>
                  <a:lnTo>
                    <a:pt x="4583" y="2851"/>
                  </a:lnTo>
                  <a:lnTo>
                    <a:pt x="4596" y="2888"/>
                  </a:lnTo>
                  <a:lnTo>
                    <a:pt x="4613" y="2858"/>
                  </a:lnTo>
                  <a:lnTo>
                    <a:pt x="4631" y="2834"/>
                  </a:lnTo>
                  <a:lnTo>
                    <a:pt x="4646" y="2861"/>
                  </a:lnTo>
                  <a:lnTo>
                    <a:pt x="4663" y="2837"/>
                  </a:lnTo>
                  <a:lnTo>
                    <a:pt x="4676" y="2850"/>
                  </a:lnTo>
                  <a:lnTo>
                    <a:pt x="4699" y="2895"/>
                  </a:lnTo>
                  <a:lnTo>
                    <a:pt x="4705" y="2830"/>
                  </a:lnTo>
                  <a:lnTo>
                    <a:pt x="4721" y="2880"/>
                  </a:lnTo>
                  <a:lnTo>
                    <a:pt x="4739" y="2871"/>
                  </a:lnTo>
                  <a:lnTo>
                    <a:pt x="4737" y="2903"/>
                  </a:lnTo>
                  <a:lnTo>
                    <a:pt x="4771" y="2879"/>
                  </a:lnTo>
                  <a:lnTo>
                    <a:pt x="4790" y="2911"/>
                  </a:lnTo>
                  <a:lnTo>
                    <a:pt x="4802" y="2874"/>
                  </a:lnTo>
                  <a:lnTo>
                    <a:pt x="4819" y="2872"/>
                  </a:lnTo>
                  <a:lnTo>
                    <a:pt x="4835" y="2905"/>
                  </a:lnTo>
                  <a:lnTo>
                    <a:pt x="4853" y="2866"/>
                  </a:lnTo>
                  <a:lnTo>
                    <a:pt x="4877" y="2859"/>
                  </a:lnTo>
                  <a:lnTo>
                    <a:pt x="4869" y="2906"/>
                  </a:lnTo>
                  <a:lnTo>
                    <a:pt x="4906" y="2890"/>
                  </a:lnTo>
                  <a:lnTo>
                    <a:pt x="4921" y="2892"/>
                  </a:lnTo>
                  <a:lnTo>
                    <a:pt x="4929" y="2908"/>
                  </a:lnTo>
                  <a:lnTo>
                    <a:pt x="4945" y="2919"/>
                  </a:lnTo>
                  <a:lnTo>
                    <a:pt x="4964" y="2940"/>
                  </a:lnTo>
                  <a:lnTo>
                    <a:pt x="4982" y="2924"/>
                  </a:lnTo>
                  <a:lnTo>
                    <a:pt x="4995" y="2916"/>
                  </a:lnTo>
                  <a:lnTo>
                    <a:pt x="4993" y="2895"/>
                  </a:lnTo>
                  <a:lnTo>
                    <a:pt x="5004" y="2885"/>
                  </a:lnTo>
                  <a:lnTo>
                    <a:pt x="5019" y="2859"/>
                  </a:lnTo>
                  <a:lnTo>
                    <a:pt x="5035" y="2864"/>
                  </a:lnTo>
                  <a:lnTo>
                    <a:pt x="5052" y="2869"/>
                  </a:lnTo>
                  <a:lnTo>
                    <a:pt x="5064" y="2887"/>
                  </a:lnTo>
                  <a:lnTo>
                    <a:pt x="5077" y="2893"/>
                  </a:lnTo>
                  <a:lnTo>
                    <a:pt x="5102" y="2874"/>
                  </a:lnTo>
                  <a:lnTo>
                    <a:pt x="5102" y="2890"/>
                  </a:lnTo>
                  <a:lnTo>
                    <a:pt x="5109" y="2879"/>
                  </a:lnTo>
                  <a:lnTo>
                    <a:pt x="5120" y="2869"/>
                  </a:lnTo>
                  <a:lnTo>
                    <a:pt x="5144" y="2871"/>
                  </a:lnTo>
                  <a:lnTo>
                    <a:pt x="5142" y="2861"/>
                  </a:lnTo>
                  <a:lnTo>
                    <a:pt x="5147" y="2871"/>
                  </a:lnTo>
                  <a:lnTo>
                    <a:pt x="5144" y="2871"/>
                  </a:lnTo>
                  <a:lnTo>
                    <a:pt x="5144" y="2872"/>
                  </a:lnTo>
                  <a:lnTo>
                    <a:pt x="5181" y="2858"/>
                  </a:lnTo>
                  <a:lnTo>
                    <a:pt x="5162" y="2906"/>
                  </a:lnTo>
                  <a:lnTo>
                    <a:pt x="5197" y="2871"/>
                  </a:lnTo>
                  <a:lnTo>
                    <a:pt x="5196" y="2864"/>
                  </a:lnTo>
                  <a:lnTo>
                    <a:pt x="5234" y="2895"/>
                  </a:lnTo>
                  <a:lnTo>
                    <a:pt x="5233" y="2853"/>
                  </a:lnTo>
                  <a:lnTo>
                    <a:pt x="5265" y="2895"/>
                  </a:lnTo>
                  <a:lnTo>
                    <a:pt x="5274" y="2876"/>
                  </a:lnTo>
                  <a:lnTo>
                    <a:pt x="5294" y="2879"/>
                  </a:lnTo>
                  <a:lnTo>
                    <a:pt x="5307" y="2866"/>
                  </a:lnTo>
                  <a:lnTo>
                    <a:pt x="5324" y="2864"/>
                  </a:lnTo>
                  <a:lnTo>
                    <a:pt x="5332" y="2819"/>
                  </a:lnTo>
                  <a:lnTo>
                    <a:pt x="5340" y="2864"/>
                  </a:lnTo>
                  <a:lnTo>
                    <a:pt x="5356" y="2869"/>
                  </a:lnTo>
                  <a:lnTo>
                    <a:pt x="5379" y="2859"/>
                  </a:lnTo>
                  <a:lnTo>
                    <a:pt x="5397" y="2864"/>
                  </a:lnTo>
                  <a:lnTo>
                    <a:pt x="5416" y="2863"/>
                  </a:lnTo>
                  <a:lnTo>
                    <a:pt x="5432" y="2848"/>
                  </a:lnTo>
                  <a:lnTo>
                    <a:pt x="5446" y="2877"/>
                  </a:lnTo>
                  <a:lnTo>
                    <a:pt x="5467" y="2892"/>
                  </a:lnTo>
                  <a:lnTo>
                    <a:pt x="5471" y="2850"/>
                  </a:lnTo>
                  <a:lnTo>
                    <a:pt x="5501" y="2874"/>
                  </a:lnTo>
                  <a:lnTo>
                    <a:pt x="5493" y="2821"/>
                  </a:lnTo>
                  <a:lnTo>
                    <a:pt x="5525" y="2853"/>
                  </a:lnTo>
                  <a:lnTo>
                    <a:pt x="5538" y="2861"/>
                  </a:lnTo>
                  <a:lnTo>
                    <a:pt x="5553" y="2809"/>
                  </a:lnTo>
                  <a:lnTo>
                    <a:pt x="5569" y="2827"/>
                  </a:lnTo>
                  <a:lnTo>
                    <a:pt x="5590" y="2851"/>
                  </a:lnTo>
                  <a:lnTo>
                    <a:pt x="5606" y="2853"/>
                  </a:lnTo>
                  <a:lnTo>
                    <a:pt x="5618" y="2848"/>
                  </a:lnTo>
                  <a:lnTo>
                    <a:pt x="5631" y="2847"/>
                  </a:lnTo>
                  <a:lnTo>
                    <a:pt x="5647" y="2805"/>
                  </a:lnTo>
                  <a:lnTo>
                    <a:pt x="5662" y="2832"/>
                  </a:lnTo>
                  <a:lnTo>
                    <a:pt x="5675" y="2845"/>
                  </a:lnTo>
                  <a:lnTo>
                    <a:pt x="5709" y="2818"/>
                  </a:lnTo>
                  <a:lnTo>
                    <a:pt x="5712" y="2855"/>
                  </a:lnTo>
                  <a:lnTo>
                    <a:pt x="5728" y="2877"/>
                  </a:lnTo>
                  <a:lnTo>
                    <a:pt x="5744" y="2867"/>
                  </a:lnTo>
                  <a:lnTo>
                    <a:pt x="5754" y="2871"/>
                  </a:lnTo>
                  <a:lnTo>
                    <a:pt x="5773" y="2856"/>
                  </a:lnTo>
                  <a:lnTo>
                    <a:pt x="5774" y="2892"/>
                  </a:lnTo>
                  <a:lnTo>
                    <a:pt x="5802" y="2880"/>
                  </a:lnTo>
                  <a:lnTo>
                    <a:pt x="5821" y="2880"/>
                  </a:lnTo>
                  <a:lnTo>
                    <a:pt x="5831" y="2832"/>
                  </a:lnTo>
                  <a:lnTo>
                    <a:pt x="5847" y="2830"/>
                  </a:lnTo>
                  <a:lnTo>
                    <a:pt x="5873" y="2874"/>
                  </a:lnTo>
                  <a:lnTo>
                    <a:pt x="5887" y="2853"/>
                  </a:lnTo>
                  <a:lnTo>
                    <a:pt x="5905" y="2850"/>
                  </a:lnTo>
                  <a:lnTo>
                    <a:pt x="5918" y="2863"/>
                  </a:lnTo>
                  <a:lnTo>
                    <a:pt x="5918" y="2890"/>
                  </a:lnTo>
                  <a:lnTo>
                    <a:pt x="5938" y="2906"/>
                  </a:lnTo>
                  <a:lnTo>
                    <a:pt x="5961" y="2863"/>
                  </a:lnTo>
                  <a:lnTo>
                    <a:pt x="5985" y="2911"/>
                  </a:lnTo>
                  <a:lnTo>
                    <a:pt x="6012" y="2853"/>
                  </a:lnTo>
                  <a:lnTo>
                    <a:pt x="6027" y="2884"/>
                  </a:lnTo>
                  <a:lnTo>
                    <a:pt x="6027" y="2901"/>
                  </a:lnTo>
                  <a:lnTo>
                    <a:pt x="6027" y="2919"/>
                  </a:lnTo>
                  <a:lnTo>
                    <a:pt x="6011" y="2953"/>
                  </a:lnTo>
                  <a:lnTo>
                    <a:pt x="6046" y="2925"/>
                  </a:lnTo>
                  <a:lnTo>
                    <a:pt x="6061" y="2934"/>
                  </a:lnTo>
                  <a:lnTo>
                    <a:pt x="6072" y="2946"/>
                  </a:lnTo>
                  <a:lnTo>
                    <a:pt x="6085" y="2956"/>
                  </a:lnTo>
                  <a:lnTo>
                    <a:pt x="6098" y="2983"/>
                  </a:lnTo>
                  <a:lnTo>
                    <a:pt x="6114" y="2954"/>
                  </a:lnTo>
                  <a:lnTo>
                    <a:pt x="6136" y="2940"/>
                  </a:lnTo>
                  <a:lnTo>
                    <a:pt x="6151" y="2959"/>
                  </a:lnTo>
                  <a:lnTo>
                    <a:pt x="6151" y="2980"/>
                  </a:lnTo>
                  <a:lnTo>
                    <a:pt x="6159" y="2995"/>
                  </a:lnTo>
                  <a:lnTo>
                    <a:pt x="6165" y="3008"/>
                  </a:lnTo>
                  <a:lnTo>
                    <a:pt x="6178" y="3016"/>
                  </a:lnTo>
                  <a:lnTo>
                    <a:pt x="6204" y="3006"/>
                  </a:lnTo>
                  <a:lnTo>
                    <a:pt x="6199" y="3037"/>
                  </a:lnTo>
                  <a:lnTo>
                    <a:pt x="6223" y="3046"/>
                  </a:lnTo>
                  <a:lnTo>
                    <a:pt x="6218" y="2995"/>
                  </a:lnTo>
                  <a:lnTo>
                    <a:pt x="6234" y="2988"/>
                  </a:lnTo>
                  <a:lnTo>
                    <a:pt x="6262" y="3011"/>
                  </a:lnTo>
                  <a:lnTo>
                    <a:pt x="6270" y="2990"/>
                  </a:lnTo>
                  <a:lnTo>
                    <a:pt x="6291" y="3004"/>
                  </a:lnTo>
                  <a:lnTo>
                    <a:pt x="6297" y="2967"/>
                  </a:lnTo>
                  <a:lnTo>
                    <a:pt x="6320" y="3014"/>
                  </a:lnTo>
                  <a:lnTo>
                    <a:pt x="6328" y="2966"/>
                  </a:lnTo>
                  <a:lnTo>
                    <a:pt x="6349" y="2995"/>
                  </a:lnTo>
                  <a:lnTo>
                    <a:pt x="6368" y="2972"/>
                  </a:lnTo>
                  <a:lnTo>
                    <a:pt x="6379" y="3009"/>
                  </a:lnTo>
                  <a:lnTo>
                    <a:pt x="6402" y="2979"/>
                  </a:lnTo>
                  <a:lnTo>
                    <a:pt x="6410" y="3024"/>
                  </a:lnTo>
                  <a:lnTo>
                    <a:pt x="6437" y="2974"/>
                  </a:lnTo>
                  <a:lnTo>
                    <a:pt x="6447" y="3004"/>
                  </a:lnTo>
                  <a:lnTo>
                    <a:pt x="6453" y="3032"/>
                  </a:lnTo>
                  <a:lnTo>
                    <a:pt x="6471" y="3027"/>
                  </a:lnTo>
                  <a:lnTo>
                    <a:pt x="6488" y="3025"/>
                  </a:lnTo>
                  <a:lnTo>
                    <a:pt x="6508" y="3000"/>
                  </a:lnTo>
                  <a:lnTo>
                    <a:pt x="6519" y="3008"/>
                  </a:lnTo>
                  <a:lnTo>
                    <a:pt x="6538" y="3006"/>
                  </a:lnTo>
                  <a:lnTo>
                    <a:pt x="6559" y="3035"/>
                  </a:lnTo>
                  <a:lnTo>
                    <a:pt x="6583" y="2993"/>
                  </a:lnTo>
                  <a:lnTo>
                    <a:pt x="6583" y="3035"/>
                  </a:lnTo>
                  <a:lnTo>
                    <a:pt x="6601" y="3014"/>
                  </a:lnTo>
                  <a:lnTo>
                    <a:pt x="6591" y="2995"/>
                  </a:lnTo>
                  <a:lnTo>
                    <a:pt x="6612" y="2995"/>
                  </a:lnTo>
                  <a:lnTo>
                    <a:pt x="6648" y="3011"/>
                  </a:lnTo>
                  <a:lnTo>
                    <a:pt x="6667" y="3012"/>
                  </a:lnTo>
                  <a:lnTo>
                    <a:pt x="6677" y="2987"/>
                  </a:lnTo>
                  <a:lnTo>
                    <a:pt x="6680" y="2966"/>
                  </a:lnTo>
                  <a:lnTo>
                    <a:pt x="6691" y="2954"/>
                  </a:lnTo>
                  <a:lnTo>
                    <a:pt x="6657" y="2930"/>
                  </a:lnTo>
                  <a:lnTo>
                    <a:pt x="6685" y="2946"/>
                  </a:lnTo>
                  <a:lnTo>
                    <a:pt x="6699" y="2925"/>
                  </a:lnTo>
                  <a:lnTo>
                    <a:pt x="6694" y="2956"/>
                  </a:lnTo>
                  <a:lnTo>
                    <a:pt x="6738" y="2932"/>
                  </a:lnTo>
                  <a:lnTo>
                    <a:pt x="6736" y="2959"/>
                  </a:lnTo>
                  <a:lnTo>
                    <a:pt x="6755" y="2946"/>
                  </a:lnTo>
                  <a:lnTo>
                    <a:pt x="6760" y="2966"/>
                  </a:lnTo>
                  <a:lnTo>
                    <a:pt x="6775" y="2943"/>
                  </a:lnTo>
                  <a:lnTo>
                    <a:pt x="6796" y="2990"/>
                  </a:lnTo>
                  <a:lnTo>
                    <a:pt x="6794" y="2938"/>
                  </a:lnTo>
                  <a:lnTo>
                    <a:pt x="6831" y="2975"/>
                  </a:lnTo>
                  <a:lnTo>
                    <a:pt x="6847" y="2967"/>
                  </a:lnTo>
                  <a:lnTo>
                    <a:pt x="6852" y="2946"/>
                  </a:lnTo>
                  <a:lnTo>
                    <a:pt x="6876" y="2953"/>
                  </a:lnTo>
                  <a:lnTo>
                    <a:pt x="6892" y="2950"/>
                  </a:lnTo>
                  <a:lnTo>
                    <a:pt x="6886" y="2905"/>
                  </a:lnTo>
                  <a:lnTo>
                    <a:pt x="6892" y="2942"/>
                  </a:lnTo>
                  <a:lnTo>
                    <a:pt x="6906" y="2951"/>
                  </a:lnTo>
                  <a:lnTo>
                    <a:pt x="6940" y="2925"/>
                  </a:lnTo>
                  <a:lnTo>
                    <a:pt x="6937" y="2966"/>
                  </a:lnTo>
                  <a:lnTo>
                    <a:pt x="6958" y="2966"/>
                  </a:lnTo>
                  <a:lnTo>
                    <a:pt x="6974" y="2942"/>
                  </a:lnTo>
                  <a:lnTo>
                    <a:pt x="6985" y="2954"/>
                  </a:lnTo>
                  <a:lnTo>
                    <a:pt x="6977" y="2924"/>
                  </a:lnTo>
                  <a:lnTo>
                    <a:pt x="7011" y="2930"/>
                  </a:lnTo>
                  <a:lnTo>
                    <a:pt x="7025" y="2932"/>
                  </a:lnTo>
                  <a:lnTo>
                    <a:pt x="7037" y="2927"/>
                  </a:lnTo>
                  <a:lnTo>
                    <a:pt x="7029" y="2959"/>
                  </a:lnTo>
                  <a:lnTo>
                    <a:pt x="7040" y="2971"/>
                  </a:lnTo>
                  <a:lnTo>
                    <a:pt x="7069" y="2972"/>
                  </a:lnTo>
                  <a:lnTo>
                    <a:pt x="7077" y="2935"/>
                  </a:lnTo>
                  <a:lnTo>
                    <a:pt x="7111" y="2956"/>
                  </a:lnTo>
                  <a:lnTo>
                    <a:pt x="7122" y="2945"/>
                  </a:lnTo>
                  <a:lnTo>
                    <a:pt x="7127" y="2903"/>
                  </a:lnTo>
                  <a:lnTo>
                    <a:pt x="7149" y="2942"/>
                  </a:lnTo>
                  <a:lnTo>
                    <a:pt x="7164" y="2917"/>
                  </a:lnTo>
                  <a:lnTo>
                    <a:pt x="7180" y="2927"/>
                  </a:lnTo>
                  <a:lnTo>
                    <a:pt x="7164" y="2958"/>
                  </a:lnTo>
                  <a:lnTo>
                    <a:pt x="7214" y="2938"/>
                  </a:lnTo>
                  <a:lnTo>
                    <a:pt x="7175" y="2987"/>
                  </a:lnTo>
                  <a:lnTo>
                    <a:pt x="7207" y="2988"/>
                  </a:lnTo>
                  <a:lnTo>
                    <a:pt x="7217" y="2954"/>
                  </a:lnTo>
                  <a:lnTo>
                    <a:pt x="7233" y="2954"/>
                  </a:lnTo>
                  <a:lnTo>
                    <a:pt x="7255" y="2971"/>
                  </a:lnTo>
                  <a:lnTo>
                    <a:pt x="7275" y="2945"/>
                  </a:lnTo>
                  <a:lnTo>
                    <a:pt x="7288" y="2956"/>
                  </a:lnTo>
                  <a:lnTo>
                    <a:pt x="7299" y="2988"/>
                  </a:lnTo>
                  <a:lnTo>
                    <a:pt x="7315" y="2983"/>
                  </a:lnTo>
                  <a:lnTo>
                    <a:pt x="7329" y="2996"/>
                  </a:lnTo>
                  <a:lnTo>
                    <a:pt x="7347" y="2979"/>
                  </a:lnTo>
                  <a:lnTo>
                    <a:pt x="7362" y="2969"/>
                  </a:lnTo>
                  <a:lnTo>
                    <a:pt x="7378" y="2972"/>
                  </a:lnTo>
                  <a:lnTo>
                    <a:pt x="7387" y="2961"/>
                  </a:lnTo>
                  <a:lnTo>
                    <a:pt x="7402" y="2958"/>
                  </a:lnTo>
                  <a:lnTo>
                    <a:pt x="7437" y="2977"/>
                  </a:lnTo>
                  <a:lnTo>
                    <a:pt x="7436" y="2940"/>
                  </a:lnTo>
                  <a:lnTo>
                    <a:pt x="7447" y="2917"/>
                  </a:lnTo>
                  <a:lnTo>
                    <a:pt x="7461" y="2909"/>
                  </a:lnTo>
                  <a:lnTo>
                    <a:pt x="7484" y="2943"/>
                  </a:lnTo>
                  <a:lnTo>
                    <a:pt x="7518" y="2924"/>
                  </a:lnTo>
                  <a:lnTo>
                    <a:pt x="7530" y="2932"/>
                  </a:lnTo>
                  <a:lnTo>
                    <a:pt x="7537" y="2950"/>
                  </a:lnTo>
                  <a:lnTo>
                    <a:pt x="7532" y="2979"/>
                  </a:lnTo>
                  <a:lnTo>
                    <a:pt x="7540" y="2956"/>
                  </a:lnTo>
                  <a:lnTo>
                    <a:pt x="7548" y="2937"/>
                  </a:lnTo>
                  <a:lnTo>
                    <a:pt x="7563" y="2921"/>
                  </a:lnTo>
                  <a:lnTo>
                    <a:pt x="7587" y="2925"/>
                  </a:lnTo>
                  <a:lnTo>
                    <a:pt x="7609" y="2935"/>
                  </a:lnTo>
                  <a:lnTo>
                    <a:pt x="7624" y="2913"/>
                  </a:lnTo>
                  <a:lnTo>
                    <a:pt x="7645" y="2921"/>
                  </a:lnTo>
                  <a:lnTo>
                    <a:pt x="7661" y="2922"/>
                  </a:lnTo>
                  <a:lnTo>
                    <a:pt x="7667" y="2927"/>
                  </a:lnTo>
                  <a:lnTo>
                    <a:pt x="7675" y="2917"/>
                  </a:lnTo>
                  <a:lnTo>
                    <a:pt x="7680" y="2919"/>
                  </a:lnTo>
                  <a:lnTo>
                    <a:pt x="7680" y="414"/>
                  </a:lnTo>
                  <a:lnTo>
                    <a:pt x="7670" y="409"/>
                  </a:lnTo>
                  <a:lnTo>
                    <a:pt x="7638" y="448"/>
                  </a:lnTo>
                  <a:lnTo>
                    <a:pt x="7656" y="393"/>
                  </a:lnTo>
                  <a:lnTo>
                    <a:pt x="7614" y="422"/>
                  </a:lnTo>
                  <a:lnTo>
                    <a:pt x="7609" y="417"/>
                  </a:lnTo>
                  <a:lnTo>
                    <a:pt x="7598" y="390"/>
                  </a:lnTo>
                  <a:lnTo>
                    <a:pt x="7580" y="380"/>
                  </a:lnTo>
                  <a:lnTo>
                    <a:pt x="7569" y="404"/>
                  </a:lnTo>
                  <a:lnTo>
                    <a:pt x="7553" y="402"/>
                  </a:lnTo>
                  <a:lnTo>
                    <a:pt x="7535" y="380"/>
                  </a:lnTo>
                  <a:lnTo>
                    <a:pt x="7526" y="417"/>
                  </a:lnTo>
                  <a:lnTo>
                    <a:pt x="7514" y="430"/>
                  </a:lnTo>
                  <a:lnTo>
                    <a:pt x="7487" y="401"/>
                  </a:lnTo>
                  <a:lnTo>
                    <a:pt x="7479" y="423"/>
                  </a:lnTo>
                  <a:lnTo>
                    <a:pt x="7477" y="452"/>
                  </a:lnTo>
                  <a:lnTo>
                    <a:pt x="7456" y="451"/>
                  </a:lnTo>
                  <a:lnTo>
                    <a:pt x="7439" y="480"/>
                  </a:lnTo>
                  <a:lnTo>
                    <a:pt x="7419" y="441"/>
                  </a:lnTo>
                  <a:lnTo>
                    <a:pt x="7392" y="460"/>
                  </a:lnTo>
                  <a:lnTo>
                    <a:pt x="7386" y="423"/>
                  </a:lnTo>
                  <a:lnTo>
                    <a:pt x="7376" y="457"/>
                  </a:lnTo>
                  <a:lnTo>
                    <a:pt x="7350" y="409"/>
                  </a:lnTo>
                  <a:lnTo>
                    <a:pt x="7336" y="423"/>
                  </a:lnTo>
                  <a:lnTo>
                    <a:pt x="7318" y="423"/>
                  </a:lnTo>
                  <a:lnTo>
                    <a:pt x="7313" y="459"/>
                  </a:lnTo>
                  <a:lnTo>
                    <a:pt x="7294" y="443"/>
                  </a:lnTo>
                  <a:lnTo>
                    <a:pt x="7281" y="436"/>
                  </a:lnTo>
                  <a:lnTo>
                    <a:pt x="7263" y="460"/>
                  </a:lnTo>
                  <a:lnTo>
                    <a:pt x="7247" y="451"/>
                  </a:lnTo>
                  <a:lnTo>
                    <a:pt x="7246" y="472"/>
                  </a:lnTo>
                  <a:lnTo>
                    <a:pt x="7209" y="452"/>
                  </a:lnTo>
                  <a:lnTo>
                    <a:pt x="7209" y="475"/>
                  </a:lnTo>
                  <a:lnTo>
                    <a:pt x="7198" y="477"/>
                  </a:lnTo>
                  <a:lnTo>
                    <a:pt x="7185" y="467"/>
                  </a:lnTo>
                  <a:lnTo>
                    <a:pt x="7181" y="525"/>
                  </a:lnTo>
                  <a:lnTo>
                    <a:pt x="7154" y="483"/>
                  </a:lnTo>
                  <a:lnTo>
                    <a:pt x="7146" y="510"/>
                  </a:lnTo>
                  <a:lnTo>
                    <a:pt x="7128" y="512"/>
                  </a:lnTo>
                  <a:lnTo>
                    <a:pt x="7117" y="538"/>
                  </a:lnTo>
                  <a:lnTo>
                    <a:pt x="7103" y="506"/>
                  </a:lnTo>
                  <a:lnTo>
                    <a:pt x="7079" y="546"/>
                  </a:lnTo>
                  <a:lnTo>
                    <a:pt x="7059" y="538"/>
                  </a:lnTo>
                  <a:lnTo>
                    <a:pt x="7038" y="533"/>
                  </a:lnTo>
                  <a:lnTo>
                    <a:pt x="7045" y="496"/>
                  </a:lnTo>
                  <a:lnTo>
                    <a:pt x="7014" y="512"/>
                  </a:lnTo>
                  <a:lnTo>
                    <a:pt x="7016" y="494"/>
                  </a:lnTo>
                  <a:lnTo>
                    <a:pt x="7005" y="489"/>
                  </a:lnTo>
                  <a:lnTo>
                    <a:pt x="6997" y="520"/>
                  </a:lnTo>
                  <a:lnTo>
                    <a:pt x="6958" y="467"/>
                  </a:lnTo>
                  <a:lnTo>
                    <a:pt x="6968" y="512"/>
                  </a:lnTo>
                  <a:lnTo>
                    <a:pt x="6966" y="531"/>
                  </a:lnTo>
                  <a:lnTo>
                    <a:pt x="6924" y="509"/>
                  </a:lnTo>
                  <a:lnTo>
                    <a:pt x="6931" y="554"/>
                  </a:lnTo>
                  <a:lnTo>
                    <a:pt x="6923" y="517"/>
                  </a:lnTo>
                  <a:lnTo>
                    <a:pt x="6894" y="535"/>
                  </a:lnTo>
                  <a:lnTo>
                    <a:pt x="6884" y="523"/>
                  </a:lnTo>
                  <a:lnTo>
                    <a:pt x="6882" y="525"/>
                  </a:lnTo>
                  <a:lnTo>
                    <a:pt x="6886" y="530"/>
                  </a:lnTo>
                  <a:lnTo>
                    <a:pt x="6844" y="507"/>
                  </a:lnTo>
                  <a:lnTo>
                    <a:pt x="6829" y="514"/>
                  </a:lnTo>
                  <a:lnTo>
                    <a:pt x="6837" y="551"/>
                  </a:lnTo>
                  <a:lnTo>
                    <a:pt x="6820" y="518"/>
                  </a:lnTo>
                  <a:lnTo>
                    <a:pt x="6804" y="556"/>
                  </a:lnTo>
                  <a:lnTo>
                    <a:pt x="6789" y="539"/>
                  </a:lnTo>
                  <a:lnTo>
                    <a:pt x="6775" y="538"/>
                  </a:lnTo>
                  <a:lnTo>
                    <a:pt x="6760" y="536"/>
                  </a:lnTo>
                  <a:lnTo>
                    <a:pt x="6739" y="543"/>
                  </a:lnTo>
                  <a:lnTo>
                    <a:pt x="6741" y="502"/>
                  </a:lnTo>
                  <a:lnTo>
                    <a:pt x="6723" y="515"/>
                  </a:lnTo>
                  <a:lnTo>
                    <a:pt x="6709" y="525"/>
                  </a:lnTo>
                  <a:lnTo>
                    <a:pt x="6694" y="554"/>
                  </a:lnTo>
                  <a:lnTo>
                    <a:pt x="6697" y="504"/>
                  </a:lnTo>
                  <a:lnTo>
                    <a:pt x="6677" y="509"/>
                  </a:lnTo>
                  <a:lnTo>
                    <a:pt x="6651" y="528"/>
                  </a:lnTo>
                  <a:lnTo>
                    <a:pt x="6652" y="535"/>
                  </a:lnTo>
                  <a:lnTo>
                    <a:pt x="6648" y="531"/>
                  </a:lnTo>
                  <a:lnTo>
                    <a:pt x="6643" y="533"/>
                  </a:lnTo>
                  <a:lnTo>
                    <a:pt x="6644" y="528"/>
                  </a:lnTo>
                  <a:lnTo>
                    <a:pt x="6617" y="509"/>
                  </a:lnTo>
                  <a:lnTo>
                    <a:pt x="6601" y="510"/>
                  </a:lnTo>
                  <a:lnTo>
                    <a:pt x="6601" y="543"/>
                  </a:lnTo>
                  <a:lnTo>
                    <a:pt x="6588" y="527"/>
                  </a:lnTo>
                  <a:lnTo>
                    <a:pt x="6575" y="518"/>
                  </a:lnTo>
                  <a:lnTo>
                    <a:pt x="6551" y="522"/>
                  </a:lnTo>
                  <a:lnTo>
                    <a:pt x="6556" y="477"/>
                  </a:lnTo>
                  <a:lnTo>
                    <a:pt x="6543" y="512"/>
                  </a:lnTo>
                  <a:lnTo>
                    <a:pt x="6535" y="535"/>
                  </a:lnTo>
                  <a:lnTo>
                    <a:pt x="6503" y="499"/>
                  </a:lnTo>
                  <a:lnTo>
                    <a:pt x="6493" y="535"/>
                  </a:lnTo>
                  <a:lnTo>
                    <a:pt x="6476" y="502"/>
                  </a:lnTo>
                  <a:lnTo>
                    <a:pt x="6463" y="501"/>
                  </a:lnTo>
                  <a:lnTo>
                    <a:pt x="6451" y="489"/>
                  </a:lnTo>
                  <a:lnTo>
                    <a:pt x="6429" y="512"/>
                  </a:lnTo>
                  <a:lnTo>
                    <a:pt x="6414" y="533"/>
                  </a:lnTo>
                  <a:lnTo>
                    <a:pt x="6394" y="485"/>
                  </a:lnTo>
                  <a:lnTo>
                    <a:pt x="6390" y="541"/>
                  </a:lnTo>
                  <a:lnTo>
                    <a:pt x="6371" y="488"/>
                  </a:lnTo>
                  <a:lnTo>
                    <a:pt x="6358" y="496"/>
                  </a:lnTo>
                  <a:lnTo>
                    <a:pt x="6345" y="481"/>
                  </a:lnTo>
                  <a:lnTo>
                    <a:pt x="6321" y="506"/>
                  </a:lnTo>
                  <a:lnTo>
                    <a:pt x="6313" y="509"/>
                  </a:lnTo>
                  <a:lnTo>
                    <a:pt x="6295" y="509"/>
                  </a:lnTo>
                  <a:lnTo>
                    <a:pt x="6289" y="525"/>
                  </a:lnTo>
                  <a:lnTo>
                    <a:pt x="6271" y="554"/>
                  </a:lnTo>
                  <a:lnTo>
                    <a:pt x="6244" y="539"/>
                  </a:lnTo>
                  <a:lnTo>
                    <a:pt x="6271" y="486"/>
                  </a:lnTo>
                  <a:lnTo>
                    <a:pt x="6225" y="515"/>
                  </a:lnTo>
                  <a:lnTo>
                    <a:pt x="6236" y="469"/>
                  </a:lnTo>
                  <a:lnTo>
                    <a:pt x="6213" y="499"/>
                  </a:lnTo>
                  <a:lnTo>
                    <a:pt x="6197" y="504"/>
                  </a:lnTo>
                  <a:lnTo>
                    <a:pt x="6181" y="457"/>
                  </a:lnTo>
                  <a:lnTo>
                    <a:pt x="6167" y="485"/>
                  </a:lnTo>
                  <a:lnTo>
                    <a:pt x="6152" y="506"/>
                  </a:lnTo>
                  <a:lnTo>
                    <a:pt x="6135" y="514"/>
                  </a:lnTo>
                  <a:lnTo>
                    <a:pt x="6123" y="464"/>
                  </a:lnTo>
                  <a:lnTo>
                    <a:pt x="6107" y="469"/>
                  </a:lnTo>
                  <a:lnTo>
                    <a:pt x="6090" y="457"/>
                  </a:lnTo>
                  <a:lnTo>
                    <a:pt x="6070" y="460"/>
                  </a:lnTo>
                  <a:lnTo>
                    <a:pt x="6061" y="514"/>
                  </a:lnTo>
                  <a:lnTo>
                    <a:pt x="6048" y="506"/>
                  </a:lnTo>
                  <a:lnTo>
                    <a:pt x="6027" y="498"/>
                  </a:lnTo>
                  <a:lnTo>
                    <a:pt x="6025" y="533"/>
                  </a:lnTo>
                  <a:lnTo>
                    <a:pt x="5996" y="536"/>
                  </a:lnTo>
                  <a:lnTo>
                    <a:pt x="5974" y="525"/>
                  </a:lnTo>
                  <a:lnTo>
                    <a:pt x="5963" y="504"/>
                  </a:lnTo>
                  <a:lnTo>
                    <a:pt x="5950" y="469"/>
                  </a:lnTo>
                  <a:lnTo>
                    <a:pt x="5938" y="518"/>
                  </a:lnTo>
                  <a:lnTo>
                    <a:pt x="5922" y="525"/>
                  </a:lnTo>
                  <a:lnTo>
                    <a:pt x="5903" y="496"/>
                  </a:lnTo>
                  <a:lnTo>
                    <a:pt x="5908" y="481"/>
                  </a:lnTo>
                  <a:lnTo>
                    <a:pt x="5861" y="515"/>
                  </a:lnTo>
                  <a:lnTo>
                    <a:pt x="5864" y="489"/>
                  </a:lnTo>
                  <a:lnTo>
                    <a:pt x="5855" y="483"/>
                  </a:lnTo>
                  <a:lnTo>
                    <a:pt x="5842" y="486"/>
                  </a:lnTo>
                  <a:lnTo>
                    <a:pt x="5824" y="465"/>
                  </a:lnTo>
                  <a:lnTo>
                    <a:pt x="5805" y="465"/>
                  </a:lnTo>
                  <a:lnTo>
                    <a:pt x="5784" y="472"/>
                  </a:lnTo>
                  <a:lnTo>
                    <a:pt x="5792" y="506"/>
                  </a:lnTo>
                  <a:lnTo>
                    <a:pt x="5774" y="509"/>
                  </a:lnTo>
                  <a:lnTo>
                    <a:pt x="5758" y="506"/>
                  </a:lnTo>
                  <a:lnTo>
                    <a:pt x="5744" y="517"/>
                  </a:lnTo>
                  <a:lnTo>
                    <a:pt x="5731" y="506"/>
                  </a:lnTo>
                  <a:lnTo>
                    <a:pt x="5725" y="485"/>
                  </a:lnTo>
                  <a:lnTo>
                    <a:pt x="5713" y="486"/>
                  </a:lnTo>
                  <a:lnTo>
                    <a:pt x="5699" y="480"/>
                  </a:lnTo>
                  <a:lnTo>
                    <a:pt x="5700" y="456"/>
                  </a:lnTo>
                  <a:lnTo>
                    <a:pt x="5676" y="443"/>
                  </a:lnTo>
                  <a:lnTo>
                    <a:pt x="5657" y="489"/>
                  </a:lnTo>
                  <a:lnTo>
                    <a:pt x="5641" y="488"/>
                  </a:lnTo>
                  <a:lnTo>
                    <a:pt x="5623" y="486"/>
                  </a:lnTo>
                  <a:lnTo>
                    <a:pt x="5610" y="501"/>
                  </a:lnTo>
                  <a:lnTo>
                    <a:pt x="5586" y="469"/>
                  </a:lnTo>
                  <a:lnTo>
                    <a:pt x="5573" y="515"/>
                  </a:lnTo>
                  <a:lnTo>
                    <a:pt x="5554" y="499"/>
                  </a:lnTo>
                  <a:lnTo>
                    <a:pt x="5540" y="491"/>
                  </a:lnTo>
                  <a:lnTo>
                    <a:pt x="5532" y="464"/>
                  </a:lnTo>
                  <a:lnTo>
                    <a:pt x="5516" y="478"/>
                  </a:lnTo>
                  <a:lnTo>
                    <a:pt x="5498" y="478"/>
                  </a:lnTo>
                  <a:lnTo>
                    <a:pt x="5485" y="501"/>
                  </a:lnTo>
                  <a:lnTo>
                    <a:pt x="5467" y="481"/>
                  </a:lnTo>
                  <a:lnTo>
                    <a:pt x="5453" y="506"/>
                  </a:lnTo>
                  <a:lnTo>
                    <a:pt x="5438" y="489"/>
                  </a:lnTo>
                  <a:lnTo>
                    <a:pt x="5427" y="504"/>
                  </a:lnTo>
                  <a:lnTo>
                    <a:pt x="5413" y="517"/>
                  </a:lnTo>
                  <a:lnTo>
                    <a:pt x="5387" y="525"/>
                  </a:lnTo>
                  <a:lnTo>
                    <a:pt x="5392" y="478"/>
                  </a:lnTo>
                  <a:lnTo>
                    <a:pt x="5372" y="480"/>
                  </a:lnTo>
                  <a:lnTo>
                    <a:pt x="5355" y="478"/>
                  </a:lnTo>
                  <a:lnTo>
                    <a:pt x="5352" y="451"/>
                  </a:lnTo>
                  <a:lnTo>
                    <a:pt x="5335" y="435"/>
                  </a:lnTo>
                  <a:lnTo>
                    <a:pt x="5316" y="446"/>
                  </a:lnTo>
                  <a:lnTo>
                    <a:pt x="5295" y="469"/>
                  </a:lnTo>
                  <a:lnTo>
                    <a:pt x="5284" y="443"/>
                  </a:lnTo>
                  <a:lnTo>
                    <a:pt x="5268" y="446"/>
                  </a:lnTo>
                  <a:lnTo>
                    <a:pt x="5255" y="481"/>
                  </a:lnTo>
                  <a:lnTo>
                    <a:pt x="5239" y="465"/>
                  </a:lnTo>
                  <a:lnTo>
                    <a:pt x="5215" y="452"/>
                  </a:lnTo>
                  <a:lnTo>
                    <a:pt x="5204" y="472"/>
                  </a:lnTo>
                  <a:lnTo>
                    <a:pt x="5189" y="480"/>
                  </a:lnTo>
                  <a:lnTo>
                    <a:pt x="5167" y="456"/>
                  </a:lnTo>
                  <a:lnTo>
                    <a:pt x="5157" y="470"/>
                  </a:lnTo>
                  <a:lnTo>
                    <a:pt x="5147" y="459"/>
                  </a:lnTo>
                  <a:lnTo>
                    <a:pt x="5114" y="488"/>
                  </a:lnTo>
                  <a:lnTo>
                    <a:pt x="5101" y="478"/>
                  </a:lnTo>
                  <a:lnTo>
                    <a:pt x="5099" y="441"/>
                  </a:lnTo>
                  <a:lnTo>
                    <a:pt x="5073" y="460"/>
                  </a:lnTo>
                  <a:lnTo>
                    <a:pt x="5065" y="449"/>
                  </a:lnTo>
                  <a:lnTo>
                    <a:pt x="5041" y="428"/>
                  </a:lnTo>
                  <a:lnTo>
                    <a:pt x="5024" y="430"/>
                  </a:lnTo>
                  <a:lnTo>
                    <a:pt x="5017" y="449"/>
                  </a:lnTo>
                  <a:lnTo>
                    <a:pt x="4990" y="475"/>
                  </a:lnTo>
                  <a:lnTo>
                    <a:pt x="4991" y="433"/>
                  </a:lnTo>
                  <a:lnTo>
                    <a:pt x="4972" y="423"/>
                  </a:lnTo>
                  <a:lnTo>
                    <a:pt x="4951" y="431"/>
                  </a:lnTo>
                  <a:lnTo>
                    <a:pt x="4935" y="435"/>
                  </a:lnTo>
                  <a:lnTo>
                    <a:pt x="4922" y="451"/>
                  </a:lnTo>
                  <a:lnTo>
                    <a:pt x="4896" y="433"/>
                  </a:lnTo>
                  <a:lnTo>
                    <a:pt x="4879" y="438"/>
                  </a:lnTo>
                  <a:lnTo>
                    <a:pt x="4880" y="489"/>
                  </a:lnTo>
                  <a:lnTo>
                    <a:pt x="4861" y="481"/>
                  </a:lnTo>
                  <a:lnTo>
                    <a:pt x="4845" y="469"/>
                  </a:lnTo>
                  <a:lnTo>
                    <a:pt x="4827" y="485"/>
                  </a:lnTo>
                  <a:lnTo>
                    <a:pt x="4805" y="486"/>
                  </a:lnTo>
                  <a:lnTo>
                    <a:pt x="4800" y="457"/>
                  </a:lnTo>
                  <a:lnTo>
                    <a:pt x="4782" y="456"/>
                  </a:lnTo>
                  <a:lnTo>
                    <a:pt x="4782" y="431"/>
                  </a:lnTo>
                  <a:lnTo>
                    <a:pt x="4760" y="433"/>
                  </a:lnTo>
                  <a:lnTo>
                    <a:pt x="4729" y="441"/>
                  </a:lnTo>
                  <a:lnTo>
                    <a:pt x="4739" y="404"/>
                  </a:lnTo>
                  <a:lnTo>
                    <a:pt x="4732" y="423"/>
                  </a:lnTo>
                  <a:lnTo>
                    <a:pt x="4695" y="411"/>
                  </a:lnTo>
                  <a:lnTo>
                    <a:pt x="4732" y="462"/>
                  </a:lnTo>
                  <a:lnTo>
                    <a:pt x="4707" y="459"/>
                  </a:lnTo>
                  <a:lnTo>
                    <a:pt x="4687" y="456"/>
                  </a:lnTo>
                  <a:lnTo>
                    <a:pt x="4676" y="443"/>
                  </a:lnTo>
                  <a:lnTo>
                    <a:pt x="4658" y="477"/>
                  </a:lnTo>
                  <a:lnTo>
                    <a:pt x="4650" y="444"/>
                  </a:lnTo>
                  <a:lnTo>
                    <a:pt x="4654" y="428"/>
                  </a:lnTo>
                  <a:lnTo>
                    <a:pt x="4620" y="441"/>
                  </a:lnTo>
                  <a:lnTo>
                    <a:pt x="4613" y="425"/>
                  </a:lnTo>
                  <a:lnTo>
                    <a:pt x="4589" y="448"/>
                  </a:lnTo>
                  <a:lnTo>
                    <a:pt x="4585" y="433"/>
                  </a:lnTo>
                  <a:lnTo>
                    <a:pt x="4564" y="402"/>
                  </a:lnTo>
                  <a:lnTo>
                    <a:pt x="4556" y="440"/>
                  </a:lnTo>
                  <a:lnTo>
                    <a:pt x="4538" y="438"/>
                  </a:lnTo>
                  <a:lnTo>
                    <a:pt x="4509" y="412"/>
                  </a:lnTo>
                  <a:lnTo>
                    <a:pt x="4507" y="430"/>
                  </a:lnTo>
                  <a:lnTo>
                    <a:pt x="4491" y="433"/>
                  </a:lnTo>
                  <a:lnTo>
                    <a:pt x="4474" y="427"/>
                  </a:lnTo>
                  <a:lnTo>
                    <a:pt x="4457" y="419"/>
                  </a:lnTo>
                  <a:lnTo>
                    <a:pt x="4451" y="388"/>
                  </a:lnTo>
                  <a:lnTo>
                    <a:pt x="4435" y="382"/>
                  </a:lnTo>
                  <a:lnTo>
                    <a:pt x="4419" y="423"/>
                  </a:lnTo>
                  <a:lnTo>
                    <a:pt x="4417" y="425"/>
                  </a:lnTo>
                  <a:lnTo>
                    <a:pt x="4372" y="407"/>
                  </a:lnTo>
                  <a:lnTo>
                    <a:pt x="4395" y="446"/>
                  </a:lnTo>
                  <a:lnTo>
                    <a:pt x="4372" y="438"/>
                  </a:lnTo>
                  <a:lnTo>
                    <a:pt x="4369" y="475"/>
                  </a:lnTo>
                  <a:lnTo>
                    <a:pt x="4358" y="440"/>
                  </a:lnTo>
                  <a:lnTo>
                    <a:pt x="4332" y="460"/>
                  </a:lnTo>
                  <a:lnTo>
                    <a:pt x="4316" y="459"/>
                  </a:lnTo>
                  <a:lnTo>
                    <a:pt x="4313" y="441"/>
                  </a:lnTo>
                  <a:lnTo>
                    <a:pt x="4308" y="414"/>
                  </a:lnTo>
                  <a:lnTo>
                    <a:pt x="4289" y="419"/>
                  </a:lnTo>
                  <a:lnTo>
                    <a:pt x="4271" y="401"/>
                  </a:lnTo>
                  <a:lnTo>
                    <a:pt x="4247" y="402"/>
                  </a:lnTo>
                  <a:lnTo>
                    <a:pt x="4261" y="448"/>
                  </a:lnTo>
                  <a:lnTo>
                    <a:pt x="4245" y="449"/>
                  </a:lnTo>
                  <a:lnTo>
                    <a:pt x="4226" y="435"/>
                  </a:lnTo>
                  <a:lnTo>
                    <a:pt x="4202" y="460"/>
                  </a:lnTo>
                  <a:lnTo>
                    <a:pt x="4184" y="460"/>
                  </a:lnTo>
                  <a:lnTo>
                    <a:pt x="4183" y="454"/>
                  </a:lnTo>
                  <a:lnTo>
                    <a:pt x="4160" y="449"/>
                  </a:lnTo>
                  <a:lnTo>
                    <a:pt x="4165" y="478"/>
                  </a:lnTo>
                  <a:lnTo>
                    <a:pt x="4134" y="460"/>
                  </a:lnTo>
                  <a:lnTo>
                    <a:pt x="4131" y="446"/>
                  </a:lnTo>
                  <a:lnTo>
                    <a:pt x="4126" y="428"/>
                  </a:lnTo>
                  <a:lnTo>
                    <a:pt x="4115" y="420"/>
                  </a:lnTo>
                  <a:lnTo>
                    <a:pt x="4088" y="428"/>
                  </a:lnTo>
                  <a:lnTo>
                    <a:pt x="4072" y="428"/>
                  </a:lnTo>
                  <a:lnTo>
                    <a:pt x="4059" y="465"/>
                  </a:lnTo>
                  <a:lnTo>
                    <a:pt x="4043" y="425"/>
                  </a:lnTo>
                  <a:lnTo>
                    <a:pt x="4023" y="433"/>
                  </a:lnTo>
                  <a:lnTo>
                    <a:pt x="4019" y="402"/>
                  </a:lnTo>
                  <a:lnTo>
                    <a:pt x="4004" y="383"/>
                  </a:lnTo>
                  <a:lnTo>
                    <a:pt x="3978" y="414"/>
                  </a:lnTo>
                  <a:lnTo>
                    <a:pt x="3969" y="383"/>
                  </a:lnTo>
                  <a:lnTo>
                    <a:pt x="3956" y="427"/>
                  </a:lnTo>
                  <a:lnTo>
                    <a:pt x="3928" y="409"/>
                  </a:lnTo>
                  <a:lnTo>
                    <a:pt x="3908" y="411"/>
                  </a:lnTo>
                  <a:lnTo>
                    <a:pt x="3898" y="422"/>
                  </a:lnTo>
                  <a:lnTo>
                    <a:pt x="3930" y="465"/>
                  </a:lnTo>
                  <a:lnTo>
                    <a:pt x="3893" y="444"/>
                  </a:lnTo>
                  <a:lnTo>
                    <a:pt x="3887" y="467"/>
                  </a:lnTo>
                  <a:lnTo>
                    <a:pt x="3871" y="481"/>
                  </a:lnTo>
                  <a:lnTo>
                    <a:pt x="3866" y="435"/>
                  </a:lnTo>
                  <a:lnTo>
                    <a:pt x="3832" y="467"/>
                  </a:lnTo>
                  <a:lnTo>
                    <a:pt x="3827" y="440"/>
                  </a:lnTo>
                  <a:lnTo>
                    <a:pt x="3821" y="414"/>
                  </a:lnTo>
                  <a:lnTo>
                    <a:pt x="3803" y="406"/>
                  </a:lnTo>
                  <a:lnTo>
                    <a:pt x="3787" y="399"/>
                  </a:lnTo>
                  <a:lnTo>
                    <a:pt x="3763" y="415"/>
                  </a:lnTo>
                  <a:lnTo>
                    <a:pt x="3734" y="394"/>
                  </a:lnTo>
                  <a:lnTo>
                    <a:pt x="3745" y="452"/>
                  </a:lnTo>
                  <a:lnTo>
                    <a:pt x="3710" y="417"/>
                  </a:lnTo>
                  <a:lnTo>
                    <a:pt x="3697" y="420"/>
                  </a:lnTo>
                  <a:lnTo>
                    <a:pt x="3686" y="438"/>
                  </a:lnTo>
                  <a:lnTo>
                    <a:pt x="3668" y="462"/>
                  </a:lnTo>
                  <a:lnTo>
                    <a:pt x="3653" y="440"/>
                  </a:lnTo>
                  <a:lnTo>
                    <a:pt x="3642" y="425"/>
                  </a:lnTo>
                  <a:lnTo>
                    <a:pt x="3626" y="456"/>
                  </a:lnTo>
                  <a:lnTo>
                    <a:pt x="3604" y="422"/>
                  </a:lnTo>
                  <a:lnTo>
                    <a:pt x="3605" y="449"/>
                  </a:lnTo>
                  <a:lnTo>
                    <a:pt x="3602" y="469"/>
                  </a:lnTo>
                  <a:lnTo>
                    <a:pt x="3576" y="435"/>
                  </a:lnTo>
                  <a:lnTo>
                    <a:pt x="3554" y="469"/>
                  </a:lnTo>
                  <a:lnTo>
                    <a:pt x="3546" y="448"/>
                  </a:lnTo>
                  <a:lnTo>
                    <a:pt x="3533" y="462"/>
                  </a:lnTo>
                  <a:lnTo>
                    <a:pt x="3510" y="436"/>
                  </a:lnTo>
                  <a:lnTo>
                    <a:pt x="3525" y="477"/>
                  </a:lnTo>
                  <a:lnTo>
                    <a:pt x="3504" y="475"/>
                  </a:lnTo>
                  <a:lnTo>
                    <a:pt x="3483" y="489"/>
                  </a:lnTo>
                  <a:lnTo>
                    <a:pt x="3457" y="481"/>
                  </a:lnTo>
                  <a:lnTo>
                    <a:pt x="3448" y="469"/>
                  </a:lnTo>
                  <a:lnTo>
                    <a:pt x="3446" y="448"/>
                  </a:lnTo>
                  <a:lnTo>
                    <a:pt x="3438" y="440"/>
                  </a:lnTo>
                  <a:lnTo>
                    <a:pt x="3430" y="452"/>
                  </a:lnTo>
                  <a:lnTo>
                    <a:pt x="3422" y="477"/>
                  </a:lnTo>
                  <a:lnTo>
                    <a:pt x="3395" y="464"/>
                  </a:lnTo>
                  <a:lnTo>
                    <a:pt x="3372" y="435"/>
                  </a:lnTo>
                  <a:lnTo>
                    <a:pt x="3364" y="478"/>
                  </a:lnTo>
                  <a:lnTo>
                    <a:pt x="3343" y="494"/>
                  </a:lnTo>
                  <a:lnTo>
                    <a:pt x="3330" y="460"/>
                  </a:lnTo>
                  <a:lnTo>
                    <a:pt x="3308" y="481"/>
                  </a:lnTo>
                  <a:lnTo>
                    <a:pt x="3300" y="462"/>
                  </a:lnTo>
                  <a:lnTo>
                    <a:pt x="3277" y="443"/>
                  </a:lnTo>
                  <a:lnTo>
                    <a:pt x="3272" y="477"/>
                  </a:lnTo>
                  <a:lnTo>
                    <a:pt x="3256" y="448"/>
                  </a:lnTo>
                  <a:lnTo>
                    <a:pt x="3258" y="441"/>
                  </a:lnTo>
                  <a:lnTo>
                    <a:pt x="3206" y="469"/>
                  </a:lnTo>
                  <a:lnTo>
                    <a:pt x="3208" y="446"/>
                  </a:lnTo>
                  <a:lnTo>
                    <a:pt x="3208" y="415"/>
                  </a:lnTo>
                  <a:lnTo>
                    <a:pt x="3182" y="414"/>
                  </a:lnTo>
                  <a:lnTo>
                    <a:pt x="3176" y="440"/>
                  </a:lnTo>
                  <a:lnTo>
                    <a:pt x="3160" y="459"/>
                  </a:lnTo>
                  <a:lnTo>
                    <a:pt x="3152" y="423"/>
                  </a:lnTo>
                  <a:lnTo>
                    <a:pt x="3116" y="452"/>
                  </a:lnTo>
                  <a:lnTo>
                    <a:pt x="3112" y="428"/>
                  </a:lnTo>
                  <a:lnTo>
                    <a:pt x="3099" y="391"/>
                  </a:lnTo>
                  <a:lnTo>
                    <a:pt x="3083" y="417"/>
                  </a:lnTo>
                  <a:lnTo>
                    <a:pt x="3068" y="419"/>
                  </a:lnTo>
                  <a:lnTo>
                    <a:pt x="3052" y="420"/>
                  </a:lnTo>
                  <a:lnTo>
                    <a:pt x="3038" y="428"/>
                  </a:lnTo>
                  <a:lnTo>
                    <a:pt x="3022" y="428"/>
                  </a:lnTo>
                  <a:lnTo>
                    <a:pt x="3005" y="440"/>
                  </a:lnTo>
                  <a:lnTo>
                    <a:pt x="2991" y="399"/>
                  </a:lnTo>
                  <a:lnTo>
                    <a:pt x="2970" y="407"/>
                  </a:lnTo>
                  <a:lnTo>
                    <a:pt x="2952" y="420"/>
                  </a:lnTo>
                  <a:lnTo>
                    <a:pt x="2959" y="467"/>
                  </a:lnTo>
                  <a:lnTo>
                    <a:pt x="2925" y="431"/>
                  </a:lnTo>
                  <a:lnTo>
                    <a:pt x="2901" y="473"/>
                  </a:lnTo>
                  <a:lnTo>
                    <a:pt x="2901" y="427"/>
                  </a:lnTo>
                  <a:lnTo>
                    <a:pt x="2886" y="423"/>
                  </a:lnTo>
                  <a:lnTo>
                    <a:pt x="2867" y="422"/>
                  </a:lnTo>
                  <a:lnTo>
                    <a:pt x="2841" y="425"/>
                  </a:lnTo>
                  <a:lnTo>
                    <a:pt x="2838" y="388"/>
                  </a:lnTo>
                  <a:lnTo>
                    <a:pt x="2833" y="422"/>
                  </a:lnTo>
                  <a:lnTo>
                    <a:pt x="2800" y="401"/>
                  </a:lnTo>
                  <a:lnTo>
                    <a:pt x="2795" y="420"/>
                  </a:lnTo>
                  <a:lnTo>
                    <a:pt x="2788" y="438"/>
                  </a:lnTo>
                  <a:lnTo>
                    <a:pt x="2795" y="406"/>
                  </a:lnTo>
                  <a:lnTo>
                    <a:pt x="2764" y="419"/>
                  </a:lnTo>
                  <a:lnTo>
                    <a:pt x="2747" y="417"/>
                  </a:lnTo>
                  <a:lnTo>
                    <a:pt x="2745" y="388"/>
                  </a:lnTo>
                  <a:lnTo>
                    <a:pt x="2722" y="386"/>
                  </a:lnTo>
                  <a:lnTo>
                    <a:pt x="2703" y="377"/>
                  </a:lnTo>
                  <a:lnTo>
                    <a:pt x="2698" y="422"/>
                  </a:lnTo>
                  <a:lnTo>
                    <a:pt x="2684" y="436"/>
                  </a:lnTo>
                  <a:lnTo>
                    <a:pt x="2666" y="419"/>
                  </a:lnTo>
                  <a:lnTo>
                    <a:pt x="2648" y="412"/>
                  </a:lnTo>
                  <a:lnTo>
                    <a:pt x="2644" y="446"/>
                  </a:lnTo>
                  <a:lnTo>
                    <a:pt x="2623" y="443"/>
                  </a:lnTo>
                  <a:lnTo>
                    <a:pt x="2603" y="462"/>
                  </a:lnTo>
                  <a:lnTo>
                    <a:pt x="2595" y="404"/>
                  </a:lnTo>
                  <a:lnTo>
                    <a:pt x="2566" y="444"/>
                  </a:lnTo>
                  <a:lnTo>
                    <a:pt x="2557" y="420"/>
                  </a:lnTo>
                  <a:lnTo>
                    <a:pt x="2539" y="422"/>
                  </a:lnTo>
                  <a:lnTo>
                    <a:pt x="2528" y="446"/>
                  </a:lnTo>
                  <a:lnTo>
                    <a:pt x="2509" y="462"/>
                  </a:lnTo>
                  <a:lnTo>
                    <a:pt x="2497" y="422"/>
                  </a:lnTo>
                  <a:lnTo>
                    <a:pt x="2470" y="454"/>
                  </a:lnTo>
                  <a:lnTo>
                    <a:pt x="2465" y="396"/>
                  </a:lnTo>
                  <a:lnTo>
                    <a:pt x="2446" y="409"/>
                  </a:lnTo>
                  <a:lnTo>
                    <a:pt x="2435" y="448"/>
                  </a:lnTo>
                  <a:lnTo>
                    <a:pt x="2420" y="406"/>
                  </a:lnTo>
                  <a:lnTo>
                    <a:pt x="2407" y="409"/>
                  </a:lnTo>
                  <a:lnTo>
                    <a:pt x="2386" y="412"/>
                  </a:lnTo>
                  <a:lnTo>
                    <a:pt x="2374" y="382"/>
                  </a:lnTo>
                  <a:lnTo>
                    <a:pt x="2353" y="399"/>
                  </a:lnTo>
                  <a:lnTo>
                    <a:pt x="2333" y="391"/>
                  </a:lnTo>
                  <a:lnTo>
                    <a:pt x="2324" y="411"/>
                  </a:lnTo>
                  <a:lnTo>
                    <a:pt x="2312" y="402"/>
                  </a:lnTo>
                  <a:lnTo>
                    <a:pt x="2308" y="380"/>
                  </a:lnTo>
                  <a:lnTo>
                    <a:pt x="2272" y="402"/>
                  </a:lnTo>
                  <a:lnTo>
                    <a:pt x="2274" y="353"/>
                  </a:lnTo>
                  <a:lnTo>
                    <a:pt x="2250" y="382"/>
                  </a:lnTo>
                  <a:lnTo>
                    <a:pt x="2226" y="398"/>
                  </a:lnTo>
                  <a:lnTo>
                    <a:pt x="2219" y="370"/>
                  </a:lnTo>
                  <a:lnTo>
                    <a:pt x="2197" y="375"/>
                  </a:lnTo>
                  <a:lnTo>
                    <a:pt x="2193" y="325"/>
                  </a:lnTo>
                  <a:lnTo>
                    <a:pt x="2184" y="377"/>
                  </a:lnTo>
                  <a:lnTo>
                    <a:pt x="2158" y="362"/>
                  </a:lnTo>
                  <a:lnTo>
                    <a:pt x="2140" y="388"/>
                  </a:lnTo>
                  <a:lnTo>
                    <a:pt x="2115" y="377"/>
                  </a:lnTo>
                  <a:lnTo>
                    <a:pt x="2131" y="343"/>
                  </a:lnTo>
                  <a:lnTo>
                    <a:pt x="2134" y="320"/>
                  </a:lnTo>
                  <a:lnTo>
                    <a:pt x="2099" y="353"/>
                  </a:lnTo>
                  <a:lnTo>
                    <a:pt x="2094" y="341"/>
                  </a:lnTo>
                  <a:lnTo>
                    <a:pt x="2087" y="361"/>
                  </a:lnTo>
                  <a:lnTo>
                    <a:pt x="2057" y="328"/>
                  </a:lnTo>
                  <a:lnTo>
                    <a:pt x="2052" y="370"/>
                  </a:lnTo>
                  <a:lnTo>
                    <a:pt x="2041" y="338"/>
                  </a:lnTo>
                  <a:lnTo>
                    <a:pt x="2015" y="361"/>
                  </a:lnTo>
                  <a:lnTo>
                    <a:pt x="2017" y="307"/>
                  </a:lnTo>
                  <a:lnTo>
                    <a:pt x="1989" y="353"/>
                  </a:lnTo>
                  <a:lnTo>
                    <a:pt x="1984" y="299"/>
                  </a:lnTo>
                  <a:lnTo>
                    <a:pt x="1960" y="332"/>
                  </a:lnTo>
                  <a:lnTo>
                    <a:pt x="1951" y="314"/>
                  </a:lnTo>
                  <a:lnTo>
                    <a:pt x="1926" y="317"/>
                  </a:lnTo>
                  <a:lnTo>
                    <a:pt x="1923" y="301"/>
                  </a:lnTo>
                  <a:lnTo>
                    <a:pt x="1898" y="290"/>
                  </a:lnTo>
                  <a:lnTo>
                    <a:pt x="1907" y="330"/>
                  </a:lnTo>
                  <a:lnTo>
                    <a:pt x="1862" y="301"/>
                  </a:lnTo>
                  <a:lnTo>
                    <a:pt x="1867" y="319"/>
                  </a:lnTo>
                  <a:lnTo>
                    <a:pt x="1859" y="325"/>
                  </a:lnTo>
                  <a:lnTo>
                    <a:pt x="1848" y="317"/>
                  </a:lnTo>
                  <a:lnTo>
                    <a:pt x="1832" y="312"/>
                  </a:lnTo>
                  <a:lnTo>
                    <a:pt x="1819" y="324"/>
                  </a:lnTo>
                  <a:lnTo>
                    <a:pt x="1814" y="309"/>
                  </a:lnTo>
                  <a:lnTo>
                    <a:pt x="1796" y="283"/>
                  </a:lnTo>
                  <a:lnTo>
                    <a:pt x="1780" y="303"/>
                  </a:lnTo>
                  <a:lnTo>
                    <a:pt x="1775" y="267"/>
                  </a:lnTo>
                  <a:lnTo>
                    <a:pt x="1745" y="309"/>
                  </a:lnTo>
                  <a:lnTo>
                    <a:pt x="1737" y="296"/>
                  </a:lnTo>
                  <a:lnTo>
                    <a:pt x="1727" y="317"/>
                  </a:lnTo>
                  <a:lnTo>
                    <a:pt x="1698" y="269"/>
                  </a:lnTo>
                  <a:lnTo>
                    <a:pt x="1688" y="296"/>
                  </a:lnTo>
                  <a:lnTo>
                    <a:pt x="1684" y="274"/>
                  </a:lnTo>
                  <a:lnTo>
                    <a:pt x="1648" y="285"/>
                  </a:lnTo>
                  <a:lnTo>
                    <a:pt x="1643" y="277"/>
                  </a:lnTo>
                  <a:lnTo>
                    <a:pt x="1632" y="259"/>
                  </a:lnTo>
                  <a:lnTo>
                    <a:pt x="1631" y="288"/>
                  </a:lnTo>
                  <a:lnTo>
                    <a:pt x="1616" y="293"/>
                  </a:lnTo>
                  <a:lnTo>
                    <a:pt x="1590" y="304"/>
                  </a:lnTo>
                  <a:lnTo>
                    <a:pt x="1581" y="275"/>
                  </a:lnTo>
                  <a:lnTo>
                    <a:pt x="1566" y="266"/>
                  </a:lnTo>
                  <a:lnTo>
                    <a:pt x="1590" y="228"/>
                  </a:lnTo>
                  <a:lnTo>
                    <a:pt x="1560" y="235"/>
                  </a:lnTo>
                  <a:lnTo>
                    <a:pt x="1544" y="237"/>
                  </a:lnTo>
                  <a:lnTo>
                    <a:pt x="1544" y="267"/>
                  </a:lnTo>
                  <a:lnTo>
                    <a:pt x="1508" y="232"/>
                  </a:lnTo>
                  <a:lnTo>
                    <a:pt x="1508" y="283"/>
                  </a:lnTo>
                  <a:lnTo>
                    <a:pt x="1484" y="283"/>
                  </a:lnTo>
                  <a:lnTo>
                    <a:pt x="1468" y="282"/>
                  </a:lnTo>
                  <a:lnTo>
                    <a:pt x="1460" y="251"/>
                  </a:lnTo>
                  <a:lnTo>
                    <a:pt x="1431" y="251"/>
                  </a:lnTo>
                  <a:lnTo>
                    <a:pt x="1442" y="224"/>
                  </a:lnTo>
                  <a:lnTo>
                    <a:pt x="1439" y="206"/>
                  </a:lnTo>
                  <a:lnTo>
                    <a:pt x="1430" y="183"/>
                  </a:lnTo>
                  <a:lnTo>
                    <a:pt x="1415" y="211"/>
                  </a:lnTo>
                  <a:lnTo>
                    <a:pt x="1388" y="190"/>
                  </a:lnTo>
                  <a:lnTo>
                    <a:pt x="1385" y="199"/>
                  </a:lnTo>
                  <a:lnTo>
                    <a:pt x="1388" y="198"/>
                  </a:lnTo>
                  <a:lnTo>
                    <a:pt x="1375" y="217"/>
                  </a:lnTo>
                  <a:lnTo>
                    <a:pt x="1380" y="208"/>
                  </a:lnTo>
                  <a:lnTo>
                    <a:pt x="1385" y="199"/>
                  </a:lnTo>
                  <a:lnTo>
                    <a:pt x="1332" y="214"/>
                  </a:lnTo>
                  <a:lnTo>
                    <a:pt x="1333" y="193"/>
                  </a:lnTo>
                  <a:lnTo>
                    <a:pt x="1341" y="166"/>
                  </a:lnTo>
                  <a:lnTo>
                    <a:pt x="1322" y="172"/>
                  </a:lnTo>
                  <a:lnTo>
                    <a:pt x="1304" y="185"/>
                  </a:lnTo>
                  <a:lnTo>
                    <a:pt x="1293" y="167"/>
                  </a:lnTo>
                  <a:lnTo>
                    <a:pt x="1272" y="162"/>
                  </a:lnTo>
                  <a:lnTo>
                    <a:pt x="1250" y="161"/>
                  </a:lnTo>
                  <a:lnTo>
                    <a:pt x="1262" y="198"/>
                  </a:lnTo>
                  <a:lnTo>
                    <a:pt x="1246" y="201"/>
                  </a:lnTo>
                  <a:lnTo>
                    <a:pt x="1235" y="195"/>
                  </a:lnTo>
                  <a:lnTo>
                    <a:pt x="1229" y="193"/>
                  </a:lnTo>
                  <a:lnTo>
                    <a:pt x="1221" y="174"/>
                  </a:lnTo>
                  <a:lnTo>
                    <a:pt x="1180" y="206"/>
                  </a:lnTo>
                  <a:lnTo>
                    <a:pt x="1180" y="175"/>
                  </a:lnTo>
                  <a:lnTo>
                    <a:pt x="1168" y="164"/>
                  </a:lnTo>
                  <a:lnTo>
                    <a:pt x="1147" y="175"/>
                  </a:lnTo>
                  <a:lnTo>
                    <a:pt x="1129" y="182"/>
                  </a:lnTo>
                  <a:lnTo>
                    <a:pt x="1118" y="166"/>
                  </a:lnTo>
                  <a:lnTo>
                    <a:pt x="1108" y="177"/>
                  </a:lnTo>
                  <a:lnTo>
                    <a:pt x="1103" y="179"/>
                  </a:lnTo>
                  <a:lnTo>
                    <a:pt x="1082" y="167"/>
                  </a:lnTo>
                  <a:lnTo>
                    <a:pt x="1066" y="162"/>
                  </a:lnTo>
                  <a:lnTo>
                    <a:pt x="1049" y="193"/>
                  </a:lnTo>
                  <a:lnTo>
                    <a:pt x="1069" y="143"/>
                  </a:lnTo>
                  <a:lnTo>
                    <a:pt x="1026" y="156"/>
                  </a:lnTo>
                  <a:lnTo>
                    <a:pt x="1003" y="153"/>
                  </a:lnTo>
                  <a:lnTo>
                    <a:pt x="1020" y="114"/>
                  </a:lnTo>
                  <a:lnTo>
                    <a:pt x="995" y="114"/>
                  </a:lnTo>
                  <a:lnTo>
                    <a:pt x="975" y="106"/>
                  </a:lnTo>
                  <a:lnTo>
                    <a:pt x="967" y="151"/>
                  </a:lnTo>
                  <a:lnTo>
                    <a:pt x="941" y="151"/>
                  </a:lnTo>
                  <a:lnTo>
                    <a:pt x="928" y="140"/>
                  </a:lnTo>
                  <a:lnTo>
                    <a:pt x="925" y="140"/>
                  </a:lnTo>
                  <a:lnTo>
                    <a:pt x="909" y="116"/>
                  </a:lnTo>
                  <a:lnTo>
                    <a:pt x="884" y="108"/>
                  </a:lnTo>
                  <a:lnTo>
                    <a:pt x="875" y="137"/>
                  </a:lnTo>
                  <a:lnTo>
                    <a:pt x="843" y="137"/>
                  </a:lnTo>
                  <a:lnTo>
                    <a:pt x="872" y="96"/>
                  </a:lnTo>
                  <a:lnTo>
                    <a:pt x="825" y="108"/>
                  </a:lnTo>
                  <a:lnTo>
                    <a:pt x="844" y="69"/>
                  </a:lnTo>
                  <a:lnTo>
                    <a:pt x="822" y="98"/>
                  </a:lnTo>
                  <a:lnTo>
                    <a:pt x="806" y="109"/>
                  </a:lnTo>
                  <a:lnTo>
                    <a:pt x="796" y="46"/>
                  </a:lnTo>
                  <a:lnTo>
                    <a:pt x="770" y="93"/>
                  </a:lnTo>
                  <a:lnTo>
                    <a:pt x="762" y="67"/>
                  </a:lnTo>
                  <a:lnTo>
                    <a:pt x="746" y="63"/>
                  </a:lnTo>
                  <a:lnTo>
                    <a:pt x="720" y="53"/>
                  </a:lnTo>
                  <a:lnTo>
                    <a:pt x="727" y="90"/>
                  </a:lnTo>
                  <a:lnTo>
                    <a:pt x="714" y="100"/>
                  </a:lnTo>
                  <a:lnTo>
                    <a:pt x="695" y="75"/>
                  </a:lnTo>
                  <a:lnTo>
                    <a:pt x="672" y="103"/>
                  </a:lnTo>
                  <a:lnTo>
                    <a:pt x="682" y="59"/>
                  </a:lnTo>
                  <a:lnTo>
                    <a:pt x="648" y="85"/>
                  </a:lnTo>
                  <a:lnTo>
                    <a:pt x="635" y="95"/>
                  </a:lnTo>
                  <a:lnTo>
                    <a:pt x="621" y="77"/>
                  </a:lnTo>
                  <a:lnTo>
                    <a:pt x="608" y="98"/>
                  </a:lnTo>
                  <a:lnTo>
                    <a:pt x="589" y="58"/>
                  </a:lnTo>
                  <a:lnTo>
                    <a:pt x="574" y="63"/>
                  </a:lnTo>
                  <a:lnTo>
                    <a:pt x="555" y="45"/>
                  </a:lnTo>
                  <a:lnTo>
                    <a:pt x="539" y="51"/>
                  </a:lnTo>
                  <a:lnTo>
                    <a:pt x="534" y="109"/>
                  </a:lnTo>
                  <a:lnTo>
                    <a:pt x="507" y="114"/>
                  </a:lnTo>
                  <a:lnTo>
                    <a:pt x="492" y="87"/>
                  </a:lnTo>
                  <a:lnTo>
                    <a:pt x="484" y="67"/>
                  </a:lnTo>
                  <a:lnTo>
                    <a:pt x="476" y="40"/>
                  </a:lnTo>
                  <a:lnTo>
                    <a:pt x="447" y="87"/>
                  </a:lnTo>
                  <a:lnTo>
                    <a:pt x="434" y="75"/>
                  </a:lnTo>
                  <a:lnTo>
                    <a:pt x="420" y="63"/>
                  </a:lnTo>
                  <a:lnTo>
                    <a:pt x="407" y="50"/>
                  </a:lnTo>
                  <a:lnTo>
                    <a:pt x="394" y="38"/>
                  </a:lnTo>
                  <a:lnTo>
                    <a:pt x="381" y="22"/>
                  </a:lnTo>
                  <a:lnTo>
                    <a:pt x="365" y="48"/>
                  </a:lnTo>
                  <a:lnTo>
                    <a:pt x="346" y="1"/>
                  </a:lnTo>
                  <a:lnTo>
                    <a:pt x="333" y="35"/>
                  </a:lnTo>
                  <a:lnTo>
                    <a:pt x="325" y="13"/>
                  </a:lnTo>
                  <a:lnTo>
                    <a:pt x="314" y="0"/>
                  </a:lnTo>
                  <a:lnTo>
                    <a:pt x="288" y="19"/>
                  </a:lnTo>
                  <a:lnTo>
                    <a:pt x="275" y="24"/>
                  </a:lnTo>
                  <a:lnTo>
                    <a:pt x="259" y="24"/>
                  </a:lnTo>
                  <a:lnTo>
                    <a:pt x="251" y="45"/>
                  </a:lnTo>
                  <a:lnTo>
                    <a:pt x="240" y="51"/>
                  </a:lnTo>
                  <a:lnTo>
                    <a:pt x="214" y="34"/>
                  </a:lnTo>
                  <a:lnTo>
                    <a:pt x="187" y="16"/>
                  </a:lnTo>
                  <a:lnTo>
                    <a:pt x="182" y="46"/>
                  </a:lnTo>
                  <a:lnTo>
                    <a:pt x="169" y="59"/>
                  </a:lnTo>
                  <a:lnTo>
                    <a:pt x="151" y="50"/>
                  </a:lnTo>
                  <a:lnTo>
                    <a:pt x="142" y="43"/>
                  </a:lnTo>
                  <a:lnTo>
                    <a:pt x="121" y="38"/>
                  </a:lnTo>
                  <a:lnTo>
                    <a:pt x="106" y="30"/>
                  </a:lnTo>
                  <a:lnTo>
                    <a:pt x="106" y="17"/>
                  </a:lnTo>
                  <a:lnTo>
                    <a:pt x="85" y="5"/>
                  </a:lnTo>
                  <a:lnTo>
                    <a:pt x="71" y="14"/>
                  </a:lnTo>
                  <a:lnTo>
                    <a:pt x="68" y="48"/>
                  </a:lnTo>
                  <a:lnTo>
                    <a:pt x="53" y="59"/>
                  </a:lnTo>
                  <a:lnTo>
                    <a:pt x="19" y="25"/>
                  </a:lnTo>
                  <a:lnTo>
                    <a:pt x="10" y="29"/>
                  </a:lnTo>
                  <a:lnTo>
                    <a:pt x="3" y="25"/>
                  </a:lnTo>
                  <a:lnTo>
                    <a:pt x="0" y="29"/>
                  </a:lnTo>
                  <a:lnTo>
                    <a:pt x="0" y="2518"/>
                  </a:lnTo>
                  <a:lnTo>
                    <a:pt x="10" y="2518"/>
                  </a:lnTo>
                  <a:close/>
                </a:path>
              </a:pathLst>
            </a:custGeom>
            <a:solidFill>
              <a:srgbClr val="F5F5F0"/>
            </a:solidFill>
            <a:ln>
              <a:noFill/>
            </a:ln>
            <a:effectLst>
              <a:outerShdw blurRad="101600" dist="38100" dir="4200000" algn="l" rotWithShape="0">
                <a:prstClr val="black">
                  <a:alpha val="75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E83E971C-46CE-4236-BE06-1B5DF2A6D45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38983" y="2023905"/>
              <a:ext cx="3483233" cy="1514948"/>
            </a:xfrm>
            <a:prstGeom prst="rect">
              <a:avLst/>
            </a:prstGeom>
            <a:ln>
              <a:noFill/>
            </a:ln>
            <a:effectLst/>
          </p:spPr>
        </p:pic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125DD0A9-F34A-4BA7-A88B-FF34A68DBBEE}"/>
              </a:ext>
            </a:extLst>
          </p:cNvPr>
          <p:cNvGrpSpPr/>
          <p:nvPr/>
        </p:nvGrpSpPr>
        <p:grpSpPr>
          <a:xfrm>
            <a:off x="8393421" y="1449282"/>
            <a:ext cx="3319608" cy="2169654"/>
            <a:chOff x="8241636" y="1954738"/>
            <a:chExt cx="3319608" cy="2169654"/>
          </a:xfrm>
        </p:grpSpPr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7809D408-21FD-4532-9BE8-86CB0BFF07DB}"/>
                </a:ext>
              </a:extLst>
            </p:cNvPr>
            <p:cNvSpPr>
              <a:spLocks/>
            </p:cNvSpPr>
            <p:nvPr/>
          </p:nvSpPr>
          <p:spPr>
            <a:xfrm flipH="1">
              <a:off x="8241636" y="1954738"/>
              <a:ext cx="3319608" cy="2169654"/>
            </a:xfrm>
            <a:custGeom>
              <a:avLst/>
              <a:gdLst>
                <a:gd name="connsiteX0" fmla="*/ 2218855 w 3319608"/>
                <a:gd name="connsiteY0" fmla="*/ 1462009 h 2169654"/>
                <a:gd name="connsiteX1" fmla="*/ 2228531 w 3319608"/>
                <a:gd name="connsiteY1" fmla="*/ 1466651 h 2169654"/>
                <a:gd name="connsiteX2" fmla="*/ 2225472 w 3319608"/>
                <a:gd name="connsiteY2" fmla="*/ 1523891 h 2169654"/>
                <a:gd name="connsiteX3" fmla="*/ 2214379 w 3319608"/>
                <a:gd name="connsiteY3" fmla="*/ 1467811 h 2169654"/>
                <a:gd name="connsiteX4" fmla="*/ 3316911 w 3319608"/>
                <a:gd name="connsiteY4" fmla="*/ 0 h 2169654"/>
                <a:gd name="connsiteX5" fmla="*/ 1 w 3319608"/>
                <a:gd name="connsiteY5" fmla="*/ 0 h 2169654"/>
                <a:gd name="connsiteX6" fmla="*/ 1 w 3319608"/>
                <a:gd name="connsiteY6" fmla="*/ 590893 h 2169654"/>
                <a:gd name="connsiteX7" fmla="*/ 0 w 3319608"/>
                <a:gd name="connsiteY7" fmla="*/ 590893 h 2169654"/>
                <a:gd name="connsiteX8" fmla="*/ 0 w 3319608"/>
                <a:gd name="connsiteY8" fmla="*/ 1749588 h 2169654"/>
                <a:gd name="connsiteX9" fmla="*/ 5644 w 3319608"/>
                <a:gd name="connsiteY9" fmla="*/ 1740048 h 2169654"/>
                <a:gd name="connsiteX10" fmla="*/ 26719 w 3319608"/>
                <a:gd name="connsiteY10" fmla="*/ 1737684 h 2169654"/>
                <a:gd name="connsiteX11" fmla="*/ 30000 w 3319608"/>
                <a:gd name="connsiteY11" fmla="*/ 1780400 h 2169654"/>
                <a:gd name="connsiteX12" fmla="*/ 22993 w 3319608"/>
                <a:gd name="connsiteY12" fmla="*/ 1831453 h 2169654"/>
                <a:gd name="connsiteX13" fmla="*/ 61389 w 3319608"/>
                <a:gd name="connsiteY13" fmla="*/ 1801328 h 2169654"/>
                <a:gd name="connsiteX14" fmla="*/ 81296 w 3319608"/>
                <a:gd name="connsiteY14" fmla="*/ 1800082 h 2169654"/>
                <a:gd name="connsiteX15" fmla="*/ 87524 w 3319608"/>
                <a:gd name="connsiteY15" fmla="*/ 1829863 h 2169654"/>
                <a:gd name="connsiteX16" fmla="*/ 78433 w 3319608"/>
                <a:gd name="connsiteY16" fmla="*/ 1887275 h 2169654"/>
                <a:gd name="connsiteX17" fmla="*/ 110517 w 3319608"/>
                <a:gd name="connsiteY17" fmla="*/ 1869570 h 2169654"/>
                <a:gd name="connsiteX18" fmla="*/ 111907 w 3319608"/>
                <a:gd name="connsiteY18" fmla="*/ 1904164 h 2169654"/>
                <a:gd name="connsiteX19" fmla="*/ 117996 w 3319608"/>
                <a:gd name="connsiteY19" fmla="*/ 1941895 h 2169654"/>
                <a:gd name="connsiteX20" fmla="*/ 139850 w 3319608"/>
                <a:gd name="connsiteY20" fmla="*/ 1945290 h 2169654"/>
                <a:gd name="connsiteX21" fmla="*/ 163260 w 3319608"/>
                <a:gd name="connsiteY21" fmla="*/ 1921181 h 2169654"/>
                <a:gd name="connsiteX22" fmla="*/ 172268 w 3319608"/>
                <a:gd name="connsiteY22" fmla="*/ 1981688 h 2169654"/>
                <a:gd name="connsiteX23" fmla="*/ 192370 w 3319608"/>
                <a:gd name="connsiteY23" fmla="*/ 1959084 h 2169654"/>
                <a:gd name="connsiteX24" fmla="*/ 208440 w 3319608"/>
                <a:gd name="connsiteY24" fmla="*/ 1982290 h 2169654"/>
                <a:gd name="connsiteX25" fmla="*/ 221340 w 3319608"/>
                <a:gd name="connsiteY25" fmla="*/ 1947438 h 2169654"/>
                <a:gd name="connsiteX26" fmla="*/ 226456 w 3319608"/>
                <a:gd name="connsiteY26" fmla="*/ 1971289 h 2169654"/>
                <a:gd name="connsiteX27" fmla="*/ 239274 w 3319608"/>
                <a:gd name="connsiteY27" fmla="*/ 1963210 h 2169654"/>
                <a:gd name="connsiteX28" fmla="*/ 260765 w 3319608"/>
                <a:gd name="connsiteY28" fmla="*/ 1962866 h 2169654"/>
                <a:gd name="connsiteX29" fmla="*/ 260404 w 3319608"/>
                <a:gd name="connsiteY29" fmla="*/ 1994709 h 2169654"/>
                <a:gd name="connsiteX30" fmla="*/ 293462 w 3319608"/>
                <a:gd name="connsiteY30" fmla="*/ 1991185 h 2169654"/>
                <a:gd name="connsiteX31" fmla="*/ 284899 w 3319608"/>
                <a:gd name="connsiteY31" fmla="*/ 2022470 h 2169654"/>
                <a:gd name="connsiteX32" fmla="*/ 307864 w 3319608"/>
                <a:gd name="connsiteY32" fmla="*/ 2023415 h 2169654"/>
                <a:gd name="connsiteX33" fmla="*/ 307864 w 3319608"/>
                <a:gd name="connsiteY33" fmla="*/ 2023373 h 2169654"/>
                <a:gd name="connsiteX34" fmla="*/ 324434 w 3319608"/>
                <a:gd name="connsiteY34" fmla="*/ 2015895 h 2169654"/>
                <a:gd name="connsiteX35" fmla="*/ 350347 w 3319608"/>
                <a:gd name="connsiteY35" fmla="*/ 2059685 h 2169654"/>
                <a:gd name="connsiteX36" fmla="*/ 371950 w 3319608"/>
                <a:gd name="connsiteY36" fmla="*/ 2014219 h 2169654"/>
                <a:gd name="connsiteX37" fmla="*/ 377733 w 3319608"/>
                <a:gd name="connsiteY37" fmla="*/ 2058568 h 2169654"/>
                <a:gd name="connsiteX38" fmla="*/ 346065 w 3319608"/>
                <a:gd name="connsiteY38" fmla="*/ 2104463 h 2169654"/>
                <a:gd name="connsiteX39" fmla="*/ 380235 w 3319608"/>
                <a:gd name="connsiteY39" fmla="*/ 2118516 h 2169654"/>
                <a:gd name="connsiteX40" fmla="*/ 391162 w 3319608"/>
                <a:gd name="connsiteY40" fmla="*/ 2080699 h 2169654"/>
                <a:gd name="connsiteX41" fmla="*/ 412848 w 3319608"/>
                <a:gd name="connsiteY41" fmla="*/ 2108202 h 2169654"/>
                <a:gd name="connsiteX42" fmla="*/ 418075 w 3319608"/>
                <a:gd name="connsiteY42" fmla="*/ 2140217 h 2169654"/>
                <a:gd name="connsiteX43" fmla="*/ 437482 w 3319608"/>
                <a:gd name="connsiteY43" fmla="*/ 2119461 h 2169654"/>
                <a:gd name="connsiteX44" fmla="*/ 440095 w 3319608"/>
                <a:gd name="connsiteY44" fmla="*/ 2155258 h 2169654"/>
                <a:gd name="connsiteX45" fmla="*/ 473014 w 3319608"/>
                <a:gd name="connsiteY45" fmla="*/ 2111683 h 2169654"/>
                <a:gd name="connsiteX46" fmla="*/ 469873 w 3319608"/>
                <a:gd name="connsiteY46" fmla="*/ 2120449 h 2169654"/>
                <a:gd name="connsiteX47" fmla="*/ 483941 w 3319608"/>
                <a:gd name="connsiteY47" fmla="*/ 2114046 h 2169654"/>
                <a:gd name="connsiteX48" fmla="*/ 518417 w 3319608"/>
                <a:gd name="connsiteY48" fmla="*/ 2169654 h 2169654"/>
                <a:gd name="connsiteX49" fmla="*/ 512439 w 3319608"/>
                <a:gd name="connsiteY49" fmla="*/ 2102143 h 2169654"/>
                <a:gd name="connsiteX50" fmla="*/ 532124 w 3319608"/>
                <a:gd name="connsiteY50" fmla="*/ 2097888 h 2169654"/>
                <a:gd name="connsiteX51" fmla="*/ 559037 w 3319608"/>
                <a:gd name="connsiteY51" fmla="*/ 2115680 h 2169654"/>
                <a:gd name="connsiteX52" fmla="*/ 586034 w 3319608"/>
                <a:gd name="connsiteY52" fmla="*/ 2094494 h 2169654"/>
                <a:gd name="connsiteX53" fmla="*/ 585506 w 3319608"/>
                <a:gd name="connsiteY53" fmla="*/ 2048727 h 2169654"/>
                <a:gd name="connsiteX54" fmla="*/ 563124 w 3319608"/>
                <a:gd name="connsiteY54" fmla="*/ 2029517 h 2169654"/>
                <a:gd name="connsiteX55" fmla="*/ 572689 w 3319608"/>
                <a:gd name="connsiteY55" fmla="*/ 2003347 h 2169654"/>
                <a:gd name="connsiteX56" fmla="*/ 539380 w 3319608"/>
                <a:gd name="connsiteY56" fmla="*/ 1986630 h 2169654"/>
                <a:gd name="connsiteX57" fmla="*/ 543885 w 3319608"/>
                <a:gd name="connsiteY57" fmla="*/ 1943098 h 2169654"/>
                <a:gd name="connsiteX58" fmla="*/ 571437 w 3319608"/>
                <a:gd name="connsiteY58" fmla="*/ 1947309 h 2169654"/>
                <a:gd name="connsiteX59" fmla="*/ 589565 w 3319608"/>
                <a:gd name="connsiteY59" fmla="*/ 1995139 h 2169654"/>
                <a:gd name="connsiteX60" fmla="*/ 603884 w 3319608"/>
                <a:gd name="connsiteY60" fmla="*/ 1973953 h 2169654"/>
                <a:gd name="connsiteX61" fmla="*/ 601604 w 3319608"/>
                <a:gd name="connsiteY61" fmla="*/ 1919377 h 2169654"/>
                <a:gd name="connsiteX62" fmla="*/ 602660 w 3319608"/>
                <a:gd name="connsiteY62" fmla="*/ 1913231 h 2169654"/>
                <a:gd name="connsiteX63" fmla="*/ 631798 w 3319608"/>
                <a:gd name="connsiteY63" fmla="*/ 1901500 h 2169654"/>
                <a:gd name="connsiteX64" fmla="*/ 634717 w 3319608"/>
                <a:gd name="connsiteY64" fmla="*/ 1874340 h 2169654"/>
                <a:gd name="connsiteX65" fmla="*/ 625931 w 3319608"/>
                <a:gd name="connsiteY65" fmla="*/ 1833644 h 2169654"/>
                <a:gd name="connsiteX66" fmla="*/ 667414 w 3319608"/>
                <a:gd name="connsiteY66" fmla="*/ 1845376 h 2169654"/>
                <a:gd name="connsiteX67" fmla="*/ 669276 w 3319608"/>
                <a:gd name="connsiteY67" fmla="*/ 1826854 h 2169654"/>
                <a:gd name="connsiteX68" fmla="*/ 682261 w 3319608"/>
                <a:gd name="connsiteY68" fmla="*/ 1848169 h 2169654"/>
                <a:gd name="connsiteX69" fmla="*/ 702084 w 3319608"/>
                <a:gd name="connsiteY69" fmla="*/ 1774083 h 2169654"/>
                <a:gd name="connsiteX70" fmla="*/ 723437 w 3319608"/>
                <a:gd name="connsiteY70" fmla="*/ 1825007 h 2169654"/>
                <a:gd name="connsiteX71" fmla="*/ 705421 w 3319608"/>
                <a:gd name="connsiteY71" fmla="*/ 1761363 h 2169654"/>
                <a:gd name="connsiteX72" fmla="*/ 734919 w 3319608"/>
                <a:gd name="connsiteY72" fmla="*/ 1764156 h 2169654"/>
                <a:gd name="connsiteX73" fmla="*/ 748210 w 3319608"/>
                <a:gd name="connsiteY73" fmla="*/ 1739575 h 2169654"/>
                <a:gd name="connsiteX74" fmla="*/ 768839 w 3319608"/>
                <a:gd name="connsiteY74" fmla="*/ 1721054 h 2169654"/>
                <a:gd name="connsiteX75" fmla="*/ 785549 w 3319608"/>
                <a:gd name="connsiteY75" fmla="*/ 1739232 h 2169654"/>
                <a:gd name="connsiteX76" fmla="*/ 800591 w 3319608"/>
                <a:gd name="connsiteY76" fmla="*/ 1778896 h 2169654"/>
                <a:gd name="connsiteX77" fmla="*/ 815743 w 3319608"/>
                <a:gd name="connsiteY77" fmla="*/ 1782893 h 2169654"/>
                <a:gd name="connsiteX78" fmla="*/ 839765 w 3319608"/>
                <a:gd name="connsiteY78" fmla="*/ 1726512 h 2169654"/>
                <a:gd name="connsiteX79" fmla="*/ 842573 w 3319608"/>
                <a:gd name="connsiteY79" fmla="*/ 1721139 h 2169654"/>
                <a:gd name="connsiteX80" fmla="*/ 860284 w 3319608"/>
                <a:gd name="connsiteY80" fmla="*/ 1740478 h 2169654"/>
                <a:gd name="connsiteX81" fmla="*/ 858477 w 3319608"/>
                <a:gd name="connsiteY81" fmla="*/ 1699223 h 2169654"/>
                <a:gd name="connsiteX82" fmla="*/ 895733 w 3319608"/>
                <a:gd name="connsiteY82" fmla="*/ 1726296 h 2169654"/>
                <a:gd name="connsiteX83" fmla="*/ 907994 w 3319608"/>
                <a:gd name="connsiteY83" fmla="*/ 1742841 h 2169654"/>
                <a:gd name="connsiteX84" fmla="*/ 916529 w 3319608"/>
                <a:gd name="connsiteY84" fmla="*/ 1663684 h 2169654"/>
                <a:gd name="connsiteX85" fmla="*/ 931821 w 3319608"/>
                <a:gd name="connsiteY85" fmla="*/ 1678596 h 2169654"/>
                <a:gd name="connsiteX86" fmla="*/ 950783 w 3319608"/>
                <a:gd name="connsiteY86" fmla="*/ 1691961 h 2169654"/>
                <a:gd name="connsiteX87" fmla="*/ 960097 w 3319608"/>
                <a:gd name="connsiteY87" fmla="*/ 1658699 h 2169654"/>
                <a:gd name="connsiteX88" fmla="*/ 979365 w 3319608"/>
                <a:gd name="connsiteY88" fmla="*/ 1663555 h 2169654"/>
                <a:gd name="connsiteX89" fmla="*/ 995991 w 3319608"/>
                <a:gd name="connsiteY89" fmla="*/ 1661621 h 2169654"/>
                <a:gd name="connsiteX90" fmla="*/ 1014702 w 3319608"/>
                <a:gd name="connsiteY90" fmla="*/ 1708720 h 2169654"/>
                <a:gd name="connsiteX91" fmla="*/ 1024016 w 3319608"/>
                <a:gd name="connsiteY91" fmla="*/ 1684612 h 2169654"/>
                <a:gd name="connsiteX92" fmla="*/ 1046481 w 3319608"/>
                <a:gd name="connsiteY92" fmla="*/ 1676189 h 2169654"/>
                <a:gd name="connsiteX93" fmla="*/ 1038335 w 3319608"/>
                <a:gd name="connsiteY93" fmla="*/ 1736825 h 2169654"/>
                <a:gd name="connsiteX94" fmla="*/ 1070336 w 3319608"/>
                <a:gd name="connsiteY94" fmla="*/ 1722858 h 2169654"/>
                <a:gd name="connsiteX95" fmla="*/ 1087157 w 3319608"/>
                <a:gd name="connsiteY95" fmla="*/ 1677650 h 2169654"/>
                <a:gd name="connsiteX96" fmla="*/ 1101893 w 3319608"/>
                <a:gd name="connsiteY96" fmla="*/ 1702704 h 2169654"/>
                <a:gd name="connsiteX97" fmla="*/ 1117045 w 3319608"/>
                <a:gd name="connsiteY97" fmla="*/ 1708978 h 2169654"/>
                <a:gd name="connsiteX98" fmla="*/ 1152217 w 3319608"/>
                <a:gd name="connsiteY98" fmla="*/ 1709494 h 2169654"/>
                <a:gd name="connsiteX99" fmla="*/ 1106286 w 3319608"/>
                <a:gd name="connsiteY99" fmla="*/ 1730422 h 2169654"/>
                <a:gd name="connsiteX100" fmla="*/ 1095470 w 3319608"/>
                <a:gd name="connsiteY100" fmla="*/ 1751479 h 2169654"/>
                <a:gd name="connsiteX101" fmla="*/ 1111012 w 3319608"/>
                <a:gd name="connsiteY101" fmla="*/ 1793722 h 2169654"/>
                <a:gd name="connsiteX102" fmla="*/ 1112041 w 3319608"/>
                <a:gd name="connsiteY102" fmla="*/ 1792218 h 2169654"/>
                <a:gd name="connsiteX103" fmla="*/ 1128278 w 3319608"/>
                <a:gd name="connsiteY103" fmla="*/ 1786202 h 2169654"/>
                <a:gd name="connsiteX104" fmla="*/ 1150020 w 3319608"/>
                <a:gd name="connsiteY104" fmla="*/ 1842669 h 2169654"/>
                <a:gd name="connsiteX105" fmla="*/ 1164422 w 3319608"/>
                <a:gd name="connsiteY105" fmla="*/ 1841809 h 2169654"/>
                <a:gd name="connsiteX106" fmla="*/ 1183384 w 3319608"/>
                <a:gd name="connsiteY106" fmla="*/ 1792948 h 2169654"/>
                <a:gd name="connsiteX107" fmla="*/ 1198509 w 3319608"/>
                <a:gd name="connsiteY107" fmla="*/ 1824319 h 2169654"/>
                <a:gd name="connsiteX108" fmla="*/ 1235515 w 3319608"/>
                <a:gd name="connsiteY108" fmla="*/ 1783752 h 2169654"/>
                <a:gd name="connsiteX109" fmla="*/ 1228008 w 3319608"/>
                <a:gd name="connsiteY109" fmla="*/ 1837555 h 2169654"/>
                <a:gd name="connsiteX110" fmla="*/ 1262484 w 3319608"/>
                <a:gd name="connsiteY110" fmla="*/ 1814607 h 2169654"/>
                <a:gd name="connsiteX111" fmla="*/ 1253225 w 3319608"/>
                <a:gd name="connsiteY111" fmla="*/ 1840821 h 2169654"/>
                <a:gd name="connsiteX112" fmla="*/ 1263846 w 3319608"/>
                <a:gd name="connsiteY112" fmla="*/ 1851693 h 2169654"/>
                <a:gd name="connsiteX113" fmla="*/ 1264207 w 3319608"/>
                <a:gd name="connsiteY113" fmla="*/ 1824620 h 2169654"/>
                <a:gd name="connsiteX114" fmla="*/ 1283503 w 3319608"/>
                <a:gd name="connsiteY114" fmla="*/ 1817228 h 2169654"/>
                <a:gd name="connsiteX115" fmla="*/ 1266515 w 3319608"/>
                <a:gd name="connsiteY115" fmla="*/ 1772020 h 2169654"/>
                <a:gd name="connsiteX116" fmla="*/ 1294124 w 3319608"/>
                <a:gd name="connsiteY116" fmla="*/ 1757796 h 2169654"/>
                <a:gd name="connsiteX117" fmla="*/ 1305745 w 3319608"/>
                <a:gd name="connsiteY117" fmla="*/ 1794667 h 2169654"/>
                <a:gd name="connsiteX118" fmla="*/ 1304188 w 3319608"/>
                <a:gd name="connsiteY118" fmla="*/ 1838887 h 2169654"/>
                <a:gd name="connsiteX119" fmla="*/ 1327988 w 3319608"/>
                <a:gd name="connsiteY119" fmla="*/ 1829820 h 2169654"/>
                <a:gd name="connsiteX120" fmla="*/ 1350981 w 3319608"/>
                <a:gd name="connsiteY120" fmla="*/ 1797375 h 2169654"/>
                <a:gd name="connsiteX121" fmla="*/ 1364716 w 3319608"/>
                <a:gd name="connsiteY121" fmla="*/ 1848212 h 2169654"/>
                <a:gd name="connsiteX122" fmla="*/ 1380091 w 3319608"/>
                <a:gd name="connsiteY122" fmla="*/ 1843012 h 2169654"/>
                <a:gd name="connsiteX123" fmla="*/ 1396606 w 3319608"/>
                <a:gd name="connsiteY123" fmla="*/ 1854014 h 2169654"/>
                <a:gd name="connsiteX124" fmla="*/ 1409840 w 3319608"/>
                <a:gd name="connsiteY124" fmla="*/ 1838500 h 2169654"/>
                <a:gd name="connsiteX125" fmla="*/ 1423936 w 3319608"/>
                <a:gd name="connsiteY125" fmla="*/ 1818346 h 2169654"/>
                <a:gd name="connsiteX126" fmla="*/ 1431693 w 3319608"/>
                <a:gd name="connsiteY126" fmla="*/ 1763297 h 2169654"/>
                <a:gd name="connsiteX127" fmla="*/ 1465252 w 3319608"/>
                <a:gd name="connsiteY127" fmla="*/ 1845118 h 2169654"/>
                <a:gd name="connsiteX128" fmla="*/ 1467643 w 3319608"/>
                <a:gd name="connsiteY128" fmla="*/ 1783838 h 2169654"/>
                <a:gd name="connsiteX129" fmla="*/ 1483963 w 3319608"/>
                <a:gd name="connsiteY129" fmla="*/ 1777349 h 2169654"/>
                <a:gd name="connsiteX130" fmla="*/ 1494361 w 3319608"/>
                <a:gd name="connsiteY130" fmla="*/ 1829304 h 2169654"/>
                <a:gd name="connsiteX131" fmla="*/ 1517077 w 3319608"/>
                <a:gd name="connsiteY131" fmla="*/ 1759988 h 2169654"/>
                <a:gd name="connsiteX132" fmla="*/ 1518689 w 3319608"/>
                <a:gd name="connsiteY132" fmla="*/ 1823675 h 2169654"/>
                <a:gd name="connsiteX133" fmla="*/ 1540403 w 3319608"/>
                <a:gd name="connsiteY133" fmla="*/ 1808849 h 2169654"/>
                <a:gd name="connsiteX134" fmla="*/ 1539403 w 3319608"/>
                <a:gd name="connsiteY134" fmla="*/ 1845634 h 2169654"/>
                <a:gd name="connsiteX135" fmla="*/ 1575769 w 3319608"/>
                <a:gd name="connsiteY135" fmla="*/ 1821612 h 2169654"/>
                <a:gd name="connsiteX136" fmla="*/ 1584472 w 3319608"/>
                <a:gd name="connsiteY136" fmla="*/ 1847997 h 2169654"/>
                <a:gd name="connsiteX137" fmla="*/ 1594036 w 3319608"/>
                <a:gd name="connsiteY137" fmla="*/ 1873352 h 2169654"/>
                <a:gd name="connsiteX138" fmla="*/ 1605630 w 3319608"/>
                <a:gd name="connsiteY138" fmla="*/ 1886974 h 2169654"/>
                <a:gd name="connsiteX139" fmla="*/ 1615861 w 3319608"/>
                <a:gd name="connsiteY139" fmla="*/ 1883794 h 2169654"/>
                <a:gd name="connsiteX140" fmla="*/ 1624981 w 3319608"/>
                <a:gd name="connsiteY140" fmla="*/ 1843872 h 2169654"/>
                <a:gd name="connsiteX141" fmla="*/ 1647501 w 3319608"/>
                <a:gd name="connsiteY141" fmla="*/ 1903992 h 2169654"/>
                <a:gd name="connsiteX142" fmla="*/ 1645889 w 3319608"/>
                <a:gd name="connsiteY142" fmla="*/ 1907344 h 2169654"/>
                <a:gd name="connsiteX143" fmla="*/ 1649114 w 3319608"/>
                <a:gd name="connsiteY143" fmla="*/ 1908289 h 2169654"/>
                <a:gd name="connsiteX144" fmla="*/ 1651282 w 3319608"/>
                <a:gd name="connsiteY144" fmla="*/ 1914048 h 2169654"/>
                <a:gd name="connsiteX145" fmla="*/ 1652867 w 3319608"/>
                <a:gd name="connsiteY145" fmla="*/ 1909407 h 2169654"/>
                <a:gd name="connsiteX146" fmla="*/ 1686787 w 3319608"/>
                <a:gd name="connsiteY146" fmla="*/ 1919506 h 2169654"/>
                <a:gd name="connsiteX147" fmla="*/ 1652311 w 3319608"/>
                <a:gd name="connsiteY147" fmla="*/ 1954701 h 2169654"/>
                <a:gd name="connsiteX148" fmla="*/ 1687649 w 3319608"/>
                <a:gd name="connsiteY148" fmla="*/ 1944774 h 2169654"/>
                <a:gd name="connsiteX149" fmla="*/ 1686981 w 3319608"/>
                <a:gd name="connsiteY149" fmla="*/ 1923244 h 2169654"/>
                <a:gd name="connsiteX150" fmla="*/ 1703385 w 3319608"/>
                <a:gd name="connsiteY150" fmla="*/ 1953626 h 2169654"/>
                <a:gd name="connsiteX151" fmla="*/ 1719344 w 3319608"/>
                <a:gd name="connsiteY151" fmla="*/ 1969655 h 2169654"/>
                <a:gd name="connsiteX152" fmla="*/ 1733274 w 3319608"/>
                <a:gd name="connsiteY152" fmla="*/ 1932612 h 2169654"/>
                <a:gd name="connsiteX153" fmla="*/ 1748399 w 3319608"/>
                <a:gd name="connsiteY153" fmla="*/ 1928358 h 2169654"/>
                <a:gd name="connsiteX154" fmla="*/ 1764052 w 3319608"/>
                <a:gd name="connsiteY154" fmla="*/ 1928186 h 2169654"/>
                <a:gd name="connsiteX155" fmla="*/ 1780761 w 3319608"/>
                <a:gd name="connsiteY155" fmla="*/ 2006312 h 2169654"/>
                <a:gd name="connsiteX156" fmla="*/ 1796581 w 3319608"/>
                <a:gd name="connsiteY156" fmla="*/ 1968409 h 2169654"/>
                <a:gd name="connsiteX157" fmla="*/ 1811678 w 3319608"/>
                <a:gd name="connsiteY157" fmla="*/ 1974984 h 2169654"/>
                <a:gd name="connsiteX158" fmla="*/ 1829027 w 3319608"/>
                <a:gd name="connsiteY158" fmla="*/ 2014391 h 2169654"/>
                <a:gd name="connsiteX159" fmla="*/ 1841317 w 3319608"/>
                <a:gd name="connsiteY159" fmla="*/ 1948341 h 2169654"/>
                <a:gd name="connsiteX160" fmla="*/ 1854301 w 3319608"/>
                <a:gd name="connsiteY160" fmla="*/ 1919677 h 2169654"/>
                <a:gd name="connsiteX161" fmla="*/ 1877433 w 3319608"/>
                <a:gd name="connsiteY161" fmla="*/ 1937082 h 2169654"/>
                <a:gd name="connsiteX162" fmla="*/ 1880630 w 3319608"/>
                <a:gd name="connsiteY162" fmla="*/ 2002659 h 2169654"/>
                <a:gd name="connsiteX163" fmla="*/ 1912020 w 3319608"/>
                <a:gd name="connsiteY163" fmla="*/ 1952939 h 2169654"/>
                <a:gd name="connsiteX164" fmla="*/ 1920500 w 3319608"/>
                <a:gd name="connsiteY164" fmla="*/ 2008031 h 2169654"/>
                <a:gd name="connsiteX165" fmla="*/ 1929564 w 3319608"/>
                <a:gd name="connsiteY165" fmla="*/ 1961576 h 2169654"/>
                <a:gd name="connsiteX166" fmla="*/ 1951389 w 3319608"/>
                <a:gd name="connsiteY166" fmla="*/ 1981989 h 2169654"/>
                <a:gd name="connsiteX167" fmla="*/ 1958368 w 3319608"/>
                <a:gd name="connsiteY167" fmla="*/ 1952595 h 2169654"/>
                <a:gd name="connsiteX168" fmla="*/ 1964568 w 3319608"/>
                <a:gd name="connsiteY168" fmla="*/ 1991271 h 2169654"/>
                <a:gd name="connsiteX169" fmla="*/ 1992232 w 3319608"/>
                <a:gd name="connsiteY169" fmla="*/ 1954830 h 2169654"/>
                <a:gd name="connsiteX170" fmla="*/ 1974077 w 3319608"/>
                <a:gd name="connsiteY170" fmla="*/ 2007472 h 2169654"/>
                <a:gd name="connsiteX171" fmla="*/ 1997598 w 3319608"/>
                <a:gd name="connsiteY171" fmla="*/ 2010180 h 2169654"/>
                <a:gd name="connsiteX172" fmla="*/ 2008191 w 3319608"/>
                <a:gd name="connsiteY172" fmla="*/ 2040304 h 2169654"/>
                <a:gd name="connsiteX173" fmla="*/ 2033547 w 3319608"/>
                <a:gd name="connsiteY173" fmla="*/ 2051048 h 2169654"/>
                <a:gd name="connsiteX174" fmla="*/ 2042611 w 3319608"/>
                <a:gd name="connsiteY174" fmla="*/ 2002573 h 2169654"/>
                <a:gd name="connsiteX175" fmla="*/ 2062157 w 3319608"/>
                <a:gd name="connsiteY175" fmla="*/ 2012070 h 2169654"/>
                <a:gd name="connsiteX176" fmla="*/ 2084149 w 3319608"/>
                <a:gd name="connsiteY176" fmla="*/ 2027111 h 2169654"/>
                <a:gd name="connsiteX177" fmla="*/ 2088764 w 3319608"/>
                <a:gd name="connsiteY177" fmla="*/ 1970171 h 2169654"/>
                <a:gd name="connsiteX178" fmla="*/ 2106781 w 3319608"/>
                <a:gd name="connsiteY178" fmla="*/ 1992216 h 2169654"/>
                <a:gd name="connsiteX179" fmla="*/ 2109978 w 3319608"/>
                <a:gd name="connsiteY179" fmla="*/ 2020880 h 2169654"/>
                <a:gd name="connsiteX180" fmla="*/ 2136307 w 3319608"/>
                <a:gd name="connsiteY180" fmla="*/ 2014047 h 2169654"/>
                <a:gd name="connsiteX181" fmla="*/ 2153795 w 3319608"/>
                <a:gd name="connsiteY181" fmla="*/ 2015336 h 2169654"/>
                <a:gd name="connsiteX182" fmla="*/ 2153184 w 3319608"/>
                <a:gd name="connsiteY182" fmla="*/ 1990412 h 2169654"/>
                <a:gd name="connsiteX183" fmla="*/ 2168170 w 3319608"/>
                <a:gd name="connsiteY183" fmla="*/ 1987447 h 2169654"/>
                <a:gd name="connsiteX184" fmla="*/ 2189050 w 3319608"/>
                <a:gd name="connsiteY184" fmla="*/ 1997073 h 2169654"/>
                <a:gd name="connsiteX185" fmla="*/ 2216547 w 3319608"/>
                <a:gd name="connsiteY185" fmla="*/ 1999092 h 2169654"/>
                <a:gd name="connsiteX186" fmla="*/ 2190774 w 3319608"/>
                <a:gd name="connsiteY186" fmla="*/ 1918990 h 2169654"/>
                <a:gd name="connsiteX187" fmla="*/ 2216158 w 3319608"/>
                <a:gd name="connsiteY187" fmla="*/ 1924748 h 2169654"/>
                <a:gd name="connsiteX188" fmla="*/ 2233174 w 3319608"/>
                <a:gd name="connsiteY188" fmla="*/ 1931968 h 2169654"/>
                <a:gd name="connsiteX189" fmla="*/ 2242821 w 3319608"/>
                <a:gd name="connsiteY189" fmla="*/ 1905195 h 2169654"/>
                <a:gd name="connsiteX190" fmla="*/ 2254137 w 3319608"/>
                <a:gd name="connsiteY190" fmla="*/ 1918904 h 2169654"/>
                <a:gd name="connsiteX191" fmla="*/ 2284721 w 3319608"/>
                <a:gd name="connsiteY191" fmla="*/ 1895397 h 2169654"/>
                <a:gd name="connsiteX192" fmla="*/ 2228892 w 3319608"/>
                <a:gd name="connsiteY192" fmla="*/ 1871547 h 2169654"/>
                <a:gd name="connsiteX193" fmla="*/ 2284999 w 3319608"/>
                <a:gd name="connsiteY193" fmla="*/ 1856764 h 2169654"/>
                <a:gd name="connsiteX194" fmla="*/ 2265842 w 3319608"/>
                <a:gd name="connsiteY194" fmla="*/ 1809794 h 2169654"/>
                <a:gd name="connsiteX195" fmla="*/ 2296620 w 3319608"/>
                <a:gd name="connsiteY195" fmla="*/ 1832828 h 2169654"/>
                <a:gd name="connsiteX196" fmla="*/ 2298845 w 3319608"/>
                <a:gd name="connsiteY196" fmla="*/ 1794968 h 2169654"/>
                <a:gd name="connsiteX197" fmla="*/ 2331375 w 3319608"/>
                <a:gd name="connsiteY197" fmla="*/ 1774384 h 2169654"/>
                <a:gd name="connsiteX198" fmla="*/ 2301486 w 3319608"/>
                <a:gd name="connsiteY198" fmla="*/ 1743228 h 2169654"/>
                <a:gd name="connsiteX199" fmla="*/ 2299178 w 3319608"/>
                <a:gd name="connsiteY199" fmla="*/ 1713748 h 2169654"/>
                <a:gd name="connsiteX200" fmla="*/ 2321532 w 3319608"/>
                <a:gd name="connsiteY200" fmla="*/ 1703907 h 2169654"/>
                <a:gd name="connsiteX201" fmla="*/ 2328622 w 3319608"/>
                <a:gd name="connsiteY201" fmla="*/ 1678123 h 2169654"/>
                <a:gd name="connsiteX202" fmla="*/ 2341773 w 3319608"/>
                <a:gd name="connsiteY202" fmla="*/ 1666649 h 2169654"/>
                <a:gd name="connsiteX203" fmla="*/ 2358621 w 3319608"/>
                <a:gd name="connsiteY203" fmla="*/ 1695355 h 2169654"/>
                <a:gd name="connsiteX204" fmla="*/ 2373885 w 3319608"/>
                <a:gd name="connsiteY204" fmla="*/ 1643830 h 2169654"/>
                <a:gd name="connsiteX205" fmla="*/ 2392430 w 3319608"/>
                <a:gd name="connsiteY205" fmla="*/ 1647999 h 2169654"/>
                <a:gd name="connsiteX206" fmla="*/ 2410641 w 3319608"/>
                <a:gd name="connsiteY206" fmla="*/ 1628704 h 2169654"/>
                <a:gd name="connsiteX207" fmla="*/ 2425126 w 3319608"/>
                <a:gd name="connsiteY207" fmla="*/ 1653714 h 2169654"/>
                <a:gd name="connsiteX208" fmla="*/ 2442225 w 3319608"/>
                <a:gd name="connsiteY208" fmla="*/ 1645549 h 2169654"/>
                <a:gd name="connsiteX209" fmla="*/ 2455626 w 3319608"/>
                <a:gd name="connsiteY209" fmla="*/ 1702188 h 2169654"/>
                <a:gd name="connsiteX210" fmla="*/ 2473837 w 3319608"/>
                <a:gd name="connsiteY210" fmla="*/ 1654531 h 2169654"/>
                <a:gd name="connsiteX211" fmla="*/ 2491520 w 3319608"/>
                <a:gd name="connsiteY211" fmla="*/ 1619078 h 2169654"/>
                <a:gd name="connsiteX212" fmla="*/ 2505700 w 3319608"/>
                <a:gd name="connsiteY212" fmla="*/ 1661621 h 2169654"/>
                <a:gd name="connsiteX213" fmla="*/ 2523438 w 3319608"/>
                <a:gd name="connsiteY213" fmla="*/ 1623203 h 2169654"/>
                <a:gd name="connsiteX214" fmla="*/ 2536978 w 3319608"/>
                <a:gd name="connsiteY214" fmla="*/ 1644303 h 2169654"/>
                <a:gd name="connsiteX215" fmla="*/ 2558470 w 3319608"/>
                <a:gd name="connsiteY215" fmla="*/ 1713104 h 2169654"/>
                <a:gd name="connsiteX216" fmla="*/ 2565949 w 3319608"/>
                <a:gd name="connsiteY216" fmla="*/ 1613104 h 2169654"/>
                <a:gd name="connsiteX217" fmla="*/ 2581241 w 3319608"/>
                <a:gd name="connsiteY217" fmla="*/ 1690328 h 2169654"/>
                <a:gd name="connsiteX218" fmla="*/ 2599757 w 3319608"/>
                <a:gd name="connsiteY218" fmla="*/ 1675674 h 2169654"/>
                <a:gd name="connsiteX219" fmla="*/ 2598840 w 3319608"/>
                <a:gd name="connsiteY219" fmla="*/ 1726468 h 2169654"/>
                <a:gd name="connsiteX220" fmla="*/ 2632732 w 3319608"/>
                <a:gd name="connsiteY220" fmla="*/ 1689211 h 2169654"/>
                <a:gd name="connsiteX221" fmla="*/ 2652333 w 3319608"/>
                <a:gd name="connsiteY221" fmla="*/ 1737427 h 2169654"/>
                <a:gd name="connsiteX222" fmla="*/ 2662899 w 3319608"/>
                <a:gd name="connsiteY222" fmla="*/ 1680014 h 2169654"/>
                <a:gd name="connsiteX223" fmla="*/ 2680803 w 3319608"/>
                <a:gd name="connsiteY223" fmla="*/ 1677779 h 2169654"/>
                <a:gd name="connsiteX224" fmla="*/ 2697819 w 3319608"/>
                <a:gd name="connsiteY224" fmla="*/ 1728015 h 2169654"/>
                <a:gd name="connsiteX225" fmla="*/ 2714918 w 3319608"/>
                <a:gd name="connsiteY225" fmla="*/ 1668970 h 2169654"/>
                <a:gd name="connsiteX226" fmla="*/ 2739524 w 3319608"/>
                <a:gd name="connsiteY226" fmla="*/ 1656894 h 2169654"/>
                <a:gd name="connsiteX227" fmla="*/ 2732156 w 3319608"/>
                <a:gd name="connsiteY227" fmla="*/ 1731109 h 2169654"/>
                <a:gd name="connsiteX228" fmla="*/ 2768578 w 3319608"/>
                <a:gd name="connsiteY228" fmla="*/ 1707001 h 2169654"/>
                <a:gd name="connsiteX229" fmla="*/ 2783647 w 3319608"/>
                <a:gd name="connsiteY229" fmla="*/ 1708635 h 2169654"/>
                <a:gd name="connsiteX230" fmla="*/ 2791738 w 3319608"/>
                <a:gd name="connsiteY230" fmla="*/ 1733817 h 2169654"/>
                <a:gd name="connsiteX231" fmla="*/ 2807085 w 3319608"/>
                <a:gd name="connsiteY231" fmla="*/ 1750749 h 2169654"/>
                <a:gd name="connsiteX232" fmla="*/ 2827381 w 3319608"/>
                <a:gd name="connsiteY232" fmla="*/ 1784568 h 2169654"/>
                <a:gd name="connsiteX233" fmla="*/ 2844425 w 3319608"/>
                <a:gd name="connsiteY233" fmla="*/ 1759386 h 2169654"/>
                <a:gd name="connsiteX234" fmla="*/ 2857798 w 3319608"/>
                <a:gd name="connsiteY234" fmla="*/ 1746537 h 2169654"/>
                <a:gd name="connsiteX235" fmla="*/ 2857075 w 3319608"/>
                <a:gd name="connsiteY235" fmla="*/ 1712502 h 2169654"/>
                <a:gd name="connsiteX236" fmla="*/ 2867418 w 3319608"/>
                <a:gd name="connsiteY236" fmla="*/ 1698149 h 2169654"/>
                <a:gd name="connsiteX237" fmla="*/ 2882126 w 3319608"/>
                <a:gd name="connsiteY237" fmla="*/ 1658226 h 2169654"/>
                <a:gd name="connsiteX238" fmla="*/ 2898224 w 3319608"/>
                <a:gd name="connsiteY238" fmla="*/ 1664543 h 2169654"/>
                <a:gd name="connsiteX239" fmla="*/ 2917269 w 3319608"/>
                <a:gd name="connsiteY239" fmla="*/ 1673396 h 2169654"/>
                <a:gd name="connsiteX240" fmla="*/ 2927612 w 3319608"/>
                <a:gd name="connsiteY240" fmla="*/ 1701887 h 2169654"/>
                <a:gd name="connsiteX241" fmla="*/ 2940624 w 3319608"/>
                <a:gd name="connsiteY241" fmla="*/ 1711557 h 2169654"/>
                <a:gd name="connsiteX242" fmla="*/ 2967259 w 3319608"/>
                <a:gd name="connsiteY242" fmla="*/ 1681088 h 2169654"/>
                <a:gd name="connsiteX243" fmla="*/ 2967037 w 3319608"/>
                <a:gd name="connsiteY243" fmla="*/ 1705970 h 2169654"/>
                <a:gd name="connsiteX244" fmla="*/ 2974182 w 3319608"/>
                <a:gd name="connsiteY244" fmla="*/ 1688952 h 2169654"/>
                <a:gd name="connsiteX245" fmla="*/ 2984608 w 3319608"/>
                <a:gd name="connsiteY245" fmla="*/ 1672837 h 2169654"/>
                <a:gd name="connsiteX246" fmla="*/ 3009464 w 3319608"/>
                <a:gd name="connsiteY246" fmla="*/ 1675502 h 2169654"/>
                <a:gd name="connsiteX247" fmla="*/ 3009965 w 3319608"/>
                <a:gd name="connsiteY247" fmla="*/ 1678811 h 2169654"/>
                <a:gd name="connsiteX248" fmla="*/ 3047027 w 3319608"/>
                <a:gd name="connsiteY248" fmla="*/ 1656723 h 2169654"/>
                <a:gd name="connsiteX249" fmla="*/ 3027203 w 3319608"/>
                <a:gd name="connsiteY249" fmla="*/ 1731840 h 2169654"/>
                <a:gd name="connsiteX250" fmla="*/ 3062541 w 3319608"/>
                <a:gd name="connsiteY250" fmla="*/ 1676189 h 2169654"/>
                <a:gd name="connsiteX251" fmla="*/ 3060928 w 3319608"/>
                <a:gd name="connsiteY251" fmla="*/ 1666821 h 2169654"/>
                <a:gd name="connsiteX252" fmla="*/ 3100770 w 3319608"/>
                <a:gd name="connsiteY252" fmla="*/ 1712158 h 2169654"/>
                <a:gd name="connsiteX253" fmla="*/ 3098156 w 3319608"/>
                <a:gd name="connsiteY253" fmla="*/ 1647999 h 2169654"/>
                <a:gd name="connsiteX254" fmla="*/ 3130519 w 3319608"/>
                <a:gd name="connsiteY254" fmla="*/ 1712803 h 2169654"/>
                <a:gd name="connsiteX255" fmla="*/ 3141751 w 3319608"/>
                <a:gd name="connsiteY255" fmla="*/ 1683323 h 2169654"/>
                <a:gd name="connsiteX256" fmla="*/ 3160602 w 3319608"/>
                <a:gd name="connsiteY256" fmla="*/ 1688136 h 2169654"/>
                <a:gd name="connsiteX257" fmla="*/ 3174087 w 3319608"/>
                <a:gd name="connsiteY257" fmla="*/ 1667165 h 2169654"/>
                <a:gd name="connsiteX258" fmla="*/ 3191241 w 3319608"/>
                <a:gd name="connsiteY258" fmla="*/ 1664758 h 2169654"/>
                <a:gd name="connsiteX259" fmla="*/ 3199249 w 3319608"/>
                <a:gd name="connsiteY259" fmla="*/ 1594926 h 2169654"/>
                <a:gd name="connsiteX260" fmla="*/ 3207061 w 3319608"/>
                <a:gd name="connsiteY260" fmla="*/ 1665961 h 2169654"/>
                <a:gd name="connsiteX261" fmla="*/ 3224521 w 3319608"/>
                <a:gd name="connsiteY261" fmla="*/ 1672365 h 2169654"/>
                <a:gd name="connsiteX262" fmla="*/ 3247209 w 3319608"/>
                <a:gd name="connsiteY262" fmla="*/ 1658141 h 2169654"/>
                <a:gd name="connsiteX263" fmla="*/ 3264113 w 3319608"/>
                <a:gd name="connsiteY263" fmla="*/ 1666091 h 2169654"/>
                <a:gd name="connsiteX264" fmla="*/ 3283965 w 3319608"/>
                <a:gd name="connsiteY264" fmla="*/ 1662524 h 2169654"/>
                <a:gd name="connsiteX265" fmla="*/ 3299451 w 3319608"/>
                <a:gd name="connsiteY265" fmla="*/ 1640865 h 2169654"/>
                <a:gd name="connsiteX266" fmla="*/ 3314909 w 3319608"/>
                <a:gd name="connsiteY266" fmla="*/ 1684741 h 2169654"/>
                <a:gd name="connsiteX267" fmla="*/ 3319608 w 3319608"/>
                <a:gd name="connsiteY267" fmla="*/ 1689898 h 2169654"/>
                <a:gd name="connsiteX268" fmla="*/ 3319608 w 3319608"/>
                <a:gd name="connsiteY268" fmla="*/ 590893 h 2169654"/>
                <a:gd name="connsiteX269" fmla="*/ 3316911 w 3319608"/>
                <a:gd name="connsiteY269" fmla="*/ 590893 h 2169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</a:cxnLst>
              <a:rect l="l" t="t" r="r" b="b"/>
              <a:pathLst>
                <a:path w="3319608" h="2169654">
                  <a:moveTo>
                    <a:pt x="2218855" y="1462009"/>
                  </a:moveTo>
                  <a:lnTo>
                    <a:pt x="2228531" y="1466651"/>
                  </a:lnTo>
                  <a:lnTo>
                    <a:pt x="2225472" y="1523891"/>
                  </a:lnTo>
                  <a:lnTo>
                    <a:pt x="2214379" y="1467811"/>
                  </a:lnTo>
                  <a:close/>
                  <a:moveTo>
                    <a:pt x="3316911" y="0"/>
                  </a:moveTo>
                  <a:lnTo>
                    <a:pt x="1" y="0"/>
                  </a:lnTo>
                  <a:lnTo>
                    <a:pt x="1" y="590893"/>
                  </a:lnTo>
                  <a:lnTo>
                    <a:pt x="0" y="590893"/>
                  </a:lnTo>
                  <a:lnTo>
                    <a:pt x="0" y="1749588"/>
                  </a:lnTo>
                  <a:lnTo>
                    <a:pt x="5644" y="1740048"/>
                  </a:lnTo>
                  <a:lnTo>
                    <a:pt x="26719" y="1737684"/>
                  </a:lnTo>
                  <a:lnTo>
                    <a:pt x="30000" y="1780400"/>
                  </a:lnTo>
                  <a:lnTo>
                    <a:pt x="22993" y="1831453"/>
                  </a:lnTo>
                  <a:lnTo>
                    <a:pt x="61389" y="1801328"/>
                  </a:lnTo>
                  <a:lnTo>
                    <a:pt x="81296" y="1800082"/>
                  </a:lnTo>
                  <a:lnTo>
                    <a:pt x="87524" y="1829863"/>
                  </a:lnTo>
                  <a:lnTo>
                    <a:pt x="78433" y="1887275"/>
                  </a:lnTo>
                  <a:lnTo>
                    <a:pt x="110517" y="1869570"/>
                  </a:lnTo>
                  <a:lnTo>
                    <a:pt x="111907" y="1904164"/>
                  </a:lnTo>
                  <a:lnTo>
                    <a:pt x="117996" y="1941895"/>
                  </a:lnTo>
                  <a:lnTo>
                    <a:pt x="139850" y="1945290"/>
                  </a:lnTo>
                  <a:lnTo>
                    <a:pt x="163260" y="1921181"/>
                  </a:lnTo>
                  <a:lnTo>
                    <a:pt x="172268" y="1981688"/>
                  </a:lnTo>
                  <a:lnTo>
                    <a:pt x="192370" y="1959084"/>
                  </a:lnTo>
                  <a:lnTo>
                    <a:pt x="208440" y="1982290"/>
                  </a:lnTo>
                  <a:lnTo>
                    <a:pt x="221340" y="1947438"/>
                  </a:lnTo>
                  <a:lnTo>
                    <a:pt x="226456" y="1971289"/>
                  </a:lnTo>
                  <a:lnTo>
                    <a:pt x="239274" y="1963210"/>
                  </a:lnTo>
                  <a:lnTo>
                    <a:pt x="260765" y="1962866"/>
                  </a:lnTo>
                  <a:lnTo>
                    <a:pt x="260404" y="1994709"/>
                  </a:lnTo>
                  <a:lnTo>
                    <a:pt x="293462" y="1991185"/>
                  </a:lnTo>
                  <a:lnTo>
                    <a:pt x="284899" y="2022470"/>
                  </a:lnTo>
                  <a:lnTo>
                    <a:pt x="307864" y="2023415"/>
                  </a:lnTo>
                  <a:lnTo>
                    <a:pt x="307864" y="2023373"/>
                  </a:lnTo>
                  <a:lnTo>
                    <a:pt x="324434" y="2015895"/>
                  </a:lnTo>
                  <a:lnTo>
                    <a:pt x="350347" y="2059685"/>
                  </a:lnTo>
                  <a:lnTo>
                    <a:pt x="371950" y="2014219"/>
                  </a:lnTo>
                  <a:lnTo>
                    <a:pt x="377733" y="2058568"/>
                  </a:lnTo>
                  <a:lnTo>
                    <a:pt x="346065" y="2104463"/>
                  </a:lnTo>
                  <a:lnTo>
                    <a:pt x="380235" y="2118516"/>
                  </a:lnTo>
                  <a:lnTo>
                    <a:pt x="391162" y="2080699"/>
                  </a:lnTo>
                  <a:lnTo>
                    <a:pt x="412848" y="2108202"/>
                  </a:lnTo>
                  <a:lnTo>
                    <a:pt x="418075" y="2140217"/>
                  </a:lnTo>
                  <a:lnTo>
                    <a:pt x="437482" y="2119461"/>
                  </a:lnTo>
                  <a:lnTo>
                    <a:pt x="440095" y="2155258"/>
                  </a:lnTo>
                  <a:lnTo>
                    <a:pt x="473014" y="2111683"/>
                  </a:lnTo>
                  <a:lnTo>
                    <a:pt x="469873" y="2120449"/>
                  </a:lnTo>
                  <a:lnTo>
                    <a:pt x="483941" y="2114046"/>
                  </a:lnTo>
                  <a:lnTo>
                    <a:pt x="518417" y="2169654"/>
                  </a:lnTo>
                  <a:lnTo>
                    <a:pt x="512439" y="2102143"/>
                  </a:lnTo>
                  <a:lnTo>
                    <a:pt x="532124" y="2097888"/>
                  </a:lnTo>
                  <a:lnTo>
                    <a:pt x="559037" y="2115680"/>
                  </a:lnTo>
                  <a:lnTo>
                    <a:pt x="586034" y="2094494"/>
                  </a:lnTo>
                  <a:lnTo>
                    <a:pt x="585506" y="2048727"/>
                  </a:lnTo>
                  <a:lnTo>
                    <a:pt x="563124" y="2029517"/>
                  </a:lnTo>
                  <a:lnTo>
                    <a:pt x="572689" y="2003347"/>
                  </a:lnTo>
                  <a:lnTo>
                    <a:pt x="539380" y="1986630"/>
                  </a:lnTo>
                  <a:lnTo>
                    <a:pt x="543885" y="1943098"/>
                  </a:lnTo>
                  <a:lnTo>
                    <a:pt x="571437" y="1947309"/>
                  </a:lnTo>
                  <a:lnTo>
                    <a:pt x="589565" y="1995139"/>
                  </a:lnTo>
                  <a:lnTo>
                    <a:pt x="603884" y="1973953"/>
                  </a:lnTo>
                  <a:lnTo>
                    <a:pt x="601604" y="1919377"/>
                  </a:lnTo>
                  <a:lnTo>
                    <a:pt x="602660" y="1913231"/>
                  </a:lnTo>
                  <a:lnTo>
                    <a:pt x="631798" y="1901500"/>
                  </a:lnTo>
                  <a:lnTo>
                    <a:pt x="634717" y="1874340"/>
                  </a:lnTo>
                  <a:lnTo>
                    <a:pt x="625931" y="1833644"/>
                  </a:lnTo>
                  <a:lnTo>
                    <a:pt x="667414" y="1845376"/>
                  </a:lnTo>
                  <a:lnTo>
                    <a:pt x="669276" y="1826854"/>
                  </a:lnTo>
                  <a:lnTo>
                    <a:pt x="682261" y="1848169"/>
                  </a:lnTo>
                  <a:lnTo>
                    <a:pt x="702084" y="1774083"/>
                  </a:lnTo>
                  <a:lnTo>
                    <a:pt x="723437" y="1825007"/>
                  </a:lnTo>
                  <a:lnTo>
                    <a:pt x="705421" y="1761363"/>
                  </a:lnTo>
                  <a:lnTo>
                    <a:pt x="734919" y="1764156"/>
                  </a:lnTo>
                  <a:lnTo>
                    <a:pt x="748210" y="1739575"/>
                  </a:lnTo>
                  <a:lnTo>
                    <a:pt x="768839" y="1721054"/>
                  </a:lnTo>
                  <a:lnTo>
                    <a:pt x="785549" y="1739232"/>
                  </a:lnTo>
                  <a:lnTo>
                    <a:pt x="800591" y="1778896"/>
                  </a:lnTo>
                  <a:lnTo>
                    <a:pt x="815743" y="1782893"/>
                  </a:lnTo>
                  <a:lnTo>
                    <a:pt x="839765" y="1726512"/>
                  </a:lnTo>
                  <a:lnTo>
                    <a:pt x="842573" y="1721139"/>
                  </a:lnTo>
                  <a:lnTo>
                    <a:pt x="860284" y="1740478"/>
                  </a:lnTo>
                  <a:lnTo>
                    <a:pt x="858477" y="1699223"/>
                  </a:lnTo>
                  <a:lnTo>
                    <a:pt x="895733" y="1726296"/>
                  </a:lnTo>
                  <a:lnTo>
                    <a:pt x="907994" y="1742841"/>
                  </a:lnTo>
                  <a:lnTo>
                    <a:pt x="916529" y="1663684"/>
                  </a:lnTo>
                  <a:lnTo>
                    <a:pt x="931821" y="1678596"/>
                  </a:lnTo>
                  <a:lnTo>
                    <a:pt x="950783" y="1691961"/>
                  </a:lnTo>
                  <a:lnTo>
                    <a:pt x="960097" y="1658699"/>
                  </a:lnTo>
                  <a:lnTo>
                    <a:pt x="979365" y="1663555"/>
                  </a:lnTo>
                  <a:lnTo>
                    <a:pt x="995991" y="1661621"/>
                  </a:lnTo>
                  <a:lnTo>
                    <a:pt x="1014702" y="1708720"/>
                  </a:lnTo>
                  <a:lnTo>
                    <a:pt x="1024016" y="1684612"/>
                  </a:lnTo>
                  <a:lnTo>
                    <a:pt x="1046481" y="1676189"/>
                  </a:lnTo>
                  <a:lnTo>
                    <a:pt x="1038335" y="1736825"/>
                  </a:lnTo>
                  <a:lnTo>
                    <a:pt x="1070336" y="1722858"/>
                  </a:lnTo>
                  <a:lnTo>
                    <a:pt x="1087157" y="1677650"/>
                  </a:lnTo>
                  <a:lnTo>
                    <a:pt x="1101893" y="1702704"/>
                  </a:lnTo>
                  <a:lnTo>
                    <a:pt x="1117045" y="1708978"/>
                  </a:lnTo>
                  <a:lnTo>
                    <a:pt x="1152217" y="1709494"/>
                  </a:lnTo>
                  <a:lnTo>
                    <a:pt x="1106286" y="1730422"/>
                  </a:lnTo>
                  <a:lnTo>
                    <a:pt x="1095470" y="1751479"/>
                  </a:lnTo>
                  <a:lnTo>
                    <a:pt x="1111012" y="1793722"/>
                  </a:lnTo>
                  <a:lnTo>
                    <a:pt x="1112041" y="1792218"/>
                  </a:lnTo>
                  <a:lnTo>
                    <a:pt x="1128278" y="1786202"/>
                  </a:lnTo>
                  <a:lnTo>
                    <a:pt x="1150020" y="1842669"/>
                  </a:lnTo>
                  <a:lnTo>
                    <a:pt x="1164422" y="1841809"/>
                  </a:lnTo>
                  <a:lnTo>
                    <a:pt x="1183384" y="1792948"/>
                  </a:lnTo>
                  <a:lnTo>
                    <a:pt x="1198509" y="1824319"/>
                  </a:lnTo>
                  <a:lnTo>
                    <a:pt x="1235515" y="1783752"/>
                  </a:lnTo>
                  <a:lnTo>
                    <a:pt x="1228008" y="1837555"/>
                  </a:lnTo>
                  <a:lnTo>
                    <a:pt x="1262484" y="1814607"/>
                  </a:lnTo>
                  <a:lnTo>
                    <a:pt x="1253225" y="1840821"/>
                  </a:lnTo>
                  <a:lnTo>
                    <a:pt x="1263846" y="1851693"/>
                  </a:lnTo>
                  <a:lnTo>
                    <a:pt x="1264207" y="1824620"/>
                  </a:lnTo>
                  <a:lnTo>
                    <a:pt x="1283503" y="1817228"/>
                  </a:lnTo>
                  <a:lnTo>
                    <a:pt x="1266515" y="1772020"/>
                  </a:lnTo>
                  <a:lnTo>
                    <a:pt x="1294124" y="1757796"/>
                  </a:lnTo>
                  <a:lnTo>
                    <a:pt x="1305745" y="1794667"/>
                  </a:lnTo>
                  <a:lnTo>
                    <a:pt x="1304188" y="1838887"/>
                  </a:lnTo>
                  <a:lnTo>
                    <a:pt x="1327988" y="1829820"/>
                  </a:lnTo>
                  <a:lnTo>
                    <a:pt x="1350981" y="1797375"/>
                  </a:lnTo>
                  <a:lnTo>
                    <a:pt x="1364716" y="1848212"/>
                  </a:lnTo>
                  <a:lnTo>
                    <a:pt x="1380091" y="1843012"/>
                  </a:lnTo>
                  <a:lnTo>
                    <a:pt x="1396606" y="1854014"/>
                  </a:lnTo>
                  <a:lnTo>
                    <a:pt x="1409840" y="1838500"/>
                  </a:lnTo>
                  <a:lnTo>
                    <a:pt x="1423936" y="1818346"/>
                  </a:lnTo>
                  <a:lnTo>
                    <a:pt x="1431693" y="1763297"/>
                  </a:lnTo>
                  <a:lnTo>
                    <a:pt x="1465252" y="1845118"/>
                  </a:lnTo>
                  <a:lnTo>
                    <a:pt x="1467643" y="1783838"/>
                  </a:lnTo>
                  <a:lnTo>
                    <a:pt x="1483963" y="1777349"/>
                  </a:lnTo>
                  <a:lnTo>
                    <a:pt x="1494361" y="1829304"/>
                  </a:lnTo>
                  <a:lnTo>
                    <a:pt x="1517077" y="1759988"/>
                  </a:lnTo>
                  <a:lnTo>
                    <a:pt x="1518689" y="1823675"/>
                  </a:lnTo>
                  <a:lnTo>
                    <a:pt x="1540403" y="1808849"/>
                  </a:lnTo>
                  <a:lnTo>
                    <a:pt x="1539403" y="1845634"/>
                  </a:lnTo>
                  <a:lnTo>
                    <a:pt x="1575769" y="1821612"/>
                  </a:lnTo>
                  <a:lnTo>
                    <a:pt x="1584472" y="1847997"/>
                  </a:lnTo>
                  <a:lnTo>
                    <a:pt x="1594036" y="1873352"/>
                  </a:lnTo>
                  <a:lnTo>
                    <a:pt x="1605630" y="1886974"/>
                  </a:lnTo>
                  <a:lnTo>
                    <a:pt x="1615861" y="1883794"/>
                  </a:lnTo>
                  <a:lnTo>
                    <a:pt x="1624981" y="1843872"/>
                  </a:lnTo>
                  <a:lnTo>
                    <a:pt x="1647501" y="1903992"/>
                  </a:lnTo>
                  <a:lnTo>
                    <a:pt x="1645889" y="1907344"/>
                  </a:lnTo>
                  <a:lnTo>
                    <a:pt x="1649114" y="1908289"/>
                  </a:lnTo>
                  <a:lnTo>
                    <a:pt x="1651282" y="1914048"/>
                  </a:lnTo>
                  <a:lnTo>
                    <a:pt x="1652867" y="1909407"/>
                  </a:lnTo>
                  <a:lnTo>
                    <a:pt x="1686787" y="1919506"/>
                  </a:lnTo>
                  <a:lnTo>
                    <a:pt x="1652311" y="1954701"/>
                  </a:lnTo>
                  <a:lnTo>
                    <a:pt x="1687649" y="1944774"/>
                  </a:lnTo>
                  <a:lnTo>
                    <a:pt x="1686981" y="1923244"/>
                  </a:lnTo>
                  <a:lnTo>
                    <a:pt x="1703385" y="1953626"/>
                  </a:lnTo>
                  <a:lnTo>
                    <a:pt x="1719344" y="1969655"/>
                  </a:lnTo>
                  <a:lnTo>
                    <a:pt x="1733274" y="1932612"/>
                  </a:lnTo>
                  <a:lnTo>
                    <a:pt x="1748399" y="1928358"/>
                  </a:lnTo>
                  <a:lnTo>
                    <a:pt x="1764052" y="1928186"/>
                  </a:lnTo>
                  <a:lnTo>
                    <a:pt x="1780761" y="2006312"/>
                  </a:lnTo>
                  <a:lnTo>
                    <a:pt x="1796581" y="1968409"/>
                  </a:lnTo>
                  <a:lnTo>
                    <a:pt x="1811678" y="1974984"/>
                  </a:lnTo>
                  <a:lnTo>
                    <a:pt x="1829027" y="2014391"/>
                  </a:lnTo>
                  <a:lnTo>
                    <a:pt x="1841317" y="1948341"/>
                  </a:lnTo>
                  <a:lnTo>
                    <a:pt x="1854301" y="1919677"/>
                  </a:lnTo>
                  <a:lnTo>
                    <a:pt x="1877433" y="1937082"/>
                  </a:lnTo>
                  <a:lnTo>
                    <a:pt x="1880630" y="2002659"/>
                  </a:lnTo>
                  <a:lnTo>
                    <a:pt x="1912020" y="1952939"/>
                  </a:lnTo>
                  <a:lnTo>
                    <a:pt x="1920500" y="2008031"/>
                  </a:lnTo>
                  <a:lnTo>
                    <a:pt x="1929564" y="1961576"/>
                  </a:lnTo>
                  <a:lnTo>
                    <a:pt x="1951389" y="1981989"/>
                  </a:lnTo>
                  <a:lnTo>
                    <a:pt x="1958368" y="1952595"/>
                  </a:lnTo>
                  <a:lnTo>
                    <a:pt x="1964568" y="1991271"/>
                  </a:lnTo>
                  <a:lnTo>
                    <a:pt x="1992232" y="1954830"/>
                  </a:lnTo>
                  <a:lnTo>
                    <a:pt x="1974077" y="2007472"/>
                  </a:lnTo>
                  <a:lnTo>
                    <a:pt x="1997598" y="2010180"/>
                  </a:lnTo>
                  <a:lnTo>
                    <a:pt x="2008191" y="2040304"/>
                  </a:lnTo>
                  <a:lnTo>
                    <a:pt x="2033547" y="2051048"/>
                  </a:lnTo>
                  <a:lnTo>
                    <a:pt x="2042611" y="2002573"/>
                  </a:lnTo>
                  <a:lnTo>
                    <a:pt x="2062157" y="2012070"/>
                  </a:lnTo>
                  <a:lnTo>
                    <a:pt x="2084149" y="2027111"/>
                  </a:lnTo>
                  <a:lnTo>
                    <a:pt x="2088764" y="1970171"/>
                  </a:lnTo>
                  <a:lnTo>
                    <a:pt x="2106781" y="1992216"/>
                  </a:lnTo>
                  <a:lnTo>
                    <a:pt x="2109978" y="2020880"/>
                  </a:lnTo>
                  <a:lnTo>
                    <a:pt x="2136307" y="2014047"/>
                  </a:lnTo>
                  <a:lnTo>
                    <a:pt x="2153795" y="2015336"/>
                  </a:lnTo>
                  <a:lnTo>
                    <a:pt x="2153184" y="1990412"/>
                  </a:lnTo>
                  <a:lnTo>
                    <a:pt x="2168170" y="1987447"/>
                  </a:lnTo>
                  <a:lnTo>
                    <a:pt x="2189050" y="1997073"/>
                  </a:lnTo>
                  <a:lnTo>
                    <a:pt x="2216547" y="1999092"/>
                  </a:lnTo>
                  <a:lnTo>
                    <a:pt x="2190774" y="1918990"/>
                  </a:lnTo>
                  <a:lnTo>
                    <a:pt x="2216158" y="1924748"/>
                  </a:lnTo>
                  <a:lnTo>
                    <a:pt x="2233174" y="1931968"/>
                  </a:lnTo>
                  <a:lnTo>
                    <a:pt x="2242821" y="1905195"/>
                  </a:lnTo>
                  <a:lnTo>
                    <a:pt x="2254137" y="1918904"/>
                  </a:lnTo>
                  <a:lnTo>
                    <a:pt x="2284721" y="1895397"/>
                  </a:lnTo>
                  <a:lnTo>
                    <a:pt x="2228892" y="1871547"/>
                  </a:lnTo>
                  <a:lnTo>
                    <a:pt x="2284999" y="1856764"/>
                  </a:lnTo>
                  <a:lnTo>
                    <a:pt x="2265842" y="1809794"/>
                  </a:lnTo>
                  <a:lnTo>
                    <a:pt x="2296620" y="1832828"/>
                  </a:lnTo>
                  <a:lnTo>
                    <a:pt x="2298845" y="1794968"/>
                  </a:lnTo>
                  <a:lnTo>
                    <a:pt x="2331375" y="1774384"/>
                  </a:lnTo>
                  <a:lnTo>
                    <a:pt x="2301486" y="1743228"/>
                  </a:lnTo>
                  <a:lnTo>
                    <a:pt x="2299178" y="1713748"/>
                  </a:lnTo>
                  <a:lnTo>
                    <a:pt x="2321532" y="1703907"/>
                  </a:lnTo>
                  <a:lnTo>
                    <a:pt x="2328622" y="1678123"/>
                  </a:lnTo>
                  <a:lnTo>
                    <a:pt x="2341773" y="1666649"/>
                  </a:lnTo>
                  <a:lnTo>
                    <a:pt x="2358621" y="1695355"/>
                  </a:lnTo>
                  <a:lnTo>
                    <a:pt x="2373885" y="1643830"/>
                  </a:lnTo>
                  <a:lnTo>
                    <a:pt x="2392430" y="1647999"/>
                  </a:lnTo>
                  <a:lnTo>
                    <a:pt x="2410641" y="1628704"/>
                  </a:lnTo>
                  <a:lnTo>
                    <a:pt x="2425126" y="1653714"/>
                  </a:lnTo>
                  <a:lnTo>
                    <a:pt x="2442225" y="1645549"/>
                  </a:lnTo>
                  <a:lnTo>
                    <a:pt x="2455626" y="1702188"/>
                  </a:lnTo>
                  <a:lnTo>
                    <a:pt x="2473837" y="1654531"/>
                  </a:lnTo>
                  <a:lnTo>
                    <a:pt x="2491520" y="1619078"/>
                  </a:lnTo>
                  <a:lnTo>
                    <a:pt x="2505700" y="1661621"/>
                  </a:lnTo>
                  <a:lnTo>
                    <a:pt x="2523438" y="1623203"/>
                  </a:lnTo>
                  <a:lnTo>
                    <a:pt x="2536978" y="1644303"/>
                  </a:lnTo>
                  <a:lnTo>
                    <a:pt x="2558470" y="1713104"/>
                  </a:lnTo>
                  <a:lnTo>
                    <a:pt x="2565949" y="1613104"/>
                  </a:lnTo>
                  <a:lnTo>
                    <a:pt x="2581241" y="1690328"/>
                  </a:lnTo>
                  <a:lnTo>
                    <a:pt x="2599757" y="1675674"/>
                  </a:lnTo>
                  <a:lnTo>
                    <a:pt x="2598840" y="1726468"/>
                  </a:lnTo>
                  <a:lnTo>
                    <a:pt x="2632732" y="1689211"/>
                  </a:lnTo>
                  <a:lnTo>
                    <a:pt x="2652333" y="1737427"/>
                  </a:lnTo>
                  <a:lnTo>
                    <a:pt x="2662899" y="1680014"/>
                  </a:lnTo>
                  <a:lnTo>
                    <a:pt x="2680803" y="1677779"/>
                  </a:lnTo>
                  <a:lnTo>
                    <a:pt x="2697819" y="1728015"/>
                  </a:lnTo>
                  <a:lnTo>
                    <a:pt x="2714918" y="1668970"/>
                  </a:lnTo>
                  <a:lnTo>
                    <a:pt x="2739524" y="1656894"/>
                  </a:lnTo>
                  <a:lnTo>
                    <a:pt x="2732156" y="1731109"/>
                  </a:lnTo>
                  <a:lnTo>
                    <a:pt x="2768578" y="1707001"/>
                  </a:lnTo>
                  <a:lnTo>
                    <a:pt x="2783647" y="1708635"/>
                  </a:lnTo>
                  <a:lnTo>
                    <a:pt x="2791738" y="1733817"/>
                  </a:lnTo>
                  <a:lnTo>
                    <a:pt x="2807085" y="1750749"/>
                  </a:lnTo>
                  <a:lnTo>
                    <a:pt x="2827381" y="1784568"/>
                  </a:lnTo>
                  <a:lnTo>
                    <a:pt x="2844425" y="1759386"/>
                  </a:lnTo>
                  <a:lnTo>
                    <a:pt x="2857798" y="1746537"/>
                  </a:lnTo>
                  <a:lnTo>
                    <a:pt x="2857075" y="1712502"/>
                  </a:lnTo>
                  <a:lnTo>
                    <a:pt x="2867418" y="1698149"/>
                  </a:lnTo>
                  <a:lnTo>
                    <a:pt x="2882126" y="1658226"/>
                  </a:lnTo>
                  <a:lnTo>
                    <a:pt x="2898224" y="1664543"/>
                  </a:lnTo>
                  <a:lnTo>
                    <a:pt x="2917269" y="1673396"/>
                  </a:lnTo>
                  <a:lnTo>
                    <a:pt x="2927612" y="1701887"/>
                  </a:lnTo>
                  <a:lnTo>
                    <a:pt x="2940624" y="1711557"/>
                  </a:lnTo>
                  <a:lnTo>
                    <a:pt x="2967259" y="1681088"/>
                  </a:lnTo>
                  <a:lnTo>
                    <a:pt x="2967037" y="1705970"/>
                  </a:lnTo>
                  <a:lnTo>
                    <a:pt x="2974182" y="1688952"/>
                  </a:lnTo>
                  <a:lnTo>
                    <a:pt x="2984608" y="1672837"/>
                  </a:lnTo>
                  <a:lnTo>
                    <a:pt x="3009464" y="1675502"/>
                  </a:lnTo>
                  <a:lnTo>
                    <a:pt x="3009965" y="1678811"/>
                  </a:lnTo>
                  <a:lnTo>
                    <a:pt x="3047027" y="1656723"/>
                  </a:lnTo>
                  <a:lnTo>
                    <a:pt x="3027203" y="1731840"/>
                  </a:lnTo>
                  <a:lnTo>
                    <a:pt x="3062541" y="1676189"/>
                  </a:lnTo>
                  <a:lnTo>
                    <a:pt x="3060928" y="1666821"/>
                  </a:lnTo>
                  <a:lnTo>
                    <a:pt x="3100770" y="1712158"/>
                  </a:lnTo>
                  <a:lnTo>
                    <a:pt x="3098156" y="1647999"/>
                  </a:lnTo>
                  <a:lnTo>
                    <a:pt x="3130519" y="1712803"/>
                  </a:lnTo>
                  <a:lnTo>
                    <a:pt x="3141751" y="1683323"/>
                  </a:lnTo>
                  <a:lnTo>
                    <a:pt x="3160602" y="1688136"/>
                  </a:lnTo>
                  <a:lnTo>
                    <a:pt x="3174087" y="1667165"/>
                  </a:lnTo>
                  <a:lnTo>
                    <a:pt x="3191241" y="1664758"/>
                  </a:lnTo>
                  <a:lnTo>
                    <a:pt x="3199249" y="1594926"/>
                  </a:lnTo>
                  <a:lnTo>
                    <a:pt x="3207061" y="1665961"/>
                  </a:lnTo>
                  <a:lnTo>
                    <a:pt x="3224521" y="1672365"/>
                  </a:lnTo>
                  <a:lnTo>
                    <a:pt x="3247209" y="1658141"/>
                  </a:lnTo>
                  <a:lnTo>
                    <a:pt x="3264113" y="1666091"/>
                  </a:lnTo>
                  <a:lnTo>
                    <a:pt x="3283965" y="1662524"/>
                  </a:lnTo>
                  <a:lnTo>
                    <a:pt x="3299451" y="1640865"/>
                  </a:lnTo>
                  <a:lnTo>
                    <a:pt x="3314909" y="1684741"/>
                  </a:lnTo>
                  <a:lnTo>
                    <a:pt x="3319608" y="1689898"/>
                  </a:lnTo>
                  <a:lnTo>
                    <a:pt x="3319608" y="590893"/>
                  </a:lnTo>
                  <a:lnTo>
                    <a:pt x="3316911" y="590893"/>
                  </a:lnTo>
                  <a:close/>
                </a:path>
              </a:pathLst>
            </a:custGeom>
            <a:solidFill>
              <a:srgbClr val="F5F5F0"/>
            </a:solidFill>
            <a:ln w="9525" cap="flat">
              <a:noFill/>
              <a:prstDash val="solid"/>
              <a:miter/>
            </a:ln>
            <a:effectLst>
              <a:outerShdw blurRad="101600" dist="38100" dir="4200000" algn="l" rotWithShape="0">
                <a:prstClr val="black">
                  <a:alpha val="7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3E1AFCCC-F642-4E35-82B6-B58DC4AB66F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60151" y="2019995"/>
              <a:ext cx="2917303" cy="1522768"/>
            </a:xfrm>
            <a:prstGeom prst="rect">
              <a:avLst/>
            </a:prstGeom>
            <a:ln>
              <a:noFill/>
            </a:ln>
            <a:effectLst/>
          </p:spPr>
        </p:pic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82E81615-AAE1-486E-BC1C-00ACEE233497}"/>
              </a:ext>
            </a:extLst>
          </p:cNvPr>
          <p:cNvGrpSpPr/>
          <p:nvPr/>
        </p:nvGrpSpPr>
        <p:grpSpPr>
          <a:xfrm>
            <a:off x="1502078" y="4375689"/>
            <a:ext cx="3945519" cy="1810928"/>
            <a:chOff x="442089" y="4049435"/>
            <a:chExt cx="3945519" cy="1810928"/>
          </a:xfrm>
        </p:grpSpPr>
        <p:sp>
          <p:nvSpPr>
            <p:cNvPr id="25" name="Grafik 5">
              <a:extLst>
                <a:ext uri="{FF2B5EF4-FFF2-40B4-BE49-F238E27FC236}">
                  <a16:creationId xmlns:a16="http://schemas.microsoft.com/office/drawing/2014/main" id="{217A0177-7DDD-4097-AC33-E9287EAC2D20}"/>
                </a:ext>
              </a:extLst>
            </p:cNvPr>
            <p:cNvSpPr>
              <a:spLocks/>
            </p:cNvSpPr>
            <p:nvPr/>
          </p:nvSpPr>
          <p:spPr>
            <a:xfrm rot="10800000" flipH="1">
              <a:off x="442089" y="4049435"/>
              <a:ext cx="3945519" cy="1810928"/>
            </a:xfrm>
            <a:custGeom>
              <a:avLst/>
              <a:gdLst>
                <a:gd name="connsiteX0" fmla="*/ 0 w 11363325"/>
                <a:gd name="connsiteY0" fmla="*/ 0 h 3495675"/>
                <a:gd name="connsiteX1" fmla="*/ 0 w 11363325"/>
                <a:gd name="connsiteY1" fmla="*/ 2568226 h 3495675"/>
                <a:gd name="connsiteX2" fmla="*/ 19336 w 11363325"/>
                <a:gd name="connsiteY2" fmla="*/ 2547080 h 3495675"/>
                <a:gd name="connsiteX3" fmla="*/ 91535 w 11363325"/>
                <a:gd name="connsiteY3" fmla="*/ 2541841 h 3495675"/>
                <a:gd name="connsiteX4" fmla="*/ 102775 w 11363325"/>
                <a:gd name="connsiteY4" fmla="*/ 2636520 h 3495675"/>
                <a:gd name="connsiteX5" fmla="*/ 78772 w 11363325"/>
                <a:gd name="connsiteY5" fmla="*/ 2749677 h 3495675"/>
                <a:gd name="connsiteX6" fmla="*/ 210312 w 11363325"/>
                <a:gd name="connsiteY6" fmla="*/ 2682907 h 3495675"/>
                <a:gd name="connsiteX7" fmla="*/ 278511 w 11363325"/>
                <a:gd name="connsiteY7" fmla="*/ 2680145 h 3495675"/>
                <a:gd name="connsiteX8" fmla="*/ 299847 w 11363325"/>
                <a:gd name="connsiteY8" fmla="*/ 2746153 h 3495675"/>
                <a:gd name="connsiteX9" fmla="*/ 268700 w 11363325"/>
                <a:gd name="connsiteY9" fmla="*/ 2873407 h 3495675"/>
                <a:gd name="connsiteX10" fmla="*/ 378619 w 11363325"/>
                <a:gd name="connsiteY10" fmla="*/ 2834164 h 3495675"/>
                <a:gd name="connsiteX11" fmla="*/ 383381 w 11363325"/>
                <a:gd name="connsiteY11" fmla="*/ 2910840 h 3495675"/>
                <a:gd name="connsiteX12" fmla="*/ 404241 w 11363325"/>
                <a:gd name="connsiteY12" fmla="*/ 2994470 h 3495675"/>
                <a:gd name="connsiteX13" fmla="*/ 479108 w 11363325"/>
                <a:gd name="connsiteY13" fmla="*/ 3001995 h 3495675"/>
                <a:gd name="connsiteX14" fmla="*/ 559308 w 11363325"/>
                <a:gd name="connsiteY14" fmla="*/ 2948559 h 3495675"/>
                <a:gd name="connsiteX15" fmla="*/ 590169 w 11363325"/>
                <a:gd name="connsiteY15" fmla="*/ 3082671 h 3495675"/>
                <a:gd name="connsiteX16" fmla="*/ 659035 w 11363325"/>
                <a:gd name="connsiteY16" fmla="*/ 3032570 h 3495675"/>
                <a:gd name="connsiteX17" fmla="*/ 714089 w 11363325"/>
                <a:gd name="connsiteY17" fmla="*/ 3084005 h 3495675"/>
                <a:gd name="connsiteX18" fmla="*/ 758285 w 11363325"/>
                <a:gd name="connsiteY18" fmla="*/ 3006757 h 3495675"/>
                <a:gd name="connsiteX19" fmla="*/ 775811 w 11363325"/>
                <a:gd name="connsiteY19" fmla="*/ 3059621 h 3495675"/>
                <a:gd name="connsiteX20" fmla="*/ 819722 w 11363325"/>
                <a:gd name="connsiteY20" fmla="*/ 3041714 h 3495675"/>
                <a:gd name="connsiteX21" fmla="*/ 893350 w 11363325"/>
                <a:gd name="connsiteY21" fmla="*/ 3040952 h 3495675"/>
                <a:gd name="connsiteX22" fmla="*/ 892112 w 11363325"/>
                <a:gd name="connsiteY22" fmla="*/ 3111532 h 3495675"/>
                <a:gd name="connsiteX23" fmla="*/ 1005364 w 11363325"/>
                <a:gd name="connsiteY23" fmla="*/ 3103721 h 3495675"/>
                <a:gd name="connsiteX24" fmla="*/ 976027 w 11363325"/>
                <a:gd name="connsiteY24" fmla="*/ 3173063 h 3495675"/>
                <a:gd name="connsiteX25" fmla="*/ 1054703 w 11363325"/>
                <a:gd name="connsiteY25" fmla="*/ 3175159 h 3495675"/>
                <a:gd name="connsiteX26" fmla="*/ 1054703 w 11363325"/>
                <a:gd name="connsiteY26" fmla="*/ 3175064 h 3495675"/>
                <a:gd name="connsiteX27" fmla="*/ 1111472 w 11363325"/>
                <a:gd name="connsiteY27" fmla="*/ 3158490 h 3495675"/>
                <a:gd name="connsiteX28" fmla="*/ 1200245 w 11363325"/>
                <a:gd name="connsiteY28" fmla="*/ 3255550 h 3495675"/>
                <a:gd name="connsiteX29" fmla="*/ 1274255 w 11363325"/>
                <a:gd name="connsiteY29" fmla="*/ 3154775 h 3495675"/>
                <a:gd name="connsiteX30" fmla="*/ 1294067 w 11363325"/>
                <a:gd name="connsiteY30" fmla="*/ 3253073 h 3495675"/>
                <a:gd name="connsiteX31" fmla="*/ 1185577 w 11363325"/>
                <a:gd name="connsiteY31" fmla="*/ 3354800 h 3495675"/>
                <a:gd name="connsiteX32" fmla="*/ 1302639 w 11363325"/>
                <a:gd name="connsiteY32" fmla="*/ 3385947 h 3495675"/>
                <a:gd name="connsiteX33" fmla="*/ 1340072 w 11363325"/>
                <a:gd name="connsiteY33" fmla="*/ 3302127 h 3495675"/>
                <a:gd name="connsiteX34" fmla="*/ 1414367 w 11363325"/>
                <a:gd name="connsiteY34" fmla="*/ 3363087 h 3495675"/>
                <a:gd name="connsiteX35" fmla="*/ 1432274 w 11363325"/>
                <a:gd name="connsiteY35" fmla="*/ 3434048 h 3495675"/>
                <a:gd name="connsiteX36" fmla="*/ 1498759 w 11363325"/>
                <a:gd name="connsiteY36" fmla="*/ 3388043 h 3495675"/>
                <a:gd name="connsiteX37" fmla="*/ 1507712 w 11363325"/>
                <a:gd name="connsiteY37" fmla="*/ 3467386 h 3495675"/>
                <a:gd name="connsiteX38" fmla="*/ 1620488 w 11363325"/>
                <a:gd name="connsiteY38" fmla="*/ 3370803 h 3495675"/>
                <a:gd name="connsiteX39" fmla="*/ 1609725 w 11363325"/>
                <a:gd name="connsiteY39" fmla="*/ 3390233 h 3495675"/>
                <a:gd name="connsiteX40" fmla="*/ 1657922 w 11363325"/>
                <a:gd name="connsiteY40" fmla="*/ 3376041 h 3495675"/>
                <a:gd name="connsiteX41" fmla="*/ 1776032 w 11363325"/>
                <a:gd name="connsiteY41" fmla="*/ 3499295 h 3495675"/>
                <a:gd name="connsiteX42" fmla="*/ 1755553 w 11363325"/>
                <a:gd name="connsiteY42" fmla="*/ 3349657 h 3495675"/>
                <a:gd name="connsiteX43" fmla="*/ 1822990 w 11363325"/>
                <a:gd name="connsiteY43" fmla="*/ 3340227 h 3495675"/>
                <a:gd name="connsiteX44" fmla="*/ 1915192 w 11363325"/>
                <a:gd name="connsiteY44" fmla="*/ 3379661 h 3495675"/>
                <a:gd name="connsiteX45" fmla="*/ 2007680 w 11363325"/>
                <a:gd name="connsiteY45" fmla="*/ 3332703 h 3495675"/>
                <a:gd name="connsiteX46" fmla="*/ 2005870 w 11363325"/>
                <a:gd name="connsiteY46" fmla="*/ 3231261 h 3495675"/>
                <a:gd name="connsiteX47" fmla="*/ 1929193 w 11363325"/>
                <a:gd name="connsiteY47" fmla="*/ 3188684 h 3495675"/>
                <a:gd name="connsiteX48" fmla="*/ 1961960 w 11363325"/>
                <a:gd name="connsiteY48" fmla="*/ 3130677 h 3495675"/>
                <a:gd name="connsiteX49" fmla="*/ 1847850 w 11363325"/>
                <a:gd name="connsiteY49" fmla="*/ 3093625 h 3495675"/>
                <a:gd name="connsiteX50" fmla="*/ 1863281 w 11363325"/>
                <a:gd name="connsiteY50" fmla="*/ 2997137 h 3495675"/>
                <a:gd name="connsiteX51" fmla="*/ 1957673 w 11363325"/>
                <a:gd name="connsiteY51" fmla="*/ 3006471 h 3495675"/>
                <a:gd name="connsiteX52" fmla="*/ 2019776 w 11363325"/>
                <a:gd name="connsiteY52" fmla="*/ 3112484 h 3495675"/>
                <a:gd name="connsiteX53" fmla="*/ 2068830 w 11363325"/>
                <a:gd name="connsiteY53" fmla="*/ 3065526 h 3495675"/>
                <a:gd name="connsiteX54" fmla="*/ 2061020 w 11363325"/>
                <a:gd name="connsiteY54" fmla="*/ 2944559 h 3495675"/>
                <a:gd name="connsiteX55" fmla="*/ 2064639 w 11363325"/>
                <a:gd name="connsiteY55" fmla="*/ 2930938 h 3495675"/>
                <a:gd name="connsiteX56" fmla="*/ 2164461 w 11363325"/>
                <a:gd name="connsiteY56" fmla="*/ 2904935 h 3495675"/>
                <a:gd name="connsiteX57" fmla="*/ 2174462 w 11363325"/>
                <a:gd name="connsiteY57" fmla="*/ 2844737 h 3495675"/>
                <a:gd name="connsiteX58" fmla="*/ 2144363 w 11363325"/>
                <a:gd name="connsiteY58" fmla="*/ 2754535 h 3495675"/>
                <a:gd name="connsiteX59" fmla="*/ 2286476 w 11363325"/>
                <a:gd name="connsiteY59" fmla="*/ 2780538 h 3495675"/>
                <a:gd name="connsiteX60" fmla="*/ 2292858 w 11363325"/>
                <a:gd name="connsiteY60" fmla="*/ 2739485 h 3495675"/>
                <a:gd name="connsiteX61" fmla="*/ 2337340 w 11363325"/>
                <a:gd name="connsiteY61" fmla="*/ 2786729 h 3495675"/>
                <a:gd name="connsiteX62" fmla="*/ 2405253 w 11363325"/>
                <a:gd name="connsiteY62" fmla="*/ 2622518 h 3495675"/>
                <a:gd name="connsiteX63" fmla="*/ 2478405 w 11363325"/>
                <a:gd name="connsiteY63" fmla="*/ 2735390 h 3495675"/>
                <a:gd name="connsiteX64" fmla="*/ 2416683 w 11363325"/>
                <a:gd name="connsiteY64" fmla="*/ 2594324 h 3495675"/>
                <a:gd name="connsiteX65" fmla="*/ 2517743 w 11363325"/>
                <a:gd name="connsiteY65" fmla="*/ 2600516 h 3495675"/>
                <a:gd name="connsiteX66" fmla="*/ 2563273 w 11363325"/>
                <a:gd name="connsiteY66" fmla="*/ 2546033 h 3495675"/>
                <a:gd name="connsiteX67" fmla="*/ 2633948 w 11363325"/>
                <a:gd name="connsiteY67" fmla="*/ 2504980 h 3495675"/>
                <a:gd name="connsiteX68" fmla="*/ 2691194 w 11363325"/>
                <a:gd name="connsiteY68" fmla="*/ 2545271 h 3495675"/>
                <a:gd name="connsiteX69" fmla="*/ 2742724 w 11363325"/>
                <a:gd name="connsiteY69" fmla="*/ 2633186 h 3495675"/>
                <a:gd name="connsiteX70" fmla="*/ 2794635 w 11363325"/>
                <a:gd name="connsiteY70" fmla="*/ 2642045 h 3495675"/>
                <a:gd name="connsiteX71" fmla="*/ 2876931 w 11363325"/>
                <a:gd name="connsiteY71" fmla="*/ 2517077 h 3495675"/>
                <a:gd name="connsiteX72" fmla="*/ 2886551 w 11363325"/>
                <a:gd name="connsiteY72" fmla="*/ 2505170 h 3495675"/>
                <a:gd name="connsiteX73" fmla="*/ 2947226 w 11363325"/>
                <a:gd name="connsiteY73" fmla="*/ 2548033 h 3495675"/>
                <a:gd name="connsiteX74" fmla="*/ 2941034 w 11363325"/>
                <a:gd name="connsiteY74" fmla="*/ 2456593 h 3495675"/>
                <a:gd name="connsiteX75" fmla="*/ 3068670 w 11363325"/>
                <a:gd name="connsiteY75" fmla="*/ 2516600 h 3495675"/>
                <a:gd name="connsiteX76" fmla="*/ 3110674 w 11363325"/>
                <a:gd name="connsiteY76" fmla="*/ 2553272 h 3495675"/>
                <a:gd name="connsiteX77" fmla="*/ 3139916 w 11363325"/>
                <a:gd name="connsiteY77" fmla="*/ 2377821 h 3495675"/>
                <a:gd name="connsiteX78" fmla="*/ 3192304 w 11363325"/>
                <a:gd name="connsiteY78" fmla="*/ 2410873 h 3495675"/>
                <a:gd name="connsiteX79" fmla="*/ 3257264 w 11363325"/>
                <a:gd name="connsiteY79" fmla="*/ 2440496 h 3495675"/>
                <a:gd name="connsiteX80" fmla="*/ 3289173 w 11363325"/>
                <a:gd name="connsiteY80" fmla="*/ 2366772 h 3495675"/>
                <a:gd name="connsiteX81" fmla="*/ 3355181 w 11363325"/>
                <a:gd name="connsiteY81" fmla="*/ 2377535 h 3495675"/>
                <a:gd name="connsiteX82" fmla="*/ 3412141 w 11363325"/>
                <a:gd name="connsiteY82" fmla="*/ 2373249 h 3495675"/>
                <a:gd name="connsiteX83" fmla="*/ 3476244 w 11363325"/>
                <a:gd name="connsiteY83" fmla="*/ 2477643 h 3495675"/>
                <a:gd name="connsiteX84" fmla="*/ 3508153 w 11363325"/>
                <a:gd name="connsiteY84" fmla="*/ 2424208 h 3495675"/>
                <a:gd name="connsiteX85" fmla="*/ 3585115 w 11363325"/>
                <a:gd name="connsiteY85" fmla="*/ 2405539 h 3495675"/>
                <a:gd name="connsiteX86" fmla="*/ 3557207 w 11363325"/>
                <a:gd name="connsiteY86" fmla="*/ 2539937 h 3495675"/>
                <a:gd name="connsiteX87" fmla="*/ 3666839 w 11363325"/>
                <a:gd name="connsiteY87" fmla="*/ 2508980 h 3495675"/>
                <a:gd name="connsiteX88" fmla="*/ 3724466 w 11363325"/>
                <a:gd name="connsiteY88" fmla="*/ 2408777 h 3495675"/>
                <a:gd name="connsiteX89" fmla="*/ 3774948 w 11363325"/>
                <a:gd name="connsiteY89" fmla="*/ 2464308 h 3495675"/>
                <a:gd name="connsiteX90" fmla="*/ 3826859 w 11363325"/>
                <a:gd name="connsiteY90" fmla="*/ 2478215 h 3495675"/>
                <a:gd name="connsiteX91" fmla="*/ 3947351 w 11363325"/>
                <a:gd name="connsiteY91" fmla="*/ 2479358 h 3495675"/>
                <a:gd name="connsiteX92" fmla="*/ 3789998 w 11363325"/>
                <a:gd name="connsiteY92" fmla="*/ 2525745 h 3495675"/>
                <a:gd name="connsiteX93" fmla="*/ 3752945 w 11363325"/>
                <a:gd name="connsiteY93" fmla="*/ 2572417 h 3495675"/>
                <a:gd name="connsiteX94" fmla="*/ 3806190 w 11363325"/>
                <a:gd name="connsiteY94" fmla="*/ 2666048 h 3495675"/>
                <a:gd name="connsiteX95" fmla="*/ 3809714 w 11363325"/>
                <a:gd name="connsiteY95" fmla="*/ 2662714 h 3495675"/>
                <a:gd name="connsiteX96" fmla="*/ 3865340 w 11363325"/>
                <a:gd name="connsiteY96" fmla="*/ 2649379 h 3495675"/>
                <a:gd name="connsiteX97" fmla="*/ 3939826 w 11363325"/>
                <a:gd name="connsiteY97" fmla="*/ 2774537 h 3495675"/>
                <a:gd name="connsiteX98" fmla="*/ 3989165 w 11363325"/>
                <a:gd name="connsiteY98" fmla="*/ 2772632 h 3495675"/>
                <a:gd name="connsiteX99" fmla="*/ 4054126 w 11363325"/>
                <a:gd name="connsiteY99" fmla="*/ 2664333 h 3495675"/>
                <a:gd name="connsiteX100" fmla="*/ 4105942 w 11363325"/>
                <a:gd name="connsiteY100" fmla="*/ 2733866 h 3495675"/>
                <a:gd name="connsiteX101" fmla="*/ 4232720 w 11363325"/>
                <a:gd name="connsiteY101" fmla="*/ 2643949 h 3495675"/>
                <a:gd name="connsiteX102" fmla="*/ 4207002 w 11363325"/>
                <a:gd name="connsiteY102" fmla="*/ 2763203 h 3495675"/>
                <a:gd name="connsiteX103" fmla="*/ 4325112 w 11363325"/>
                <a:gd name="connsiteY103" fmla="*/ 2712339 h 3495675"/>
                <a:gd name="connsiteX104" fmla="*/ 4293394 w 11363325"/>
                <a:gd name="connsiteY104" fmla="*/ 2770441 h 3495675"/>
                <a:gd name="connsiteX105" fmla="*/ 4329780 w 11363325"/>
                <a:gd name="connsiteY105" fmla="*/ 2794540 h 3495675"/>
                <a:gd name="connsiteX106" fmla="*/ 4331018 w 11363325"/>
                <a:gd name="connsiteY106" fmla="*/ 2734532 h 3495675"/>
                <a:gd name="connsiteX107" fmla="*/ 4397121 w 11363325"/>
                <a:gd name="connsiteY107" fmla="*/ 2718149 h 3495675"/>
                <a:gd name="connsiteX108" fmla="*/ 4338923 w 11363325"/>
                <a:gd name="connsiteY108" fmla="*/ 2617946 h 3495675"/>
                <a:gd name="connsiteX109" fmla="*/ 4433507 w 11363325"/>
                <a:gd name="connsiteY109" fmla="*/ 2586419 h 3495675"/>
                <a:gd name="connsiteX110" fmla="*/ 4473321 w 11363325"/>
                <a:gd name="connsiteY110" fmla="*/ 2668143 h 3495675"/>
                <a:gd name="connsiteX111" fmla="*/ 4467987 w 11363325"/>
                <a:gd name="connsiteY111" fmla="*/ 2766155 h 3495675"/>
                <a:gd name="connsiteX112" fmla="*/ 4549521 w 11363325"/>
                <a:gd name="connsiteY112" fmla="*/ 2746058 h 3495675"/>
                <a:gd name="connsiteX113" fmla="*/ 4628293 w 11363325"/>
                <a:gd name="connsiteY113" fmla="*/ 2674144 h 3495675"/>
                <a:gd name="connsiteX114" fmla="*/ 4675347 w 11363325"/>
                <a:gd name="connsiteY114" fmla="*/ 2786824 h 3495675"/>
                <a:gd name="connsiteX115" fmla="*/ 4728020 w 11363325"/>
                <a:gd name="connsiteY115" fmla="*/ 2775299 h 3495675"/>
                <a:gd name="connsiteX116" fmla="*/ 4784598 w 11363325"/>
                <a:gd name="connsiteY116" fmla="*/ 2799683 h 3495675"/>
                <a:gd name="connsiteX117" fmla="*/ 4829937 w 11363325"/>
                <a:gd name="connsiteY117" fmla="*/ 2765298 h 3495675"/>
                <a:gd name="connsiteX118" fmla="*/ 4878229 w 11363325"/>
                <a:gd name="connsiteY118" fmla="*/ 2720626 h 3495675"/>
                <a:gd name="connsiteX119" fmla="*/ 4904804 w 11363325"/>
                <a:gd name="connsiteY119" fmla="*/ 2598611 h 3495675"/>
                <a:gd name="connsiteX120" fmla="*/ 5019771 w 11363325"/>
                <a:gd name="connsiteY120" fmla="*/ 2779966 h 3495675"/>
                <a:gd name="connsiteX121" fmla="*/ 5027962 w 11363325"/>
                <a:gd name="connsiteY121" fmla="*/ 2644140 h 3495675"/>
                <a:gd name="connsiteX122" fmla="*/ 5083874 w 11363325"/>
                <a:gd name="connsiteY122" fmla="*/ 2629757 h 3495675"/>
                <a:gd name="connsiteX123" fmla="*/ 5119497 w 11363325"/>
                <a:gd name="connsiteY123" fmla="*/ 2744915 h 3495675"/>
                <a:gd name="connsiteX124" fmla="*/ 5197317 w 11363325"/>
                <a:gd name="connsiteY124" fmla="*/ 2591276 h 3495675"/>
                <a:gd name="connsiteX125" fmla="*/ 5202841 w 11363325"/>
                <a:gd name="connsiteY125" fmla="*/ 2732437 h 3495675"/>
                <a:gd name="connsiteX126" fmla="*/ 5277231 w 11363325"/>
                <a:gd name="connsiteY126" fmla="*/ 2699576 h 3495675"/>
                <a:gd name="connsiteX127" fmla="*/ 5273802 w 11363325"/>
                <a:gd name="connsiteY127" fmla="*/ 2781110 h 3495675"/>
                <a:gd name="connsiteX128" fmla="*/ 5398389 w 11363325"/>
                <a:gd name="connsiteY128" fmla="*/ 2727865 h 3495675"/>
                <a:gd name="connsiteX129" fmla="*/ 5428203 w 11363325"/>
                <a:gd name="connsiteY129" fmla="*/ 2786348 h 3495675"/>
                <a:gd name="connsiteX130" fmla="*/ 5460969 w 11363325"/>
                <a:gd name="connsiteY130" fmla="*/ 2842546 h 3495675"/>
                <a:gd name="connsiteX131" fmla="*/ 5500688 w 11363325"/>
                <a:gd name="connsiteY131" fmla="*/ 2872740 h 3495675"/>
                <a:gd name="connsiteX132" fmla="*/ 5535740 w 11363325"/>
                <a:gd name="connsiteY132" fmla="*/ 2865691 h 3495675"/>
                <a:gd name="connsiteX133" fmla="*/ 5566982 w 11363325"/>
                <a:gd name="connsiteY133" fmla="*/ 2777204 h 3495675"/>
                <a:gd name="connsiteX134" fmla="*/ 5644134 w 11363325"/>
                <a:gd name="connsiteY134" fmla="*/ 2910459 h 3495675"/>
                <a:gd name="connsiteX135" fmla="*/ 5638610 w 11363325"/>
                <a:gd name="connsiteY135" fmla="*/ 2917889 h 3495675"/>
                <a:gd name="connsiteX136" fmla="*/ 5649659 w 11363325"/>
                <a:gd name="connsiteY136" fmla="*/ 2919984 h 3495675"/>
                <a:gd name="connsiteX137" fmla="*/ 5657088 w 11363325"/>
                <a:gd name="connsiteY137" fmla="*/ 2932748 h 3495675"/>
                <a:gd name="connsiteX138" fmla="*/ 5662517 w 11363325"/>
                <a:gd name="connsiteY138" fmla="*/ 2922461 h 3495675"/>
                <a:gd name="connsiteX139" fmla="*/ 5778723 w 11363325"/>
                <a:gd name="connsiteY139" fmla="*/ 2944845 h 3495675"/>
                <a:gd name="connsiteX140" fmla="*/ 5660612 w 11363325"/>
                <a:gd name="connsiteY140" fmla="*/ 3022854 h 3495675"/>
                <a:gd name="connsiteX141" fmla="*/ 5781675 w 11363325"/>
                <a:gd name="connsiteY141" fmla="*/ 3000851 h 3495675"/>
                <a:gd name="connsiteX142" fmla="*/ 5779389 w 11363325"/>
                <a:gd name="connsiteY142" fmla="*/ 2953131 h 3495675"/>
                <a:gd name="connsiteX143" fmla="*/ 5835586 w 11363325"/>
                <a:gd name="connsiteY143" fmla="*/ 3020473 h 3495675"/>
                <a:gd name="connsiteX144" fmla="*/ 5890260 w 11363325"/>
                <a:gd name="connsiteY144" fmla="*/ 3056001 h 3495675"/>
                <a:gd name="connsiteX145" fmla="*/ 5937980 w 11363325"/>
                <a:gd name="connsiteY145" fmla="*/ 2973896 h 3495675"/>
                <a:gd name="connsiteX146" fmla="*/ 5989796 w 11363325"/>
                <a:gd name="connsiteY146" fmla="*/ 2964466 h 3495675"/>
                <a:gd name="connsiteX147" fmla="*/ 6043422 w 11363325"/>
                <a:gd name="connsiteY147" fmla="*/ 2964085 h 3495675"/>
                <a:gd name="connsiteX148" fmla="*/ 6100667 w 11363325"/>
                <a:gd name="connsiteY148" fmla="*/ 3137249 h 3495675"/>
                <a:gd name="connsiteX149" fmla="*/ 6154865 w 11363325"/>
                <a:gd name="connsiteY149" fmla="*/ 3053239 h 3495675"/>
                <a:gd name="connsiteX150" fmla="*/ 6206585 w 11363325"/>
                <a:gd name="connsiteY150" fmla="*/ 3067812 h 3495675"/>
                <a:gd name="connsiteX151" fmla="*/ 6266021 w 11363325"/>
                <a:gd name="connsiteY151" fmla="*/ 3155156 h 3495675"/>
                <a:gd name="connsiteX152" fmla="*/ 6308122 w 11363325"/>
                <a:gd name="connsiteY152" fmla="*/ 3008757 h 3495675"/>
                <a:gd name="connsiteX153" fmla="*/ 6352604 w 11363325"/>
                <a:gd name="connsiteY153" fmla="*/ 2945225 h 3495675"/>
                <a:gd name="connsiteX154" fmla="*/ 6431852 w 11363325"/>
                <a:gd name="connsiteY154" fmla="*/ 2983802 h 3495675"/>
                <a:gd name="connsiteX155" fmla="*/ 6442805 w 11363325"/>
                <a:gd name="connsiteY155" fmla="*/ 3129153 h 3495675"/>
                <a:gd name="connsiteX156" fmla="*/ 6550343 w 11363325"/>
                <a:gd name="connsiteY156" fmla="*/ 3018949 h 3495675"/>
                <a:gd name="connsiteX157" fmla="*/ 6579394 w 11363325"/>
                <a:gd name="connsiteY157" fmla="*/ 3141059 h 3495675"/>
                <a:gd name="connsiteX158" fmla="*/ 6610446 w 11363325"/>
                <a:gd name="connsiteY158" fmla="*/ 3038094 h 3495675"/>
                <a:gd name="connsiteX159" fmla="*/ 6685217 w 11363325"/>
                <a:gd name="connsiteY159" fmla="*/ 3083338 h 3495675"/>
                <a:gd name="connsiteX160" fmla="*/ 6709124 w 11363325"/>
                <a:gd name="connsiteY160" fmla="*/ 3018187 h 3495675"/>
                <a:gd name="connsiteX161" fmla="*/ 6730365 w 11363325"/>
                <a:gd name="connsiteY161" fmla="*/ 3103912 h 3495675"/>
                <a:gd name="connsiteX162" fmla="*/ 6825139 w 11363325"/>
                <a:gd name="connsiteY162" fmla="*/ 3023140 h 3495675"/>
                <a:gd name="connsiteX163" fmla="*/ 6762941 w 11363325"/>
                <a:gd name="connsiteY163" fmla="*/ 3139821 h 3495675"/>
                <a:gd name="connsiteX164" fmla="*/ 6843522 w 11363325"/>
                <a:gd name="connsiteY164" fmla="*/ 3145822 h 3495675"/>
                <a:gd name="connsiteX165" fmla="*/ 6879812 w 11363325"/>
                <a:gd name="connsiteY165" fmla="*/ 3212592 h 3495675"/>
                <a:gd name="connsiteX166" fmla="*/ 6966680 w 11363325"/>
                <a:gd name="connsiteY166" fmla="*/ 3236405 h 3495675"/>
                <a:gd name="connsiteX167" fmla="*/ 6997732 w 11363325"/>
                <a:gd name="connsiteY167" fmla="*/ 3128963 h 3495675"/>
                <a:gd name="connsiteX168" fmla="*/ 7064693 w 11363325"/>
                <a:gd name="connsiteY168" fmla="*/ 3150013 h 3495675"/>
                <a:gd name="connsiteX169" fmla="*/ 7140035 w 11363325"/>
                <a:gd name="connsiteY169" fmla="*/ 3183350 h 3495675"/>
                <a:gd name="connsiteX170" fmla="*/ 7155847 w 11363325"/>
                <a:gd name="connsiteY170" fmla="*/ 3057144 h 3495675"/>
                <a:gd name="connsiteX171" fmla="*/ 7217569 w 11363325"/>
                <a:gd name="connsiteY171" fmla="*/ 3106007 h 3495675"/>
                <a:gd name="connsiteX172" fmla="*/ 7228523 w 11363325"/>
                <a:gd name="connsiteY172" fmla="*/ 3169539 h 3495675"/>
                <a:gd name="connsiteX173" fmla="*/ 7318724 w 11363325"/>
                <a:gd name="connsiteY173" fmla="*/ 3154395 h 3495675"/>
                <a:gd name="connsiteX174" fmla="*/ 7378636 w 11363325"/>
                <a:gd name="connsiteY174" fmla="*/ 3157252 h 3495675"/>
                <a:gd name="connsiteX175" fmla="*/ 7376541 w 11363325"/>
                <a:gd name="connsiteY175" fmla="*/ 3102007 h 3495675"/>
                <a:gd name="connsiteX176" fmla="*/ 7427881 w 11363325"/>
                <a:gd name="connsiteY176" fmla="*/ 3095435 h 3495675"/>
                <a:gd name="connsiteX177" fmla="*/ 7499414 w 11363325"/>
                <a:gd name="connsiteY177" fmla="*/ 3116771 h 3495675"/>
                <a:gd name="connsiteX178" fmla="*/ 7593616 w 11363325"/>
                <a:gd name="connsiteY178" fmla="*/ 3121247 h 3495675"/>
                <a:gd name="connsiteX179" fmla="*/ 7505319 w 11363325"/>
                <a:gd name="connsiteY179" fmla="*/ 2943701 h 3495675"/>
                <a:gd name="connsiteX180" fmla="*/ 7592283 w 11363325"/>
                <a:gd name="connsiteY180" fmla="*/ 2956465 h 3495675"/>
                <a:gd name="connsiteX181" fmla="*/ 7650576 w 11363325"/>
                <a:gd name="connsiteY181" fmla="*/ 2972467 h 3495675"/>
                <a:gd name="connsiteX182" fmla="*/ 7683627 w 11363325"/>
                <a:gd name="connsiteY182" fmla="*/ 2913126 h 3495675"/>
                <a:gd name="connsiteX183" fmla="*/ 7722394 w 11363325"/>
                <a:gd name="connsiteY183" fmla="*/ 2943511 h 3495675"/>
                <a:gd name="connsiteX184" fmla="*/ 7827169 w 11363325"/>
                <a:gd name="connsiteY184" fmla="*/ 2891409 h 3495675"/>
                <a:gd name="connsiteX185" fmla="*/ 7635907 w 11363325"/>
                <a:gd name="connsiteY185" fmla="*/ 2838545 h 3495675"/>
                <a:gd name="connsiteX186" fmla="*/ 7828121 w 11363325"/>
                <a:gd name="connsiteY186" fmla="*/ 2805779 h 3495675"/>
                <a:gd name="connsiteX187" fmla="*/ 7762494 w 11363325"/>
                <a:gd name="connsiteY187" fmla="*/ 2701671 h 3495675"/>
                <a:gd name="connsiteX188" fmla="*/ 7867936 w 11363325"/>
                <a:gd name="connsiteY188" fmla="*/ 2752725 h 3495675"/>
                <a:gd name="connsiteX189" fmla="*/ 7875556 w 11363325"/>
                <a:gd name="connsiteY189" fmla="*/ 2668810 h 3495675"/>
                <a:gd name="connsiteX190" fmla="*/ 7986999 w 11363325"/>
                <a:gd name="connsiteY190" fmla="*/ 2623185 h 3495675"/>
                <a:gd name="connsiteX191" fmla="*/ 7884605 w 11363325"/>
                <a:gd name="connsiteY191" fmla="*/ 2554129 h 3495675"/>
                <a:gd name="connsiteX192" fmla="*/ 7876699 w 11363325"/>
                <a:gd name="connsiteY192" fmla="*/ 2488787 h 3495675"/>
                <a:gd name="connsiteX193" fmla="*/ 7953280 w 11363325"/>
                <a:gd name="connsiteY193" fmla="*/ 2466975 h 3495675"/>
                <a:gd name="connsiteX194" fmla="*/ 7977569 w 11363325"/>
                <a:gd name="connsiteY194" fmla="*/ 2409825 h 3495675"/>
                <a:gd name="connsiteX195" fmla="*/ 8022622 w 11363325"/>
                <a:gd name="connsiteY195" fmla="*/ 2384393 h 3495675"/>
                <a:gd name="connsiteX196" fmla="*/ 8080344 w 11363325"/>
                <a:gd name="connsiteY196" fmla="*/ 2448020 h 3495675"/>
                <a:gd name="connsiteX197" fmla="*/ 8132636 w 11363325"/>
                <a:gd name="connsiteY197" fmla="*/ 2333816 h 3495675"/>
                <a:gd name="connsiteX198" fmla="*/ 8196167 w 11363325"/>
                <a:gd name="connsiteY198" fmla="*/ 2343055 h 3495675"/>
                <a:gd name="connsiteX199" fmla="*/ 8258556 w 11363325"/>
                <a:gd name="connsiteY199" fmla="*/ 2300288 h 3495675"/>
                <a:gd name="connsiteX200" fmla="*/ 8308181 w 11363325"/>
                <a:gd name="connsiteY200" fmla="*/ 2355723 h 3495675"/>
                <a:gd name="connsiteX201" fmla="*/ 8366760 w 11363325"/>
                <a:gd name="connsiteY201" fmla="*/ 2337626 h 3495675"/>
                <a:gd name="connsiteX202" fmla="*/ 8412670 w 11363325"/>
                <a:gd name="connsiteY202" fmla="*/ 2463165 h 3495675"/>
                <a:gd name="connsiteX203" fmla="*/ 8475059 w 11363325"/>
                <a:gd name="connsiteY203" fmla="*/ 2357533 h 3495675"/>
                <a:gd name="connsiteX204" fmla="*/ 8535638 w 11363325"/>
                <a:gd name="connsiteY204" fmla="*/ 2278952 h 3495675"/>
                <a:gd name="connsiteX205" fmla="*/ 8584216 w 11363325"/>
                <a:gd name="connsiteY205" fmla="*/ 2373249 h 3495675"/>
                <a:gd name="connsiteX206" fmla="*/ 8644985 w 11363325"/>
                <a:gd name="connsiteY206" fmla="*/ 2288096 h 3495675"/>
                <a:gd name="connsiteX207" fmla="*/ 8691372 w 11363325"/>
                <a:gd name="connsiteY207" fmla="*/ 2334863 h 3495675"/>
                <a:gd name="connsiteX208" fmla="*/ 8765000 w 11363325"/>
                <a:gd name="connsiteY208" fmla="*/ 2487359 h 3495675"/>
                <a:gd name="connsiteX209" fmla="*/ 8790623 w 11363325"/>
                <a:gd name="connsiteY209" fmla="*/ 2265712 h 3495675"/>
                <a:gd name="connsiteX210" fmla="*/ 8843010 w 11363325"/>
                <a:gd name="connsiteY210" fmla="*/ 2436876 h 3495675"/>
                <a:gd name="connsiteX211" fmla="*/ 8906446 w 11363325"/>
                <a:gd name="connsiteY211" fmla="*/ 2404396 h 3495675"/>
                <a:gd name="connsiteX212" fmla="*/ 8903303 w 11363325"/>
                <a:gd name="connsiteY212" fmla="*/ 2516981 h 3495675"/>
                <a:gd name="connsiteX213" fmla="*/ 9019413 w 11363325"/>
                <a:gd name="connsiteY213" fmla="*/ 2434400 h 3495675"/>
                <a:gd name="connsiteX214" fmla="*/ 9086564 w 11363325"/>
                <a:gd name="connsiteY214" fmla="*/ 2541270 h 3495675"/>
                <a:gd name="connsiteX215" fmla="*/ 9122759 w 11363325"/>
                <a:gd name="connsiteY215" fmla="*/ 2414016 h 3495675"/>
                <a:gd name="connsiteX216" fmla="*/ 9184100 w 11363325"/>
                <a:gd name="connsiteY216" fmla="*/ 2409063 h 3495675"/>
                <a:gd name="connsiteX217" fmla="*/ 9242393 w 11363325"/>
                <a:gd name="connsiteY217" fmla="*/ 2520410 h 3495675"/>
                <a:gd name="connsiteX218" fmla="*/ 9300972 w 11363325"/>
                <a:gd name="connsiteY218" fmla="*/ 2389537 h 3495675"/>
                <a:gd name="connsiteX219" fmla="*/ 9385268 w 11363325"/>
                <a:gd name="connsiteY219" fmla="*/ 2362772 h 3495675"/>
                <a:gd name="connsiteX220" fmla="*/ 9360027 w 11363325"/>
                <a:gd name="connsiteY220" fmla="*/ 2527268 h 3495675"/>
                <a:gd name="connsiteX221" fmla="*/ 9484805 w 11363325"/>
                <a:gd name="connsiteY221" fmla="*/ 2473833 h 3495675"/>
                <a:gd name="connsiteX222" fmla="*/ 9536430 w 11363325"/>
                <a:gd name="connsiteY222" fmla="*/ 2477453 h 3495675"/>
                <a:gd name="connsiteX223" fmla="*/ 9564148 w 11363325"/>
                <a:gd name="connsiteY223" fmla="*/ 2533269 h 3495675"/>
                <a:gd name="connsiteX224" fmla="*/ 9616726 w 11363325"/>
                <a:gd name="connsiteY224" fmla="*/ 2570798 h 3495675"/>
                <a:gd name="connsiteX225" fmla="*/ 9686258 w 11363325"/>
                <a:gd name="connsiteY225" fmla="*/ 2645759 h 3495675"/>
                <a:gd name="connsiteX226" fmla="*/ 9744646 w 11363325"/>
                <a:gd name="connsiteY226" fmla="*/ 2589943 h 3495675"/>
                <a:gd name="connsiteX227" fmla="*/ 9790462 w 11363325"/>
                <a:gd name="connsiteY227" fmla="*/ 2561463 h 3495675"/>
                <a:gd name="connsiteX228" fmla="*/ 9787985 w 11363325"/>
                <a:gd name="connsiteY228" fmla="*/ 2486025 h 3495675"/>
                <a:gd name="connsiteX229" fmla="*/ 9823418 w 11363325"/>
                <a:gd name="connsiteY229" fmla="*/ 2454212 h 3495675"/>
                <a:gd name="connsiteX230" fmla="*/ 9873805 w 11363325"/>
                <a:gd name="connsiteY230" fmla="*/ 2365724 h 3495675"/>
                <a:gd name="connsiteX231" fmla="*/ 9928956 w 11363325"/>
                <a:gd name="connsiteY231" fmla="*/ 2379726 h 3495675"/>
                <a:gd name="connsiteX232" fmla="*/ 9994202 w 11363325"/>
                <a:gd name="connsiteY232" fmla="*/ 2399348 h 3495675"/>
                <a:gd name="connsiteX233" fmla="*/ 10029634 w 11363325"/>
                <a:gd name="connsiteY233" fmla="*/ 2462498 h 3495675"/>
                <a:gd name="connsiteX234" fmla="*/ 10074212 w 11363325"/>
                <a:gd name="connsiteY234" fmla="*/ 2483930 h 3495675"/>
                <a:gd name="connsiteX235" fmla="*/ 10165461 w 11363325"/>
                <a:gd name="connsiteY235" fmla="*/ 2416397 h 3495675"/>
                <a:gd name="connsiteX236" fmla="*/ 10164699 w 11363325"/>
                <a:gd name="connsiteY236" fmla="*/ 2471547 h 3495675"/>
                <a:gd name="connsiteX237" fmla="*/ 10189178 w 11363325"/>
                <a:gd name="connsiteY237" fmla="*/ 2433828 h 3495675"/>
                <a:gd name="connsiteX238" fmla="*/ 10224897 w 11363325"/>
                <a:gd name="connsiteY238" fmla="*/ 2398109 h 3495675"/>
                <a:gd name="connsiteX239" fmla="*/ 10310051 w 11363325"/>
                <a:gd name="connsiteY239" fmla="*/ 2404015 h 3495675"/>
                <a:gd name="connsiteX240" fmla="*/ 10311765 w 11363325"/>
                <a:gd name="connsiteY240" fmla="*/ 2411349 h 3495675"/>
                <a:gd name="connsiteX241" fmla="*/ 10438734 w 11363325"/>
                <a:gd name="connsiteY241" fmla="*/ 2362391 h 3495675"/>
                <a:gd name="connsiteX242" fmla="*/ 10370820 w 11363325"/>
                <a:gd name="connsiteY242" fmla="*/ 2528888 h 3495675"/>
                <a:gd name="connsiteX243" fmla="*/ 10491883 w 11363325"/>
                <a:gd name="connsiteY243" fmla="*/ 2405539 h 3495675"/>
                <a:gd name="connsiteX244" fmla="*/ 10486359 w 11363325"/>
                <a:gd name="connsiteY244" fmla="*/ 2384774 h 3495675"/>
                <a:gd name="connsiteX245" fmla="*/ 10622852 w 11363325"/>
                <a:gd name="connsiteY245" fmla="*/ 2485263 h 3495675"/>
                <a:gd name="connsiteX246" fmla="*/ 10613897 w 11363325"/>
                <a:gd name="connsiteY246" fmla="*/ 2343055 h 3495675"/>
                <a:gd name="connsiteX247" fmla="*/ 10724769 w 11363325"/>
                <a:gd name="connsiteY247" fmla="*/ 2486692 h 3495675"/>
                <a:gd name="connsiteX248" fmla="*/ 10763250 w 11363325"/>
                <a:gd name="connsiteY248" fmla="*/ 2421350 h 3495675"/>
                <a:gd name="connsiteX249" fmla="*/ 10827830 w 11363325"/>
                <a:gd name="connsiteY249" fmla="*/ 2432018 h 3495675"/>
                <a:gd name="connsiteX250" fmla="*/ 10874026 w 11363325"/>
                <a:gd name="connsiteY250" fmla="*/ 2385536 h 3495675"/>
                <a:gd name="connsiteX251" fmla="*/ 10932795 w 11363325"/>
                <a:gd name="connsiteY251" fmla="*/ 2380202 h 3495675"/>
                <a:gd name="connsiteX252" fmla="*/ 10960228 w 11363325"/>
                <a:gd name="connsiteY252" fmla="*/ 2225421 h 3495675"/>
                <a:gd name="connsiteX253" fmla="*/ 10986992 w 11363325"/>
                <a:gd name="connsiteY253" fmla="*/ 2382869 h 3495675"/>
                <a:gd name="connsiteX254" fmla="*/ 11046809 w 11363325"/>
                <a:gd name="connsiteY254" fmla="*/ 2397062 h 3495675"/>
                <a:gd name="connsiteX255" fmla="*/ 11124534 w 11363325"/>
                <a:gd name="connsiteY255" fmla="*/ 2365534 h 3495675"/>
                <a:gd name="connsiteX256" fmla="*/ 11182445 w 11363325"/>
                <a:gd name="connsiteY256" fmla="*/ 2383155 h 3495675"/>
                <a:gd name="connsiteX257" fmla="*/ 11250454 w 11363325"/>
                <a:gd name="connsiteY257" fmla="*/ 2375249 h 3495675"/>
                <a:gd name="connsiteX258" fmla="*/ 11303508 w 11363325"/>
                <a:gd name="connsiteY258" fmla="*/ 2327243 h 3495675"/>
                <a:gd name="connsiteX259" fmla="*/ 11356467 w 11363325"/>
                <a:gd name="connsiteY259" fmla="*/ 2424494 h 3495675"/>
                <a:gd name="connsiteX260" fmla="*/ 11372564 w 11363325"/>
                <a:gd name="connsiteY260" fmla="*/ 2435924 h 3495675"/>
                <a:gd name="connsiteX261" fmla="*/ 11372564 w 11363325"/>
                <a:gd name="connsiteY261" fmla="*/ 0 h 3495675"/>
                <a:gd name="connsiteX262" fmla="*/ 0 w 11363325"/>
                <a:gd name="connsiteY262" fmla="*/ 0 h 3495675"/>
                <a:gd name="connsiteX263" fmla="*/ 7624191 w 11363325"/>
                <a:gd name="connsiteY263" fmla="*/ 2067973 h 3495675"/>
                <a:gd name="connsiteX264" fmla="*/ 7586187 w 11363325"/>
                <a:gd name="connsiteY264" fmla="*/ 1943672 h 3495675"/>
                <a:gd name="connsiteX265" fmla="*/ 7601522 w 11363325"/>
                <a:gd name="connsiteY265" fmla="*/ 1930813 h 3495675"/>
                <a:gd name="connsiteX266" fmla="*/ 7634669 w 11363325"/>
                <a:gd name="connsiteY266" fmla="*/ 1941100 h 3495675"/>
                <a:gd name="connsiteX267" fmla="*/ 7624191 w 11363325"/>
                <a:gd name="connsiteY267" fmla="*/ 2067973 h 3495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</a:cxnLst>
              <a:rect l="l" t="t" r="r" b="b"/>
              <a:pathLst>
                <a:path w="11363325" h="3495675">
                  <a:moveTo>
                    <a:pt x="0" y="0"/>
                  </a:moveTo>
                  <a:lnTo>
                    <a:pt x="0" y="2568226"/>
                  </a:lnTo>
                  <a:lnTo>
                    <a:pt x="19336" y="2547080"/>
                  </a:lnTo>
                  <a:lnTo>
                    <a:pt x="91535" y="2541841"/>
                  </a:lnTo>
                  <a:lnTo>
                    <a:pt x="102775" y="2636520"/>
                  </a:lnTo>
                  <a:lnTo>
                    <a:pt x="78772" y="2749677"/>
                  </a:lnTo>
                  <a:lnTo>
                    <a:pt x="210312" y="2682907"/>
                  </a:lnTo>
                  <a:lnTo>
                    <a:pt x="278511" y="2680145"/>
                  </a:lnTo>
                  <a:lnTo>
                    <a:pt x="299847" y="2746153"/>
                  </a:lnTo>
                  <a:lnTo>
                    <a:pt x="268700" y="2873407"/>
                  </a:lnTo>
                  <a:lnTo>
                    <a:pt x="378619" y="2834164"/>
                  </a:lnTo>
                  <a:lnTo>
                    <a:pt x="383381" y="2910840"/>
                  </a:lnTo>
                  <a:lnTo>
                    <a:pt x="404241" y="2994470"/>
                  </a:lnTo>
                  <a:lnTo>
                    <a:pt x="479108" y="3001995"/>
                  </a:lnTo>
                  <a:lnTo>
                    <a:pt x="559308" y="2948559"/>
                  </a:lnTo>
                  <a:lnTo>
                    <a:pt x="590169" y="3082671"/>
                  </a:lnTo>
                  <a:lnTo>
                    <a:pt x="659035" y="3032570"/>
                  </a:lnTo>
                  <a:lnTo>
                    <a:pt x="714089" y="3084005"/>
                  </a:lnTo>
                  <a:lnTo>
                    <a:pt x="758285" y="3006757"/>
                  </a:lnTo>
                  <a:lnTo>
                    <a:pt x="775811" y="3059621"/>
                  </a:lnTo>
                  <a:lnTo>
                    <a:pt x="819722" y="3041714"/>
                  </a:lnTo>
                  <a:lnTo>
                    <a:pt x="893350" y="3040952"/>
                  </a:lnTo>
                  <a:lnTo>
                    <a:pt x="892112" y="3111532"/>
                  </a:lnTo>
                  <a:lnTo>
                    <a:pt x="1005364" y="3103721"/>
                  </a:lnTo>
                  <a:lnTo>
                    <a:pt x="976027" y="3173063"/>
                  </a:lnTo>
                  <a:lnTo>
                    <a:pt x="1054703" y="3175159"/>
                  </a:lnTo>
                  <a:lnTo>
                    <a:pt x="1054703" y="3175064"/>
                  </a:lnTo>
                  <a:lnTo>
                    <a:pt x="1111472" y="3158490"/>
                  </a:lnTo>
                  <a:lnTo>
                    <a:pt x="1200245" y="3255550"/>
                  </a:lnTo>
                  <a:lnTo>
                    <a:pt x="1274255" y="3154775"/>
                  </a:lnTo>
                  <a:lnTo>
                    <a:pt x="1294067" y="3253073"/>
                  </a:lnTo>
                  <a:lnTo>
                    <a:pt x="1185577" y="3354800"/>
                  </a:lnTo>
                  <a:lnTo>
                    <a:pt x="1302639" y="3385947"/>
                  </a:lnTo>
                  <a:lnTo>
                    <a:pt x="1340072" y="3302127"/>
                  </a:lnTo>
                  <a:lnTo>
                    <a:pt x="1414367" y="3363087"/>
                  </a:lnTo>
                  <a:lnTo>
                    <a:pt x="1432274" y="3434048"/>
                  </a:lnTo>
                  <a:lnTo>
                    <a:pt x="1498759" y="3388043"/>
                  </a:lnTo>
                  <a:lnTo>
                    <a:pt x="1507712" y="3467386"/>
                  </a:lnTo>
                  <a:lnTo>
                    <a:pt x="1620488" y="3370803"/>
                  </a:lnTo>
                  <a:lnTo>
                    <a:pt x="1609725" y="3390233"/>
                  </a:lnTo>
                  <a:lnTo>
                    <a:pt x="1657922" y="3376041"/>
                  </a:lnTo>
                  <a:lnTo>
                    <a:pt x="1776032" y="3499295"/>
                  </a:lnTo>
                  <a:lnTo>
                    <a:pt x="1755553" y="3349657"/>
                  </a:lnTo>
                  <a:lnTo>
                    <a:pt x="1822990" y="3340227"/>
                  </a:lnTo>
                  <a:lnTo>
                    <a:pt x="1915192" y="3379661"/>
                  </a:lnTo>
                  <a:lnTo>
                    <a:pt x="2007680" y="3332703"/>
                  </a:lnTo>
                  <a:lnTo>
                    <a:pt x="2005870" y="3231261"/>
                  </a:lnTo>
                  <a:lnTo>
                    <a:pt x="1929193" y="3188684"/>
                  </a:lnTo>
                  <a:lnTo>
                    <a:pt x="1961960" y="3130677"/>
                  </a:lnTo>
                  <a:lnTo>
                    <a:pt x="1847850" y="3093625"/>
                  </a:lnTo>
                  <a:lnTo>
                    <a:pt x="1863281" y="2997137"/>
                  </a:lnTo>
                  <a:lnTo>
                    <a:pt x="1957673" y="3006471"/>
                  </a:lnTo>
                  <a:lnTo>
                    <a:pt x="2019776" y="3112484"/>
                  </a:lnTo>
                  <a:lnTo>
                    <a:pt x="2068830" y="3065526"/>
                  </a:lnTo>
                  <a:lnTo>
                    <a:pt x="2061020" y="2944559"/>
                  </a:lnTo>
                  <a:lnTo>
                    <a:pt x="2064639" y="2930938"/>
                  </a:lnTo>
                  <a:lnTo>
                    <a:pt x="2164461" y="2904935"/>
                  </a:lnTo>
                  <a:lnTo>
                    <a:pt x="2174462" y="2844737"/>
                  </a:lnTo>
                  <a:lnTo>
                    <a:pt x="2144363" y="2754535"/>
                  </a:lnTo>
                  <a:lnTo>
                    <a:pt x="2286476" y="2780538"/>
                  </a:lnTo>
                  <a:lnTo>
                    <a:pt x="2292858" y="2739485"/>
                  </a:lnTo>
                  <a:lnTo>
                    <a:pt x="2337340" y="2786729"/>
                  </a:lnTo>
                  <a:lnTo>
                    <a:pt x="2405253" y="2622518"/>
                  </a:lnTo>
                  <a:lnTo>
                    <a:pt x="2478405" y="2735390"/>
                  </a:lnTo>
                  <a:lnTo>
                    <a:pt x="2416683" y="2594324"/>
                  </a:lnTo>
                  <a:lnTo>
                    <a:pt x="2517743" y="2600516"/>
                  </a:lnTo>
                  <a:lnTo>
                    <a:pt x="2563273" y="2546033"/>
                  </a:lnTo>
                  <a:lnTo>
                    <a:pt x="2633948" y="2504980"/>
                  </a:lnTo>
                  <a:lnTo>
                    <a:pt x="2691194" y="2545271"/>
                  </a:lnTo>
                  <a:lnTo>
                    <a:pt x="2742724" y="2633186"/>
                  </a:lnTo>
                  <a:lnTo>
                    <a:pt x="2794635" y="2642045"/>
                  </a:lnTo>
                  <a:lnTo>
                    <a:pt x="2876931" y="2517077"/>
                  </a:lnTo>
                  <a:lnTo>
                    <a:pt x="2886551" y="2505170"/>
                  </a:lnTo>
                  <a:lnTo>
                    <a:pt x="2947226" y="2548033"/>
                  </a:lnTo>
                  <a:lnTo>
                    <a:pt x="2941034" y="2456593"/>
                  </a:lnTo>
                  <a:lnTo>
                    <a:pt x="3068670" y="2516600"/>
                  </a:lnTo>
                  <a:lnTo>
                    <a:pt x="3110674" y="2553272"/>
                  </a:lnTo>
                  <a:lnTo>
                    <a:pt x="3139916" y="2377821"/>
                  </a:lnTo>
                  <a:lnTo>
                    <a:pt x="3192304" y="2410873"/>
                  </a:lnTo>
                  <a:lnTo>
                    <a:pt x="3257264" y="2440496"/>
                  </a:lnTo>
                  <a:lnTo>
                    <a:pt x="3289173" y="2366772"/>
                  </a:lnTo>
                  <a:lnTo>
                    <a:pt x="3355181" y="2377535"/>
                  </a:lnTo>
                  <a:lnTo>
                    <a:pt x="3412141" y="2373249"/>
                  </a:lnTo>
                  <a:lnTo>
                    <a:pt x="3476244" y="2477643"/>
                  </a:lnTo>
                  <a:lnTo>
                    <a:pt x="3508153" y="2424208"/>
                  </a:lnTo>
                  <a:lnTo>
                    <a:pt x="3585115" y="2405539"/>
                  </a:lnTo>
                  <a:lnTo>
                    <a:pt x="3557207" y="2539937"/>
                  </a:lnTo>
                  <a:lnTo>
                    <a:pt x="3666839" y="2508980"/>
                  </a:lnTo>
                  <a:lnTo>
                    <a:pt x="3724466" y="2408777"/>
                  </a:lnTo>
                  <a:lnTo>
                    <a:pt x="3774948" y="2464308"/>
                  </a:lnTo>
                  <a:lnTo>
                    <a:pt x="3826859" y="2478215"/>
                  </a:lnTo>
                  <a:lnTo>
                    <a:pt x="3947351" y="2479358"/>
                  </a:lnTo>
                  <a:lnTo>
                    <a:pt x="3789998" y="2525745"/>
                  </a:lnTo>
                  <a:lnTo>
                    <a:pt x="3752945" y="2572417"/>
                  </a:lnTo>
                  <a:lnTo>
                    <a:pt x="3806190" y="2666048"/>
                  </a:lnTo>
                  <a:lnTo>
                    <a:pt x="3809714" y="2662714"/>
                  </a:lnTo>
                  <a:lnTo>
                    <a:pt x="3865340" y="2649379"/>
                  </a:lnTo>
                  <a:lnTo>
                    <a:pt x="3939826" y="2774537"/>
                  </a:lnTo>
                  <a:lnTo>
                    <a:pt x="3989165" y="2772632"/>
                  </a:lnTo>
                  <a:lnTo>
                    <a:pt x="4054126" y="2664333"/>
                  </a:lnTo>
                  <a:lnTo>
                    <a:pt x="4105942" y="2733866"/>
                  </a:lnTo>
                  <a:lnTo>
                    <a:pt x="4232720" y="2643949"/>
                  </a:lnTo>
                  <a:lnTo>
                    <a:pt x="4207002" y="2763203"/>
                  </a:lnTo>
                  <a:lnTo>
                    <a:pt x="4325112" y="2712339"/>
                  </a:lnTo>
                  <a:lnTo>
                    <a:pt x="4293394" y="2770441"/>
                  </a:lnTo>
                  <a:lnTo>
                    <a:pt x="4329780" y="2794540"/>
                  </a:lnTo>
                  <a:lnTo>
                    <a:pt x="4331018" y="2734532"/>
                  </a:lnTo>
                  <a:lnTo>
                    <a:pt x="4397121" y="2718149"/>
                  </a:lnTo>
                  <a:lnTo>
                    <a:pt x="4338923" y="2617946"/>
                  </a:lnTo>
                  <a:lnTo>
                    <a:pt x="4433507" y="2586419"/>
                  </a:lnTo>
                  <a:lnTo>
                    <a:pt x="4473321" y="2668143"/>
                  </a:lnTo>
                  <a:lnTo>
                    <a:pt x="4467987" y="2766155"/>
                  </a:lnTo>
                  <a:lnTo>
                    <a:pt x="4549521" y="2746058"/>
                  </a:lnTo>
                  <a:lnTo>
                    <a:pt x="4628293" y="2674144"/>
                  </a:lnTo>
                  <a:lnTo>
                    <a:pt x="4675347" y="2786824"/>
                  </a:lnTo>
                  <a:lnTo>
                    <a:pt x="4728020" y="2775299"/>
                  </a:lnTo>
                  <a:lnTo>
                    <a:pt x="4784598" y="2799683"/>
                  </a:lnTo>
                  <a:lnTo>
                    <a:pt x="4829937" y="2765298"/>
                  </a:lnTo>
                  <a:lnTo>
                    <a:pt x="4878229" y="2720626"/>
                  </a:lnTo>
                  <a:lnTo>
                    <a:pt x="4904804" y="2598611"/>
                  </a:lnTo>
                  <a:lnTo>
                    <a:pt x="5019771" y="2779966"/>
                  </a:lnTo>
                  <a:lnTo>
                    <a:pt x="5027962" y="2644140"/>
                  </a:lnTo>
                  <a:lnTo>
                    <a:pt x="5083874" y="2629757"/>
                  </a:lnTo>
                  <a:lnTo>
                    <a:pt x="5119497" y="2744915"/>
                  </a:lnTo>
                  <a:lnTo>
                    <a:pt x="5197317" y="2591276"/>
                  </a:lnTo>
                  <a:lnTo>
                    <a:pt x="5202841" y="2732437"/>
                  </a:lnTo>
                  <a:lnTo>
                    <a:pt x="5277231" y="2699576"/>
                  </a:lnTo>
                  <a:lnTo>
                    <a:pt x="5273802" y="2781110"/>
                  </a:lnTo>
                  <a:lnTo>
                    <a:pt x="5398389" y="2727865"/>
                  </a:lnTo>
                  <a:lnTo>
                    <a:pt x="5428203" y="2786348"/>
                  </a:lnTo>
                  <a:lnTo>
                    <a:pt x="5460969" y="2842546"/>
                  </a:lnTo>
                  <a:lnTo>
                    <a:pt x="5500688" y="2872740"/>
                  </a:lnTo>
                  <a:lnTo>
                    <a:pt x="5535740" y="2865691"/>
                  </a:lnTo>
                  <a:lnTo>
                    <a:pt x="5566982" y="2777204"/>
                  </a:lnTo>
                  <a:lnTo>
                    <a:pt x="5644134" y="2910459"/>
                  </a:lnTo>
                  <a:lnTo>
                    <a:pt x="5638610" y="2917889"/>
                  </a:lnTo>
                  <a:lnTo>
                    <a:pt x="5649659" y="2919984"/>
                  </a:lnTo>
                  <a:lnTo>
                    <a:pt x="5657088" y="2932748"/>
                  </a:lnTo>
                  <a:lnTo>
                    <a:pt x="5662517" y="2922461"/>
                  </a:lnTo>
                  <a:lnTo>
                    <a:pt x="5778723" y="2944845"/>
                  </a:lnTo>
                  <a:lnTo>
                    <a:pt x="5660612" y="3022854"/>
                  </a:lnTo>
                  <a:lnTo>
                    <a:pt x="5781675" y="3000851"/>
                  </a:lnTo>
                  <a:lnTo>
                    <a:pt x="5779389" y="2953131"/>
                  </a:lnTo>
                  <a:lnTo>
                    <a:pt x="5835586" y="3020473"/>
                  </a:lnTo>
                  <a:lnTo>
                    <a:pt x="5890260" y="3056001"/>
                  </a:lnTo>
                  <a:lnTo>
                    <a:pt x="5937980" y="2973896"/>
                  </a:lnTo>
                  <a:lnTo>
                    <a:pt x="5989796" y="2964466"/>
                  </a:lnTo>
                  <a:lnTo>
                    <a:pt x="6043422" y="2964085"/>
                  </a:lnTo>
                  <a:lnTo>
                    <a:pt x="6100667" y="3137249"/>
                  </a:lnTo>
                  <a:lnTo>
                    <a:pt x="6154865" y="3053239"/>
                  </a:lnTo>
                  <a:lnTo>
                    <a:pt x="6206585" y="3067812"/>
                  </a:lnTo>
                  <a:lnTo>
                    <a:pt x="6266021" y="3155156"/>
                  </a:lnTo>
                  <a:lnTo>
                    <a:pt x="6308122" y="3008757"/>
                  </a:lnTo>
                  <a:lnTo>
                    <a:pt x="6352604" y="2945225"/>
                  </a:lnTo>
                  <a:lnTo>
                    <a:pt x="6431852" y="2983802"/>
                  </a:lnTo>
                  <a:lnTo>
                    <a:pt x="6442805" y="3129153"/>
                  </a:lnTo>
                  <a:lnTo>
                    <a:pt x="6550343" y="3018949"/>
                  </a:lnTo>
                  <a:lnTo>
                    <a:pt x="6579394" y="3141059"/>
                  </a:lnTo>
                  <a:lnTo>
                    <a:pt x="6610446" y="3038094"/>
                  </a:lnTo>
                  <a:lnTo>
                    <a:pt x="6685217" y="3083338"/>
                  </a:lnTo>
                  <a:lnTo>
                    <a:pt x="6709124" y="3018187"/>
                  </a:lnTo>
                  <a:lnTo>
                    <a:pt x="6730365" y="3103912"/>
                  </a:lnTo>
                  <a:lnTo>
                    <a:pt x="6825139" y="3023140"/>
                  </a:lnTo>
                  <a:lnTo>
                    <a:pt x="6762941" y="3139821"/>
                  </a:lnTo>
                  <a:lnTo>
                    <a:pt x="6843522" y="3145822"/>
                  </a:lnTo>
                  <a:lnTo>
                    <a:pt x="6879812" y="3212592"/>
                  </a:lnTo>
                  <a:lnTo>
                    <a:pt x="6966680" y="3236405"/>
                  </a:lnTo>
                  <a:lnTo>
                    <a:pt x="6997732" y="3128963"/>
                  </a:lnTo>
                  <a:lnTo>
                    <a:pt x="7064693" y="3150013"/>
                  </a:lnTo>
                  <a:lnTo>
                    <a:pt x="7140035" y="3183350"/>
                  </a:lnTo>
                  <a:lnTo>
                    <a:pt x="7155847" y="3057144"/>
                  </a:lnTo>
                  <a:lnTo>
                    <a:pt x="7217569" y="3106007"/>
                  </a:lnTo>
                  <a:lnTo>
                    <a:pt x="7228523" y="3169539"/>
                  </a:lnTo>
                  <a:lnTo>
                    <a:pt x="7318724" y="3154395"/>
                  </a:lnTo>
                  <a:lnTo>
                    <a:pt x="7378636" y="3157252"/>
                  </a:lnTo>
                  <a:lnTo>
                    <a:pt x="7376541" y="3102007"/>
                  </a:lnTo>
                  <a:lnTo>
                    <a:pt x="7427881" y="3095435"/>
                  </a:lnTo>
                  <a:lnTo>
                    <a:pt x="7499414" y="3116771"/>
                  </a:lnTo>
                  <a:lnTo>
                    <a:pt x="7593616" y="3121247"/>
                  </a:lnTo>
                  <a:lnTo>
                    <a:pt x="7505319" y="2943701"/>
                  </a:lnTo>
                  <a:lnTo>
                    <a:pt x="7592283" y="2956465"/>
                  </a:lnTo>
                  <a:lnTo>
                    <a:pt x="7650576" y="2972467"/>
                  </a:lnTo>
                  <a:lnTo>
                    <a:pt x="7683627" y="2913126"/>
                  </a:lnTo>
                  <a:lnTo>
                    <a:pt x="7722394" y="2943511"/>
                  </a:lnTo>
                  <a:lnTo>
                    <a:pt x="7827169" y="2891409"/>
                  </a:lnTo>
                  <a:lnTo>
                    <a:pt x="7635907" y="2838545"/>
                  </a:lnTo>
                  <a:lnTo>
                    <a:pt x="7828121" y="2805779"/>
                  </a:lnTo>
                  <a:lnTo>
                    <a:pt x="7762494" y="2701671"/>
                  </a:lnTo>
                  <a:lnTo>
                    <a:pt x="7867936" y="2752725"/>
                  </a:lnTo>
                  <a:lnTo>
                    <a:pt x="7875556" y="2668810"/>
                  </a:lnTo>
                  <a:lnTo>
                    <a:pt x="7986999" y="2623185"/>
                  </a:lnTo>
                  <a:lnTo>
                    <a:pt x="7884605" y="2554129"/>
                  </a:lnTo>
                  <a:lnTo>
                    <a:pt x="7876699" y="2488787"/>
                  </a:lnTo>
                  <a:lnTo>
                    <a:pt x="7953280" y="2466975"/>
                  </a:lnTo>
                  <a:lnTo>
                    <a:pt x="7977569" y="2409825"/>
                  </a:lnTo>
                  <a:lnTo>
                    <a:pt x="8022622" y="2384393"/>
                  </a:lnTo>
                  <a:lnTo>
                    <a:pt x="8080344" y="2448020"/>
                  </a:lnTo>
                  <a:lnTo>
                    <a:pt x="8132636" y="2333816"/>
                  </a:lnTo>
                  <a:lnTo>
                    <a:pt x="8196167" y="2343055"/>
                  </a:lnTo>
                  <a:lnTo>
                    <a:pt x="8258556" y="2300288"/>
                  </a:lnTo>
                  <a:lnTo>
                    <a:pt x="8308181" y="2355723"/>
                  </a:lnTo>
                  <a:lnTo>
                    <a:pt x="8366760" y="2337626"/>
                  </a:lnTo>
                  <a:lnTo>
                    <a:pt x="8412670" y="2463165"/>
                  </a:lnTo>
                  <a:lnTo>
                    <a:pt x="8475059" y="2357533"/>
                  </a:lnTo>
                  <a:lnTo>
                    <a:pt x="8535638" y="2278952"/>
                  </a:lnTo>
                  <a:lnTo>
                    <a:pt x="8584216" y="2373249"/>
                  </a:lnTo>
                  <a:lnTo>
                    <a:pt x="8644985" y="2288096"/>
                  </a:lnTo>
                  <a:lnTo>
                    <a:pt x="8691372" y="2334863"/>
                  </a:lnTo>
                  <a:lnTo>
                    <a:pt x="8765000" y="2487359"/>
                  </a:lnTo>
                  <a:lnTo>
                    <a:pt x="8790623" y="2265712"/>
                  </a:lnTo>
                  <a:lnTo>
                    <a:pt x="8843010" y="2436876"/>
                  </a:lnTo>
                  <a:lnTo>
                    <a:pt x="8906446" y="2404396"/>
                  </a:lnTo>
                  <a:lnTo>
                    <a:pt x="8903303" y="2516981"/>
                  </a:lnTo>
                  <a:lnTo>
                    <a:pt x="9019413" y="2434400"/>
                  </a:lnTo>
                  <a:lnTo>
                    <a:pt x="9086564" y="2541270"/>
                  </a:lnTo>
                  <a:lnTo>
                    <a:pt x="9122759" y="2414016"/>
                  </a:lnTo>
                  <a:lnTo>
                    <a:pt x="9184100" y="2409063"/>
                  </a:lnTo>
                  <a:lnTo>
                    <a:pt x="9242393" y="2520410"/>
                  </a:lnTo>
                  <a:lnTo>
                    <a:pt x="9300972" y="2389537"/>
                  </a:lnTo>
                  <a:lnTo>
                    <a:pt x="9385268" y="2362772"/>
                  </a:lnTo>
                  <a:lnTo>
                    <a:pt x="9360027" y="2527268"/>
                  </a:lnTo>
                  <a:lnTo>
                    <a:pt x="9484805" y="2473833"/>
                  </a:lnTo>
                  <a:lnTo>
                    <a:pt x="9536430" y="2477453"/>
                  </a:lnTo>
                  <a:lnTo>
                    <a:pt x="9564148" y="2533269"/>
                  </a:lnTo>
                  <a:lnTo>
                    <a:pt x="9616726" y="2570798"/>
                  </a:lnTo>
                  <a:lnTo>
                    <a:pt x="9686258" y="2645759"/>
                  </a:lnTo>
                  <a:lnTo>
                    <a:pt x="9744646" y="2589943"/>
                  </a:lnTo>
                  <a:lnTo>
                    <a:pt x="9790462" y="2561463"/>
                  </a:lnTo>
                  <a:lnTo>
                    <a:pt x="9787985" y="2486025"/>
                  </a:lnTo>
                  <a:lnTo>
                    <a:pt x="9823418" y="2454212"/>
                  </a:lnTo>
                  <a:lnTo>
                    <a:pt x="9873805" y="2365724"/>
                  </a:lnTo>
                  <a:lnTo>
                    <a:pt x="9928956" y="2379726"/>
                  </a:lnTo>
                  <a:lnTo>
                    <a:pt x="9994202" y="2399348"/>
                  </a:lnTo>
                  <a:lnTo>
                    <a:pt x="10029634" y="2462498"/>
                  </a:lnTo>
                  <a:lnTo>
                    <a:pt x="10074212" y="2483930"/>
                  </a:lnTo>
                  <a:lnTo>
                    <a:pt x="10165461" y="2416397"/>
                  </a:lnTo>
                  <a:lnTo>
                    <a:pt x="10164699" y="2471547"/>
                  </a:lnTo>
                  <a:lnTo>
                    <a:pt x="10189178" y="2433828"/>
                  </a:lnTo>
                  <a:lnTo>
                    <a:pt x="10224897" y="2398109"/>
                  </a:lnTo>
                  <a:lnTo>
                    <a:pt x="10310051" y="2404015"/>
                  </a:lnTo>
                  <a:lnTo>
                    <a:pt x="10311765" y="2411349"/>
                  </a:lnTo>
                  <a:lnTo>
                    <a:pt x="10438734" y="2362391"/>
                  </a:lnTo>
                  <a:lnTo>
                    <a:pt x="10370820" y="2528888"/>
                  </a:lnTo>
                  <a:lnTo>
                    <a:pt x="10491883" y="2405539"/>
                  </a:lnTo>
                  <a:lnTo>
                    <a:pt x="10486359" y="2384774"/>
                  </a:lnTo>
                  <a:lnTo>
                    <a:pt x="10622852" y="2485263"/>
                  </a:lnTo>
                  <a:lnTo>
                    <a:pt x="10613897" y="2343055"/>
                  </a:lnTo>
                  <a:lnTo>
                    <a:pt x="10724769" y="2486692"/>
                  </a:lnTo>
                  <a:lnTo>
                    <a:pt x="10763250" y="2421350"/>
                  </a:lnTo>
                  <a:lnTo>
                    <a:pt x="10827830" y="2432018"/>
                  </a:lnTo>
                  <a:lnTo>
                    <a:pt x="10874026" y="2385536"/>
                  </a:lnTo>
                  <a:lnTo>
                    <a:pt x="10932795" y="2380202"/>
                  </a:lnTo>
                  <a:lnTo>
                    <a:pt x="10960228" y="2225421"/>
                  </a:lnTo>
                  <a:lnTo>
                    <a:pt x="10986992" y="2382869"/>
                  </a:lnTo>
                  <a:lnTo>
                    <a:pt x="11046809" y="2397062"/>
                  </a:lnTo>
                  <a:lnTo>
                    <a:pt x="11124534" y="2365534"/>
                  </a:lnTo>
                  <a:lnTo>
                    <a:pt x="11182445" y="2383155"/>
                  </a:lnTo>
                  <a:lnTo>
                    <a:pt x="11250454" y="2375249"/>
                  </a:lnTo>
                  <a:lnTo>
                    <a:pt x="11303508" y="2327243"/>
                  </a:lnTo>
                  <a:lnTo>
                    <a:pt x="11356467" y="2424494"/>
                  </a:lnTo>
                  <a:lnTo>
                    <a:pt x="11372564" y="2435924"/>
                  </a:lnTo>
                  <a:lnTo>
                    <a:pt x="11372564" y="0"/>
                  </a:lnTo>
                  <a:lnTo>
                    <a:pt x="0" y="0"/>
                  </a:lnTo>
                  <a:close/>
                  <a:moveTo>
                    <a:pt x="7624191" y="2067973"/>
                  </a:moveTo>
                  <a:lnTo>
                    <a:pt x="7586187" y="1943672"/>
                  </a:lnTo>
                  <a:lnTo>
                    <a:pt x="7601522" y="1930813"/>
                  </a:lnTo>
                  <a:lnTo>
                    <a:pt x="7634669" y="1941100"/>
                  </a:lnTo>
                  <a:lnTo>
                    <a:pt x="7624191" y="2067973"/>
                  </a:lnTo>
                  <a:close/>
                </a:path>
              </a:pathLst>
            </a:custGeom>
            <a:solidFill>
              <a:srgbClr val="F5F5F0"/>
            </a:solidFill>
            <a:ln w="9525" cap="flat">
              <a:noFill/>
              <a:prstDash val="solid"/>
              <a:miter/>
            </a:ln>
            <a:effectLst>
              <a:outerShdw blurRad="101600" dist="38100" dir="4200000" algn="l" rotWithShape="0">
                <a:prstClr val="black">
                  <a:alpha val="7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17FB407D-9251-45DB-B485-E9CF7AB39B2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5764" y="4484865"/>
              <a:ext cx="3458894" cy="1331568"/>
            </a:xfrm>
            <a:prstGeom prst="rect">
              <a:avLst/>
            </a:prstGeom>
            <a:ln>
              <a:noFill/>
            </a:ln>
            <a:effectLst/>
          </p:spPr>
        </p:pic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F374E692-20F7-4B02-8EDE-195161A598A8}"/>
              </a:ext>
            </a:extLst>
          </p:cNvPr>
          <p:cNvGrpSpPr/>
          <p:nvPr/>
        </p:nvGrpSpPr>
        <p:grpSpPr>
          <a:xfrm>
            <a:off x="6383296" y="4514270"/>
            <a:ext cx="4206608" cy="1686503"/>
            <a:chOff x="7390453" y="4188016"/>
            <a:chExt cx="4206608" cy="1686503"/>
          </a:xfrm>
          <a:effectLst>
            <a:outerShdw blurRad="101600" dist="38100" dir="4200000" algn="l" rotWithShape="0">
              <a:prstClr val="black">
                <a:alpha val="75000"/>
              </a:prstClr>
            </a:outerShdw>
          </a:effectLst>
        </p:grpSpPr>
        <p:sp>
          <p:nvSpPr>
            <p:cNvPr id="30" name="Grafik 5">
              <a:extLst>
                <a:ext uri="{FF2B5EF4-FFF2-40B4-BE49-F238E27FC236}">
                  <a16:creationId xmlns:a16="http://schemas.microsoft.com/office/drawing/2014/main" id="{A9F0E9BF-A3AF-4FDB-BF9A-EC005A5B8324}"/>
                </a:ext>
              </a:extLst>
            </p:cNvPr>
            <p:cNvSpPr>
              <a:spLocks/>
            </p:cNvSpPr>
            <p:nvPr/>
          </p:nvSpPr>
          <p:spPr>
            <a:xfrm rot="10800000">
              <a:off x="7390453" y="4188016"/>
              <a:ext cx="4187558" cy="1686503"/>
            </a:xfrm>
            <a:custGeom>
              <a:avLst/>
              <a:gdLst>
                <a:gd name="connsiteX0" fmla="*/ 0 w 11363325"/>
                <a:gd name="connsiteY0" fmla="*/ 0 h 3495675"/>
                <a:gd name="connsiteX1" fmla="*/ 0 w 11363325"/>
                <a:gd name="connsiteY1" fmla="*/ 2568226 h 3495675"/>
                <a:gd name="connsiteX2" fmla="*/ 19336 w 11363325"/>
                <a:gd name="connsiteY2" fmla="*/ 2547080 h 3495675"/>
                <a:gd name="connsiteX3" fmla="*/ 91535 w 11363325"/>
                <a:gd name="connsiteY3" fmla="*/ 2541841 h 3495675"/>
                <a:gd name="connsiteX4" fmla="*/ 102775 w 11363325"/>
                <a:gd name="connsiteY4" fmla="*/ 2636520 h 3495675"/>
                <a:gd name="connsiteX5" fmla="*/ 78772 w 11363325"/>
                <a:gd name="connsiteY5" fmla="*/ 2749677 h 3495675"/>
                <a:gd name="connsiteX6" fmla="*/ 210312 w 11363325"/>
                <a:gd name="connsiteY6" fmla="*/ 2682907 h 3495675"/>
                <a:gd name="connsiteX7" fmla="*/ 278511 w 11363325"/>
                <a:gd name="connsiteY7" fmla="*/ 2680145 h 3495675"/>
                <a:gd name="connsiteX8" fmla="*/ 299847 w 11363325"/>
                <a:gd name="connsiteY8" fmla="*/ 2746153 h 3495675"/>
                <a:gd name="connsiteX9" fmla="*/ 268700 w 11363325"/>
                <a:gd name="connsiteY9" fmla="*/ 2873407 h 3495675"/>
                <a:gd name="connsiteX10" fmla="*/ 378619 w 11363325"/>
                <a:gd name="connsiteY10" fmla="*/ 2834164 h 3495675"/>
                <a:gd name="connsiteX11" fmla="*/ 383381 w 11363325"/>
                <a:gd name="connsiteY11" fmla="*/ 2910840 h 3495675"/>
                <a:gd name="connsiteX12" fmla="*/ 404241 w 11363325"/>
                <a:gd name="connsiteY12" fmla="*/ 2994470 h 3495675"/>
                <a:gd name="connsiteX13" fmla="*/ 479108 w 11363325"/>
                <a:gd name="connsiteY13" fmla="*/ 3001995 h 3495675"/>
                <a:gd name="connsiteX14" fmla="*/ 559308 w 11363325"/>
                <a:gd name="connsiteY14" fmla="*/ 2948559 h 3495675"/>
                <a:gd name="connsiteX15" fmla="*/ 590169 w 11363325"/>
                <a:gd name="connsiteY15" fmla="*/ 3082671 h 3495675"/>
                <a:gd name="connsiteX16" fmla="*/ 659035 w 11363325"/>
                <a:gd name="connsiteY16" fmla="*/ 3032570 h 3495675"/>
                <a:gd name="connsiteX17" fmla="*/ 714089 w 11363325"/>
                <a:gd name="connsiteY17" fmla="*/ 3084005 h 3495675"/>
                <a:gd name="connsiteX18" fmla="*/ 758285 w 11363325"/>
                <a:gd name="connsiteY18" fmla="*/ 3006757 h 3495675"/>
                <a:gd name="connsiteX19" fmla="*/ 775811 w 11363325"/>
                <a:gd name="connsiteY19" fmla="*/ 3059621 h 3495675"/>
                <a:gd name="connsiteX20" fmla="*/ 819722 w 11363325"/>
                <a:gd name="connsiteY20" fmla="*/ 3041714 h 3495675"/>
                <a:gd name="connsiteX21" fmla="*/ 893350 w 11363325"/>
                <a:gd name="connsiteY21" fmla="*/ 3040952 h 3495675"/>
                <a:gd name="connsiteX22" fmla="*/ 892112 w 11363325"/>
                <a:gd name="connsiteY22" fmla="*/ 3111532 h 3495675"/>
                <a:gd name="connsiteX23" fmla="*/ 1005364 w 11363325"/>
                <a:gd name="connsiteY23" fmla="*/ 3103721 h 3495675"/>
                <a:gd name="connsiteX24" fmla="*/ 976027 w 11363325"/>
                <a:gd name="connsiteY24" fmla="*/ 3173063 h 3495675"/>
                <a:gd name="connsiteX25" fmla="*/ 1054703 w 11363325"/>
                <a:gd name="connsiteY25" fmla="*/ 3175159 h 3495675"/>
                <a:gd name="connsiteX26" fmla="*/ 1054703 w 11363325"/>
                <a:gd name="connsiteY26" fmla="*/ 3175064 h 3495675"/>
                <a:gd name="connsiteX27" fmla="*/ 1111472 w 11363325"/>
                <a:gd name="connsiteY27" fmla="*/ 3158490 h 3495675"/>
                <a:gd name="connsiteX28" fmla="*/ 1200245 w 11363325"/>
                <a:gd name="connsiteY28" fmla="*/ 3255550 h 3495675"/>
                <a:gd name="connsiteX29" fmla="*/ 1274255 w 11363325"/>
                <a:gd name="connsiteY29" fmla="*/ 3154775 h 3495675"/>
                <a:gd name="connsiteX30" fmla="*/ 1294067 w 11363325"/>
                <a:gd name="connsiteY30" fmla="*/ 3253073 h 3495675"/>
                <a:gd name="connsiteX31" fmla="*/ 1185577 w 11363325"/>
                <a:gd name="connsiteY31" fmla="*/ 3354800 h 3495675"/>
                <a:gd name="connsiteX32" fmla="*/ 1302639 w 11363325"/>
                <a:gd name="connsiteY32" fmla="*/ 3385947 h 3495675"/>
                <a:gd name="connsiteX33" fmla="*/ 1340072 w 11363325"/>
                <a:gd name="connsiteY33" fmla="*/ 3302127 h 3495675"/>
                <a:gd name="connsiteX34" fmla="*/ 1414367 w 11363325"/>
                <a:gd name="connsiteY34" fmla="*/ 3363087 h 3495675"/>
                <a:gd name="connsiteX35" fmla="*/ 1432274 w 11363325"/>
                <a:gd name="connsiteY35" fmla="*/ 3434048 h 3495675"/>
                <a:gd name="connsiteX36" fmla="*/ 1498759 w 11363325"/>
                <a:gd name="connsiteY36" fmla="*/ 3388043 h 3495675"/>
                <a:gd name="connsiteX37" fmla="*/ 1507712 w 11363325"/>
                <a:gd name="connsiteY37" fmla="*/ 3467386 h 3495675"/>
                <a:gd name="connsiteX38" fmla="*/ 1620488 w 11363325"/>
                <a:gd name="connsiteY38" fmla="*/ 3370803 h 3495675"/>
                <a:gd name="connsiteX39" fmla="*/ 1609725 w 11363325"/>
                <a:gd name="connsiteY39" fmla="*/ 3390233 h 3495675"/>
                <a:gd name="connsiteX40" fmla="*/ 1657922 w 11363325"/>
                <a:gd name="connsiteY40" fmla="*/ 3376041 h 3495675"/>
                <a:gd name="connsiteX41" fmla="*/ 1776032 w 11363325"/>
                <a:gd name="connsiteY41" fmla="*/ 3499295 h 3495675"/>
                <a:gd name="connsiteX42" fmla="*/ 1755553 w 11363325"/>
                <a:gd name="connsiteY42" fmla="*/ 3349657 h 3495675"/>
                <a:gd name="connsiteX43" fmla="*/ 1822990 w 11363325"/>
                <a:gd name="connsiteY43" fmla="*/ 3340227 h 3495675"/>
                <a:gd name="connsiteX44" fmla="*/ 1915192 w 11363325"/>
                <a:gd name="connsiteY44" fmla="*/ 3379661 h 3495675"/>
                <a:gd name="connsiteX45" fmla="*/ 2007680 w 11363325"/>
                <a:gd name="connsiteY45" fmla="*/ 3332703 h 3495675"/>
                <a:gd name="connsiteX46" fmla="*/ 2005870 w 11363325"/>
                <a:gd name="connsiteY46" fmla="*/ 3231261 h 3495675"/>
                <a:gd name="connsiteX47" fmla="*/ 1929193 w 11363325"/>
                <a:gd name="connsiteY47" fmla="*/ 3188684 h 3495675"/>
                <a:gd name="connsiteX48" fmla="*/ 1961960 w 11363325"/>
                <a:gd name="connsiteY48" fmla="*/ 3130677 h 3495675"/>
                <a:gd name="connsiteX49" fmla="*/ 1847850 w 11363325"/>
                <a:gd name="connsiteY49" fmla="*/ 3093625 h 3495675"/>
                <a:gd name="connsiteX50" fmla="*/ 1863281 w 11363325"/>
                <a:gd name="connsiteY50" fmla="*/ 2997137 h 3495675"/>
                <a:gd name="connsiteX51" fmla="*/ 1957673 w 11363325"/>
                <a:gd name="connsiteY51" fmla="*/ 3006471 h 3495675"/>
                <a:gd name="connsiteX52" fmla="*/ 2019776 w 11363325"/>
                <a:gd name="connsiteY52" fmla="*/ 3112484 h 3495675"/>
                <a:gd name="connsiteX53" fmla="*/ 2068830 w 11363325"/>
                <a:gd name="connsiteY53" fmla="*/ 3065526 h 3495675"/>
                <a:gd name="connsiteX54" fmla="*/ 2061020 w 11363325"/>
                <a:gd name="connsiteY54" fmla="*/ 2944559 h 3495675"/>
                <a:gd name="connsiteX55" fmla="*/ 2064639 w 11363325"/>
                <a:gd name="connsiteY55" fmla="*/ 2930938 h 3495675"/>
                <a:gd name="connsiteX56" fmla="*/ 2164461 w 11363325"/>
                <a:gd name="connsiteY56" fmla="*/ 2904935 h 3495675"/>
                <a:gd name="connsiteX57" fmla="*/ 2174462 w 11363325"/>
                <a:gd name="connsiteY57" fmla="*/ 2844737 h 3495675"/>
                <a:gd name="connsiteX58" fmla="*/ 2144363 w 11363325"/>
                <a:gd name="connsiteY58" fmla="*/ 2754535 h 3495675"/>
                <a:gd name="connsiteX59" fmla="*/ 2286476 w 11363325"/>
                <a:gd name="connsiteY59" fmla="*/ 2780538 h 3495675"/>
                <a:gd name="connsiteX60" fmla="*/ 2292858 w 11363325"/>
                <a:gd name="connsiteY60" fmla="*/ 2739485 h 3495675"/>
                <a:gd name="connsiteX61" fmla="*/ 2337340 w 11363325"/>
                <a:gd name="connsiteY61" fmla="*/ 2786729 h 3495675"/>
                <a:gd name="connsiteX62" fmla="*/ 2405253 w 11363325"/>
                <a:gd name="connsiteY62" fmla="*/ 2622518 h 3495675"/>
                <a:gd name="connsiteX63" fmla="*/ 2478405 w 11363325"/>
                <a:gd name="connsiteY63" fmla="*/ 2735390 h 3495675"/>
                <a:gd name="connsiteX64" fmla="*/ 2416683 w 11363325"/>
                <a:gd name="connsiteY64" fmla="*/ 2594324 h 3495675"/>
                <a:gd name="connsiteX65" fmla="*/ 2517743 w 11363325"/>
                <a:gd name="connsiteY65" fmla="*/ 2600516 h 3495675"/>
                <a:gd name="connsiteX66" fmla="*/ 2563273 w 11363325"/>
                <a:gd name="connsiteY66" fmla="*/ 2546033 h 3495675"/>
                <a:gd name="connsiteX67" fmla="*/ 2633948 w 11363325"/>
                <a:gd name="connsiteY67" fmla="*/ 2504980 h 3495675"/>
                <a:gd name="connsiteX68" fmla="*/ 2691194 w 11363325"/>
                <a:gd name="connsiteY68" fmla="*/ 2545271 h 3495675"/>
                <a:gd name="connsiteX69" fmla="*/ 2742724 w 11363325"/>
                <a:gd name="connsiteY69" fmla="*/ 2633186 h 3495675"/>
                <a:gd name="connsiteX70" fmla="*/ 2794635 w 11363325"/>
                <a:gd name="connsiteY70" fmla="*/ 2642045 h 3495675"/>
                <a:gd name="connsiteX71" fmla="*/ 2876931 w 11363325"/>
                <a:gd name="connsiteY71" fmla="*/ 2517077 h 3495675"/>
                <a:gd name="connsiteX72" fmla="*/ 2886551 w 11363325"/>
                <a:gd name="connsiteY72" fmla="*/ 2505170 h 3495675"/>
                <a:gd name="connsiteX73" fmla="*/ 2947226 w 11363325"/>
                <a:gd name="connsiteY73" fmla="*/ 2548033 h 3495675"/>
                <a:gd name="connsiteX74" fmla="*/ 2941034 w 11363325"/>
                <a:gd name="connsiteY74" fmla="*/ 2456593 h 3495675"/>
                <a:gd name="connsiteX75" fmla="*/ 3068670 w 11363325"/>
                <a:gd name="connsiteY75" fmla="*/ 2516600 h 3495675"/>
                <a:gd name="connsiteX76" fmla="*/ 3110674 w 11363325"/>
                <a:gd name="connsiteY76" fmla="*/ 2553272 h 3495675"/>
                <a:gd name="connsiteX77" fmla="*/ 3139916 w 11363325"/>
                <a:gd name="connsiteY77" fmla="*/ 2377821 h 3495675"/>
                <a:gd name="connsiteX78" fmla="*/ 3192304 w 11363325"/>
                <a:gd name="connsiteY78" fmla="*/ 2410873 h 3495675"/>
                <a:gd name="connsiteX79" fmla="*/ 3257264 w 11363325"/>
                <a:gd name="connsiteY79" fmla="*/ 2440496 h 3495675"/>
                <a:gd name="connsiteX80" fmla="*/ 3289173 w 11363325"/>
                <a:gd name="connsiteY80" fmla="*/ 2366772 h 3495675"/>
                <a:gd name="connsiteX81" fmla="*/ 3355181 w 11363325"/>
                <a:gd name="connsiteY81" fmla="*/ 2377535 h 3495675"/>
                <a:gd name="connsiteX82" fmla="*/ 3412141 w 11363325"/>
                <a:gd name="connsiteY82" fmla="*/ 2373249 h 3495675"/>
                <a:gd name="connsiteX83" fmla="*/ 3476244 w 11363325"/>
                <a:gd name="connsiteY83" fmla="*/ 2477643 h 3495675"/>
                <a:gd name="connsiteX84" fmla="*/ 3508153 w 11363325"/>
                <a:gd name="connsiteY84" fmla="*/ 2424208 h 3495675"/>
                <a:gd name="connsiteX85" fmla="*/ 3585115 w 11363325"/>
                <a:gd name="connsiteY85" fmla="*/ 2405539 h 3495675"/>
                <a:gd name="connsiteX86" fmla="*/ 3557207 w 11363325"/>
                <a:gd name="connsiteY86" fmla="*/ 2539937 h 3495675"/>
                <a:gd name="connsiteX87" fmla="*/ 3666839 w 11363325"/>
                <a:gd name="connsiteY87" fmla="*/ 2508980 h 3495675"/>
                <a:gd name="connsiteX88" fmla="*/ 3724466 w 11363325"/>
                <a:gd name="connsiteY88" fmla="*/ 2408777 h 3495675"/>
                <a:gd name="connsiteX89" fmla="*/ 3774948 w 11363325"/>
                <a:gd name="connsiteY89" fmla="*/ 2464308 h 3495675"/>
                <a:gd name="connsiteX90" fmla="*/ 3826859 w 11363325"/>
                <a:gd name="connsiteY90" fmla="*/ 2478215 h 3495675"/>
                <a:gd name="connsiteX91" fmla="*/ 3947351 w 11363325"/>
                <a:gd name="connsiteY91" fmla="*/ 2479358 h 3495675"/>
                <a:gd name="connsiteX92" fmla="*/ 3789998 w 11363325"/>
                <a:gd name="connsiteY92" fmla="*/ 2525745 h 3495675"/>
                <a:gd name="connsiteX93" fmla="*/ 3752945 w 11363325"/>
                <a:gd name="connsiteY93" fmla="*/ 2572417 h 3495675"/>
                <a:gd name="connsiteX94" fmla="*/ 3806190 w 11363325"/>
                <a:gd name="connsiteY94" fmla="*/ 2666048 h 3495675"/>
                <a:gd name="connsiteX95" fmla="*/ 3809714 w 11363325"/>
                <a:gd name="connsiteY95" fmla="*/ 2662714 h 3495675"/>
                <a:gd name="connsiteX96" fmla="*/ 3865340 w 11363325"/>
                <a:gd name="connsiteY96" fmla="*/ 2649379 h 3495675"/>
                <a:gd name="connsiteX97" fmla="*/ 3939826 w 11363325"/>
                <a:gd name="connsiteY97" fmla="*/ 2774537 h 3495675"/>
                <a:gd name="connsiteX98" fmla="*/ 3989165 w 11363325"/>
                <a:gd name="connsiteY98" fmla="*/ 2772632 h 3495675"/>
                <a:gd name="connsiteX99" fmla="*/ 4054126 w 11363325"/>
                <a:gd name="connsiteY99" fmla="*/ 2664333 h 3495675"/>
                <a:gd name="connsiteX100" fmla="*/ 4105942 w 11363325"/>
                <a:gd name="connsiteY100" fmla="*/ 2733866 h 3495675"/>
                <a:gd name="connsiteX101" fmla="*/ 4232720 w 11363325"/>
                <a:gd name="connsiteY101" fmla="*/ 2643949 h 3495675"/>
                <a:gd name="connsiteX102" fmla="*/ 4207002 w 11363325"/>
                <a:gd name="connsiteY102" fmla="*/ 2763203 h 3495675"/>
                <a:gd name="connsiteX103" fmla="*/ 4325112 w 11363325"/>
                <a:gd name="connsiteY103" fmla="*/ 2712339 h 3495675"/>
                <a:gd name="connsiteX104" fmla="*/ 4293394 w 11363325"/>
                <a:gd name="connsiteY104" fmla="*/ 2770441 h 3495675"/>
                <a:gd name="connsiteX105" fmla="*/ 4329780 w 11363325"/>
                <a:gd name="connsiteY105" fmla="*/ 2794540 h 3495675"/>
                <a:gd name="connsiteX106" fmla="*/ 4331018 w 11363325"/>
                <a:gd name="connsiteY106" fmla="*/ 2734532 h 3495675"/>
                <a:gd name="connsiteX107" fmla="*/ 4397121 w 11363325"/>
                <a:gd name="connsiteY107" fmla="*/ 2718149 h 3495675"/>
                <a:gd name="connsiteX108" fmla="*/ 4338923 w 11363325"/>
                <a:gd name="connsiteY108" fmla="*/ 2617946 h 3495675"/>
                <a:gd name="connsiteX109" fmla="*/ 4433507 w 11363325"/>
                <a:gd name="connsiteY109" fmla="*/ 2586419 h 3495675"/>
                <a:gd name="connsiteX110" fmla="*/ 4473321 w 11363325"/>
                <a:gd name="connsiteY110" fmla="*/ 2668143 h 3495675"/>
                <a:gd name="connsiteX111" fmla="*/ 4467987 w 11363325"/>
                <a:gd name="connsiteY111" fmla="*/ 2766155 h 3495675"/>
                <a:gd name="connsiteX112" fmla="*/ 4549521 w 11363325"/>
                <a:gd name="connsiteY112" fmla="*/ 2746058 h 3495675"/>
                <a:gd name="connsiteX113" fmla="*/ 4628293 w 11363325"/>
                <a:gd name="connsiteY113" fmla="*/ 2674144 h 3495675"/>
                <a:gd name="connsiteX114" fmla="*/ 4675347 w 11363325"/>
                <a:gd name="connsiteY114" fmla="*/ 2786824 h 3495675"/>
                <a:gd name="connsiteX115" fmla="*/ 4728020 w 11363325"/>
                <a:gd name="connsiteY115" fmla="*/ 2775299 h 3495675"/>
                <a:gd name="connsiteX116" fmla="*/ 4784598 w 11363325"/>
                <a:gd name="connsiteY116" fmla="*/ 2799683 h 3495675"/>
                <a:gd name="connsiteX117" fmla="*/ 4829937 w 11363325"/>
                <a:gd name="connsiteY117" fmla="*/ 2765298 h 3495675"/>
                <a:gd name="connsiteX118" fmla="*/ 4878229 w 11363325"/>
                <a:gd name="connsiteY118" fmla="*/ 2720626 h 3495675"/>
                <a:gd name="connsiteX119" fmla="*/ 4904804 w 11363325"/>
                <a:gd name="connsiteY119" fmla="*/ 2598611 h 3495675"/>
                <a:gd name="connsiteX120" fmla="*/ 5019771 w 11363325"/>
                <a:gd name="connsiteY120" fmla="*/ 2779966 h 3495675"/>
                <a:gd name="connsiteX121" fmla="*/ 5027962 w 11363325"/>
                <a:gd name="connsiteY121" fmla="*/ 2644140 h 3495675"/>
                <a:gd name="connsiteX122" fmla="*/ 5083874 w 11363325"/>
                <a:gd name="connsiteY122" fmla="*/ 2629757 h 3495675"/>
                <a:gd name="connsiteX123" fmla="*/ 5119497 w 11363325"/>
                <a:gd name="connsiteY123" fmla="*/ 2744915 h 3495675"/>
                <a:gd name="connsiteX124" fmla="*/ 5197317 w 11363325"/>
                <a:gd name="connsiteY124" fmla="*/ 2591276 h 3495675"/>
                <a:gd name="connsiteX125" fmla="*/ 5202841 w 11363325"/>
                <a:gd name="connsiteY125" fmla="*/ 2732437 h 3495675"/>
                <a:gd name="connsiteX126" fmla="*/ 5277231 w 11363325"/>
                <a:gd name="connsiteY126" fmla="*/ 2699576 h 3495675"/>
                <a:gd name="connsiteX127" fmla="*/ 5273802 w 11363325"/>
                <a:gd name="connsiteY127" fmla="*/ 2781110 h 3495675"/>
                <a:gd name="connsiteX128" fmla="*/ 5398389 w 11363325"/>
                <a:gd name="connsiteY128" fmla="*/ 2727865 h 3495675"/>
                <a:gd name="connsiteX129" fmla="*/ 5428203 w 11363325"/>
                <a:gd name="connsiteY129" fmla="*/ 2786348 h 3495675"/>
                <a:gd name="connsiteX130" fmla="*/ 5460969 w 11363325"/>
                <a:gd name="connsiteY130" fmla="*/ 2842546 h 3495675"/>
                <a:gd name="connsiteX131" fmla="*/ 5500688 w 11363325"/>
                <a:gd name="connsiteY131" fmla="*/ 2872740 h 3495675"/>
                <a:gd name="connsiteX132" fmla="*/ 5535740 w 11363325"/>
                <a:gd name="connsiteY132" fmla="*/ 2865691 h 3495675"/>
                <a:gd name="connsiteX133" fmla="*/ 5566982 w 11363325"/>
                <a:gd name="connsiteY133" fmla="*/ 2777204 h 3495675"/>
                <a:gd name="connsiteX134" fmla="*/ 5644134 w 11363325"/>
                <a:gd name="connsiteY134" fmla="*/ 2910459 h 3495675"/>
                <a:gd name="connsiteX135" fmla="*/ 5638610 w 11363325"/>
                <a:gd name="connsiteY135" fmla="*/ 2917889 h 3495675"/>
                <a:gd name="connsiteX136" fmla="*/ 5649659 w 11363325"/>
                <a:gd name="connsiteY136" fmla="*/ 2919984 h 3495675"/>
                <a:gd name="connsiteX137" fmla="*/ 5657088 w 11363325"/>
                <a:gd name="connsiteY137" fmla="*/ 2932748 h 3495675"/>
                <a:gd name="connsiteX138" fmla="*/ 5662517 w 11363325"/>
                <a:gd name="connsiteY138" fmla="*/ 2922461 h 3495675"/>
                <a:gd name="connsiteX139" fmla="*/ 5778723 w 11363325"/>
                <a:gd name="connsiteY139" fmla="*/ 2944845 h 3495675"/>
                <a:gd name="connsiteX140" fmla="*/ 5660612 w 11363325"/>
                <a:gd name="connsiteY140" fmla="*/ 3022854 h 3495675"/>
                <a:gd name="connsiteX141" fmla="*/ 5781675 w 11363325"/>
                <a:gd name="connsiteY141" fmla="*/ 3000851 h 3495675"/>
                <a:gd name="connsiteX142" fmla="*/ 5779389 w 11363325"/>
                <a:gd name="connsiteY142" fmla="*/ 2953131 h 3495675"/>
                <a:gd name="connsiteX143" fmla="*/ 5835586 w 11363325"/>
                <a:gd name="connsiteY143" fmla="*/ 3020473 h 3495675"/>
                <a:gd name="connsiteX144" fmla="*/ 5890260 w 11363325"/>
                <a:gd name="connsiteY144" fmla="*/ 3056001 h 3495675"/>
                <a:gd name="connsiteX145" fmla="*/ 5937980 w 11363325"/>
                <a:gd name="connsiteY145" fmla="*/ 2973896 h 3495675"/>
                <a:gd name="connsiteX146" fmla="*/ 5989796 w 11363325"/>
                <a:gd name="connsiteY146" fmla="*/ 2964466 h 3495675"/>
                <a:gd name="connsiteX147" fmla="*/ 6043422 w 11363325"/>
                <a:gd name="connsiteY147" fmla="*/ 2964085 h 3495675"/>
                <a:gd name="connsiteX148" fmla="*/ 6100667 w 11363325"/>
                <a:gd name="connsiteY148" fmla="*/ 3137249 h 3495675"/>
                <a:gd name="connsiteX149" fmla="*/ 6154865 w 11363325"/>
                <a:gd name="connsiteY149" fmla="*/ 3053239 h 3495675"/>
                <a:gd name="connsiteX150" fmla="*/ 6206585 w 11363325"/>
                <a:gd name="connsiteY150" fmla="*/ 3067812 h 3495675"/>
                <a:gd name="connsiteX151" fmla="*/ 6266021 w 11363325"/>
                <a:gd name="connsiteY151" fmla="*/ 3155156 h 3495675"/>
                <a:gd name="connsiteX152" fmla="*/ 6308122 w 11363325"/>
                <a:gd name="connsiteY152" fmla="*/ 3008757 h 3495675"/>
                <a:gd name="connsiteX153" fmla="*/ 6352604 w 11363325"/>
                <a:gd name="connsiteY153" fmla="*/ 2945225 h 3495675"/>
                <a:gd name="connsiteX154" fmla="*/ 6431852 w 11363325"/>
                <a:gd name="connsiteY154" fmla="*/ 2983802 h 3495675"/>
                <a:gd name="connsiteX155" fmla="*/ 6442805 w 11363325"/>
                <a:gd name="connsiteY155" fmla="*/ 3129153 h 3495675"/>
                <a:gd name="connsiteX156" fmla="*/ 6550343 w 11363325"/>
                <a:gd name="connsiteY156" fmla="*/ 3018949 h 3495675"/>
                <a:gd name="connsiteX157" fmla="*/ 6579394 w 11363325"/>
                <a:gd name="connsiteY157" fmla="*/ 3141059 h 3495675"/>
                <a:gd name="connsiteX158" fmla="*/ 6610446 w 11363325"/>
                <a:gd name="connsiteY158" fmla="*/ 3038094 h 3495675"/>
                <a:gd name="connsiteX159" fmla="*/ 6685217 w 11363325"/>
                <a:gd name="connsiteY159" fmla="*/ 3083338 h 3495675"/>
                <a:gd name="connsiteX160" fmla="*/ 6709124 w 11363325"/>
                <a:gd name="connsiteY160" fmla="*/ 3018187 h 3495675"/>
                <a:gd name="connsiteX161" fmla="*/ 6730365 w 11363325"/>
                <a:gd name="connsiteY161" fmla="*/ 3103912 h 3495675"/>
                <a:gd name="connsiteX162" fmla="*/ 6825139 w 11363325"/>
                <a:gd name="connsiteY162" fmla="*/ 3023140 h 3495675"/>
                <a:gd name="connsiteX163" fmla="*/ 6762941 w 11363325"/>
                <a:gd name="connsiteY163" fmla="*/ 3139821 h 3495675"/>
                <a:gd name="connsiteX164" fmla="*/ 6843522 w 11363325"/>
                <a:gd name="connsiteY164" fmla="*/ 3145822 h 3495675"/>
                <a:gd name="connsiteX165" fmla="*/ 6879812 w 11363325"/>
                <a:gd name="connsiteY165" fmla="*/ 3212592 h 3495675"/>
                <a:gd name="connsiteX166" fmla="*/ 6966680 w 11363325"/>
                <a:gd name="connsiteY166" fmla="*/ 3236405 h 3495675"/>
                <a:gd name="connsiteX167" fmla="*/ 6997732 w 11363325"/>
                <a:gd name="connsiteY167" fmla="*/ 3128963 h 3495675"/>
                <a:gd name="connsiteX168" fmla="*/ 7064693 w 11363325"/>
                <a:gd name="connsiteY168" fmla="*/ 3150013 h 3495675"/>
                <a:gd name="connsiteX169" fmla="*/ 7140035 w 11363325"/>
                <a:gd name="connsiteY169" fmla="*/ 3183350 h 3495675"/>
                <a:gd name="connsiteX170" fmla="*/ 7155847 w 11363325"/>
                <a:gd name="connsiteY170" fmla="*/ 3057144 h 3495675"/>
                <a:gd name="connsiteX171" fmla="*/ 7217569 w 11363325"/>
                <a:gd name="connsiteY171" fmla="*/ 3106007 h 3495675"/>
                <a:gd name="connsiteX172" fmla="*/ 7228523 w 11363325"/>
                <a:gd name="connsiteY172" fmla="*/ 3169539 h 3495675"/>
                <a:gd name="connsiteX173" fmla="*/ 7318724 w 11363325"/>
                <a:gd name="connsiteY173" fmla="*/ 3154395 h 3495675"/>
                <a:gd name="connsiteX174" fmla="*/ 7378636 w 11363325"/>
                <a:gd name="connsiteY174" fmla="*/ 3157252 h 3495675"/>
                <a:gd name="connsiteX175" fmla="*/ 7376541 w 11363325"/>
                <a:gd name="connsiteY175" fmla="*/ 3102007 h 3495675"/>
                <a:gd name="connsiteX176" fmla="*/ 7427881 w 11363325"/>
                <a:gd name="connsiteY176" fmla="*/ 3095435 h 3495675"/>
                <a:gd name="connsiteX177" fmla="*/ 7499414 w 11363325"/>
                <a:gd name="connsiteY177" fmla="*/ 3116771 h 3495675"/>
                <a:gd name="connsiteX178" fmla="*/ 7593616 w 11363325"/>
                <a:gd name="connsiteY178" fmla="*/ 3121247 h 3495675"/>
                <a:gd name="connsiteX179" fmla="*/ 7505319 w 11363325"/>
                <a:gd name="connsiteY179" fmla="*/ 2943701 h 3495675"/>
                <a:gd name="connsiteX180" fmla="*/ 7592283 w 11363325"/>
                <a:gd name="connsiteY180" fmla="*/ 2956465 h 3495675"/>
                <a:gd name="connsiteX181" fmla="*/ 7650576 w 11363325"/>
                <a:gd name="connsiteY181" fmla="*/ 2972467 h 3495675"/>
                <a:gd name="connsiteX182" fmla="*/ 7683627 w 11363325"/>
                <a:gd name="connsiteY182" fmla="*/ 2913126 h 3495675"/>
                <a:gd name="connsiteX183" fmla="*/ 7722394 w 11363325"/>
                <a:gd name="connsiteY183" fmla="*/ 2943511 h 3495675"/>
                <a:gd name="connsiteX184" fmla="*/ 7827169 w 11363325"/>
                <a:gd name="connsiteY184" fmla="*/ 2891409 h 3495675"/>
                <a:gd name="connsiteX185" fmla="*/ 7635907 w 11363325"/>
                <a:gd name="connsiteY185" fmla="*/ 2838545 h 3495675"/>
                <a:gd name="connsiteX186" fmla="*/ 7828121 w 11363325"/>
                <a:gd name="connsiteY186" fmla="*/ 2805779 h 3495675"/>
                <a:gd name="connsiteX187" fmla="*/ 7762494 w 11363325"/>
                <a:gd name="connsiteY187" fmla="*/ 2701671 h 3495675"/>
                <a:gd name="connsiteX188" fmla="*/ 7867936 w 11363325"/>
                <a:gd name="connsiteY188" fmla="*/ 2752725 h 3495675"/>
                <a:gd name="connsiteX189" fmla="*/ 7875556 w 11363325"/>
                <a:gd name="connsiteY189" fmla="*/ 2668810 h 3495675"/>
                <a:gd name="connsiteX190" fmla="*/ 7986999 w 11363325"/>
                <a:gd name="connsiteY190" fmla="*/ 2623185 h 3495675"/>
                <a:gd name="connsiteX191" fmla="*/ 7884605 w 11363325"/>
                <a:gd name="connsiteY191" fmla="*/ 2554129 h 3495675"/>
                <a:gd name="connsiteX192" fmla="*/ 7876699 w 11363325"/>
                <a:gd name="connsiteY192" fmla="*/ 2488787 h 3495675"/>
                <a:gd name="connsiteX193" fmla="*/ 7953280 w 11363325"/>
                <a:gd name="connsiteY193" fmla="*/ 2466975 h 3495675"/>
                <a:gd name="connsiteX194" fmla="*/ 7977569 w 11363325"/>
                <a:gd name="connsiteY194" fmla="*/ 2409825 h 3495675"/>
                <a:gd name="connsiteX195" fmla="*/ 8022622 w 11363325"/>
                <a:gd name="connsiteY195" fmla="*/ 2384393 h 3495675"/>
                <a:gd name="connsiteX196" fmla="*/ 8080344 w 11363325"/>
                <a:gd name="connsiteY196" fmla="*/ 2448020 h 3495675"/>
                <a:gd name="connsiteX197" fmla="*/ 8132636 w 11363325"/>
                <a:gd name="connsiteY197" fmla="*/ 2333816 h 3495675"/>
                <a:gd name="connsiteX198" fmla="*/ 8196167 w 11363325"/>
                <a:gd name="connsiteY198" fmla="*/ 2343055 h 3495675"/>
                <a:gd name="connsiteX199" fmla="*/ 8258556 w 11363325"/>
                <a:gd name="connsiteY199" fmla="*/ 2300288 h 3495675"/>
                <a:gd name="connsiteX200" fmla="*/ 8308181 w 11363325"/>
                <a:gd name="connsiteY200" fmla="*/ 2355723 h 3495675"/>
                <a:gd name="connsiteX201" fmla="*/ 8366760 w 11363325"/>
                <a:gd name="connsiteY201" fmla="*/ 2337626 h 3495675"/>
                <a:gd name="connsiteX202" fmla="*/ 8412670 w 11363325"/>
                <a:gd name="connsiteY202" fmla="*/ 2463165 h 3495675"/>
                <a:gd name="connsiteX203" fmla="*/ 8475059 w 11363325"/>
                <a:gd name="connsiteY203" fmla="*/ 2357533 h 3495675"/>
                <a:gd name="connsiteX204" fmla="*/ 8535638 w 11363325"/>
                <a:gd name="connsiteY204" fmla="*/ 2278952 h 3495675"/>
                <a:gd name="connsiteX205" fmla="*/ 8584216 w 11363325"/>
                <a:gd name="connsiteY205" fmla="*/ 2373249 h 3495675"/>
                <a:gd name="connsiteX206" fmla="*/ 8644985 w 11363325"/>
                <a:gd name="connsiteY206" fmla="*/ 2288096 h 3495675"/>
                <a:gd name="connsiteX207" fmla="*/ 8691372 w 11363325"/>
                <a:gd name="connsiteY207" fmla="*/ 2334863 h 3495675"/>
                <a:gd name="connsiteX208" fmla="*/ 8765000 w 11363325"/>
                <a:gd name="connsiteY208" fmla="*/ 2487359 h 3495675"/>
                <a:gd name="connsiteX209" fmla="*/ 8790623 w 11363325"/>
                <a:gd name="connsiteY209" fmla="*/ 2265712 h 3495675"/>
                <a:gd name="connsiteX210" fmla="*/ 8843010 w 11363325"/>
                <a:gd name="connsiteY210" fmla="*/ 2436876 h 3495675"/>
                <a:gd name="connsiteX211" fmla="*/ 8906446 w 11363325"/>
                <a:gd name="connsiteY211" fmla="*/ 2404396 h 3495675"/>
                <a:gd name="connsiteX212" fmla="*/ 8903303 w 11363325"/>
                <a:gd name="connsiteY212" fmla="*/ 2516981 h 3495675"/>
                <a:gd name="connsiteX213" fmla="*/ 9019413 w 11363325"/>
                <a:gd name="connsiteY213" fmla="*/ 2434400 h 3495675"/>
                <a:gd name="connsiteX214" fmla="*/ 9086564 w 11363325"/>
                <a:gd name="connsiteY214" fmla="*/ 2541270 h 3495675"/>
                <a:gd name="connsiteX215" fmla="*/ 9122759 w 11363325"/>
                <a:gd name="connsiteY215" fmla="*/ 2414016 h 3495675"/>
                <a:gd name="connsiteX216" fmla="*/ 9184100 w 11363325"/>
                <a:gd name="connsiteY216" fmla="*/ 2409063 h 3495675"/>
                <a:gd name="connsiteX217" fmla="*/ 9242393 w 11363325"/>
                <a:gd name="connsiteY217" fmla="*/ 2520410 h 3495675"/>
                <a:gd name="connsiteX218" fmla="*/ 9300972 w 11363325"/>
                <a:gd name="connsiteY218" fmla="*/ 2389537 h 3495675"/>
                <a:gd name="connsiteX219" fmla="*/ 9385268 w 11363325"/>
                <a:gd name="connsiteY219" fmla="*/ 2362772 h 3495675"/>
                <a:gd name="connsiteX220" fmla="*/ 9360027 w 11363325"/>
                <a:gd name="connsiteY220" fmla="*/ 2527268 h 3495675"/>
                <a:gd name="connsiteX221" fmla="*/ 9484805 w 11363325"/>
                <a:gd name="connsiteY221" fmla="*/ 2473833 h 3495675"/>
                <a:gd name="connsiteX222" fmla="*/ 9536430 w 11363325"/>
                <a:gd name="connsiteY222" fmla="*/ 2477453 h 3495675"/>
                <a:gd name="connsiteX223" fmla="*/ 9564148 w 11363325"/>
                <a:gd name="connsiteY223" fmla="*/ 2533269 h 3495675"/>
                <a:gd name="connsiteX224" fmla="*/ 9616726 w 11363325"/>
                <a:gd name="connsiteY224" fmla="*/ 2570798 h 3495675"/>
                <a:gd name="connsiteX225" fmla="*/ 9686258 w 11363325"/>
                <a:gd name="connsiteY225" fmla="*/ 2645759 h 3495675"/>
                <a:gd name="connsiteX226" fmla="*/ 9744646 w 11363325"/>
                <a:gd name="connsiteY226" fmla="*/ 2589943 h 3495675"/>
                <a:gd name="connsiteX227" fmla="*/ 9790462 w 11363325"/>
                <a:gd name="connsiteY227" fmla="*/ 2561463 h 3495675"/>
                <a:gd name="connsiteX228" fmla="*/ 9787985 w 11363325"/>
                <a:gd name="connsiteY228" fmla="*/ 2486025 h 3495675"/>
                <a:gd name="connsiteX229" fmla="*/ 9823418 w 11363325"/>
                <a:gd name="connsiteY229" fmla="*/ 2454212 h 3495675"/>
                <a:gd name="connsiteX230" fmla="*/ 9873805 w 11363325"/>
                <a:gd name="connsiteY230" fmla="*/ 2365724 h 3495675"/>
                <a:gd name="connsiteX231" fmla="*/ 9928956 w 11363325"/>
                <a:gd name="connsiteY231" fmla="*/ 2379726 h 3495675"/>
                <a:gd name="connsiteX232" fmla="*/ 9994202 w 11363325"/>
                <a:gd name="connsiteY232" fmla="*/ 2399348 h 3495675"/>
                <a:gd name="connsiteX233" fmla="*/ 10029634 w 11363325"/>
                <a:gd name="connsiteY233" fmla="*/ 2462498 h 3495675"/>
                <a:gd name="connsiteX234" fmla="*/ 10074212 w 11363325"/>
                <a:gd name="connsiteY234" fmla="*/ 2483930 h 3495675"/>
                <a:gd name="connsiteX235" fmla="*/ 10165461 w 11363325"/>
                <a:gd name="connsiteY235" fmla="*/ 2416397 h 3495675"/>
                <a:gd name="connsiteX236" fmla="*/ 10164699 w 11363325"/>
                <a:gd name="connsiteY236" fmla="*/ 2471547 h 3495675"/>
                <a:gd name="connsiteX237" fmla="*/ 10189178 w 11363325"/>
                <a:gd name="connsiteY237" fmla="*/ 2433828 h 3495675"/>
                <a:gd name="connsiteX238" fmla="*/ 10224897 w 11363325"/>
                <a:gd name="connsiteY238" fmla="*/ 2398109 h 3495675"/>
                <a:gd name="connsiteX239" fmla="*/ 10310051 w 11363325"/>
                <a:gd name="connsiteY239" fmla="*/ 2404015 h 3495675"/>
                <a:gd name="connsiteX240" fmla="*/ 10311765 w 11363325"/>
                <a:gd name="connsiteY240" fmla="*/ 2411349 h 3495675"/>
                <a:gd name="connsiteX241" fmla="*/ 10438734 w 11363325"/>
                <a:gd name="connsiteY241" fmla="*/ 2362391 h 3495675"/>
                <a:gd name="connsiteX242" fmla="*/ 10370820 w 11363325"/>
                <a:gd name="connsiteY242" fmla="*/ 2528888 h 3495675"/>
                <a:gd name="connsiteX243" fmla="*/ 10491883 w 11363325"/>
                <a:gd name="connsiteY243" fmla="*/ 2405539 h 3495675"/>
                <a:gd name="connsiteX244" fmla="*/ 10486359 w 11363325"/>
                <a:gd name="connsiteY244" fmla="*/ 2384774 h 3495675"/>
                <a:gd name="connsiteX245" fmla="*/ 10622852 w 11363325"/>
                <a:gd name="connsiteY245" fmla="*/ 2485263 h 3495675"/>
                <a:gd name="connsiteX246" fmla="*/ 10613897 w 11363325"/>
                <a:gd name="connsiteY246" fmla="*/ 2343055 h 3495675"/>
                <a:gd name="connsiteX247" fmla="*/ 10724769 w 11363325"/>
                <a:gd name="connsiteY247" fmla="*/ 2486692 h 3495675"/>
                <a:gd name="connsiteX248" fmla="*/ 10763250 w 11363325"/>
                <a:gd name="connsiteY248" fmla="*/ 2421350 h 3495675"/>
                <a:gd name="connsiteX249" fmla="*/ 10827830 w 11363325"/>
                <a:gd name="connsiteY249" fmla="*/ 2432018 h 3495675"/>
                <a:gd name="connsiteX250" fmla="*/ 10874026 w 11363325"/>
                <a:gd name="connsiteY250" fmla="*/ 2385536 h 3495675"/>
                <a:gd name="connsiteX251" fmla="*/ 10932795 w 11363325"/>
                <a:gd name="connsiteY251" fmla="*/ 2380202 h 3495675"/>
                <a:gd name="connsiteX252" fmla="*/ 10960228 w 11363325"/>
                <a:gd name="connsiteY252" fmla="*/ 2225421 h 3495675"/>
                <a:gd name="connsiteX253" fmla="*/ 10986992 w 11363325"/>
                <a:gd name="connsiteY253" fmla="*/ 2382869 h 3495675"/>
                <a:gd name="connsiteX254" fmla="*/ 11046809 w 11363325"/>
                <a:gd name="connsiteY254" fmla="*/ 2397062 h 3495675"/>
                <a:gd name="connsiteX255" fmla="*/ 11124534 w 11363325"/>
                <a:gd name="connsiteY255" fmla="*/ 2365534 h 3495675"/>
                <a:gd name="connsiteX256" fmla="*/ 11182445 w 11363325"/>
                <a:gd name="connsiteY256" fmla="*/ 2383155 h 3495675"/>
                <a:gd name="connsiteX257" fmla="*/ 11250454 w 11363325"/>
                <a:gd name="connsiteY257" fmla="*/ 2375249 h 3495675"/>
                <a:gd name="connsiteX258" fmla="*/ 11303508 w 11363325"/>
                <a:gd name="connsiteY258" fmla="*/ 2327243 h 3495675"/>
                <a:gd name="connsiteX259" fmla="*/ 11356467 w 11363325"/>
                <a:gd name="connsiteY259" fmla="*/ 2424494 h 3495675"/>
                <a:gd name="connsiteX260" fmla="*/ 11372564 w 11363325"/>
                <a:gd name="connsiteY260" fmla="*/ 2435924 h 3495675"/>
                <a:gd name="connsiteX261" fmla="*/ 11372564 w 11363325"/>
                <a:gd name="connsiteY261" fmla="*/ 0 h 3495675"/>
                <a:gd name="connsiteX262" fmla="*/ 0 w 11363325"/>
                <a:gd name="connsiteY262" fmla="*/ 0 h 3495675"/>
                <a:gd name="connsiteX263" fmla="*/ 7624191 w 11363325"/>
                <a:gd name="connsiteY263" fmla="*/ 2067973 h 3495675"/>
                <a:gd name="connsiteX264" fmla="*/ 7586187 w 11363325"/>
                <a:gd name="connsiteY264" fmla="*/ 1943672 h 3495675"/>
                <a:gd name="connsiteX265" fmla="*/ 7601522 w 11363325"/>
                <a:gd name="connsiteY265" fmla="*/ 1930813 h 3495675"/>
                <a:gd name="connsiteX266" fmla="*/ 7634669 w 11363325"/>
                <a:gd name="connsiteY266" fmla="*/ 1941100 h 3495675"/>
                <a:gd name="connsiteX267" fmla="*/ 7624191 w 11363325"/>
                <a:gd name="connsiteY267" fmla="*/ 2067973 h 3495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</a:cxnLst>
              <a:rect l="l" t="t" r="r" b="b"/>
              <a:pathLst>
                <a:path w="11363325" h="3495675">
                  <a:moveTo>
                    <a:pt x="0" y="0"/>
                  </a:moveTo>
                  <a:lnTo>
                    <a:pt x="0" y="2568226"/>
                  </a:lnTo>
                  <a:lnTo>
                    <a:pt x="19336" y="2547080"/>
                  </a:lnTo>
                  <a:lnTo>
                    <a:pt x="91535" y="2541841"/>
                  </a:lnTo>
                  <a:lnTo>
                    <a:pt x="102775" y="2636520"/>
                  </a:lnTo>
                  <a:lnTo>
                    <a:pt x="78772" y="2749677"/>
                  </a:lnTo>
                  <a:lnTo>
                    <a:pt x="210312" y="2682907"/>
                  </a:lnTo>
                  <a:lnTo>
                    <a:pt x="278511" y="2680145"/>
                  </a:lnTo>
                  <a:lnTo>
                    <a:pt x="299847" y="2746153"/>
                  </a:lnTo>
                  <a:lnTo>
                    <a:pt x="268700" y="2873407"/>
                  </a:lnTo>
                  <a:lnTo>
                    <a:pt x="378619" y="2834164"/>
                  </a:lnTo>
                  <a:lnTo>
                    <a:pt x="383381" y="2910840"/>
                  </a:lnTo>
                  <a:lnTo>
                    <a:pt x="404241" y="2994470"/>
                  </a:lnTo>
                  <a:lnTo>
                    <a:pt x="479108" y="3001995"/>
                  </a:lnTo>
                  <a:lnTo>
                    <a:pt x="559308" y="2948559"/>
                  </a:lnTo>
                  <a:lnTo>
                    <a:pt x="590169" y="3082671"/>
                  </a:lnTo>
                  <a:lnTo>
                    <a:pt x="659035" y="3032570"/>
                  </a:lnTo>
                  <a:lnTo>
                    <a:pt x="714089" y="3084005"/>
                  </a:lnTo>
                  <a:lnTo>
                    <a:pt x="758285" y="3006757"/>
                  </a:lnTo>
                  <a:lnTo>
                    <a:pt x="775811" y="3059621"/>
                  </a:lnTo>
                  <a:lnTo>
                    <a:pt x="819722" y="3041714"/>
                  </a:lnTo>
                  <a:lnTo>
                    <a:pt x="893350" y="3040952"/>
                  </a:lnTo>
                  <a:lnTo>
                    <a:pt x="892112" y="3111532"/>
                  </a:lnTo>
                  <a:lnTo>
                    <a:pt x="1005364" y="3103721"/>
                  </a:lnTo>
                  <a:lnTo>
                    <a:pt x="976027" y="3173063"/>
                  </a:lnTo>
                  <a:lnTo>
                    <a:pt x="1054703" y="3175159"/>
                  </a:lnTo>
                  <a:lnTo>
                    <a:pt x="1054703" y="3175064"/>
                  </a:lnTo>
                  <a:lnTo>
                    <a:pt x="1111472" y="3158490"/>
                  </a:lnTo>
                  <a:lnTo>
                    <a:pt x="1200245" y="3255550"/>
                  </a:lnTo>
                  <a:lnTo>
                    <a:pt x="1274255" y="3154775"/>
                  </a:lnTo>
                  <a:lnTo>
                    <a:pt x="1294067" y="3253073"/>
                  </a:lnTo>
                  <a:lnTo>
                    <a:pt x="1185577" y="3354800"/>
                  </a:lnTo>
                  <a:lnTo>
                    <a:pt x="1302639" y="3385947"/>
                  </a:lnTo>
                  <a:lnTo>
                    <a:pt x="1340072" y="3302127"/>
                  </a:lnTo>
                  <a:lnTo>
                    <a:pt x="1414367" y="3363087"/>
                  </a:lnTo>
                  <a:lnTo>
                    <a:pt x="1432274" y="3434048"/>
                  </a:lnTo>
                  <a:lnTo>
                    <a:pt x="1498759" y="3388043"/>
                  </a:lnTo>
                  <a:lnTo>
                    <a:pt x="1507712" y="3467386"/>
                  </a:lnTo>
                  <a:lnTo>
                    <a:pt x="1620488" y="3370803"/>
                  </a:lnTo>
                  <a:lnTo>
                    <a:pt x="1609725" y="3390233"/>
                  </a:lnTo>
                  <a:lnTo>
                    <a:pt x="1657922" y="3376041"/>
                  </a:lnTo>
                  <a:lnTo>
                    <a:pt x="1776032" y="3499295"/>
                  </a:lnTo>
                  <a:lnTo>
                    <a:pt x="1755553" y="3349657"/>
                  </a:lnTo>
                  <a:lnTo>
                    <a:pt x="1822990" y="3340227"/>
                  </a:lnTo>
                  <a:lnTo>
                    <a:pt x="1915192" y="3379661"/>
                  </a:lnTo>
                  <a:lnTo>
                    <a:pt x="2007680" y="3332703"/>
                  </a:lnTo>
                  <a:lnTo>
                    <a:pt x="2005870" y="3231261"/>
                  </a:lnTo>
                  <a:lnTo>
                    <a:pt x="1929193" y="3188684"/>
                  </a:lnTo>
                  <a:lnTo>
                    <a:pt x="1961960" y="3130677"/>
                  </a:lnTo>
                  <a:lnTo>
                    <a:pt x="1847850" y="3093625"/>
                  </a:lnTo>
                  <a:lnTo>
                    <a:pt x="1863281" y="2997137"/>
                  </a:lnTo>
                  <a:lnTo>
                    <a:pt x="1957673" y="3006471"/>
                  </a:lnTo>
                  <a:lnTo>
                    <a:pt x="2019776" y="3112484"/>
                  </a:lnTo>
                  <a:lnTo>
                    <a:pt x="2068830" y="3065526"/>
                  </a:lnTo>
                  <a:lnTo>
                    <a:pt x="2061020" y="2944559"/>
                  </a:lnTo>
                  <a:lnTo>
                    <a:pt x="2064639" y="2930938"/>
                  </a:lnTo>
                  <a:lnTo>
                    <a:pt x="2164461" y="2904935"/>
                  </a:lnTo>
                  <a:lnTo>
                    <a:pt x="2174462" y="2844737"/>
                  </a:lnTo>
                  <a:lnTo>
                    <a:pt x="2144363" y="2754535"/>
                  </a:lnTo>
                  <a:lnTo>
                    <a:pt x="2286476" y="2780538"/>
                  </a:lnTo>
                  <a:lnTo>
                    <a:pt x="2292858" y="2739485"/>
                  </a:lnTo>
                  <a:lnTo>
                    <a:pt x="2337340" y="2786729"/>
                  </a:lnTo>
                  <a:lnTo>
                    <a:pt x="2405253" y="2622518"/>
                  </a:lnTo>
                  <a:lnTo>
                    <a:pt x="2478405" y="2735390"/>
                  </a:lnTo>
                  <a:lnTo>
                    <a:pt x="2416683" y="2594324"/>
                  </a:lnTo>
                  <a:lnTo>
                    <a:pt x="2517743" y="2600516"/>
                  </a:lnTo>
                  <a:lnTo>
                    <a:pt x="2563273" y="2546033"/>
                  </a:lnTo>
                  <a:lnTo>
                    <a:pt x="2633948" y="2504980"/>
                  </a:lnTo>
                  <a:lnTo>
                    <a:pt x="2691194" y="2545271"/>
                  </a:lnTo>
                  <a:lnTo>
                    <a:pt x="2742724" y="2633186"/>
                  </a:lnTo>
                  <a:lnTo>
                    <a:pt x="2794635" y="2642045"/>
                  </a:lnTo>
                  <a:lnTo>
                    <a:pt x="2876931" y="2517077"/>
                  </a:lnTo>
                  <a:lnTo>
                    <a:pt x="2886551" y="2505170"/>
                  </a:lnTo>
                  <a:lnTo>
                    <a:pt x="2947226" y="2548033"/>
                  </a:lnTo>
                  <a:lnTo>
                    <a:pt x="2941034" y="2456593"/>
                  </a:lnTo>
                  <a:lnTo>
                    <a:pt x="3068670" y="2516600"/>
                  </a:lnTo>
                  <a:lnTo>
                    <a:pt x="3110674" y="2553272"/>
                  </a:lnTo>
                  <a:lnTo>
                    <a:pt x="3139916" y="2377821"/>
                  </a:lnTo>
                  <a:lnTo>
                    <a:pt x="3192304" y="2410873"/>
                  </a:lnTo>
                  <a:lnTo>
                    <a:pt x="3257264" y="2440496"/>
                  </a:lnTo>
                  <a:lnTo>
                    <a:pt x="3289173" y="2366772"/>
                  </a:lnTo>
                  <a:lnTo>
                    <a:pt x="3355181" y="2377535"/>
                  </a:lnTo>
                  <a:lnTo>
                    <a:pt x="3412141" y="2373249"/>
                  </a:lnTo>
                  <a:lnTo>
                    <a:pt x="3476244" y="2477643"/>
                  </a:lnTo>
                  <a:lnTo>
                    <a:pt x="3508153" y="2424208"/>
                  </a:lnTo>
                  <a:lnTo>
                    <a:pt x="3585115" y="2405539"/>
                  </a:lnTo>
                  <a:lnTo>
                    <a:pt x="3557207" y="2539937"/>
                  </a:lnTo>
                  <a:lnTo>
                    <a:pt x="3666839" y="2508980"/>
                  </a:lnTo>
                  <a:lnTo>
                    <a:pt x="3724466" y="2408777"/>
                  </a:lnTo>
                  <a:lnTo>
                    <a:pt x="3774948" y="2464308"/>
                  </a:lnTo>
                  <a:lnTo>
                    <a:pt x="3826859" y="2478215"/>
                  </a:lnTo>
                  <a:lnTo>
                    <a:pt x="3947351" y="2479358"/>
                  </a:lnTo>
                  <a:lnTo>
                    <a:pt x="3789998" y="2525745"/>
                  </a:lnTo>
                  <a:lnTo>
                    <a:pt x="3752945" y="2572417"/>
                  </a:lnTo>
                  <a:lnTo>
                    <a:pt x="3806190" y="2666048"/>
                  </a:lnTo>
                  <a:lnTo>
                    <a:pt x="3809714" y="2662714"/>
                  </a:lnTo>
                  <a:lnTo>
                    <a:pt x="3865340" y="2649379"/>
                  </a:lnTo>
                  <a:lnTo>
                    <a:pt x="3939826" y="2774537"/>
                  </a:lnTo>
                  <a:lnTo>
                    <a:pt x="3989165" y="2772632"/>
                  </a:lnTo>
                  <a:lnTo>
                    <a:pt x="4054126" y="2664333"/>
                  </a:lnTo>
                  <a:lnTo>
                    <a:pt x="4105942" y="2733866"/>
                  </a:lnTo>
                  <a:lnTo>
                    <a:pt x="4232720" y="2643949"/>
                  </a:lnTo>
                  <a:lnTo>
                    <a:pt x="4207002" y="2763203"/>
                  </a:lnTo>
                  <a:lnTo>
                    <a:pt x="4325112" y="2712339"/>
                  </a:lnTo>
                  <a:lnTo>
                    <a:pt x="4293394" y="2770441"/>
                  </a:lnTo>
                  <a:lnTo>
                    <a:pt x="4329780" y="2794540"/>
                  </a:lnTo>
                  <a:lnTo>
                    <a:pt x="4331018" y="2734532"/>
                  </a:lnTo>
                  <a:lnTo>
                    <a:pt x="4397121" y="2718149"/>
                  </a:lnTo>
                  <a:lnTo>
                    <a:pt x="4338923" y="2617946"/>
                  </a:lnTo>
                  <a:lnTo>
                    <a:pt x="4433507" y="2586419"/>
                  </a:lnTo>
                  <a:lnTo>
                    <a:pt x="4473321" y="2668143"/>
                  </a:lnTo>
                  <a:lnTo>
                    <a:pt x="4467987" y="2766155"/>
                  </a:lnTo>
                  <a:lnTo>
                    <a:pt x="4549521" y="2746058"/>
                  </a:lnTo>
                  <a:lnTo>
                    <a:pt x="4628293" y="2674144"/>
                  </a:lnTo>
                  <a:lnTo>
                    <a:pt x="4675347" y="2786824"/>
                  </a:lnTo>
                  <a:lnTo>
                    <a:pt x="4728020" y="2775299"/>
                  </a:lnTo>
                  <a:lnTo>
                    <a:pt x="4784598" y="2799683"/>
                  </a:lnTo>
                  <a:lnTo>
                    <a:pt x="4829937" y="2765298"/>
                  </a:lnTo>
                  <a:lnTo>
                    <a:pt x="4878229" y="2720626"/>
                  </a:lnTo>
                  <a:lnTo>
                    <a:pt x="4904804" y="2598611"/>
                  </a:lnTo>
                  <a:lnTo>
                    <a:pt x="5019771" y="2779966"/>
                  </a:lnTo>
                  <a:lnTo>
                    <a:pt x="5027962" y="2644140"/>
                  </a:lnTo>
                  <a:lnTo>
                    <a:pt x="5083874" y="2629757"/>
                  </a:lnTo>
                  <a:lnTo>
                    <a:pt x="5119497" y="2744915"/>
                  </a:lnTo>
                  <a:lnTo>
                    <a:pt x="5197317" y="2591276"/>
                  </a:lnTo>
                  <a:lnTo>
                    <a:pt x="5202841" y="2732437"/>
                  </a:lnTo>
                  <a:lnTo>
                    <a:pt x="5277231" y="2699576"/>
                  </a:lnTo>
                  <a:lnTo>
                    <a:pt x="5273802" y="2781110"/>
                  </a:lnTo>
                  <a:lnTo>
                    <a:pt x="5398389" y="2727865"/>
                  </a:lnTo>
                  <a:lnTo>
                    <a:pt x="5428203" y="2786348"/>
                  </a:lnTo>
                  <a:lnTo>
                    <a:pt x="5460969" y="2842546"/>
                  </a:lnTo>
                  <a:lnTo>
                    <a:pt x="5500688" y="2872740"/>
                  </a:lnTo>
                  <a:lnTo>
                    <a:pt x="5535740" y="2865691"/>
                  </a:lnTo>
                  <a:lnTo>
                    <a:pt x="5566982" y="2777204"/>
                  </a:lnTo>
                  <a:lnTo>
                    <a:pt x="5644134" y="2910459"/>
                  </a:lnTo>
                  <a:lnTo>
                    <a:pt x="5638610" y="2917889"/>
                  </a:lnTo>
                  <a:lnTo>
                    <a:pt x="5649659" y="2919984"/>
                  </a:lnTo>
                  <a:lnTo>
                    <a:pt x="5657088" y="2932748"/>
                  </a:lnTo>
                  <a:lnTo>
                    <a:pt x="5662517" y="2922461"/>
                  </a:lnTo>
                  <a:lnTo>
                    <a:pt x="5778723" y="2944845"/>
                  </a:lnTo>
                  <a:lnTo>
                    <a:pt x="5660612" y="3022854"/>
                  </a:lnTo>
                  <a:lnTo>
                    <a:pt x="5781675" y="3000851"/>
                  </a:lnTo>
                  <a:lnTo>
                    <a:pt x="5779389" y="2953131"/>
                  </a:lnTo>
                  <a:lnTo>
                    <a:pt x="5835586" y="3020473"/>
                  </a:lnTo>
                  <a:lnTo>
                    <a:pt x="5890260" y="3056001"/>
                  </a:lnTo>
                  <a:lnTo>
                    <a:pt x="5937980" y="2973896"/>
                  </a:lnTo>
                  <a:lnTo>
                    <a:pt x="5989796" y="2964466"/>
                  </a:lnTo>
                  <a:lnTo>
                    <a:pt x="6043422" y="2964085"/>
                  </a:lnTo>
                  <a:lnTo>
                    <a:pt x="6100667" y="3137249"/>
                  </a:lnTo>
                  <a:lnTo>
                    <a:pt x="6154865" y="3053239"/>
                  </a:lnTo>
                  <a:lnTo>
                    <a:pt x="6206585" y="3067812"/>
                  </a:lnTo>
                  <a:lnTo>
                    <a:pt x="6266021" y="3155156"/>
                  </a:lnTo>
                  <a:lnTo>
                    <a:pt x="6308122" y="3008757"/>
                  </a:lnTo>
                  <a:lnTo>
                    <a:pt x="6352604" y="2945225"/>
                  </a:lnTo>
                  <a:lnTo>
                    <a:pt x="6431852" y="2983802"/>
                  </a:lnTo>
                  <a:lnTo>
                    <a:pt x="6442805" y="3129153"/>
                  </a:lnTo>
                  <a:lnTo>
                    <a:pt x="6550343" y="3018949"/>
                  </a:lnTo>
                  <a:lnTo>
                    <a:pt x="6579394" y="3141059"/>
                  </a:lnTo>
                  <a:lnTo>
                    <a:pt x="6610446" y="3038094"/>
                  </a:lnTo>
                  <a:lnTo>
                    <a:pt x="6685217" y="3083338"/>
                  </a:lnTo>
                  <a:lnTo>
                    <a:pt x="6709124" y="3018187"/>
                  </a:lnTo>
                  <a:lnTo>
                    <a:pt x="6730365" y="3103912"/>
                  </a:lnTo>
                  <a:lnTo>
                    <a:pt x="6825139" y="3023140"/>
                  </a:lnTo>
                  <a:lnTo>
                    <a:pt x="6762941" y="3139821"/>
                  </a:lnTo>
                  <a:lnTo>
                    <a:pt x="6843522" y="3145822"/>
                  </a:lnTo>
                  <a:lnTo>
                    <a:pt x="6879812" y="3212592"/>
                  </a:lnTo>
                  <a:lnTo>
                    <a:pt x="6966680" y="3236405"/>
                  </a:lnTo>
                  <a:lnTo>
                    <a:pt x="6997732" y="3128963"/>
                  </a:lnTo>
                  <a:lnTo>
                    <a:pt x="7064693" y="3150013"/>
                  </a:lnTo>
                  <a:lnTo>
                    <a:pt x="7140035" y="3183350"/>
                  </a:lnTo>
                  <a:lnTo>
                    <a:pt x="7155847" y="3057144"/>
                  </a:lnTo>
                  <a:lnTo>
                    <a:pt x="7217569" y="3106007"/>
                  </a:lnTo>
                  <a:lnTo>
                    <a:pt x="7228523" y="3169539"/>
                  </a:lnTo>
                  <a:lnTo>
                    <a:pt x="7318724" y="3154395"/>
                  </a:lnTo>
                  <a:lnTo>
                    <a:pt x="7378636" y="3157252"/>
                  </a:lnTo>
                  <a:lnTo>
                    <a:pt x="7376541" y="3102007"/>
                  </a:lnTo>
                  <a:lnTo>
                    <a:pt x="7427881" y="3095435"/>
                  </a:lnTo>
                  <a:lnTo>
                    <a:pt x="7499414" y="3116771"/>
                  </a:lnTo>
                  <a:lnTo>
                    <a:pt x="7593616" y="3121247"/>
                  </a:lnTo>
                  <a:lnTo>
                    <a:pt x="7505319" y="2943701"/>
                  </a:lnTo>
                  <a:lnTo>
                    <a:pt x="7592283" y="2956465"/>
                  </a:lnTo>
                  <a:lnTo>
                    <a:pt x="7650576" y="2972467"/>
                  </a:lnTo>
                  <a:lnTo>
                    <a:pt x="7683627" y="2913126"/>
                  </a:lnTo>
                  <a:lnTo>
                    <a:pt x="7722394" y="2943511"/>
                  </a:lnTo>
                  <a:lnTo>
                    <a:pt x="7827169" y="2891409"/>
                  </a:lnTo>
                  <a:lnTo>
                    <a:pt x="7635907" y="2838545"/>
                  </a:lnTo>
                  <a:lnTo>
                    <a:pt x="7828121" y="2805779"/>
                  </a:lnTo>
                  <a:lnTo>
                    <a:pt x="7762494" y="2701671"/>
                  </a:lnTo>
                  <a:lnTo>
                    <a:pt x="7867936" y="2752725"/>
                  </a:lnTo>
                  <a:lnTo>
                    <a:pt x="7875556" y="2668810"/>
                  </a:lnTo>
                  <a:lnTo>
                    <a:pt x="7986999" y="2623185"/>
                  </a:lnTo>
                  <a:lnTo>
                    <a:pt x="7884605" y="2554129"/>
                  </a:lnTo>
                  <a:lnTo>
                    <a:pt x="7876699" y="2488787"/>
                  </a:lnTo>
                  <a:lnTo>
                    <a:pt x="7953280" y="2466975"/>
                  </a:lnTo>
                  <a:lnTo>
                    <a:pt x="7977569" y="2409825"/>
                  </a:lnTo>
                  <a:lnTo>
                    <a:pt x="8022622" y="2384393"/>
                  </a:lnTo>
                  <a:lnTo>
                    <a:pt x="8080344" y="2448020"/>
                  </a:lnTo>
                  <a:lnTo>
                    <a:pt x="8132636" y="2333816"/>
                  </a:lnTo>
                  <a:lnTo>
                    <a:pt x="8196167" y="2343055"/>
                  </a:lnTo>
                  <a:lnTo>
                    <a:pt x="8258556" y="2300288"/>
                  </a:lnTo>
                  <a:lnTo>
                    <a:pt x="8308181" y="2355723"/>
                  </a:lnTo>
                  <a:lnTo>
                    <a:pt x="8366760" y="2337626"/>
                  </a:lnTo>
                  <a:lnTo>
                    <a:pt x="8412670" y="2463165"/>
                  </a:lnTo>
                  <a:lnTo>
                    <a:pt x="8475059" y="2357533"/>
                  </a:lnTo>
                  <a:lnTo>
                    <a:pt x="8535638" y="2278952"/>
                  </a:lnTo>
                  <a:lnTo>
                    <a:pt x="8584216" y="2373249"/>
                  </a:lnTo>
                  <a:lnTo>
                    <a:pt x="8644985" y="2288096"/>
                  </a:lnTo>
                  <a:lnTo>
                    <a:pt x="8691372" y="2334863"/>
                  </a:lnTo>
                  <a:lnTo>
                    <a:pt x="8765000" y="2487359"/>
                  </a:lnTo>
                  <a:lnTo>
                    <a:pt x="8790623" y="2265712"/>
                  </a:lnTo>
                  <a:lnTo>
                    <a:pt x="8843010" y="2436876"/>
                  </a:lnTo>
                  <a:lnTo>
                    <a:pt x="8906446" y="2404396"/>
                  </a:lnTo>
                  <a:lnTo>
                    <a:pt x="8903303" y="2516981"/>
                  </a:lnTo>
                  <a:lnTo>
                    <a:pt x="9019413" y="2434400"/>
                  </a:lnTo>
                  <a:lnTo>
                    <a:pt x="9086564" y="2541270"/>
                  </a:lnTo>
                  <a:lnTo>
                    <a:pt x="9122759" y="2414016"/>
                  </a:lnTo>
                  <a:lnTo>
                    <a:pt x="9184100" y="2409063"/>
                  </a:lnTo>
                  <a:lnTo>
                    <a:pt x="9242393" y="2520410"/>
                  </a:lnTo>
                  <a:lnTo>
                    <a:pt x="9300972" y="2389537"/>
                  </a:lnTo>
                  <a:lnTo>
                    <a:pt x="9385268" y="2362772"/>
                  </a:lnTo>
                  <a:lnTo>
                    <a:pt x="9360027" y="2527268"/>
                  </a:lnTo>
                  <a:lnTo>
                    <a:pt x="9484805" y="2473833"/>
                  </a:lnTo>
                  <a:lnTo>
                    <a:pt x="9536430" y="2477453"/>
                  </a:lnTo>
                  <a:lnTo>
                    <a:pt x="9564148" y="2533269"/>
                  </a:lnTo>
                  <a:lnTo>
                    <a:pt x="9616726" y="2570798"/>
                  </a:lnTo>
                  <a:lnTo>
                    <a:pt x="9686258" y="2645759"/>
                  </a:lnTo>
                  <a:lnTo>
                    <a:pt x="9744646" y="2589943"/>
                  </a:lnTo>
                  <a:lnTo>
                    <a:pt x="9790462" y="2561463"/>
                  </a:lnTo>
                  <a:lnTo>
                    <a:pt x="9787985" y="2486025"/>
                  </a:lnTo>
                  <a:lnTo>
                    <a:pt x="9823418" y="2454212"/>
                  </a:lnTo>
                  <a:lnTo>
                    <a:pt x="9873805" y="2365724"/>
                  </a:lnTo>
                  <a:lnTo>
                    <a:pt x="9928956" y="2379726"/>
                  </a:lnTo>
                  <a:lnTo>
                    <a:pt x="9994202" y="2399348"/>
                  </a:lnTo>
                  <a:lnTo>
                    <a:pt x="10029634" y="2462498"/>
                  </a:lnTo>
                  <a:lnTo>
                    <a:pt x="10074212" y="2483930"/>
                  </a:lnTo>
                  <a:lnTo>
                    <a:pt x="10165461" y="2416397"/>
                  </a:lnTo>
                  <a:lnTo>
                    <a:pt x="10164699" y="2471547"/>
                  </a:lnTo>
                  <a:lnTo>
                    <a:pt x="10189178" y="2433828"/>
                  </a:lnTo>
                  <a:lnTo>
                    <a:pt x="10224897" y="2398109"/>
                  </a:lnTo>
                  <a:lnTo>
                    <a:pt x="10310051" y="2404015"/>
                  </a:lnTo>
                  <a:lnTo>
                    <a:pt x="10311765" y="2411349"/>
                  </a:lnTo>
                  <a:lnTo>
                    <a:pt x="10438734" y="2362391"/>
                  </a:lnTo>
                  <a:lnTo>
                    <a:pt x="10370820" y="2528888"/>
                  </a:lnTo>
                  <a:lnTo>
                    <a:pt x="10491883" y="2405539"/>
                  </a:lnTo>
                  <a:lnTo>
                    <a:pt x="10486359" y="2384774"/>
                  </a:lnTo>
                  <a:lnTo>
                    <a:pt x="10622852" y="2485263"/>
                  </a:lnTo>
                  <a:lnTo>
                    <a:pt x="10613897" y="2343055"/>
                  </a:lnTo>
                  <a:lnTo>
                    <a:pt x="10724769" y="2486692"/>
                  </a:lnTo>
                  <a:lnTo>
                    <a:pt x="10763250" y="2421350"/>
                  </a:lnTo>
                  <a:lnTo>
                    <a:pt x="10827830" y="2432018"/>
                  </a:lnTo>
                  <a:lnTo>
                    <a:pt x="10874026" y="2385536"/>
                  </a:lnTo>
                  <a:lnTo>
                    <a:pt x="10932795" y="2380202"/>
                  </a:lnTo>
                  <a:lnTo>
                    <a:pt x="10960228" y="2225421"/>
                  </a:lnTo>
                  <a:lnTo>
                    <a:pt x="10986992" y="2382869"/>
                  </a:lnTo>
                  <a:lnTo>
                    <a:pt x="11046809" y="2397062"/>
                  </a:lnTo>
                  <a:lnTo>
                    <a:pt x="11124534" y="2365534"/>
                  </a:lnTo>
                  <a:lnTo>
                    <a:pt x="11182445" y="2383155"/>
                  </a:lnTo>
                  <a:lnTo>
                    <a:pt x="11250454" y="2375249"/>
                  </a:lnTo>
                  <a:lnTo>
                    <a:pt x="11303508" y="2327243"/>
                  </a:lnTo>
                  <a:lnTo>
                    <a:pt x="11356467" y="2424494"/>
                  </a:lnTo>
                  <a:lnTo>
                    <a:pt x="11372564" y="2435924"/>
                  </a:lnTo>
                  <a:lnTo>
                    <a:pt x="11372564" y="0"/>
                  </a:lnTo>
                  <a:lnTo>
                    <a:pt x="0" y="0"/>
                  </a:lnTo>
                  <a:close/>
                  <a:moveTo>
                    <a:pt x="7624191" y="2067973"/>
                  </a:moveTo>
                  <a:lnTo>
                    <a:pt x="7586187" y="1943672"/>
                  </a:lnTo>
                  <a:lnTo>
                    <a:pt x="7601522" y="1930813"/>
                  </a:lnTo>
                  <a:lnTo>
                    <a:pt x="7634669" y="1941100"/>
                  </a:lnTo>
                  <a:lnTo>
                    <a:pt x="7624191" y="2067973"/>
                  </a:lnTo>
                  <a:close/>
                </a:path>
              </a:pathLst>
            </a:custGeom>
            <a:solidFill>
              <a:srgbClr val="F5F5F0"/>
            </a:solidFill>
            <a:ln w="9525" cap="flat">
              <a:noFill/>
              <a:prstDash val="solid"/>
              <a:miter/>
            </a:ln>
            <a:effectLst>
              <a:outerShdw blurRad="101600" dist="38100" dir="3600000" algn="l" rotWithShape="0">
                <a:prstClr val="black">
                  <a:alpha val="7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E663766C-27E4-4B28-9494-A88ADC677AA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42804" y="4484865"/>
              <a:ext cx="4154257" cy="1332000"/>
            </a:xfrm>
            <a:prstGeom prst="rect">
              <a:avLst/>
            </a:prstGeom>
            <a:ln>
              <a:noFill/>
            </a:ln>
            <a:effectLst/>
          </p:spPr>
        </p:pic>
      </p:grpSp>
      <p:sp>
        <p:nvSpPr>
          <p:cNvPr id="18" name="Rechteck 17">
            <a:extLst>
              <a:ext uri="{FF2B5EF4-FFF2-40B4-BE49-F238E27FC236}">
                <a16:creationId xmlns:a16="http://schemas.microsoft.com/office/drawing/2014/main" id="{E7ECB604-AC8F-415E-A82F-DF5D48B99C1B}"/>
              </a:ext>
            </a:extLst>
          </p:cNvPr>
          <p:cNvSpPr/>
          <p:nvPr/>
        </p:nvSpPr>
        <p:spPr>
          <a:xfrm>
            <a:off x="4471223" y="6608131"/>
            <a:ext cx="4439331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Quelle: Wikipedia – die größten Irrtümer der Welt</a:t>
            </a:r>
          </a:p>
        </p:txBody>
      </p:sp>
    </p:spTree>
    <p:extLst>
      <p:ext uri="{BB962C8B-B14F-4D97-AF65-F5344CB8AC3E}">
        <p14:creationId xmlns:p14="http://schemas.microsoft.com/office/powerpoint/2010/main" val="1822330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>
            <a:extLst>
              <a:ext uri="{FF2B5EF4-FFF2-40B4-BE49-F238E27FC236}">
                <a16:creationId xmlns:a16="http://schemas.microsoft.com/office/drawing/2014/main" id="{96FEBE50-8251-4143-AB36-3C0837D766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5" name="think-cell Folie" r:id="rId6" imgW="344" imgH="344" progId="TCLayout.ActiveDocument.1">
                  <p:embed/>
                </p:oleObj>
              </mc:Choice>
              <mc:Fallback>
                <p:oleObj name="think-cell Folie" r:id="rId6" imgW="344" imgH="344" progId="TCLayout.ActiveDocument.1">
                  <p:embed/>
                  <p:pic>
                    <p:nvPicPr>
                      <p:cNvPr id="21" name="Objekt 20" hidden="1">
                        <a:extLst>
                          <a:ext uri="{FF2B5EF4-FFF2-40B4-BE49-F238E27FC236}">
                            <a16:creationId xmlns:a16="http://schemas.microsoft.com/office/drawing/2014/main" id="{96FEBE50-8251-4143-AB36-3C0837D76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930AAB7F-6E40-46ED-B725-CACC9BC948A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de-DE" sz="2200" b="1" dirty="0">
              <a:solidFill>
                <a:schemeClr val="tx1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4" name="object 2">
            <a:extLst>
              <a:ext uri="{FF2B5EF4-FFF2-40B4-BE49-F238E27FC236}">
                <a16:creationId xmlns:a16="http://schemas.microsoft.com/office/drawing/2014/main" id="{9F96D147-D714-4698-84C6-C45419D13E3F}"/>
              </a:ext>
            </a:extLst>
          </p:cNvPr>
          <p:cNvSpPr>
            <a:spLocks/>
          </p:cNvSpPr>
          <p:nvPr/>
        </p:nvSpPr>
        <p:spPr>
          <a:xfrm>
            <a:off x="627065" y="1439999"/>
            <a:ext cx="11107735" cy="4752000"/>
          </a:xfrm>
          <a:prstGeom prst="rect">
            <a:avLst/>
          </a:prstGeom>
          <a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 t="-5320" b="-11864"/>
            </a:stretch>
          </a:blipFill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prstClr val="black"/>
              </a:solidFill>
              <a:ea typeface="+mn-ea"/>
            </a:endParaRPr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4FCA6894-843D-4E5F-B2E1-4FCE3BB0C560}"/>
              </a:ext>
            </a:extLst>
          </p:cNvPr>
          <p:cNvGrpSpPr/>
          <p:nvPr/>
        </p:nvGrpSpPr>
        <p:grpSpPr>
          <a:xfrm>
            <a:off x="936171" y="4394127"/>
            <a:ext cx="3799116" cy="1342644"/>
            <a:chOff x="936171" y="4394127"/>
            <a:chExt cx="3799116" cy="1342644"/>
          </a:xfrm>
        </p:grpSpPr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D6E873F3-ABFE-4968-8978-5919CA50C92C}"/>
                </a:ext>
              </a:extLst>
            </p:cNvPr>
            <p:cNvSpPr/>
            <p:nvPr/>
          </p:nvSpPr>
          <p:spPr bwMode="auto">
            <a:xfrm>
              <a:off x="936171" y="4394127"/>
              <a:ext cx="3799116" cy="1342644"/>
            </a:xfrm>
            <a:prstGeom prst="rect">
              <a:avLst/>
            </a:prstGeom>
            <a:solidFill>
              <a:srgbClr val="00646E">
                <a:alpha val="75000"/>
              </a:srgbClr>
            </a:solidFill>
            <a:ln w="12700">
              <a:solidFill>
                <a:srgbClr val="FFFFFF"/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dirty="0">
                <a:solidFill>
                  <a:srgbClr val="FFFFFF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71B0A269-00D4-4234-9715-1D01D0692FE9}"/>
                </a:ext>
              </a:extLst>
            </p:cNvPr>
            <p:cNvSpPr/>
            <p:nvPr/>
          </p:nvSpPr>
          <p:spPr>
            <a:xfrm>
              <a:off x="936521" y="4465285"/>
              <a:ext cx="3798416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dirty="0">
                  <a:solidFill>
                    <a:srgbClr val="FFFFFF"/>
                  </a:solidFill>
                </a:rPr>
                <a:t>“</a:t>
              </a:r>
              <a:r>
                <a:rPr lang="de-DE" dirty="0">
                  <a:solidFill>
                    <a:srgbClr val="FFFFFF"/>
                  </a:solidFill>
                </a:rPr>
                <a:t>T</a:t>
              </a:r>
              <a:r>
                <a:rPr lang="en-US" dirty="0">
                  <a:solidFill>
                    <a:srgbClr val="FFFFFF"/>
                  </a:solidFill>
                </a:rPr>
                <a:t>here's no chance that the iPhone </a:t>
              </a:r>
              <a:br>
                <a:rPr lang="en-US" dirty="0">
                  <a:solidFill>
                    <a:srgbClr val="FFFFFF"/>
                  </a:solidFill>
                </a:rPr>
              </a:br>
              <a:r>
                <a:rPr lang="en-US" dirty="0">
                  <a:solidFill>
                    <a:srgbClr val="FFFFFF"/>
                  </a:solidFill>
                </a:rPr>
                <a:t>is going to get any significant </a:t>
              </a:r>
              <a:br>
                <a:rPr lang="en-US" dirty="0">
                  <a:solidFill>
                    <a:srgbClr val="FFFFFF"/>
                  </a:solidFill>
                </a:rPr>
              </a:br>
              <a:r>
                <a:rPr lang="en-US" dirty="0">
                  <a:solidFill>
                    <a:srgbClr val="FFFFFF"/>
                  </a:solidFill>
                </a:rPr>
                <a:t>market share. No chance.“</a:t>
              </a:r>
              <a:br>
                <a:rPr lang="en-US" dirty="0">
                  <a:solidFill>
                    <a:srgbClr val="FFFFFF"/>
                  </a:solidFill>
                </a:rPr>
              </a:br>
              <a:r>
                <a:rPr lang="en-US" dirty="0">
                  <a:solidFill>
                    <a:srgbClr val="FFFFFF"/>
                  </a:solidFill>
                </a:rPr>
                <a:t>Steve Ballmer </a:t>
              </a:r>
              <a:r>
                <a:rPr lang="de-DE" dirty="0">
                  <a:solidFill>
                    <a:srgbClr val="FFFFFF"/>
                  </a:solidFill>
                </a:rPr>
                <a:t>(30. April 2007)</a:t>
              </a:r>
            </a:p>
          </p:txBody>
        </p: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F99D8565-501A-4D91-88E9-1B79D4E62ACE}"/>
              </a:ext>
            </a:extLst>
          </p:cNvPr>
          <p:cNvGrpSpPr/>
          <p:nvPr/>
        </p:nvGrpSpPr>
        <p:grpSpPr>
          <a:xfrm>
            <a:off x="7184571" y="4394127"/>
            <a:ext cx="3799116" cy="1342644"/>
            <a:chOff x="7184571" y="4394127"/>
            <a:chExt cx="3799116" cy="1342644"/>
          </a:xfrm>
        </p:grpSpPr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DF654401-A277-4876-ACA3-E0E1E8A8C5E0}"/>
                </a:ext>
              </a:extLst>
            </p:cNvPr>
            <p:cNvSpPr/>
            <p:nvPr/>
          </p:nvSpPr>
          <p:spPr bwMode="auto">
            <a:xfrm>
              <a:off x="7184571" y="4394127"/>
              <a:ext cx="3799116" cy="1342644"/>
            </a:xfrm>
            <a:prstGeom prst="rect">
              <a:avLst/>
            </a:prstGeom>
            <a:solidFill>
              <a:srgbClr val="00646E">
                <a:alpha val="75000"/>
              </a:srgbClr>
            </a:solidFill>
            <a:ln w="12700">
              <a:solidFill>
                <a:srgbClr val="FFFFFF"/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dirty="0">
                <a:solidFill>
                  <a:srgbClr val="FFFFFF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7D87713-72DD-43D4-B92F-610B4B426DB8}"/>
                </a:ext>
              </a:extLst>
            </p:cNvPr>
            <p:cNvSpPr/>
            <p:nvPr/>
          </p:nvSpPr>
          <p:spPr>
            <a:xfrm>
              <a:off x="7184921" y="4603784"/>
              <a:ext cx="3798416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kern="0" dirty="0">
                  <a:solidFill>
                    <a:srgbClr val="FFFFFF"/>
                  </a:solidFill>
                </a:rPr>
                <a:t>2007 bis 2017 </a:t>
              </a:r>
              <a:br>
                <a:rPr lang="en-US" kern="0" dirty="0">
                  <a:solidFill>
                    <a:srgbClr val="FFFFFF"/>
                  </a:solidFill>
                </a:rPr>
              </a:br>
              <a:r>
                <a:rPr lang="en-US" kern="0" dirty="0">
                  <a:solidFill>
                    <a:srgbClr val="FFFFFF"/>
                  </a:solidFill>
                </a:rPr>
                <a:t>1.25 </a:t>
              </a:r>
              <a:r>
                <a:rPr lang="de-DE" kern="0" dirty="0">
                  <a:solidFill>
                    <a:srgbClr val="FFFFFF"/>
                  </a:solidFill>
                </a:rPr>
                <a:t>Milliarden</a:t>
              </a:r>
              <a:r>
                <a:rPr lang="en-US" kern="0" dirty="0">
                  <a:solidFill>
                    <a:srgbClr val="FFFFFF"/>
                  </a:solidFill>
                </a:rPr>
                <a:t> iPhones </a:t>
              </a:r>
              <a:r>
                <a:rPr lang="de-DE" kern="0" dirty="0">
                  <a:solidFill>
                    <a:srgbClr val="FFFFFF"/>
                  </a:solidFill>
                </a:rPr>
                <a:t>verkauft</a:t>
              </a:r>
              <a:br>
                <a:rPr lang="de-DE" kern="0" dirty="0">
                  <a:solidFill>
                    <a:srgbClr val="FFFFFF"/>
                  </a:solidFill>
                </a:rPr>
              </a:br>
              <a:r>
                <a:rPr lang="de-DE" kern="0" dirty="0">
                  <a:solidFill>
                    <a:srgbClr val="FFFFFF"/>
                  </a:solidFill>
                </a:rPr>
                <a:t>Quelle: statistica.com</a:t>
              </a:r>
              <a:endParaRPr lang="de-DE" dirty="0">
                <a:solidFill>
                  <a:srgbClr val="FFFFFF"/>
                </a:solidFill>
              </a:endParaRPr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976281E9-D339-49D9-B932-E6FBEBCDA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200" dirty="0"/>
              <a:t>Technologien und Einstellung verändern die Welt </a:t>
            </a:r>
            <a:r>
              <a:rPr lang="de-DE" sz="2200"/>
              <a:t>– Disruption </a:t>
            </a:r>
            <a:r>
              <a:rPr lang="de-DE" sz="2200" dirty="0"/>
              <a:t>= Modewort oder etwas ganz normales?</a:t>
            </a:r>
          </a:p>
        </p:txBody>
      </p:sp>
    </p:spTree>
    <p:extLst>
      <p:ext uri="{BB962C8B-B14F-4D97-AF65-F5344CB8AC3E}">
        <p14:creationId xmlns:p14="http://schemas.microsoft.com/office/powerpoint/2010/main" val="85153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734008B-63F4-4C06-B8E7-0B6A21A2B5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6641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1" name="think-cell Folie" r:id="rId6" imgW="380" imgH="380" progId="TCLayout.ActiveDocument.1">
                  <p:embed/>
                </p:oleObj>
              </mc:Choice>
              <mc:Fallback>
                <p:oleObj name="think-cell Folie" r:id="rId6" imgW="380" imgH="3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5019FDE4-CD7A-4EFF-BB57-7C65695CB8C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2200" dirty="0">
              <a:solidFill>
                <a:schemeClr val="tx1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7AF3DD5-E61C-4CE0-80D7-7EC5925F66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eedback aus der Lernreise Dezember 2019</a:t>
            </a:r>
            <a:br>
              <a:rPr lang="de-DE" dirty="0"/>
            </a:br>
            <a:r>
              <a:rPr lang="de-DE" b="0" dirty="0"/>
              <a:t>„wo begegnet mir jeden Tag Disruption?“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0DA5EC90-A0D4-4D64-8BF9-AE8CADE8D9C2}"/>
              </a:ext>
            </a:extLst>
          </p:cNvPr>
          <p:cNvSpPr/>
          <p:nvPr/>
        </p:nvSpPr>
        <p:spPr bwMode="auto">
          <a:xfrm>
            <a:off x="627064" y="2018755"/>
            <a:ext cx="1915935" cy="733259"/>
          </a:xfrm>
          <a:prstGeom prst="rect">
            <a:avLst/>
          </a:prstGeom>
          <a:noFill/>
          <a:ln w="12700">
            <a:solidFill>
              <a:srgbClr val="FFFFFF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400" b="1" dirty="0">
                <a:solidFill>
                  <a:srgbClr val="FFFFFF"/>
                </a:solidFill>
                <a:ea typeface="+mj-ea"/>
                <a:cs typeface="Arial" pitchFamily="34" charset="0"/>
              </a:rPr>
              <a:t>Videothek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78B6334-2511-4D04-8D91-4CF81B46E2B7}"/>
              </a:ext>
            </a:extLst>
          </p:cNvPr>
          <p:cNvSpPr/>
          <p:nvPr/>
        </p:nvSpPr>
        <p:spPr bwMode="auto">
          <a:xfrm>
            <a:off x="2804439" y="2018755"/>
            <a:ext cx="2011054" cy="733259"/>
          </a:xfrm>
          <a:prstGeom prst="rect">
            <a:avLst/>
          </a:prstGeom>
          <a:noFill/>
          <a:ln w="12700">
            <a:solidFill>
              <a:srgbClr val="FFFFFF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400" b="1" dirty="0">
                <a:solidFill>
                  <a:srgbClr val="FFFFFF"/>
                </a:solidFill>
                <a:ea typeface="+mj-ea"/>
                <a:cs typeface="Arial" pitchFamily="34" charset="0"/>
              </a:rPr>
              <a:t>„3D Druck“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7AA9EB9-2628-4F87-8A76-EB582B1F8AAD}"/>
              </a:ext>
            </a:extLst>
          </p:cNvPr>
          <p:cNvSpPr/>
          <p:nvPr/>
        </p:nvSpPr>
        <p:spPr bwMode="auto">
          <a:xfrm>
            <a:off x="2804439" y="3022474"/>
            <a:ext cx="2011054" cy="733259"/>
          </a:xfrm>
          <a:prstGeom prst="rect">
            <a:avLst/>
          </a:prstGeom>
          <a:noFill/>
          <a:ln w="12700">
            <a:solidFill>
              <a:srgbClr val="FFFFFF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400" b="1" dirty="0">
                <a:solidFill>
                  <a:srgbClr val="FFFFFF"/>
                </a:solidFill>
                <a:ea typeface="+mj-ea"/>
                <a:cs typeface="Arial" pitchFamily="34" charset="0"/>
              </a:rPr>
              <a:t>Video on </a:t>
            </a:r>
            <a:r>
              <a:rPr lang="de-DE" sz="1400" b="1" dirty="0" err="1">
                <a:solidFill>
                  <a:srgbClr val="FFFFFF"/>
                </a:solidFill>
                <a:ea typeface="+mj-ea"/>
                <a:cs typeface="Arial" pitchFamily="34" charset="0"/>
              </a:rPr>
              <a:t>demand</a:t>
            </a:r>
            <a:endParaRPr lang="de-DE" sz="1400" b="1" dirty="0">
              <a:solidFill>
                <a:srgbClr val="FFFFFF"/>
              </a:solidFill>
              <a:ea typeface="+mj-ea"/>
              <a:cs typeface="Arial" pitchFamily="34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4542AD0-A446-4600-A16D-1EB93D0E1DB9}"/>
              </a:ext>
            </a:extLst>
          </p:cNvPr>
          <p:cNvSpPr/>
          <p:nvPr/>
        </p:nvSpPr>
        <p:spPr bwMode="auto">
          <a:xfrm>
            <a:off x="627064" y="3022474"/>
            <a:ext cx="1915935" cy="733259"/>
          </a:xfrm>
          <a:prstGeom prst="rect">
            <a:avLst/>
          </a:prstGeom>
          <a:noFill/>
          <a:ln w="12700">
            <a:solidFill>
              <a:srgbClr val="FFFFFF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400" b="1" dirty="0">
                <a:solidFill>
                  <a:srgbClr val="FFFFFF"/>
                </a:solidFill>
                <a:ea typeface="+mj-ea"/>
                <a:cs typeface="Arial" pitchFamily="34" charset="0"/>
              </a:rPr>
              <a:t>Musikstreaming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9985B33-28DA-44FF-A713-782D867EF134}"/>
              </a:ext>
            </a:extLst>
          </p:cNvPr>
          <p:cNvSpPr/>
          <p:nvPr/>
        </p:nvSpPr>
        <p:spPr bwMode="auto">
          <a:xfrm>
            <a:off x="627064" y="4026194"/>
            <a:ext cx="1915935" cy="733259"/>
          </a:xfrm>
          <a:prstGeom prst="rect">
            <a:avLst/>
          </a:prstGeom>
          <a:noFill/>
          <a:ln w="12700">
            <a:solidFill>
              <a:srgbClr val="FFFFFF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400" b="1" dirty="0">
                <a:solidFill>
                  <a:srgbClr val="FFFFFF"/>
                </a:solidFill>
                <a:ea typeface="+mj-ea"/>
                <a:cs typeface="Arial" pitchFamily="34" charset="0"/>
              </a:rPr>
              <a:t>Hörbücher statt les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5F45193-D084-4501-8BA1-58C2C648C762}"/>
              </a:ext>
            </a:extLst>
          </p:cNvPr>
          <p:cNvSpPr/>
          <p:nvPr/>
        </p:nvSpPr>
        <p:spPr bwMode="auto">
          <a:xfrm>
            <a:off x="2804439" y="4026194"/>
            <a:ext cx="2011054" cy="733259"/>
          </a:xfrm>
          <a:prstGeom prst="rect">
            <a:avLst/>
          </a:prstGeom>
          <a:noFill/>
          <a:ln w="12700">
            <a:solidFill>
              <a:srgbClr val="FFFFFF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400" b="1" dirty="0">
                <a:solidFill>
                  <a:srgbClr val="FFFFFF"/>
                </a:solidFill>
                <a:ea typeface="+mj-ea"/>
                <a:cs typeface="Arial" pitchFamily="34" charset="0"/>
              </a:rPr>
              <a:t>MP3 Format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2F67F0C-B924-4064-A568-020152938F45}"/>
              </a:ext>
            </a:extLst>
          </p:cNvPr>
          <p:cNvSpPr/>
          <p:nvPr/>
        </p:nvSpPr>
        <p:spPr bwMode="auto">
          <a:xfrm>
            <a:off x="627064" y="5029912"/>
            <a:ext cx="1915935" cy="733259"/>
          </a:xfrm>
          <a:prstGeom prst="rect">
            <a:avLst/>
          </a:prstGeom>
          <a:noFill/>
          <a:ln w="12700">
            <a:solidFill>
              <a:srgbClr val="FFFFFF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400" b="1" dirty="0">
                <a:solidFill>
                  <a:srgbClr val="FFFFFF"/>
                </a:solidFill>
                <a:ea typeface="+mj-ea"/>
                <a:cs typeface="Arial" pitchFamily="34" charset="0"/>
              </a:rPr>
              <a:t>DIY Blog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4528756-FD74-4C3F-8571-4173E0CABB6C}"/>
              </a:ext>
            </a:extLst>
          </p:cNvPr>
          <p:cNvSpPr/>
          <p:nvPr/>
        </p:nvSpPr>
        <p:spPr bwMode="auto">
          <a:xfrm>
            <a:off x="2804439" y="5029912"/>
            <a:ext cx="2011054" cy="733259"/>
          </a:xfrm>
          <a:prstGeom prst="rect">
            <a:avLst/>
          </a:prstGeom>
          <a:noFill/>
          <a:ln w="12700">
            <a:solidFill>
              <a:srgbClr val="FFFFFF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400" b="1" dirty="0">
                <a:solidFill>
                  <a:srgbClr val="FFFFFF"/>
                </a:solidFill>
                <a:ea typeface="+mj-ea"/>
                <a:cs typeface="Arial" pitchFamily="34" charset="0"/>
              </a:rPr>
              <a:t>LED Technik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5EFD1C56-0F4A-4C7E-B55B-FC470F5972B8}"/>
              </a:ext>
            </a:extLst>
          </p:cNvPr>
          <p:cNvSpPr/>
          <p:nvPr/>
        </p:nvSpPr>
        <p:spPr bwMode="auto">
          <a:xfrm>
            <a:off x="5093090" y="2018755"/>
            <a:ext cx="2011054" cy="733259"/>
          </a:xfrm>
          <a:prstGeom prst="rect">
            <a:avLst/>
          </a:prstGeom>
          <a:noFill/>
          <a:ln w="12700">
            <a:solidFill>
              <a:srgbClr val="FFFFFF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400" b="1" dirty="0" err="1">
                <a:solidFill>
                  <a:srgbClr val="FFFFFF"/>
                </a:solidFill>
                <a:ea typeface="+mj-ea"/>
                <a:cs typeface="Arial" pitchFamily="34" charset="0"/>
              </a:rPr>
              <a:t>Airbnb</a:t>
            </a:r>
            <a:r>
              <a:rPr lang="de-DE" sz="1400" b="1" dirty="0">
                <a:solidFill>
                  <a:srgbClr val="FFFFFF"/>
                </a:solidFill>
                <a:ea typeface="+mj-ea"/>
                <a:cs typeface="Arial" pitchFamily="34" charset="0"/>
              </a:rPr>
              <a:t>, Uber &amp; Co.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612FE7EE-50EA-47D0-AD4A-B55C0A30936B}"/>
              </a:ext>
            </a:extLst>
          </p:cNvPr>
          <p:cNvSpPr/>
          <p:nvPr/>
        </p:nvSpPr>
        <p:spPr bwMode="auto">
          <a:xfrm>
            <a:off x="5093090" y="3022474"/>
            <a:ext cx="2011054" cy="733259"/>
          </a:xfrm>
          <a:prstGeom prst="rect">
            <a:avLst/>
          </a:prstGeom>
          <a:noFill/>
          <a:ln w="12700">
            <a:solidFill>
              <a:srgbClr val="FFFFFF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400" b="1" dirty="0">
                <a:solidFill>
                  <a:srgbClr val="FFFFFF"/>
                </a:solidFill>
                <a:ea typeface="+mj-ea"/>
                <a:cs typeface="Arial" pitchFamily="34" charset="0"/>
              </a:rPr>
              <a:t>E-Book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90EF8F7D-654A-4843-8D60-903AC4271C88}"/>
              </a:ext>
            </a:extLst>
          </p:cNvPr>
          <p:cNvSpPr/>
          <p:nvPr/>
        </p:nvSpPr>
        <p:spPr bwMode="auto">
          <a:xfrm>
            <a:off x="5093090" y="4026194"/>
            <a:ext cx="2011054" cy="733259"/>
          </a:xfrm>
          <a:prstGeom prst="rect">
            <a:avLst/>
          </a:prstGeom>
          <a:noFill/>
          <a:ln w="12700">
            <a:solidFill>
              <a:srgbClr val="FFFFFF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400" b="1" dirty="0">
                <a:solidFill>
                  <a:srgbClr val="FFFFFF"/>
                </a:solidFill>
                <a:ea typeface="+mj-ea"/>
                <a:cs typeface="Arial" pitchFamily="34" charset="0"/>
              </a:rPr>
              <a:t>Digital Kamera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ED8BAFEE-D3DA-443B-81CB-9A6635761788}"/>
              </a:ext>
            </a:extLst>
          </p:cNvPr>
          <p:cNvSpPr/>
          <p:nvPr/>
        </p:nvSpPr>
        <p:spPr bwMode="auto">
          <a:xfrm>
            <a:off x="7398892" y="2018755"/>
            <a:ext cx="2011054" cy="733259"/>
          </a:xfrm>
          <a:prstGeom prst="rect">
            <a:avLst/>
          </a:prstGeom>
          <a:noFill/>
          <a:ln w="12700">
            <a:solidFill>
              <a:srgbClr val="FFFFFF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400" b="1" dirty="0">
                <a:solidFill>
                  <a:srgbClr val="FFFFFF"/>
                </a:solidFill>
                <a:ea typeface="+mj-ea"/>
                <a:cs typeface="Arial" pitchFamily="34" charset="0"/>
              </a:rPr>
              <a:t>Smart Home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141522DE-16DA-4486-AB33-923F5E1F4D10}"/>
              </a:ext>
            </a:extLst>
          </p:cNvPr>
          <p:cNvSpPr/>
          <p:nvPr/>
        </p:nvSpPr>
        <p:spPr bwMode="auto">
          <a:xfrm>
            <a:off x="7398892" y="3022474"/>
            <a:ext cx="2011054" cy="733259"/>
          </a:xfrm>
          <a:prstGeom prst="rect">
            <a:avLst/>
          </a:prstGeom>
          <a:noFill/>
          <a:ln w="12700">
            <a:solidFill>
              <a:srgbClr val="FFFFFF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400" b="1" dirty="0">
                <a:solidFill>
                  <a:srgbClr val="FFFFFF"/>
                </a:solidFill>
                <a:ea typeface="+mj-ea"/>
                <a:cs typeface="Arial" pitchFamily="34" charset="0"/>
              </a:rPr>
              <a:t>Booking .</a:t>
            </a:r>
            <a:r>
              <a:rPr lang="de-DE" sz="1400" b="1" dirty="0" err="1">
                <a:solidFill>
                  <a:srgbClr val="FFFFFF"/>
                </a:solidFill>
                <a:ea typeface="+mj-ea"/>
                <a:cs typeface="Arial" pitchFamily="34" charset="0"/>
              </a:rPr>
              <a:t>com</a:t>
            </a:r>
            <a:endParaRPr lang="de-DE" sz="1400" b="1" dirty="0">
              <a:solidFill>
                <a:srgbClr val="FFFFFF"/>
              </a:solidFill>
              <a:ea typeface="+mj-ea"/>
              <a:cs typeface="Arial" pitchFamily="34" charset="0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B605EA4-8AB2-4AF1-9DAA-603FC5D92540}"/>
              </a:ext>
            </a:extLst>
          </p:cNvPr>
          <p:cNvSpPr/>
          <p:nvPr/>
        </p:nvSpPr>
        <p:spPr bwMode="auto">
          <a:xfrm>
            <a:off x="7398892" y="4026194"/>
            <a:ext cx="2011054" cy="733259"/>
          </a:xfrm>
          <a:prstGeom prst="rect">
            <a:avLst/>
          </a:prstGeom>
          <a:noFill/>
          <a:ln w="12700">
            <a:solidFill>
              <a:srgbClr val="FFFFFF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400" b="1" dirty="0">
                <a:solidFill>
                  <a:srgbClr val="FFFFFF"/>
                </a:solidFill>
                <a:ea typeface="+mj-ea"/>
                <a:cs typeface="Arial" pitchFamily="34" charset="0"/>
              </a:rPr>
              <a:t>Öko/ Bio </a:t>
            </a:r>
            <a:br>
              <a:rPr lang="de-DE" sz="1400" b="1" dirty="0">
                <a:solidFill>
                  <a:srgbClr val="FFFFFF"/>
                </a:solidFill>
                <a:ea typeface="+mj-ea"/>
                <a:cs typeface="Arial" pitchFamily="34" charset="0"/>
              </a:rPr>
            </a:br>
            <a:r>
              <a:rPr lang="de-DE" sz="1400" b="1" dirty="0">
                <a:solidFill>
                  <a:srgbClr val="FFFFFF"/>
                </a:solidFill>
                <a:ea typeface="+mj-ea"/>
                <a:cs typeface="Arial" pitchFamily="34" charset="0"/>
              </a:rPr>
              <a:t>Natur CO2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5EB2164E-F5AE-41DE-A554-6B4E02C94596}"/>
              </a:ext>
            </a:extLst>
          </p:cNvPr>
          <p:cNvSpPr/>
          <p:nvPr/>
        </p:nvSpPr>
        <p:spPr bwMode="auto">
          <a:xfrm>
            <a:off x="7398892" y="5029912"/>
            <a:ext cx="2011054" cy="733259"/>
          </a:xfrm>
          <a:prstGeom prst="rect">
            <a:avLst/>
          </a:prstGeom>
          <a:noFill/>
          <a:ln w="12700">
            <a:solidFill>
              <a:srgbClr val="FFFFFF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400" b="1" dirty="0">
                <a:solidFill>
                  <a:srgbClr val="FFFFFF"/>
                </a:solidFill>
                <a:ea typeface="+mj-ea"/>
                <a:cs typeface="Arial" pitchFamily="34" charset="0"/>
              </a:rPr>
              <a:t>In 5 Jahren gibt es keine Tachos mehr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0694321C-E845-4564-8197-BDE54AE5C3A7}"/>
              </a:ext>
            </a:extLst>
          </p:cNvPr>
          <p:cNvSpPr/>
          <p:nvPr/>
        </p:nvSpPr>
        <p:spPr bwMode="auto">
          <a:xfrm>
            <a:off x="9704696" y="2018755"/>
            <a:ext cx="2011054" cy="733259"/>
          </a:xfrm>
          <a:prstGeom prst="rect">
            <a:avLst/>
          </a:prstGeom>
          <a:noFill/>
          <a:ln w="12700">
            <a:solidFill>
              <a:srgbClr val="FFFFFF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400" b="1" dirty="0">
                <a:solidFill>
                  <a:srgbClr val="FFFFFF"/>
                </a:solidFill>
                <a:ea typeface="+mj-ea"/>
                <a:cs typeface="Arial" pitchFamily="34" charset="0"/>
              </a:rPr>
              <a:t>Musik Streaming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11EC17A8-A60E-4577-9D22-66E52D469EE5}"/>
              </a:ext>
            </a:extLst>
          </p:cNvPr>
          <p:cNvSpPr/>
          <p:nvPr/>
        </p:nvSpPr>
        <p:spPr bwMode="auto">
          <a:xfrm>
            <a:off x="9704696" y="3022474"/>
            <a:ext cx="2011054" cy="733259"/>
          </a:xfrm>
          <a:prstGeom prst="rect">
            <a:avLst/>
          </a:prstGeom>
          <a:noFill/>
          <a:ln w="12700">
            <a:solidFill>
              <a:srgbClr val="FFFFFF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400" b="1" dirty="0">
                <a:solidFill>
                  <a:srgbClr val="FFFFFF"/>
                </a:solidFill>
                <a:ea typeface="+mj-ea"/>
                <a:cs typeface="Arial" pitchFamily="34" charset="0"/>
              </a:rPr>
              <a:t>LinkedIn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36908876-1A7A-44BC-B8E8-3605C315F24C}"/>
              </a:ext>
            </a:extLst>
          </p:cNvPr>
          <p:cNvSpPr/>
          <p:nvPr/>
        </p:nvSpPr>
        <p:spPr bwMode="auto">
          <a:xfrm>
            <a:off x="9704696" y="4026194"/>
            <a:ext cx="2011054" cy="733259"/>
          </a:xfrm>
          <a:prstGeom prst="rect">
            <a:avLst/>
          </a:prstGeom>
          <a:noFill/>
          <a:ln w="12700">
            <a:solidFill>
              <a:srgbClr val="FFFFFF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400" b="1" dirty="0">
                <a:solidFill>
                  <a:srgbClr val="FFFFFF"/>
                </a:solidFill>
                <a:ea typeface="+mj-ea"/>
                <a:cs typeface="Arial" pitchFamily="34" charset="0"/>
              </a:rPr>
              <a:t>Outlook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9DA0C604-E4A9-43C1-8BD1-2329F7BAE465}"/>
              </a:ext>
            </a:extLst>
          </p:cNvPr>
          <p:cNvSpPr/>
          <p:nvPr/>
        </p:nvSpPr>
        <p:spPr bwMode="auto">
          <a:xfrm>
            <a:off x="9704696" y="5029912"/>
            <a:ext cx="2011054" cy="733259"/>
          </a:xfrm>
          <a:prstGeom prst="rect">
            <a:avLst/>
          </a:prstGeom>
          <a:noFill/>
          <a:ln w="12700">
            <a:solidFill>
              <a:srgbClr val="FFFFFF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400" b="1" dirty="0">
                <a:solidFill>
                  <a:srgbClr val="FFFFFF"/>
                </a:solidFill>
                <a:ea typeface="+mj-ea"/>
                <a:cs typeface="Arial" pitchFamily="34" charset="0"/>
              </a:rPr>
              <a:t>E-Antriebe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AD220158-FA56-4AA6-9EE3-D848C78AF8D7}"/>
              </a:ext>
            </a:extLst>
          </p:cNvPr>
          <p:cNvSpPr/>
          <p:nvPr/>
        </p:nvSpPr>
        <p:spPr bwMode="auto">
          <a:xfrm>
            <a:off x="5093090" y="5029912"/>
            <a:ext cx="2011054" cy="733259"/>
          </a:xfrm>
          <a:prstGeom prst="rect">
            <a:avLst/>
          </a:prstGeom>
          <a:noFill/>
          <a:ln w="12700">
            <a:solidFill>
              <a:srgbClr val="FFFFFF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400" b="1" dirty="0">
                <a:solidFill>
                  <a:srgbClr val="FFFFFF"/>
                </a:solidFill>
                <a:ea typeface="+mj-ea"/>
                <a:cs typeface="Arial" pitchFamily="34" charset="0"/>
              </a:rPr>
              <a:t>Amazon &amp; Co.</a:t>
            </a:r>
          </a:p>
        </p:txBody>
      </p:sp>
    </p:spTree>
    <p:extLst>
      <p:ext uri="{BB962C8B-B14F-4D97-AF65-F5344CB8AC3E}">
        <p14:creationId xmlns:p14="http://schemas.microsoft.com/office/powerpoint/2010/main" val="4063544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5" name="Gerade Verbindung mit Pfeil 64"/>
          <p:cNvCxnSpPr>
            <a:cxnSpLocks/>
          </p:cNvCxnSpPr>
          <p:nvPr/>
        </p:nvCxnSpPr>
        <p:spPr bwMode="auto">
          <a:xfrm flipV="1">
            <a:off x="3143431" y="3548291"/>
            <a:ext cx="1443576" cy="760699"/>
          </a:xfrm>
          <a:prstGeom prst="straightConnector1">
            <a:avLst/>
          </a:prstGeom>
          <a:solidFill>
            <a:schemeClr val="tx2"/>
          </a:solidFill>
          <a:ln w="19050" cap="rnd" cmpd="sng" algn="ctr">
            <a:solidFill>
              <a:srgbClr val="D2D741"/>
            </a:solidFill>
            <a:prstDash val="dash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8" name="Gerade Verbindung mit Pfeil 67"/>
          <p:cNvCxnSpPr>
            <a:cxnSpLocks/>
          </p:cNvCxnSpPr>
          <p:nvPr/>
        </p:nvCxnSpPr>
        <p:spPr bwMode="auto">
          <a:xfrm>
            <a:off x="3232583" y="4608603"/>
            <a:ext cx="4680729" cy="1009556"/>
          </a:xfrm>
          <a:prstGeom prst="straightConnector1">
            <a:avLst/>
          </a:prstGeom>
          <a:solidFill>
            <a:schemeClr val="tx2"/>
          </a:solidFill>
          <a:ln w="19050" cap="rnd" cmpd="sng" algn="ctr">
            <a:solidFill>
              <a:srgbClr val="D2D741"/>
            </a:solidFill>
            <a:prstDash val="dash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9" name="Gerade Verbindung mit Pfeil 68"/>
          <p:cNvCxnSpPr>
            <a:cxnSpLocks/>
          </p:cNvCxnSpPr>
          <p:nvPr/>
        </p:nvCxnSpPr>
        <p:spPr bwMode="auto">
          <a:xfrm flipV="1">
            <a:off x="3178452" y="3535088"/>
            <a:ext cx="3640803" cy="868650"/>
          </a:xfrm>
          <a:prstGeom prst="straightConnector1">
            <a:avLst/>
          </a:prstGeom>
          <a:solidFill>
            <a:schemeClr val="tx2"/>
          </a:solidFill>
          <a:ln w="19050" cap="rnd" cmpd="sng" algn="ctr">
            <a:solidFill>
              <a:srgbClr val="7DD2E6"/>
            </a:solidFill>
            <a:prstDash val="dash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0" name="Gerade Verbindung mit Pfeil 69"/>
          <p:cNvCxnSpPr>
            <a:cxnSpLocks/>
          </p:cNvCxnSpPr>
          <p:nvPr/>
        </p:nvCxnSpPr>
        <p:spPr bwMode="auto">
          <a:xfrm flipV="1">
            <a:off x="3197447" y="3494586"/>
            <a:ext cx="6070080" cy="985259"/>
          </a:xfrm>
          <a:prstGeom prst="straightConnector1">
            <a:avLst/>
          </a:prstGeom>
          <a:solidFill>
            <a:schemeClr val="tx2"/>
          </a:solidFill>
          <a:ln w="19050" cap="rnd" cmpd="sng" algn="ctr">
            <a:solidFill>
              <a:srgbClr val="CDD9E1"/>
            </a:solidFill>
            <a:prstDash val="dash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1" name="Gerade Verbindung mit Pfeil 70"/>
          <p:cNvCxnSpPr>
            <a:cxnSpLocks/>
          </p:cNvCxnSpPr>
          <p:nvPr/>
        </p:nvCxnSpPr>
        <p:spPr bwMode="auto">
          <a:xfrm>
            <a:off x="3214787" y="4535475"/>
            <a:ext cx="2020292" cy="129816"/>
          </a:xfrm>
          <a:prstGeom prst="straightConnector1">
            <a:avLst/>
          </a:prstGeom>
          <a:solidFill>
            <a:schemeClr val="tx2"/>
          </a:solidFill>
          <a:ln w="19050" cap="rnd" cmpd="sng" algn="ctr">
            <a:solidFill>
              <a:srgbClr val="CDD9E1"/>
            </a:solidFill>
            <a:prstDash val="dash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" name="Inhaltsplatzhalter 2"/>
          <p:cNvSpPr txBox="1">
            <a:spLocks/>
          </p:cNvSpPr>
          <p:nvPr/>
        </p:nvSpPr>
        <p:spPr bwMode="auto">
          <a:xfrm>
            <a:off x="482551" y="1971433"/>
            <a:ext cx="3080018" cy="704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>
              <a:spcBef>
                <a:spcPts val="0"/>
              </a:spcBef>
              <a:buClrTx/>
              <a:buSzPct val="100000"/>
              <a:tabLst>
                <a:tab pos="357188" algn="l"/>
                <a:tab pos="5468938" algn="l"/>
              </a:tabLst>
            </a:pPr>
            <a:r>
              <a:rPr lang="de-DE" sz="2000" b="1" dirty="0">
                <a:solidFill>
                  <a:schemeClr val="bg1"/>
                </a:solidFill>
              </a:rPr>
              <a:t>Von der Erhebung zu neuen Inhalten</a:t>
            </a:r>
            <a:endParaRPr lang="en-US" sz="2000" b="1" dirty="0">
              <a:solidFill>
                <a:schemeClr val="bg1"/>
              </a:solidFill>
              <a:ea typeface="ＭＳ Ｐゴシック" charset="-128"/>
              <a:cs typeface="+mn-cs"/>
            </a:endParaRPr>
          </a:p>
          <a:p>
            <a:pPr algn="ctr"/>
            <a:endParaRPr lang="en-US" sz="2000" b="1" i="1" dirty="0">
              <a:solidFill>
                <a:schemeClr val="bg1"/>
              </a:solidFill>
              <a:ea typeface="ＭＳ Ｐゴシック" charset="-128"/>
              <a:cs typeface="+mn-cs"/>
            </a:endParaRPr>
          </a:p>
          <a:p>
            <a:pPr algn="ctr"/>
            <a:endParaRPr lang="en-US" sz="2000" b="1" i="1" dirty="0">
              <a:solidFill>
                <a:schemeClr val="bg1"/>
              </a:solidFill>
              <a:ea typeface="ＭＳ Ｐゴシック" charset="-128"/>
              <a:cs typeface="+mn-cs"/>
            </a:endParaRPr>
          </a:p>
          <a:p>
            <a:pPr algn="ctr"/>
            <a:endParaRPr lang="en-US" sz="2000" b="1" i="1" dirty="0">
              <a:solidFill>
                <a:schemeClr val="bg1"/>
              </a:solidFill>
              <a:ea typeface="ＭＳ Ｐゴシック" charset="-128"/>
              <a:cs typeface="+mn-cs"/>
            </a:endParaRPr>
          </a:p>
          <a:p>
            <a:pPr algn="ctr"/>
            <a:endParaRPr lang="en-US" sz="2000" b="1" i="1" dirty="0">
              <a:solidFill>
                <a:schemeClr val="bg1"/>
              </a:solidFill>
              <a:ea typeface="ＭＳ Ｐゴシック" charset="-128"/>
              <a:cs typeface="+mn-cs"/>
            </a:endParaRPr>
          </a:p>
          <a:p>
            <a:pPr algn="ctr"/>
            <a:endParaRPr lang="en-US" sz="2000" b="1" i="1" dirty="0">
              <a:solidFill>
                <a:schemeClr val="bg1"/>
              </a:solidFill>
              <a:ea typeface="ＭＳ Ｐゴシック" charset="-128"/>
              <a:cs typeface="+mn-cs"/>
            </a:endParaRPr>
          </a:p>
          <a:p>
            <a:pPr algn="ctr"/>
            <a:endParaRPr lang="en-US" sz="2000" b="1" i="1" dirty="0">
              <a:solidFill>
                <a:schemeClr val="bg1"/>
              </a:solidFill>
              <a:ea typeface="ＭＳ Ｐゴシック" charset="-128"/>
              <a:cs typeface="+mn-cs"/>
            </a:endParaRP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200" dirty="0"/>
              <a:t>Daten als „neues Erdöl“ der Zukunft</a:t>
            </a:r>
            <a:br>
              <a:rPr lang="de-DE" sz="2200" dirty="0"/>
            </a:br>
            <a:r>
              <a:rPr lang="de-DE" sz="2200" b="0" dirty="0"/>
              <a:t>… man kann mehr mit Daten machen als man denkt!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2F73F4A6-02CA-4722-BDB0-A1C77C95742E}"/>
              </a:ext>
            </a:extLst>
          </p:cNvPr>
          <p:cNvGrpSpPr/>
          <p:nvPr/>
        </p:nvGrpSpPr>
        <p:grpSpPr>
          <a:xfrm>
            <a:off x="3865825" y="1452786"/>
            <a:ext cx="2163268" cy="2031969"/>
            <a:chOff x="3865825" y="1439998"/>
            <a:chExt cx="2163268" cy="2031969"/>
          </a:xfrm>
        </p:grpSpPr>
        <p:sp>
          <p:nvSpPr>
            <p:cNvPr id="21" name="Textfeld 20"/>
            <p:cNvSpPr txBox="1"/>
            <p:nvPr>
              <p:custDataLst>
                <p:tags r:id="rId10"/>
              </p:custDataLst>
            </p:nvPr>
          </p:nvSpPr>
          <p:spPr>
            <a:xfrm>
              <a:off x="3865825" y="1439998"/>
              <a:ext cx="2160000" cy="1455969"/>
            </a:xfrm>
            <a:prstGeom prst="rect">
              <a:avLst/>
            </a:prstGeom>
            <a:solidFill>
              <a:srgbClr val="EEF0D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none" lIns="72009" tIns="72009" rIns="72009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200" b="1" dirty="0">
                  <a:solidFill>
                    <a:srgbClr val="465F19"/>
                  </a:solidFill>
                  <a:latin typeface="+mn-lt"/>
                </a:rPr>
                <a:t>Auto als „Wetterstation“</a:t>
              </a:r>
            </a:p>
          </p:txBody>
        </p:sp>
        <p:pic>
          <p:nvPicPr>
            <p:cNvPr id="22" name="Grafik 21"/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9708" y="1788724"/>
              <a:ext cx="1872234" cy="1028208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sp>
          <p:nvSpPr>
            <p:cNvPr id="23" name="Textfeld 22"/>
            <p:cNvSpPr txBox="1"/>
            <p:nvPr>
              <p:custDataLst>
                <p:tags r:id="rId11"/>
              </p:custDataLst>
            </p:nvPr>
          </p:nvSpPr>
          <p:spPr>
            <a:xfrm>
              <a:off x="3869093" y="2895967"/>
              <a:ext cx="2160000" cy="576000"/>
            </a:xfrm>
            <a:prstGeom prst="rect">
              <a:avLst/>
            </a:prstGeom>
            <a:solidFill>
              <a:srgbClr val="AAB414"/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de-DE" sz="1200" dirty="0">
                  <a:solidFill>
                    <a:srgbClr val="FFFFFF"/>
                  </a:solidFill>
                  <a:latin typeface="+mn-lt"/>
                </a:rPr>
                <a:t>… die Daten der </a:t>
              </a:r>
              <a:br>
                <a:rPr lang="de-DE" sz="1200" dirty="0">
                  <a:solidFill>
                    <a:srgbClr val="FFFFFF"/>
                  </a:solidFill>
                  <a:latin typeface="+mn-lt"/>
                </a:rPr>
              </a:br>
              <a:r>
                <a:rPr lang="de-DE" sz="1200" dirty="0">
                  <a:solidFill>
                    <a:srgbClr val="FFFFFF"/>
                  </a:solidFill>
                  <a:latin typeface="+mn-lt"/>
                </a:rPr>
                <a:t>Sensoren nutzen.</a:t>
              </a:r>
            </a:p>
          </p:txBody>
        </p:sp>
      </p:grp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7C0CE278-8FA6-440C-B2C3-3C9B4DD699D4}"/>
              </a:ext>
            </a:extLst>
          </p:cNvPr>
          <p:cNvGrpSpPr/>
          <p:nvPr/>
        </p:nvGrpSpPr>
        <p:grpSpPr>
          <a:xfrm>
            <a:off x="8025882" y="4167192"/>
            <a:ext cx="2160000" cy="2034116"/>
            <a:chOff x="8025882" y="4167192"/>
            <a:chExt cx="2160000" cy="2034116"/>
          </a:xfrm>
        </p:grpSpPr>
        <p:sp>
          <p:nvSpPr>
            <p:cNvPr id="33" name="Textfeld 32"/>
            <p:cNvSpPr txBox="1"/>
            <p:nvPr>
              <p:custDataLst>
                <p:tags r:id="rId8"/>
              </p:custDataLst>
            </p:nvPr>
          </p:nvSpPr>
          <p:spPr>
            <a:xfrm>
              <a:off x="8025882" y="4167192"/>
              <a:ext cx="2160000" cy="1458116"/>
            </a:xfrm>
            <a:prstGeom prst="rect">
              <a:avLst/>
            </a:prstGeom>
            <a:solidFill>
              <a:srgbClr val="EEF0D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none" lIns="72009" tIns="72009" rIns="72009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200" b="1" dirty="0">
                  <a:solidFill>
                    <a:srgbClr val="465F19"/>
                  </a:solidFill>
                </a:rPr>
                <a:t>Smart Metering</a:t>
              </a:r>
              <a:br>
                <a:rPr lang="de-DE" sz="1200" b="1" dirty="0">
                  <a:solidFill>
                    <a:srgbClr val="465F19"/>
                  </a:solidFill>
                </a:rPr>
              </a:br>
              <a:r>
                <a:rPr lang="de-DE" sz="1200" b="1" dirty="0">
                  <a:solidFill>
                    <a:srgbClr val="465F19"/>
                  </a:solidFill>
                </a:rPr>
                <a:t>als „Sparschwein“</a:t>
              </a:r>
            </a:p>
          </p:txBody>
        </p:sp>
        <p:sp>
          <p:nvSpPr>
            <p:cNvPr id="34" name="Textfeld 33"/>
            <p:cNvSpPr txBox="1"/>
            <p:nvPr>
              <p:custDataLst>
                <p:tags r:id="rId9"/>
              </p:custDataLst>
            </p:nvPr>
          </p:nvSpPr>
          <p:spPr>
            <a:xfrm>
              <a:off x="8025882" y="5625308"/>
              <a:ext cx="2160000" cy="576000"/>
            </a:xfrm>
            <a:prstGeom prst="rect">
              <a:avLst/>
            </a:prstGeom>
            <a:solidFill>
              <a:srgbClr val="AAB414"/>
            </a:solidFill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… aus den Daten erkennen</a:t>
              </a:r>
              <a:br>
                <a:rPr lang="de-DE" sz="1200" dirty="0">
                  <a:solidFill>
                    <a:schemeClr val="bg1"/>
                  </a:solidFill>
                </a:rPr>
              </a:br>
              <a:r>
                <a:rPr lang="de-DE" sz="1200" dirty="0">
                  <a:solidFill>
                    <a:schemeClr val="bg1"/>
                  </a:solidFill>
                </a:rPr>
                <a:t>wann Verbrauch und Angebot</a:t>
              </a:r>
              <a:br>
                <a:rPr lang="de-DE" sz="1200" dirty="0">
                  <a:solidFill>
                    <a:schemeClr val="bg1"/>
                  </a:solidFill>
                </a:rPr>
              </a:br>
              <a:r>
                <a:rPr lang="de-DE" sz="1200" dirty="0">
                  <a:solidFill>
                    <a:schemeClr val="bg1"/>
                  </a:solidFill>
                </a:rPr>
                <a:t>optimal zusammen passen.</a:t>
              </a:r>
            </a:p>
          </p:txBody>
        </p:sp>
        <p:pic>
          <p:nvPicPr>
            <p:cNvPr id="35" name="Picture 2"/>
            <p:cNvPicPr>
              <a:picLocks noChangeAspect="1" noChangeArrowheads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37997" y="4608603"/>
              <a:ext cx="1535771" cy="945381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1305BEA0-1C01-44DF-AE6C-1709E5738A45}"/>
              </a:ext>
            </a:extLst>
          </p:cNvPr>
          <p:cNvGrpSpPr/>
          <p:nvPr/>
        </p:nvGrpSpPr>
        <p:grpSpPr>
          <a:xfrm>
            <a:off x="6531223" y="1452786"/>
            <a:ext cx="2160000" cy="2031969"/>
            <a:chOff x="6531223" y="1439998"/>
            <a:chExt cx="2160000" cy="2031969"/>
          </a:xfrm>
        </p:grpSpPr>
        <p:sp>
          <p:nvSpPr>
            <p:cNvPr id="19" name="Textfeld 18"/>
            <p:cNvSpPr txBox="1"/>
            <p:nvPr>
              <p:custDataLst>
                <p:tags r:id="rId6"/>
              </p:custDataLst>
            </p:nvPr>
          </p:nvSpPr>
          <p:spPr>
            <a:xfrm>
              <a:off x="6531223" y="2895967"/>
              <a:ext cx="2160000" cy="576000"/>
            </a:xfrm>
            <a:prstGeom prst="rect">
              <a:avLst/>
            </a:prstGeom>
            <a:solidFill>
              <a:srgbClr val="2387AA"/>
            </a:solidFill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de-DE" sz="1200" dirty="0">
                  <a:solidFill>
                    <a:srgbClr val="FFFFFF"/>
                  </a:solidFill>
                </a:rPr>
                <a:t>… aus den Maschinendaten </a:t>
              </a:r>
            </a:p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de-DE" sz="1200" dirty="0">
                  <a:solidFill>
                    <a:srgbClr val="FFFFFF"/>
                  </a:solidFill>
                </a:rPr>
                <a:t>für die Zukunft lernen.</a:t>
              </a:r>
            </a:p>
          </p:txBody>
        </p:sp>
        <p:sp>
          <p:nvSpPr>
            <p:cNvPr id="18" name="Textfeld 17"/>
            <p:cNvSpPr txBox="1"/>
            <p:nvPr>
              <p:custDataLst>
                <p:tags r:id="rId7"/>
              </p:custDataLst>
            </p:nvPr>
          </p:nvSpPr>
          <p:spPr>
            <a:xfrm>
              <a:off x="6531223" y="1439998"/>
              <a:ext cx="2160000" cy="1455969"/>
            </a:xfrm>
            <a:prstGeom prst="rect">
              <a:avLst/>
            </a:prstGeom>
            <a:solidFill>
              <a:srgbClr val="D3E7EE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none" lIns="72009" tIns="72009" rIns="72009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200" b="1" dirty="0">
                  <a:solidFill>
                    <a:srgbClr val="2387AA"/>
                  </a:solidFill>
                </a:rPr>
                <a:t>Digitaler Zwilling</a:t>
              </a:r>
              <a:br>
                <a:rPr lang="de-DE" sz="1200" b="1" dirty="0">
                  <a:solidFill>
                    <a:srgbClr val="2387AA"/>
                  </a:solidFill>
                </a:rPr>
              </a:br>
              <a:r>
                <a:rPr lang="de-DE" sz="1200" b="1" dirty="0">
                  <a:solidFill>
                    <a:srgbClr val="2387AA"/>
                  </a:solidFill>
                </a:rPr>
                <a:t>als „Hellseher“</a:t>
              </a:r>
            </a:p>
          </p:txBody>
        </p:sp>
        <p:pic>
          <p:nvPicPr>
            <p:cNvPr id="17" name="Picture 2"/>
            <p:cNvPicPr>
              <a:picLocks noChangeAspect="1" noChangeArrowheads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75223" y="1855776"/>
              <a:ext cx="1872000" cy="1028208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3CFA5D1A-17AB-4398-B0C1-4FAE6D4B1EEB}"/>
              </a:ext>
            </a:extLst>
          </p:cNvPr>
          <p:cNvGrpSpPr/>
          <p:nvPr/>
        </p:nvGrpSpPr>
        <p:grpSpPr>
          <a:xfrm>
            <a:off x="9312345" y="1452786"/>
            <a:ext cx="2160000" cy="2031969"/>
            <a:chOff x="9312345" y="1439998"/>
            <a:chExt cx="2160000" cy="2031969"/>
          </a:xfrm>
        </p:grpSpPr>
        <p:sp>
          <p:nvSpPr>
            <p:cNvPr id="38" name="Textfeld 37"/>
            <p:cNvSpPr txBox="1"/>
            <p:nvPr>
              <p:custDataLst>
                <p:tags r:id="rId4"/>
              </p:custDataLst>
            </p:nvPr>
          </p:nvSpPr>
          <p:spPr>
            <a:xfrm>
              <a:off x="9312345" y="1439998"/>
              <a:ext cx="2160000" cy="1455969"/>
            </a:xfrm>
            <a:prstGeom prst="rect">
              <a:avLst/>
            </a:prstGeom>
            <a:solidFill>
              <a:srgbClr val="E7EBEE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none" lIns="72009" tIns="72009" rIns="72009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200" b="1" dirty="0">
                  <a:solidFill>
                    <a:schemeClr val="bg2">
                      <a:lumMod val="50000"/>
                    </a:schemeClr>
                  </a:solidFill>
                </a:rPr>
                <a:t>Turnschuh als</a:t>
              </a:r>
              <a:br>
                <a:rPr lang="de-DE" sz="1200" b="1" dirty="0">
                  <a:solidFill>
                    <a:schemeClr val="bg2">
                      <a:lumMod val="50000"/>
                    </a:schemeClr>
                  </a:solidFill>
                </a:rPr>
              </a:br>
              <a:r>
                <a:rPr lang="de-DE" sz="1200" b="1" dirty="0">
                  <a:solidFill>
                    <a:schemeClr val="bg2">
                      <a:lumMod val="50000"/>
                    </a:schemeClr>
                  </a:solidFill>
                </a:rPr>
                <a:t>„Wissenschaftler“ </a:t>
              </a:r>
            </a:p>
          </p:txBody>
        </p:sp>
        <p:sp>
          <p:nvSpPr>
            <p:cNvPr id="39" name="Textfeld 38"/>
            <p:cNvSpPr txBox="1"/>
            <p:nvPr>
              <p:custDataLst>
                <p:tags r:id="rId5"/>
              </p:custDataLst>
            </p:nvPr>
          </p:nvSpPr>
          <p:spPr>
            <a:xfrm>
              <a:off x="9312345" y="2895967"/>
              <a:ext cx="2160000" cy="576000"/>
            </a:xfrm>
            <a:prstGeom prst="rect">
              <a:avLst/>
            </a:prstGeom>
            <a:solidFill>
              <a:srgbClr val="879BAA"/>
            </a:solidFill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de-DE" sz="1200" dirty="0">
                  <a:solidFill>
                    <a:srgbClr val="FFFFFF"/>
                  </a:solidFill>
                </a:rPr>
                <a:t>… Daten über Fußschweiß</a:t>
              </a:r>
            </a:p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de-DE" sz="1200" dirty="0">
                  <a:solidFill>
                    <a:srgbClr val="FFFFFF"/>
                  </a:solidFill>
                </a:rPr>
                <a:t>führt zu neuen Werkstoffen.</a:t>
              </a:r>
            </a:p>
          </p:txBody>
        </p:sp>
        <p:pic>
          <p:nvPicPr>
            <p:cNvPr id="215042" name="Picture 2"/>
            <p:cNvPicPr>
              <a:picLocks noChangeAspect="1" noChangeArrowheads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20183" y="2059995"/>
              <a:ext cx="1174607" cy="657349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42" name="Picture 7" descr="C:\0_Daten\A_Termine (finale Folien)\2016\2016-08-03 (City Account Meeting, Stuttgart)\Bilder\Handy.png"/>
            <p:cNvPicPr>
              <a:picLocks noChangeAspect="1" noChangeArrowheads="1"/>
            </p:cNvPicPr>
            <p:nvPr/>
          </p:nvPicPr>
          <p:blipFill>
            <a:blip r:embed="rId18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04572" y="2116045"/>
              <a:ext cx="545249" cy="545249"/>
            </a:xfrm>
            <a:prstGeom prst="rect">
              <a:avLst/>
            </a:prstGeom>
            <a:noFill/>
          </p:spPr>
        </p:pic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657877C2-C8CE-4752-931E-ED0720FDA051}"/>
              </a:ext>
            </a:extLst>
          </p:cNvPr>
          <p:cNvGrpSpPr/>
          <p:nvPr/>
        </p:nvGrpSpPr>
        <p:grpSpPr>
          <a:xfrm>
            <a:off x="5299474" y="4167192"/>
            <a:ext cx="2160000" cy="2034116"/>
            <a:chOff x="5299474" y="4167192"/>
            <a:chExt cx="2160000" cy="2034116"/>
          </a:xfrm>
        </p:grpSpPr>
        <p:sp>
          <p:nvSpPr>
            <p:cNvPr id="29" name="Textfeld 28"/>
            <p:cNvSpPr txBox="1"/>
            <p:nvPr>
              <p:custDataLst>
                <p:tags r:id="rId2"/>
              </p:custDataLst>
            </p:nvPr>
          </p:nvSpPr>
          <p:spPr>
            <a:xfrm>
              <a:off x="5299474" y="4167192"/>
              <a:ext cx="2160000" cy="1458116"/>
            </a:xfrm>
            <a:prstGeom prst="rect">
              <a:avLst/>
            </a:prstGeom>
            <a:solidFill>
              <a:srgbClr val="E7EBEE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none" lIns="72009" tIns="72009" rIns="72009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200" b="1" dirty="0">
                  <a:solidFill>
                    <a:schemeClr val="bg2">
                      <a:lumMod val="50000"/>
                    </a:schemeClr>
                  </a:solidFill>
                </a:rPr>
                <a:t>Maschine die</a:t>
              </a:r>
              <a:br>
                <a:rPr lang="de-DE" sz="1200" b="1" dirty="0">
                  <a:solidFill>
                    <a:schemeClr val="bg2">
                      <a:lumMod val="50000"/>
                    </a:schemeClr>
                  </a:solidFill>
                </a:rPr>
              </a:br>
              <a:r>
                <a:rPr lang="de-DE" sz="1200" b="1" dirty="0">
                  <a:solidFill>
                    <a:schemeClr val="bg2">
                      <a:lumMod val="50000"/>
                    </a:schemeClr>
                  </a:solidFill>
                </a:rPr>
                <a:t>„weiß was sie braucht“</a:t>
              </a:r>
            </a:p>
          </p:txBody>
        </p:sp>
        <p:sp>
          <p:nvSpPr>
            <p:cNvPr id="30" name="Textfeld 29"/>
            <p:cNvSpPr txBox="1"/>
            <p:nvPr>
              <p:custDataLst>
                <p:tags r:id="rId3"/>
              </p:custDataLst>
            </p:nvPr>
          </p:nvSpPr>
          <p:spPr>
            <a:xfrm>
              <a:off x="5299474" y="5625308"/>
              <a:ext cx="2160000" cy="576000"/>
            </a:xfrm>
            <a:prstGeom prst="rect">
              <a:avLst/>
            </a:prstGeom>
            <a:solidFill>
              <a:srgbClr val="879BAA"/>
            </a:solidFill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de-DE" sz="1200" dirty="0">
                  <a:solidFill>
                    <a:srgbClr val="FFFFFF"/>
                  </a:solidFill>
                </a:rPr>
                <a:t>… aus den Daten Service-</a:t>
              </a:r>
              <a:br>
                <a:rPr lang="de-DE" sz="1200" dirty="0">
                  <a:solidFill>
                    <a:srgbClr val="FFFFFF"/>
                  </a:solidFill>
                </a:rPr>
              </a:br>
              <a:r>
                <a:rPr lang="de-DE" sz="1200" dirty="0">
                  <a:solidFill>
                    <a:srgbClr val="FFFFFF"/>
                  </a:solidFill>
                </a:rPr>
                <a:t>bedarf und Verschleiß.</a:t>
              </a:r>
            </a:p>
          </p:txBody>
        </p:sp>
        <p:pic>
          <p:nvPicPr>
            <p:cNvPr id="36" name="Picture 3"/>
            <p:cNvPicPr>
              <a:picLocks noChangeAspect="1" noChangeArrowheads="1"/>
            </p:cNvPicPr>
            <p:nvPr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22770" y="4684252"/>
              <a:ext cx="1513408" cy="851235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46" name="Picture 8" descr="\\psf\Host\Volumes\public\gernJobs\SIE_Siemens\DFFA\150451_OEM_Event_PPT\01_Produkte\18_Illustration_Infografik_Icon\Vortrag_5_Services\png\01_Waage-fix.png"/>
          <p:cNvPicPr>
            <a:picLocks noChangeAspect="1" noChangeArrowheads="1"/>
          </p:cNvPicPr>
          <p:nvPr/>
        </p:nvPicPr>
        <p:blipFill rotWithShape="1">
          <a:blip r:embed="rId2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84413" y="3212976"/>
            <a:ext cx="2058311" cy="2376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8" name="Gruppieren 47"/>
          <p:cNvGrpSpPr/>
          <p:nvPr/>
        </p:nvGrpSpPr>
        <p:grpSpPr>
          <a:xfrm>
            <a:off x="683488" y="3125728"/>
            <a:ext cx="2662386" cy="1600860"/>
            <a:chOff x="828000" y="3125728"/>
            <a:chExt cx="2662386" cy="1600860"/>
          </a:xfrm>
        </p:grpSpPr>
        <p:pic>
          <p:nvPicPr>
            <p:cNvPr id="49" name="Picture 6" descr="\\psf\Host\Volumes\public\gernJobs\SIE_Siemens\DFFA\150451_OEM_Event_PPT\01_Produkte\18_Illustration_Infografik_Icon\Vortrag_5_Services\png\01_Waage-quer.png"/>
            <p:cNvPicPr>
              <a:picLocks noChangeAspect="1" noChangeArrowheads="1"/>
            </p:cNvPicPr>
            <p:nvPr/>
          </p:nvPicPr>
          <p:blipFill rotWithShape="1">
            <a:blip r:embed="rId21" cstate="email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915836" y="3125728"/>
              <a:ext cx="2438171" cy="2278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" name="Grafik 49"/>
            <p:cNvPicPr>
              <a:picLocks noChangeAspect="1"/>
            </p:cNvPicPr>
            <p:nvPr/>
          </p:nvPicPr>
          <p:blipFill>
            <a:blip r:embed="rId2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8000" y="3214588"/>
              <a:ext cx="885373" cy="1512000"/>
            </a:xfrm>
            <a:prstGeom prst="rect">
              <a:avLst/>
            </a:prstGeom>
          </p:spPr>
        </p:pic>
        <p:grpSp>
          <p:nvGrpSpPr>
            <p:cNvPr id="51" name="Gruppieren 50"/>
            <p:cNvGrpSpPr/>
            <p:nvPr/>
          </p:nvGrpSpPr>
          <p:grpSpPr>
            <a:xfrm>
              <a:off x="2605010" y="3214588"/>
              <a:ext cx="885376" cy="1512000"/>
              <a:chOff x="8259415" y="2432542"/>
              <a:chExt cx="885376" cy="1512000"/>
            </a:xfrm>
          </p:grpSpPr>
          <p:pic>
            <p:nvPicPr>
              <p:cNvPr id="53" name="Grafik 52"/>
              <p:cNvPicPr>
                <a:picLocks noChangeAspect="1"/>
              </p:cNvPicPr>
              <p:nvPr/>
            </p:nvPicPr>
            <p:blipFill>
              <a:blip r:embed="rId24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8259415" y="2432542"/>
                <a:ext cx="885376" cy="1512000"/>
              </a:xfrm>
              <a:prstGeom prst="rect">
                <a:avLst/>
              </a:prstGeom>
            </p:spPr>
          </p:pic>
          <p:sp>
            <p:nvSpPr>
              <p:cNvPr id="54" name="Abgerundetes Rechteck 53"/>
              <p:cNvSpPr/>
              <p:nvPr/>
            </p:nvSpPr>
            <p:spPr bwMode="auto">
              <a:xfrm>
                <a:off x="8333804" y="3621692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0" name="Abgerundetes Rechteck 59"/>
              <p:cNvSpPr/>
              <p:nvPr/>
            </p:nvSpPr>
            <p:spPr bwMode="auto">
              <a:xfrm>
                <a:off x="8444517" y="3621692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1" name="Abgerundetes Rechteck 60"/>
              <p:cNvSpPr/>
              <p:nvPr/>
            </p:nvSpPr>
            <p:spPr bwMode="auto">
              <a:xfrm>
                <a:off x="8555230" y="3621692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2" name="Abgerundetes Rechteck 61"/>
              <p:cNvSpPr/>
              <p:nvPr/>
            </p:nvSpPr>
            <p:spPr bwMode="auto">
              <a:xfrm>
                <a:off x="8665943" y="3621692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3" name="Abgerundetes Rechteck 62"/>
              <p:cNvSpPr/>
              <p:nvPr/>
            </p:nvSpPr>
            <p:spPr bwMode="auto">
              <a:xfrm>
                <a:off x="8776656" y="3621692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4" name="Abgerundetes Rechteck 63"/>
              <p:cNvSpPr/>
              <p:nvPr/>
            </p:nvSpPr>
            <p:spPr bwMode="auto">
              <a:xfrm>
                <a:off x="8887369" y="3621692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6" name="Abgerundetes Rechteck 65"/>
              <p:cNvSpPr/>
              <p:nvPr/>
            </p:nvSpPr>
            <p:spPr bwMode="auto">
              <a:xfrm>
                <a:off x="8998080" y="3621692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7" name="Abgerundetes Rechteck 66"/>
              <p:cNvSpPr/>
              <p:nvPr/>
            </p:nvSpPr>
            <p:spPr bwMode="auto">
              <a:xfrm>
                <a:off x="8387935" y="3513445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2" name="Abgerundetes Rechteck 71"/>
              <p:cNvSpPr/>
              <p:nvPr/>
            </p:nvSpPr>
            <p:spPr bwMode="auto">
              <a:xfrm>
                <a:off x="8498648" y="3513445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3" name="Abgerundetes Rechteck 72"/>
              <p:cNvSpPr/>
              <p:nvPr/>
            </p:nvSpPr>
            <p:spPr bwMode="auto">
              <a:xfrm>
                <a:off x="8609361" y="3513445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4" name="Abgerundetes Rechteck 73"/>
              <p:cNvSpPr/>
              <p:nvPr/>
            </p:nvSpPr>
            <p:spPr bwMode="auto">
              <a:xfrm>
                <a:off x="8720074" y="3513445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5" name="Abgerundetes Rechteck 74"/>
              <p:cNvSpPr/>
              <p:nvPr/>
            </p:nvSpPr>
            <p:spPr bwMode="auto">
              <a:xfrm>
                <a:off x="8830787" y="3513445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6" name="Abgerundetes Rechteck 75"/>
              <p:cNvSpPr/>
              <p:nvPr/>
            </p:nvSpPr>
            <p:spPr bwMode="auto">
              <a:xfrm>
                <a:off x="8941500" y="3513445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Abgerundetes Rechteck 76"/>
              <p:cNvSpPr/>
              <p:nvPr/>
            </p:nvSpPr>
            <p:spPr bwMode="auto">
              <a:xfrm>
                <a:off x="8442698" y="3405198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8" name="Abgerundetes Rechteck 77"/>
              <p:cNvSpPr/>
              <p:nvPr/>
            </p:nvSpPr>
            <p:spPr bwMode="auto">
              <a:xfrm>
                <a:off x="8553411" y="3405198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4" name="Abgerundetes Rechteck 83"/>
              <p:cNvSpPr/>
              <p:nvPr/>
            </p:nvSpPr>
            <p:spPr bwMode="auto">
              <a:xfrm>
                <a:off x="8664124" y="3405198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Abgerundetes Rechteck 84"/>
              <p:cNvSpPr/>
              <p:nvPr/>
            </p:nvSpPr>
            <p:spPr bwMode="auto">
              <a:xfrm>
                <a:off x="8774837" y="3405198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6" name="Abgerundetes Rechteck 85"/>
              <p:cNvSpPr/>
              <p:nvPr/>
            </p:nvSpPr>
            <p:spPr bwMode="auto">
              <a:xfrm>
                <a:off x="8885550" y="3405198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7" name="Abgerundetes Rechteck 86"/>
              <p:cNvSpPr/>
              <p:nvPr/>
            </p:nvSpPr>
            <p:spPr bwMode="auto">
              <a:xfrm>
                <a:off x="8499842" y="3296951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8" name="Abgerundetes Rechteck 87"/>
              <p:cNvSpPr/>
              <p:nvPr/>
            </p:nvSpPr>
            <p:spPr bwMode="auto">
              <a:xfrm>
                <a:off x="8610555" y="3296951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Abgerundetes Rechteck 88"/>
              <p:cNvSpPr/>
              <p:nvPr/>
            </p:nvSpPr>
            <p:spPr bwMode="auto">
              <a:xfrm>
                <a:off x="8721268" y="3296951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Abgerundetes Rechteck 89"/>
              <p:cNvSpPr/>
              <p:nvPr/>
            </p:nvSpPr>
            <p:spPr bwMode="auto">
              <a:xfrm>
                <a:off x="8831981" y="3296951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Abgerundetes Rechteck 90"/>
              <p:cNvSpPr/>
              <p:nvPr/>
            </p:nvSpPr>
            <p:spPr bwMode="auto">
              <a:xfrm>
                <a:off x="8552224" y="3188704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Abgerundetes Rechteck 91"/>
              <p:cNvSpPr/>
              <p:nvPr/>
            </p:nvSpPr>
            <p:spPr bwMode="auto">
              <a:xfrm>
                <a:off x="8662937" y="3188704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Abgerundetes Rechteck 92"/>
              <p:cNvSpPr/>
              <p:nvPr/>
            </p:nvSpPr>
            <p:spPr bwMode="auto">
              <a:xfrm>
                <a:off x="8773650" y="3188704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4" name="Abgerundetes Rechteck 93"/>
              <p:cNvSpPr/>
              <p:nvPr/>
            </p:nvSpPr>
            <p:spPr bwMode="auto">
              <a:xfrm>
                <a:off x="8604606" y="3080457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5" name="Abgerundetes Rechteck 94"/>
              <p:cNvSpPr/>
              <p:nvPr/>
            </p:nvSpPr>
            <p:spPr bwMode="auto">
              <a:xfrm>
                <a:off x="8715319" y="3080457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6" name="Abgerundetes Rechteck 95"/>
              <p:cNvSpPr/>
              <p:nvPr/>
            </p:nvSpPr>
            <p:spPr bwMode="auto">
              <a:xfrm>
                <a:off x="8656988" y="2972210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10" name="Gruppieren 9"/>
          <p:cNvGrpSpPr/>
          <p:nvPr/>
        </p:nvGrpSpPr>
        <p:grpSpPr>
          <a:xfrm>
            <a:off x="683488" y="3125728"/>
            <a:ext cx="2662386" cy="1695214"/>
            <a:chOff x="-2901825" y="3125728"/>
            <a:chExt cx="2662386" cy="1695214"/>
          </a:xfrm>
        </p:grpSpPr>
        <p:sp>
          <p:nvSpPr>
            <p:cNvPr id="265" name="Gleichschenkliges Dreieck 264"/>
            <p:cNvSpPr/>
            <p:nvPr/>
          </p:nvSpPr>
          <p:spPr bwMode="auto">
            <a:xfrm>
              <a:off x="-1080525" y="3356570"/>
              <a:ext cx="809851" cy="126095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9pPr>
            </a:lstStyle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grpSp>
          <p:nvGrpSpPr>
            <p:cNvPr id="97" name="Gruppieren 96"/>
            <p:cNvGrpSpPr/>
            <p:nvPr/>
          </p:nvGrpSpPr>
          <p:grpSpPr>
            <a:xfrm>
              <a:off x="-2901825" y="3125728"/>
              <a:ext cx="2662386" cy="1695214"/>
              <a:chOff x="4012853" y="3125728"/>
              <a:chExt cx="2662386" cy="1695214"/>
            </a:xfrm>
          </p:grpSpPr>
          <p:pic>
            <p:nvPicPr>
              <p:cNvPr id="98" name="Picture 6" descr="\\psf\Host\Volumes\public\gernJobs\SIE_Siemens\DFFA\150451_OEM_Event_PPT\01_Produkte\18_Illustration_Infografik_Icon\Vortrag_5_Services\png\01_Waage-quer.png"/>
              <p:cNvPicPr>
                <a:picLocks noChangeAspect="1" noChangeArrowheads="1"/>
              </p:cNvPicPr>
              <p:nvPr/>
            </p:nvPicPr>
            <p:blipFill rotWithShape="1">
              <a:blip r:embed="rId21" cstate="email">
                <a:extLst>
                  <a:ext uri="{BEBA8EAE-BF5A-486C-A8C5-ECC9F3942E4B}">
                    <a14:imgProps xmlns:a14="http://schemas.microsoft.com/office/drawing/2010/main">
                      <a14:imgLayer r:embed="rId22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 rot="300000">
                <a:off x="4100689" y="3125728"/>
                <a:ext cx="2438171" cy="22788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99" name="Grafik 98"/>
              <p:cNvPicPr>
                <a:picLocks noChangeAspect="1"/>
              </p:cNvPicPr>
              <p:nvPr/>
            </p:nvPicPr>
            <p:blipFill>
              <a:blip r:embed="rId23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12853" y="3155484"/>
                <a:ext cx="885373" cy="1512000"/>
              </a:xfrm>
              <a:prstGeom prst="rect">
                <a:avLst/>
              </a:prstGeom>
            </p:spPr>
          </p:pic>
          <p:grpSp>
            <p:nvGrpSpPr>
              <p:cNvPr id="100" name="Gruppieren 99"/>
              <p:cNvGrpSpPr/>
              <p:nvPr/>
            </p:nvGrpSpPr>
            <p:grpSpPr>
              <a:xfrm>
                <a:off x="5789863" y="3308942"/>
                <a:ext cx="885376" cy="1512000"/>
                <a:chOff x="8259415" y="2432542"/>
                <a:chExt cx="885376" cy="1512000"/>
              </a:xfrm>
            </p:grpSpPr>
            <p:pic>
              <p:nvPicPr>
                <p:cNvPr id="101" name="Grafik 100"/>
                <p:cNvPicPr>
                  <a:picLocks noChangeAspect="1"/>
                </p:cNvPicPr>
                <p:nvPr/>
              </p:nvPicPr>
              <p:blipFill>
                <a:blip r:embed="rId24" cstate="email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8259415" y="2432542"/>
                  <a:ext cx="885376" cy="1512000"/>
                </a:xfrm>
                <a:prstGeom prst="rect">
                  <a:avLst/>
                </a:prstGeom>
              </p:spPr>
            </p:pic>
            <p:sp>
              <p:nvSpPr>
                <p:cNvPr id="102" name="Abgerundetes Rechteck 101"/>
                <p:cNvSpPr/>
                <p:nvPr/>
              </p:nvSpPr>
              <p:spPr bwMode="auto">
                <a:xfrm>
                  <a:off x="8333804" y="3621692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AAB414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3" name="Abgerundetes Rechteck 102"/>
                <p:cNvSpPr/>
                <p:nvPr/>
              </p:nvSpPr>
              <p:spPr bwMode="auto">
                <a:xfrm>
                  <a:off x="8444517" y="3621692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4" name="Abgerundetes Rechteck 103"/>
                <p:cNvSpPr/>
                <p:nvPr/>
              </p:nvSpPr>
              <p:spPr bwMode="auto">
                <a:xfrm>
                  <a:off x="8555230" y="3621692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5" name="Abgerundetes Rechteck 104"/>
                <p:cNvSpPr/>
                <p:nvPr/>
              </p:nvSpPr>
              <p:spPr bwMode="auto">
                <a:xfrm>
                  <a:off x="8665943" y="3621692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AAB414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6" name="Abgerundetes Rechteck 105"/>
                <p:cNvSpPr/>
                <p:nvPr/>
              </p:nvSpPr>
              <p:spPr bwMode="auto">
                <a:xfrm>
                  <a:off x="8776656" y="3621692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7" name="Abgerundetes Rechteck 106"/>
                <p:cNvSpPr/>
                <p:nvPr/>
              </p:nvSpPr>
              <p:spPr bwMode="auto">
                <a:xfrm>
                  <a:off x="8887369" y="3621692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8" name="Abgerundetes Rechteck 107"/>
                <p:cNvSpPr/>
                <p:nvPr/>
              </p:nvSpPr>
              <p:spPr bwMode="auto">
                <a:xfrm>
                  <a:off x="8998080" y="3621692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Abgerundetes Rechteck 108"/>
                <p:cNvSpPr/>
                <p:nvPr/>
              </p:nvSpPr>
              <p:spPr bwMode="auto">
                <a:xfrm>
                  <a:off x="8387935" y="3513445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Abgerundetes Rechteck 109"/>
                <p:cNvSpPr/>
                <p:nvPr/>
              </p:nvSpPr>
              <p:spPr bwMode="auto">
                <a:xfrm>
                  <a:off x="8498648" y="3513445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1" name="Abgerundetes Rechteck 110"/>
                <p:cNvSpPr/>
                <p:nvPr/>
              </p:nvSpPr>
              <p:spPr bwMode="auto">
                <a:xfrm>
                  <a:off x="8609361" y="3513445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2" name="Abgerundetes Rechteck 111"/>
                <p:cNvSpPr/>
                <p:nvPr/>
              </p:nvSpPr>
              <p:spPr bwMode="auto">
                <a:xfrm>
                  <a:off x="8720074" y="3513445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3" name="Abgerundetes Rechteck 112"/>
                <p:cNvSpPr/>
                <p:nvPr/>
              </p:nvSpPr>
              <p:spPr bwMode="auto">
                <a:xfrm>
                  <a:off x="8830787" y="3513445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AAB414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4" name="Abgerundetes Rechteck 113"/>
                <p:cNvSpPr/>
                <p:nvPr/>
              </p:nvSpPr>
              <p:spPr bwMode="auto">
                <a:xfrm>
                  <a:off x="8941500" y="3513445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5" name="Abgerundetes Rechteck 114"/>
                <p:cNvSpPr/>
                <p:nvPr/>
              </p:nvSpPr>
              <p:spPr bwMode="auto">
                <a:xfrm>
                  <a:off x="8442698" y="3405198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6" name="Abgerundetes Rechteck 115"/>
                <p:cNvSpPr/>
                <p:nvPr/>
              </p:nvSpPr>
              <p:spPr bwMode="auto">
                <a:xfrm>
                  <a:off x="8553411" y="3405198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AAB414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7" name="Abgerundetes Rechteck 116"/>
                <p:cNvSpPr/>
                <p:nvPr/>
              </p:nvSpPr>
              <p:spPr bwMode="auto">
                <a:xfrm>
                  <a:off x="8664124" y="3405198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8" name="Abgerundetes Rechteck 117"/>
                <p:cNvSpPr/>
                <p:nvPr/>
              </p:nvSpPr>
              <p:spPr bwMode="auto">
                <a:xfrm>
                  <a:off x="8774837" y="3405198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9" name="Abgerundetes Rechteck 118"/>
                <p:cNvSpPr/>
                <p:nvPr/>
              </p:nvSpPr>
              <p:spPr bwMode="auto">
                <a:xfrm>
                  <a:off x="8885550" y="3405198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0" name="Abgerundetes Rechteck 119"/>
                <p:cNvSpPr/>
                <p:nvPr/>
              </p:nvSpPr>
              <p:spPr bwMode="auto">
                <a:xfrm>
                  <a:off x="8499842" y="3296951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1" name="Abgerundetes Rechteck 120"/>
                <p:cNvSpPr/>
                <p:nvPr/>
              </p:nvSpPr>
              <p:spPr bwMode="auto">
                <a:xfrm>
                  <a:off x="8610555" y="3296951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2" name="Abgerundetes Rechteck 121"/>
                <p:cNvSpPr/>
                <p:nvPr/>
              </p:nvSpPr>
              <p:spPr bwMode="auto">
                <a:xfrm>
                  <a:off x="8721268" y="3296951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AAB414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3" name="Abgerundetes Rechteck 122"/>
                <p:cNvSpPr/>
                <p:nvPr/>
              </p:nvSpPr>
              <p:spPr bwMode="auto">
                <a:xfrm>
                  <a:off x="8831981" y="3296951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4" name="Abgerundetes Rechteck 123"/>
                <p:cNvSpPr/>
                <p:nvPr/>
              </p:nvSpPr>
              <p:spPr bwMode="auto">
                <a:xfrm>
                  <a:off x="8552224" y="3188704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5" name="Abgerundetes Rechteck 124"/>
                <p:cNvSpPr/>
                <p:nvPr/>
              </p:nvSpPr>
              <p:spPr bwMode="auto">
                <a:xfrm>
                  <a:off x="8662937" y="3188704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6" name="Abgerundetes Rechteck 125"/>
                <p:cNvSpPr/>
                <p:nvPr/>
              </p:nvSpPr>
              <p:spPr bwMode="auto">
                <a:xfrm>
                  <a:off x="8773650" y="3188704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7" name="Abgerundetes Rechteck 126"/>
                <p:cNvSpPr/>
                <p:nvPr/>
              </p:nvSpPr>
              <p:spPr bwMode="auto">
                <a:xfrm>
                  <a:off x="8604606" y="3080457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AAB414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8" name="Abgerundetes Rechteck 127"/>
                <p:cNvSpPr/>
                <p:nvPr/>
              </p:nvSpPr>
              <p:spPr bwMode="auto">
                <a:xfrm>
                  <a:off x="8715319" y="3080457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9" name="Abgerundetes Rechteck 128"/>
                <p:cNvSpPr/>
                <p:nvPr/>
              </p:nvSpPr>
              <p:spPr bwMode="auto">
                <a:xfrm>
                  <a:off x="8656988" y="2972210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1" name="Gruppieren 10"/>
          <p:cNvGrpSpPr/>
          <p:nvPr/>
        </p:nvGrpSpPr>
        <p:grpSpPr>
          <a:xfrm>
            <a:off x="683488" y="3060598"/>
            <a:ext cx="2662386" cy="1831814"/>
            <a:chOff x="-3081955" y="3060598"/>
            <a:chExt cx="2662386" cy="1831814"/>
          </a:xfrm>
        </p:grpSpPr>
        <p:sp>
          <p:nvSpPr>
            <p:cNvPr id="266" name="Gleichschenkliges Dreieck 265"/>
            <p:cNvSpPr/>
            <p:nvPr/>
          </p:nvSpPr>
          <p:spPr bwMode="auto">
            <a:xfrm>
              <a:off x="-1260481" y="3404341"/>
              <a:ext cx="809851" cy="126095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9pPr>
            </a:lstStyle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grpSp>
          <p:nvGrpSpPr>
            <p:cNvPr id="130" name="Gruppieren 129"/>
            <p:cNvGrpSpPr/>
            <p:nvPr/>
          </p:nvGrpSpPr>
          <p:grpSpPr>
            <a:xfrm>
              <a:off x="-3081955" y="3060598"/>
              <a:ext cx="2662386" cy="1831814"/>
              <a:chOff x="7037189" y="3060598"/>
              <a:chExt cx="2662386" cy="1831814"/>
            </a:xfrm>
          </p:grpSpPr>
          <p:pic>
            <p:nvPicPr>
              <p:cNvPr id="131" name="Grafik 130"/>
              <p:cNvPicPr>
                <a:picLocks noChangeAspect="1"/>
              </p:cNvPicPr>
              <p:nvPr/>
            </p:nvPicPr>
            <p:blipFill>
              <a:blip r:embed="rId23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037189" y="3060598"/>
                <a:ext cx="885373" cy="1512000"/>
              </a:xfrm>
              <a:prstGeom prst="rect">
                <a:avLst/>
              </a:prstGeom>
            </p:spPr>
          </p:pic>
          <p:grpSp>
            <p:nvGrpSpPr>
              <p:cNvPr id="132" name="Gruppieren 131"/>
              <p:cNvGrpSpPr/>
              <p:nvPr/>
            </p:nvGrpSpPr>
            <p:grpSpPr>
              <a:xfrm>
                <a:off x="8814199" y="3380412"/>
                <a:ext cx="885376" cy="1512000"/>
                <a:chOff x="8259415" y="2432542"/>
                <a:chExt cx="885376" cy="1512000"/>
              </a:xfrm>
            </p:grpSpPr>
            <p:pic>
              <p:nvPicPr>
                <p:cNvPr id="134" name="Grafik 133"/>
                <p:cNvPicPr>
                  <a:picLocks noChangeAspect="1"/>
                </p:cNvPicPr>
                <p:nvPr/>
              </p:nvPicPr>
              <p:blipFill>
                <a:blip r:embed="rId24" cstate="email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8259415" y="2432542"/>
                  <a:ext cx="885376" cy="1512000"/>
                </a:xfrm>
                <a:prstGeom prst="rect">
                  <a:avLst/>
                </a:prstGeom>
              </p:spPr>
            </p:pic>
            <p:sp>
              <p:nvSpPr>
                <p:cNvPr id="135" name="Abgerundetes Rechteck 134"/>
                <p:cNvSpPr/>
                <p:nvPr/>
              </p:nvSpPr>
              <p:spPr bwMode="auto">
                <a:xfrm>
                  <a:off x="8333804" y="3621692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AAB414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6" name="Abgerundetes Rechteck 135"/>
                <p:cNvSpPr/>
                <p:nvPr/>
              </p:nvSpPr>
              <p:spPr bwMode="auto">
                <a:xfrm>
                  <a:off x="8444517" y="3621692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7" name="Abgerundetes Rechteck 136"/>
                <p:cNvSpPr/>
                <p:nvPr/>
              </p:nvSpPr>
              <p:spPr bwMode="auto">
                <a:xfrm>
                  <a:off x="8555230" y="3621692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2387A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8" name="Abgerundetes Rechteck 137"/>
                <p:cNvSpPr/>
                <p:nvPr/>
              </p:nvSpPr>
              <p:spPr bwMode="auto">
                <a:xfrm>
                  <a:off x="8665943" y="3621692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AAB414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9" name="Abgerundetes Rechteck 138"/>
                <p:cNvSpPr/>
                <p:nvPr/>
              </p:nvSpPr>
              <p:spPr bwMode="auto">
                <a:xfrm>
                  <a:off x="8776656" y="3621692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0" name="Abgerundetes Rechteck 139"/>
                <p:cNvSpPr/>
                <p:nvPr/>
              </p:nvSpPr>
              <p:spPr bwMode="auto">
                <a:xfrm>
                  <a:off x="8887369" y="3621692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1" name="Abgerundetes Rechteck 140"/>
                <p:cNvSpPr/>
                <p:nvPr/>
              </p:nvSpPr>
              <p:spPr bwMode="auto">
                <a:xfrm>
                  <a:off x="8998080" y="3621692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2387A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2" name="Abgerundetes Rechteck 141"/>
                <p:cNvSpPr/>
                <p:nvPr/>
              </p:nvSpPr>
              <p:spPr bwMode="auto">
                <a:xfrm>
                  <a:off x="8387935" y="3513445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3" name="Abgerundetes Rechteck 142"/>
                <p:cNvSpPr/>
                <p:nvPr/>
              </p:nvSpPr>
              <p:spPr bwMode="auto">
                <a:xfrm>
                  <a:off x="8498648" y="3513445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4" name="Abgerundetes Rechteck 143"/>
                <p:cNvSpPr/>
                <p:nvPr/>
              </p:nvSpPr>
              <p:spPr bwMode="auto">
                <a:xfrm>
                  <a:off x="8609361" y="3513445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5" name="Abgerundetes Rechteck 144"/>
                <p:cNvSpPr/>
                <p:nvPr/>
              </p:nvSpPr>
              <p:spPr bwMode="auto">
                <a:xfrm>
                  <a:off x="8720074" y="3513445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2387A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6" name="Abgerundetes Rechteck 145"/>
                <p:cNvSpPr/>
                <p:nvPr/>
              </p:nvSpPr>
              <p:spPr bwMode="auto">
                <a:xfrm>
                  <a:off x="8830787" y="3513445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AAB414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7" name="Abgerundetes Rechteck 146"/>
                <p:cNvSpPr/>
                <p:nvPr/>
              </p:nvSpPr>
              <p:spPr bwMode="auto">
                <a:xfrm>
                  <a:off x="8941500" y="3513445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8" name="Abgerundetes Rechteck 147"/>
                <p:cNvSpPr/>
                <p:nvPr/>
              </p:nvSpPr>
              <p:spPr bwMode="auto">
                <a:xfrm>
                  <a:off x="8442698" y="3405198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2387A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9" name="Abgerundetes Rechteck 148"/>
                <p:cNvSpPr/>
                <p:nvPr/>
              </p:nvSpPr>
              <p:spPr bwMode="auto">
                <a:xfrm>
                  <a:off x="8553411" y="3405198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AAB414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0" name="Abgerundetes Rechteck 149"/>
                <p:cNvSpPr/>
                <p:nvPr/>
              </p:nvSpPr>
              <p:spPr bwMode="auto">
                <a:xfrm>
                  <a:off x="8664124" y="3405198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1" name="Abgerundetes Rechteck 150"/>
                <p:cNvSpPr/>
                <p:nvPr/>
              </p:nvSpPr>
              <p:spPr bwMode="auto">
                <a:xfrm>
                  <a:off x="8774837" y="3405198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2" name="Abgerundetes Rechteck 151"/>
                <p:cNvSpPr/>
                <p:nvPr/>
              </p:nvSpPr>
              <p:spPr bwMode="auto">
                <a:xfrm>
                  <a:off x="8885550" y="3405198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2387A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3" name="Abgerundetes Rechteck 152"/>
                <p:cNvSpPr/>
                <p:nvPr/>
              </p:nvSpPr>
              <p:spPr bwMode="auto">
                <a:xfrm>
                  <a:off x="8499842" y="3296951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4" name="Abgerundetes Rechteck 153"/>
                <p:cNvSpPr/>
                <p:nvPr/>
              </p:nvSpPr>
              <p:spPr bwMode="auto">
                <a:xfrm>
                  <a:off x="8610555" y="3296951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5" name="Abgerundetes Rechteck 154"/>
                <p:cNvSpPr/>
                <p:nvPr/>
              </p:nvSpPr>
              <p:spPr bwMode="auto">
                <a:xfrm>
                  <a:off x="8721268" y="3296951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AAB414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6" name="Abgerundetes Rechteck 155"/>
                <p:cNvSpPr/>
                <p:nvPr/>
              </p:nvSpPr>
              <p:spPr bwMode="auto">
                <a:xfrm>
                  <a:off x="8831981" y="3296951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7" name="Abgerundetes Rechteck 156"/>
                <p:cNvSpPr/>
                <p:nvPr/>
              </p:nvSpPr>
              <p:spPr bwMode="auto">
                <a:xfrm>
                  <a:off x="8552224" y="3188704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8" name="Abgerundetes Rechteck 157"/>
                <p:cNvSpPr/>
                <p:nvPr/>
              </p:nvSpPr>
              <p:spPr bwMode="auto">
                <a:xfrm>
                  <a:off x="8662937" y="3188704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2387A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9" name="Abgerundetes Rechteck 158"/>
                <p:cNvSpPr/>
                <p:nvPr/>
              </p:nvSpPr>
              <p:spPr bwMode="auto">
                <a:xfrm>
                  <a:off x="8773650" y="3188704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0" name="Abgerundetes Rechteck 159"/>
                <p:cNvSpPr/>
                <p:nvPr/>
              </p:nvSpPr>
              <p:spPr bwMode="auto">
                <a:xfrm>
                  <a:off x="8604606" y="3080457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AAB414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1" name="Abgerundetes Rechteck 160"/>
                <p:cNvSpPr/>
                <p:nvPr/>
              </p:nvSpPr>
              <p:spPr bwMode="auto">
                <a:xfrm>
                  <a:off x="8715319" y="3080457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2" name="Abgerundetes Rechteck 161"/>
                <p:cNvSpPr/>
                <p:nvPr/>
              </p:nvSpPr>
              <p:spPr bwMode="auto">
                <a:xfrm>
                  <a:off x="8656988" y="2972210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</p:grpSp>
          <p:pic>
            <p:nvPicPr>
              <p:cNvPr id="133" name="Picture 6" descr="\\psf\Host\Volumes\public\gernJobs\SIE_Siemens\DFFA\150451_OEM_Event_PPT\01_Produkte\18_Illustration_Infografik_Icon\Vortrag_5_Services\png\01_Waage-quer.png"/>
              <p:cNvPicPr>
                <a:picLocks noChangeAspect="1" noChangeArrowheads="1"/>
              </p:cNvPicPr>
              <p:nvPr/>
            </p:nvPicPr>
            <p:blipFill rotWithShape="1">
              <a:blip r:embed="rId21" cstate="email">
                <a:extLst>
                  <a:ext uri="{BEBA8EAE-BF5A-486C-A8C5-ECC9F3942E4B}">
                    <a14:imgProps xmlns:a14="http://schemas.microsoft.com/office/drawing/2010/main">
                      <a14:imgLayer r:embed="rId22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 rot="600000">
                <a:off x="7125025" y="3125728"/>
                <a:ext cx="2438171" cy="22788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12" name="Gruppieren 11"/>
          <p:cNvGrpSpPr/>
          <p:nvPr/>
        </p:nvGrpSpPr>
        <p:grpSpPr>
          <a:xfrm>
            <a:off x="683488" y="2994326"/>
            <a:ext cx="2661029" cy="1980502"/>
            <a:chOff x="-3261865" y="2994326"/>
            <a:chExt cx="2661029" cy="1980502"/>
          </a:xfrm>
        </p:grpSpPr>
        <p:sp>
          <p:nvSpPr>
            <p:cNvPr id="262" name="Gleichschenkliges Dreieck 261"/>
            <p:cNvSpPr/>
            <p:nvPr/>
          </p:nvSpPr>
          <p:spPr bwMode="auto">
            <a:xfrm>
              <a:off x="-1440225" y="3519965"/>
              <a:ext cx="809851" cy="126095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9pPr>
            </a:lstStyle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grpSp>
          <p:nvGrpSpPr>
            <p:cNvPr id="163" name="Gruppieren 162"/>
            <p:cNvGrpSpPr/>
            <p:nvPr/>
          </p:nvGrpSpPr>
          <p:grpSpPr>
            <a:xfrm>
              <a:off x="-3261865" y="2994326"/>
              <a:ext cx="2661029" cy="1980502"/>
              <a:chOff x="9627567" y="2994326"/>
              <a:chExt cx="2661029" cy="1980502"/>
            </a:xfrm>
          </p:grpSpPr>
          <p:grpSp>
            <p:nvGrpSpPr>
              <p:cNvPr id="164" name="Gruppieren 163"/>
              <p:cNvGrpSpPr/>
              <p:nvPr/>
            </p:nvGrpSpPr>
            <p:grpSpPr>
              <a:xfrm>
                <a:off x="11403220" y="3462828"/>
                <a:ext cx="885376" cy="1512000"/>
                <a:chOff x="8259415" y="2432542"/>
                <a:chExt cx="885376" cy="1512000"/>
              </a:xfrm>
            </p:grpSpPr>
            <p:pic>
              <p:nvPicPr>
                <p:cNvPr id="167" name="Grafik 166"/>
                <p:cNvPicPr>
                  <a:picLocks noChangeAspect="1"/>
                </p:cNvPicPr>
                <p:nvPr/>
              </p:nvPicPr>
              <p:blipFill>
                <a:blip r:embed="rId24" cstate="email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8259415" y="2432542"/>
                  <a:ext cx="885376" cy="1512000"/>
                </a:xfrm>
                <a:prstGeom prst="rect">
                  <a:avLst/>
                </a:prstGeom>
              </p:spPr>
            </p:pic>
            <p:sp>
              <p:nvSpPr>
                <p:cNvPr id="168" name="Abgerundetes Rechteck 167"/>
                <p:cNvSpPr/>
                <p:nvPr/>
              </p:nvSpPr>
              <p:spPr bwMode="auto">
                <a:xfrm>
                  <a:off x="8333804" y="3621692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AAB414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9" name="Abgerundetes Rechteck 168"/>
                <p:cNvSpPr/>
                <p:nvPr/>
              </p:nvSpPr>
              <p:spPr bwMode="auto">
                <a:xfrm>
                  <a:off x="8444517" y="3621692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879BA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0" name="Abgerundetes Rechteck 169"/>
                <p:cNvSpPr/>
                <p:nvPr/>
              </p:nvSpPr>
              <p:spPr bwMode="auto">
                <a:xfrm>
                  <a:off x="8555230" y="3621692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2387A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1" name="Abgerundetes Rechteck 170"/>
                <p:cNvSpPr/>
                <p:nvPr/>
              </p:nvSpPr>
              <p:spPr bwMode="auto">
                <a:xfrm>
                  <a:off x="8665943" y="3621692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AAB414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2" name="Abgerundetes Rechteck 171"/>
                <p:cNvSpPr/>
                <p:nvPr/>
              </p:nvSpPr>
              <p:spPr bwMode="auto">
                <a:xfrm>
                  <a:off x="8776656" y="3621692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3" name="Abgerundetes Rechteck 172"/>
                <p:cNvSpPr/>
                <p:nvPr/>
              </p:nvSpPr>
              <p:spPr bwMode="auto">
                <a:xfrm>
                  <a:off x="8887369" y="3621692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879BA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4" name="Abgerundetes Rechteck 173"/>
                <p:cNvSpPr/>
                <p:nvPr/>
              </p:nvSpPr>
              <p:spPr bwMode="auto">
                <a:xfrm>
                  <a:off x="8998080" y="3621692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2387A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5" name="Abgerundetes Rechteck 174"/>
                <p:cNvSpPr/>
                <p:nvPr/>
              </p:nvSpPr>
              <p:spPr bwMode="auto">
                <a:xfrm>
                  <a:off x="8387935" y="3513445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6" name="Abgerundetes Rechteck 175"/>
                <p:cNvSpPr/>
                <p:nvPr/>
              </p:nvSpPr>
              <p:spPr bwMode="auto">
                <a:xfrm>
                  <a:off x="8498648" y="3513445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7" name="Abgerundetes Rechteck 176"/>
                <p:cNvSpPr/>
                <p:nvPr/>
              </p:nvSpPr>
              <p:spPr bwMode="auto">
                <a:xfrm>
                  <a:off x="8609361" y="3513445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879BA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8" name="Abgerundetes Rechteck 177"/>
                <p:cNvSpPr/>
                <p:nvPr/>
              </p:nvSpPr>
              <p:spPr bwMode="auto">
                <a:xfrm>
                  <a:off x="8720074" y="3513445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2387A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9" name="Abgerundetes Rechteck 178"/>
                <p:cNvSpPr/>
                <p:nvPr/>
              </p:nvSpPr>
              <p:spPr bwMode="auto">
                <a:xfrm>
                  <a:off x="8830787" y="3513445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AAB414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0" name="Abgerundetes Rechteck 179"/>
                <p:cNvSpPr/>
                <p:nvPr/>
              </p:nvSpPr>
              <p:spPr bwMode="auto">
                <a:xfrm>
                  <a:off x="8941500" y="3513445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1" name="Abgerundetes Rechteck 180"/>
                <p:cNvSpPr/>
                <p:nvPr/>
              </p:nvSpPr>
              <p:spPr bwMode="auto">
                <a:xfrm>
                  <a:off x="8442698" y="3405198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2387A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Abgerundetes Rechteck 181"/>
                <p:cNvSpPr/>
                <p:nvPr/>
              </p:nvSpPr>
              <p:spPr bwMode="auto">
                <a:xfrm>
                  <a:off x="8553411" y="3405198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AAB414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3" name="Abgerundetes Rechteck 182"/>
                <p:cNvSpPr/>
                <p:nvPr/>
              </p:nvSpPr>
              <p:spPr bwMode="auto">
                <a:xfrm>
                  <a:off x="8664124" y="3405198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4" name="Abgerundetes Rechteck 183"/>
                <p:cNvSpPr/>
                <p:nvPr/>
              </p:nvSpPr>
              <p:spPr bwMode="auto">
                <a:xfrm>
                  <a:off x="8774837" y="3405198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5" name="Abgerundetes Rechteck 184"/>
                <p:cNvSpPr/>
                <p:nvPr/>
              </p:nvSpPr>
              <p:spPr bwMode="auto">
                <a:xfrm>
                  <a:off x="8885550" y="3405198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2387A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6" name="Abgerundetes Rechteck 185"/>
                <p:cNvSpPr/>
                <p:nvPr/>
              </p:nvSpPr>
              <p:spPr bwMode="auto">
                <a:xfrm>
                  <a:off x="8499842" y="3296951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879BA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7" name="Abgerundetes Rechteck 186"/>
                <p:cNvSpPr/>
                <p:nvPr/>
              </p:nvSpPr>
              <p:spPr bwMode="auto">
                <a:xfrm>
                  <a:off x="8610555" y="3296951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8" name="Abgerundetes Rechteck 187"/>
                <p:cNvSpPr/>
                <p:nvPr/>
              </p:nvSpPr>
              <p:spPr bwMode="auto">
                <a:xfrm>
                  <a:off x="8721268" y="3296951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AAB414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9" name="Abgerundetes Rechteck 188"/>
                <p:cNvSpPr/>
                <p:nvPr/>
              </p:nvSpPr>
              <p:spPr bwMode="auto">
                <a:xfrm>
                  <a:off x="8831981" y="3296951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879BA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0" name="Abgerundetes Rechteck 189"/>
                <p:cNvSpPr/>
                <p:nvPr/>
              </p:nvSpPr>
              <p:spPr bwMode="auto">
                <a:xfrm>
                  <a:off x="8552224" y="3188704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Abgerundetes Rechteck 190"/>
                <p:cNvSpPr/>
                <p:nvPr/>
              </p:nvSpPr>
              <p:spPr bwMode="auto">
                <a:xfrm>
                  <a:off x="8662937" y="3188704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2387A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2" name="Abgerundetes Rechteck 191"/>
                <p:cNvSpPr/>
                <p:nvPr/>
              </p:nvSpPr>
              <p:spPr bwMode="auto">
                <a:xfrm>
                  <a:off x="8773650" y="3188704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3" name="Abgerundetes Rechteck 192"/>
                <p:cNvSpPr/>
                <p:nvPr/>
              </p:nvSpPr>
              <p:spPr bwMode="auto">
                <a:xfrm>
                  <a:off x="8604606" y="3080457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AAB414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4" name="Abgerundetes Rechteck 193"/>
                <p:cNvSpPr/>
                <p:nvPr/>
              </p:nvSpPr>
              <p:spPr bwMode="auto">
                <a:xfrm>
                  <a:off x="8715319" y="3080457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5" name="Abgerundetes Rechteck 194"/>
                <p:cNvSpPr/>
                <p:nvPr/>
              </p:nvSpPr>
              <p:spPr bwMode="auto">
                <a:xfrm>
                  <a:off x="8656988" y="2972210"/>
                  <a:ext cx="90000" cy="90000"/>
                </a:xfrm>
                <a:prstGeom prst="roundRect">
                  <a:avLst>
                    <a:gd name="adj" fmla="val 25190"/>
                  </a:avLst>
                </a:prstGeom>
                <a:solidFill>
                  <a:srgbClr val="879BA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de-DE" sz="1800" b="1" dirty="0" err="1">
                    <a:solidFill>
                      <a:schemeClr val="tx1"/>
                    </a:solidFill>
                  </a:endParaRPr>
                </a:p>
              </p:txBody>
            </p:sp>
          </p:grpSp>
          <p:pic>
            <p:nvPicPr>
              <p:cNvPr id="165" name="Picture 6" descr="\\psf\Host\Volumes\public\gernJobs\SIE_Siemens\DFFA\150451_OEM_Event_PPT\01_Produkte\18_Illustration_Infografik_Icon\Vortrag_5_Services\png\01_Waage-quer.png"/>
              <p:cNvPicPr>
                <a:picLocks noChangeAspect="1" noChangeArrowheads="1"/>
              </p:cNvPicPr>
              <p:nvPr/>
            </p:nvPicPr>
            <p:blipFill rotWithShape="1">
              <a:blip r:embed="rId21" cstate="email">
                <a:extLst>
                  <a:ext uri="{BEBA8EAE-BF5A-486C-A8C5-ECC9F3942E4B}">
                    <a14:imgProps xmlns:a14="http://schemas.microsoft.com/office/drawing/2010/main">
                      <a14:imgLayer r:embed="rId22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 rot="900000">
                <a:off x="9715403" y="3125728"/>
                <a:ext cx="2438171" cy="22788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66" name="Grafik 165"/>
              <p:cNvPicPr>
                <a:picLocks noChangeAspect="1"/>
              </p:cNvPicPr>
              <p:nvPr/>
            </p:nvPicPr>
            <p:blipFill>
              <a:blip r:embed="rId23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627567" y="2994326"/>
                <a:ext cx="885373" cy="1512000"/>
              </a:xfrm>
              <a:prstGeom prst="rect">
                <a:avLst/>
              </a:prstGeom>
            </p:spPr>
          </p:pic>
        </p:grpSp>
      </p:grpSp>
      <p:grpSp>
        <p:nvGrpSpPr>
          <p:cNvPr id="9" name="Gruppieren 8"/>
          <p:cNvGrpSpPr/>
          <p:nvPr/>
        </p:nvGrpSpPr>
        <p:grpSpPr>
          <a:xfrm>
            <a:off x="683488" y="2922582"/>
            <a:ext cx="2662386" cy="2152237"/>
            <a:chOff x="-3259955" y="2922582"/>
            <a:chExt cx="2662386" cy="2152237"/>
          </a:xfrm>
        </p:grpSpPr>
        <p:sp>
          <p:nvSpPr>
            <p:cNvPr id="264" name="Gleichschenkliges Dreieck 263"/>
            <p:cNvSpPr/>
            <p:nvPr/>
          </p:nvSpPr>
          <p:spPr bwMode="auto">
            <a:xfrm>
              <a:off x="-1437068" y="3591811"/>
              <a:ext cx="809851" cy="126095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9pPr>
            </a:lstStyle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grpSp>
          <p:nvGrpSpPr>
            <p:cNvPr id="197" name="Gruppieren 196"/>
            <p:cNvGrpSpPr/>
            <p:nvPr/>
          </p:nvGrpSpPr>
          <p:grpSpPr>
            <a:xfrm>
              <a:off x="-1482945" y="3562819"/>
              <a:ext cx="885376" cy="1512000"/>
              <a:chOff x="8259415" y="2432542"/>
              <a:chExt cx="885376" cy="1512000"/>
            </a:xfrm>
          </p:grpSpPr>
          <p:pic>
            <p:nvPicPr>
              <p:cNvPr id="200" name="Grafik 199"/>
              <p:cNvPicPr>
                <a:picLocks noChangeAspect="1"/>
              </p:cNvPicPr>
              <p:nvPr/>
            </p:nvPicPr>
            <p:blipFill>
              <a:blip r:embed="rId24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8259415" y="2432542"/>
                <a:ext cx="885376" cy="1512000"/>
              </a:xfrm>
              <a:prstGeom prst="rect">
                <a:avLst/>
              </a:prstGeom>
            </p:spPr>
          </p:pic>
          <p:sp>
            <p:nvSpPr>
              <p:cNvPr id="201" name="Abgerundetes Rechteck 200"/>
              <p:cNvSpPr/>
              <p:nvPr/>
            </p:nvSpPr>
            <p:spPr bwMode="auto">
              <a:xfrm>
                <a:off x="8333804" y="3621692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AAB41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2" name="Abgerundetes Rechteck 201"/>
              <p:cNvSpPr/>
              <p:nvPr/>
            </p:nvSpPr>
            <p:spPr bwMode="auto">
              <a:xfrm>
                <a:off x="8444517" y="3621692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879B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3" name="Abgerundetes Rechteck 202"/>
              <p:cNvSpPr/>
              <p:nvPr/>
            </p:nvSpPr>
            <p:spPr bwMode="auto">
              <a:xfrm>
                <a:off x="8555230" y="3621692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2387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4" name="Abgerundetes Rechteck 203"/>
              <p:cNvSpPr/>
              <p:nvPr/>
            </p:nvSpPr>
            <p:spPr bwMode="auto">
              <a:xfrm>
                <a:off x="8665943" y="3621692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AAB41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5" name="Abgerundetes Rechteck 204"/>
              <p:cNvSpPr/>
              <p:nvPr/>
            </p:nvSpPr>
            <p:spPr bwMode="auto">
              <a:xfrm>
                <a:off x="8776656" y="3621692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6" name="Abgerundetes Rechteck 205"/>
              <p:cNvSpPr/>
              <p:nvPr/>
            </p:nvSpPr>
            <p:spPr bwMode="auto">
              <a:xfrm>
                <a:off x="8887369" y="3621692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879B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bgerundetes Rechteck 206"/>
              <p:cNvSpPr/>
              <p:nvPr/>
            </p:nvSpPr>
            <p:spPr bwMode="auto">
              <a:xfrm>
                <a:off x="8998080" y="3621692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2387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8" name="Abgerundetes Rechteck 207"/>
              <p:cNvSpPr/>
              <p:nvPr/>
            </p:nvSpPr>
            <p:spPr bwMode="auto">
              <a:xfrm>
                <a:off x="8387935" y="3513445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879B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bgerundetes Rechteck 208"/>
              <p:cNvSpPr/>
              <p:nvPr/>
            </p:nvSpPr>
            <p:spPr bwMode="auto">
              <a:xfrm>
                <a:off x="8498648" y="3513445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0" name="Abgerundetes Rechteck 209"/>
              <p:cNvSpPr/>
              <p:nvPr/>
            </p:nvSpPr>
            <p:spPr bwMode="auto">
              <a:xfrm>
                <a:off x="8609361" y="3513445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879B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bgerundetes Rechteck 210"/>
              <p:cNvSpPr/>
              <p:nvPr/>
            </p:nvSpPr>
            <p:spPr bwMode="auto">
              <a:xfrm>
                <a:off x="8720074" y="3513445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2387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2" name="Abgerundetes Rechteck 211"/>
              <p:cNvSpPr/>
              <p:nvPr/>
            </p:nvSpPr>
            <p:spPr bwMode="auto">
              <a:xfrm>
                <a:off x="8830787" y="3513445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AAB41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bgerundetes Rechteck 212"/>
              <p:cNvSpPr/>
              <p:nvPr/>
            </p:nvSpPr>
            <p:spPr bwMode="auto">
              <a:xfrm>
                <a:off x="8941500" y="3513445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879B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4" name="Abgerundetes Rechteck 213"/>
              <p:cNvSpPr/>
              <p:nvPr/>
            </p:nvSpPr>
            <p:spPr bwMode="auto">
              <a:xfrm>
                <a:off x="8442698" y="3405198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2387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bgerundetes Rechteck 214"/>
              <p:cNvSpPr/>
              <p:nvPr/>
            </p:nvSpPr>
            <p:spPr bwMode="auto">
              <a:xfrm>
                <a:off x="8553411" y="3405198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AAB41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bgerundetes Rechteck 215"/>
              <p:cNvSpPr/>
              <p:nvPr/>
            </p:nvSpPr>
            <p:spPr bwMode="auto">
              <a:xfrm>
                <a:off x="8664124" y="3405198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7" name="Abgerundetes Rechteck 216"/>
              <p:cNvSpPr/>
              <p:nvPr/>
            </p:nvSpPr>
            <p:spPr bwMode="auto">
              <a:xfrm>
                <a:off x="8774837" y="3405198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879B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bgerundetes Rechteck 217"/>
              <p:cNvSpPr/>
              <p:nvPr/>
            </p:nvSpPr>
            <p:spPr bwMode="auto">
              <a:xfrm>
                <a:off x="8885550" y="3405198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2387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9" name="Abgerundetes Rechteck 218"/>
              <p:cNvSpPr/>
              <p:nvPr/>
            </p:nvSpPr>
            <p:spPr bwMode="auto">
              <a:xfrm>
                <a:off x="8499842" y="3296951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879B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bgerundetes Rechteck 219"/>
              <p:cNvSpPr/>
              <p:nvPr/>
            </p:nvSpPr>
            <p:spPr bwMode="auto">
              <a:xfrm>
                <a:off x="8610555" y="3296951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1" name="Abgerundetes Rechteck 220"/>
              <p:cNvSpPr/>
              <p:nvPr/>
            </p:nvSpPr>
            <p:spPr bwMode="auto">
              <a:xfrm>
                <a:off x="8721268" y="3296951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AAB41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bgerundetes Rechteck 221"/>
              <p:cNvSpPr/>
              <p:nvPr/>
            </p:nvSpPr>
            <p:spPr bwMode="auto">
              <a:xfrm>
                <a:off x="8831981" y="3296951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879B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3" name="Abgerundetes Rechteck 222"/>
              <p:cNvSpPr/>
              <p:nvPr/>
            </p:nvSpPr>
            <p:spPr bwMode="auto">
              <a:xfrm>
                <a:off x="8552224" y="3188704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879B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Abgerundetes Rechteck 223"/>
              <p:cNvSpPr/>
              <p:nvPr/>
            </p:nvSpPr>
            <p:spPr bwMode="auto">
              <a:xfrm>
                <a:off x="8662937" y="3188704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2387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5" name="Abgerundetes Rechteck 224"/>
              <p:cNvSpPr/>
              <p:nvPr/>
            </p:nvSpPr>
            <p:spPr bwMode="auto">
              <a:xfrm>
                <a:off x="8773650" y="3188704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879B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6" name="Abgerundetes Rechteck 225"/>
              <p:cNvSpPr/>
              <p:nvPr/>
            </p:nvSpPr>
            <p:spPr bwMode="auto">
              <a:xfrm>
                <a:off x="8604606" y="3080457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AAB41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7" name="Abgerundetes Rechteck 226"/>
              <p:cNvSpPr/>
              <p:nvPr/>
            </p:nvSpPr>
            <p:spPr bwMode="auto">
              <a:xfrm>
                <a:off x="8715319" y="3080457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8" name="Abgerundetes Rechteck 227"/>
              <p:cNvSpPr/>
              <p:nvPr/>
            </p:nvSpPr>
            <p:spPr bwMode="auto">
              <a:xfrm>
                <a:off x="8656988" y="2972210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879B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198" name="Picture 6" descr="\\psf\Host\Volumes\public\gernJobs\SIE_Siemens\DFFA\150451_OEM_Event_PPT\01_Produkte\18_Illustration_Infografik_Icon\Vortrag_5_Services\png\01_Waage-quer.png"/>
            <p:cNvPicPr>
              <a:picLocks noChangeAspect="1" noChangeArrowheads="1"/>
            </p:cNvPicPr>
            <p:nvPr/>
          </p:nvPicPr>
          <p:blipFill rotWithShape="1">
            <a:blip r:embed="rId21" cstate="email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 rot="1200000">
              <a:off x="-3172119" y="3125728"/>
              <a:ext cx="2438171" cy="2278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9" name="Grafik 198"/>
            <p:cNvPicPr>
              <a:picLocks noChangeAspect="1"/>
            </p:cNvPicPr>
            <p:nvPr/>
          </p:nvPicPr>
          <p:blipFill>
            <a:blip r:embed="rId2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3259955" y="2922582"/>
              <a:ext cx="885373" cy="1512000"/>
            </a:xfrm>
            <a:prstGeom prst="rect">
              <a:avLst/>
            </a:prstGeom>
          </p:spPr>
        </p:pic>
      </p:grpSp>
      <p:grpSp>
        <p:nvGrpSpPr>
          <p:cNvPr id="8" name="Gruppieren 7"/>
          <p:cNvGrpSpPr/>
          <p:nvPr/>
        </p:nvGrpSpPr>
        <p:grpSpPr>
          <a:xfrm>
            <a:off x="683488" y="2827696"/>
            <a:ext cx="2661861" cy="2336923"/>
            <a:chOff x="-2034798" y="2827696"/>
            <a:chExt cx="2661861" cy="2336923"/>
          </a:xfrm>
        </p:grpSpPr>
        <p:sp>
          <p:nvSpPr>
            <p:cNvPr id="263" name="Gleichschenkliges Dreieck 262"/>
            <p:cNvSpPr/>
            <p:nvPr/>
          </p:nvSpPr>
          <p:spPr bwMode="auto">
            <a:xfrm>
              <a:off x="-214849" y="3715938"/>
              <a:ext cx="809851" cy="126095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9pPr>
            </a:lstStyle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grpSp>
          <p:nvGrpSpPr>
            <p:cNvPr id="230" name="Gruppieren 229"/>
            <p:cNvGrpSpPr/>
            <p:nvPr/>
          </p:nvGrpSpPr>
          <p:grpSpPr>
            <a:xfrm>
              <a:off x="-258313" y="3652619"/>
              <a:ext cx="885376" cy="1512000"/>
              <a:chOff x="8259415" y="2432542"/>
              <a:chExt cx="885376" cy="1512000"/>
            </a:xfrm>
          </p:grpSpPr>
          <p:pic>
            <p:nvPicPr>
              <p:cNvPr id="233" name="Grafik 232"/>
              <p:cNvPicPr>
                <a:picLocks noChangeAspect="1"/>
              </p:cNvPicPr>
              <p:nvPr/>
            </p:nvPicPr>
            <p:blipFill>
              <a:blip r:embed="rId24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8259415" y="2432542"/>
                <a:ext cx="885376" cy="1512000"/>
              </a:xfrm>
              <a:prstGeom prst="rect">
                <a:avLst/>
              </a:prstGeom>
            </p:spPr>
          </p:pic>
          <p:sp>
            <p:nvSpPr>
              <p:cNvPr id="234" name="Abgerundetes Rechteck 233"/>
              <p:cNvSpPr/>
              <p:nvPr/>
            </p:nvSpPr>
            <p:spPr bwMode="auto">
              <a:xfrm>
                <a:off x="8333804" y="3621692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AAB41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5" name="Abgerundetes Rechteck 234"/>
              <p:cNvSpPr/>
              <p:nvPr/>
            </p:nvSpPr>
            <p:spPr bwMode="auto">
              <a:xfrm>
                <a:off x="8444517" y="3621692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879B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6" name="Abgerundetes Rechteck 235"/>
              <p:cNvSpPr/>
              <p:nvPr/>
            </p:nvSpPr>
            <p:spPr bwMode="auto">
              <a:xfrm>
                <a:off x="8555230" y="3621692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2387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7" name="Abgerundetes Rechteck 236"/>
              <p:cNvSpPr/>
              <p:nvPr/>
            </p:nvSpPr>
            <p:spPr bwMode="auto">
              <a:xfrm>
                <a:off x="8665943" y="3621692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AAB41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8" name="Abgerundetes Rechteck 237"/>
              <p:cNvSpPr/>
              <p:nvPr/>
            </p:nvSpPr>
            <p:spPr bwMode="auto">
              <a:xfrm>
                <a:off x="8776656" y="3621692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AAB414"/>
              </a:solidFill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9" name="Abgerundetes Rechteck 238"/>
              <p:cNvSpPr/>
              <p:nvPr/>
            </p:nvSpPr>
            <p:spPr bwMode="auto">
              <a:xfrm>
                <a:off x="8887369" y="3621692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879B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0" name="Abgerundetes Rechteck 239"/>
              <p:cNvSpPr/>
              <p:nvPr/>
            </p:nvSpPr>
            <p:spPr bwMode="auto">
              <a:xfrm>
                <a:off x="8998080" y="3621692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2387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1" name="Abgerundetes Rechteck 240"/>
              <p:cNvSpPr/>
              <p:nvPr/>
            </p:nvSpPr>
            <p:spPr bwMode="auto">
              <a:xfrm>
                <a:off x="8387935" y="3513445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879B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2" name="Abgerundetes Rechteck 241"/>
              <p:cNvSpPr/>
              <p:nvPr/>
            </p:nvSpPr>
            <p:spPr bwMode="auto">
              <a:xfrm>
                <a:off x="8498648" y="3513445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AAB414"/>
              </a:solidFill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3" name="Abgerundetes Rechteck 242"/>
              <p:cNvSpPr/>
              <p:nvPr/>
            </p:nvSpPr>
            <p:spPr bwMode="auto">
              <a:xfrm>
                <a:off x="8609361" y="3513445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879B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4" name="Abgerundetes Rechteck 243"/>
              <p:cNvSpPr/>
              <p:nvPr/>
            </p:nvSpPr>
            <p:spPr bwMode="auto">
              <a:xfrm>
                <a:off x="8720074" y="3513445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2387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5" name="Abgerundetes Rechteck 244"/>
              <p:cNvSpPr/>
              <p:nvPr/>
            </p:nvSpPr>
            <p:spPr bwMode="auto">
              <a:xfrm>
                <a:off x="8830787" y="3513445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AAB41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6" name="Abgerundetes Rechteck 245"/>
              <p:cNvSpPr/>
              <p:nvPr/>
            </p:nvSpPr>
            <p:spPr bwMode="auto">
              <a:xfrm>
                <a:off x="8941500" y="3513445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879B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7" name="Abgerundetes Rechteck 246"/>
              <p:cNvSpPr/>
              <p:nvPr/>
            </p:nvSpPr>
            <p:spPr bwMode="auto">
              <a:xfrm>
                <a:off x="8442698" y="3405198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2387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8" name="Abgerundetes Rechteck 247"/>
              <p:cNvSpPr/>
              <p:nvPr/>
            </p:nvSpPr>
            <p:spPr bwMode="auto">
              <a:xfrm>
                <a:off x="8553411" y="3405198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AAB41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9" name="Abgerundetes Rechteck 248"/>
              <p:cNvSpPr/>
              <p:nvPr/>
            </p:nvSpPr>
            <p:spPr bwMode="auto">
              <a:xfrm>
                <a:off x="8664124" y="3405198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AAB414"/>
              </a:solidFill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0" name="Abgerundetes Rechteck 249"/>
              <p:cNvSpPr/>
              <p:nvPr/>
            </p:nvSpPr>
            <p:spPr bwMode="auto">
              <a:xfrm>
                <a:off x="8774837" y="3405198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879B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1" name="Abgerundetes Rechteck 250"/>
              <p:cNvSpPr/>
              <p:nvPr/>
            </p:nvSpPr>
            <p:spPr bwMode="auto">
              <a:xfrm>
                <a:off x="8885550" y="3405198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2387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2" name="Abgerundetes Rechteck 251"/>
              <p:cNvSpPr/>
              <p:nvPr/>
            </p:nvSpPr>
            <p:spPr bwMode="auto">
              <a:xfrm>
                <a:off x="8499842" y="3296951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879B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3" name="Abgerundetes Rechteck 252"/>
              <p:cNvSpPr/>
              <p:nvPr/>
            </p:nvSpPr>
            <p:spPr bwMode="auto">
              <a:xfrm>
                <a:off x="8610555" y="3296951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AAB414"/>
              </a:solidFill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4" name="Abgerundetes Rechteck 253"/>
              <p:cNvSpPr/>
              <p:nvPr/>
            </p:nvSpPr>
            <p:spPr bwMode="auto">
              <a:xfrm>
                <a:off x="8721268" y="3296951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AAB41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5" name="Abgerundetes Rechteck 254"/>
              <p:cNvSpPr/>
              <p:nvPr/>
            </p:nvSpPr>
            <p:spPr bwMode="auto">
              <a:xfrm>
                <a:off x="8831981" y="3296951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879B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6" name="Abgerundetes Rechteck 255"/>
              <p:cNvSpPr/>
              <p:nvPr/>
            </p:nvSpPr>
            <p:spPr bwMode="auto">
              <a:xfrm>
                <a:off x="8552224" y="3188704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879B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7" name="Abgerundetes Rechteck 256"/>
              <p:cNvSpPr/>
              <p:nvPr/>
            </p:nvSpPr>
            <p:spPr bwMode="auto">
              <a:xfrm>
                <a:off x="8662937" y="3188704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2387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8" name="Abgerundetes Rechteck 257"/>
              <p:cNvSpPr/>
              <p:nvPr/>
            </p:nvSpPr>
            <p:spPr bwMode="auto">
              <a:xfrm>
                <a:off x="8773650" y="3188704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879B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9" name="Abgerundetes Rechteck 258"/>
              <p:cNvSpPr/>
              <p:nvPr/>
            </p:nvSpPr>
            <p:spPr bwMode="auto">
              <a:xfrm>
                <a:off x="8604606" y="3080457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AAB41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60" name="Abgerundetes Rechteck 259"/>
              <p:cNvSpPr/>
              <p:nvPr/>
            </p:nvSpPr>
            <p:spPr bwMode="auto">
              <a:xfrm>
                <a:off x="8715319" y="3080457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AAB414"/>
              </a:solidFill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61" name="Abgerundetes Rechteck 260"/>
              <p:cNvSpPr/>
              <p:nvPr/>
            </p:nvSpPr>
            <p:spPr bwMode="auto">
              <a:xfrm>
                <a:off x="8656988" y="2972210"/>
                <a:ext cx="90000" cy="90000"/>
              </a:xfrm>
              <a:prstGeom prst="roundRect">
                <a:avLst>
                  <a:gd name="adj" fmla="val 25190"/>
                </a:avLst>
              </a:prstGeom>
              <a:solidFill>
                <a:srgbClr val="879B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231" name="Picture 6" descr="\\psf\Host\Volumes\public\gernJobs\SIE_Siemens\DFFA\150451_OEM_Event_PPT\01_Produkte\18_Illustration_Infografik_Icon\Vortrag_5_Services\png\01_Waage-quer.png"/>
            <p:cNvPicPr>
              <a:picLocks noChangeAspect="1" noChangeArrowheads="1"/>
            </p:cNvPicPr>
            <p:nvPr/>
          </p:nvPicPr>
          <p:blipFill rotWithShape="1">
            <a:blip r:embed="rId21" cstate="email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 rot="1500000">
              <a:off x="-1946962" y="3125728"/>
              <a:ext cx="2438171" cy="2278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2" name="Grafik 231"/>
            <p:cNvPicPr>
              <a:picLocks noChangeAspect="1"/>
            </p:cNvPicPr>
            <p:nvPr/>
          </p:nvPicPr>
          <p:blipFill>
            <a:blip r:embed="rId2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034798" y="2827696"/>
              <a:ext cx="885373" cy="1512000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1855625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75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5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75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36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75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47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75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75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185589C-8281-491B-B2D6-D845A0302A4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243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5" name="think-cell Folie" r:id="rId6" imgW="380" imgH="380" progId="TCLayout.ActiveDocument.1">
                  <p:embed/>
                </p:oleObj>
              </mc:Choice>
              <mc:Fallback>
                <p:oleObj name="think-cell Folie" r:id="rId6" imgW="380" imgH="3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2F18846-7ECF-4D7C-BC52-68E6B995913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2200" dirty="0">
              <a:solidFill>
                <a:schemeClr val="tx1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785A58-93C4-4B73-A3DC-FE1B11ED3C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 sind wie Geld</a:t>
            </a:r>
            <a:br>
              <a:rPr lang="de-DE" dirty="0"/>
            </a:br>
            <a:r>
              <a:rPr lang="de-DE" b="0" dirty="0"/>
              <a:t>es geht um die richtige Abwägung zwischen Sicherheit </a:t>
            </a:r>
            <a:r>
              <a:rPr lang="de-DE" b="0"/>
              <a:t>und Ertrag</a:t>
            </a:r>
            <a:endParaRPr lang="de-DE" b="0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B4E7E0B-7E43-4C4B-B1C2-235983163C62}"/>
              </a:ext>
            </a:extLst>
          </p:cNvPr>
          <p:cNvSpPr txBox="1"/>
          <p:nvPr/>
        </p:nvSpPr>
        <p:spPr>
          <a:xfrm>
            <a:off x="774381" y="1998175"/>
            <a:ext cx="3464090" cy="204203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de-DE" sz="24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Geld</a:t>
            </a:r>
            <a:r>
              <a:rPr lang="de-DE" sz="24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</a:p>
          <a:p>
            <a:pPr marL="342900" indent="-342900">
              <a:lnSpc>
                <a:spcPct val="110000"/>
              </a:lnSpc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de-DE" sz="20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Wie Oma im Nachtschrank </a:t>
            </a:r>
            <a:br>
              <a:rPr lang="de-DE" sz="20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de-DE" sz="200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ufbewahren?</a:t>
            </a:r>
            <a:endParaRPr lang="de-DE" sz="2000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342900" indent="-342900">
              <a:lnSpc>
                <a:spcPct val="110000"/>
              </a:lnSpc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de-DE" sz="20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der mit Konzept am </a:t>
            </a:r>
            <a:br>
              <a:rPr lang="de-DE" sz="20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de-DE" sz="20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arkt anlegen?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4D8CAB1-E6C5-4D21-83E0-EDD8E242C778}"/>
              </a:ext>
            </a:extLst>
          </p:cNvPr>
          <p:cNvSpPr txBox="1"/>
          <p:nvPr/>
        </p:nvSpPr>
        <p:spPr>
          <a:xfrm>
            <a:off x="5144994" y="4162427"/>
            <a:ext cx="6713697" cy="204203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de-DE" sz="24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Daten</a:t>
            </a:r>
            <a:r>
              <a:rPr lang="de-DE" sz="24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</a:p>
          <a:p>
            <a:pPr marL="268288" indent="-268288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Im Unternehmen belassen</a:t>
            </a:r>
            <a:br>
              <a:rPr lang="de-DE" sz="20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de-DE" sz="20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und zu Steuerung und Analyse </a:t>
            </a:r>
            <a:r>
              <a:rPr lang="de-DE" sz="200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nutzen?</a:t>
            </a:r>
            <a:endParaRPr lang="de-DE" sz="2000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68288" indent="-268288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der über die Cloud bereitstellen und mit</a:t>
            </a:r>
            <a:br>
              <a:rPr lang="de-DE" sz="20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de-DE" sz="20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klarer Strategie und Konzept gewinnbringend einsetzen?</a:t>
            </a:r>
          </a:p>
        </p:txBody>
      </p:sp>
      <p:pic>
        <p:nvPicPr>
          <p:cNvPr id="39942" name="Picture 6" descr="Bildergebnis fÃ¼r Daten">
            <a:extLst>
              <a:ext uri="{FF2B5EF4-FFF2-40B4-BE49-F238E27FC236}">
                <a16:creationId xmlns:a16="http://schemas.microsoft.com/office/drawing/2014/main" id="{0676D04D-9CCE-49AE-9FB1-7D92806D9E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0634" y="1377768"/>
            <a:ext cx="3339802" cy="2501627"/>
          </a:xfrm>
          <a:prstGeom prst="ellipse">
            <a:avLst/>
          </a:prstGeom>
          <a:solidFill>
            <a:schemeClr val="tx1"/>
          </a:solidFill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8" name="Grafik 7" descr="Ein Bild, das Möbel, Tisch, Kommode enthält.&#10;&#10;Automatisch generierte Beschreibung">
            <a:extLst>
              <a:ext uri="{FF2B5EF4-FFF2-40B4-BE49-F238E27FC236}">
                <a16:creationId xmlns:a16="http://schemas.microsoft.com/office/drawing/2014/main" id="{E5AB50B1-1076-40BD-9CC2-72158C6945E9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alphaModFix amt="75000"/>
          </a:blip>
          <a:srcRect l="-10511" t="-10511" r="-10511" b="-10511"/>
          <a:stretch/>
        </p:blipFill>
        <p:spPr>
          <a:xfrm>
            <a:off x="4441817" y="2086196"/>
            <a:ext cx="1443726" cy="1443724"/>
          </a:xfrm>
          <a:prstGeom prst="ellipse">
            <a:avLst/>
          </a:prstGeom>
          <a:solidFill>
            <a:srgbClr val="FCFEFE"/>
          </a:solidFill>
        </p:spPr>
      </p:pic>
      <p:pic>
        <p:nvPicPr>
          <p:cNvPr id="16" name="Grafik 15" descr="Ein Bild, das sitzend enthält.&#10;&#10;Automatisch generierte Beschreibung">
            <a:extLst>
              <a:ext uri="{FF2B5EF4-FFF2-40B4-BE49-F238E27FC236}">
                <a16:creationId xmlns:a16="http://schemas.microsoft.com/office/drawing/2014/main" id="{B68AA017-C9B7-4743-8DB3-B21B809351A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506426" y="4107914"/>
            <a:ext cx="2589096" cy="2251388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3B50B033-98A0-4B18-BEB2-5FEDA180D19A}"/>
              </a:ext>
            </a:extLst>
          </p:cNvPr>
          <p:cNvSpPr/>
          <p:nvPr/>
        </p:nvSpPr>
        <p:spPr>
          <a:xfrm>
            <a:off x="4839035" y="6608985"/>
            <a:ext cx="4439331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Bildquellen: Datenbank Siemens</a:t>
            </a:r>
          </a:p>
        </p:txBody>
      </p:sp>
    </p:spTree>
    <p:extLst>
      <p:ext uri="{BB962C8B-B14F-4D97-AF65-F5344CB8AC3E}">
        <p14:creationId xmlns:p14="http://schemas.microsoft.com/office/powerpoint/2010/main" val="3905315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310711-4B66-4C93-9832-9CB10F6ECA6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8681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9" name="think-cell Folie" r:id="rId6" imgW="380" imgH="380" progId="TCLayout.ActiveDocument.1">
                  <p:embed/>
                </p:oleObj>
              </mc:Choice>
              <mc:Fallback>
                <p:oleObj name="think-cell Folie" r:id="rId6" imgW="380" imgH="3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97185B83-BBA7-4526-9DEC-CE8BB46398B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2200" dirty="0">
              <a:solidFill>
                <a:schemeClr val="tx1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AF93D46-FCDB-410B-BC70-0298EA2625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tplatz Daten</a:t>
            </a:r>
            <a:br>
              <a:rPr lang="de-DE" dirty="0"/>
            </a:br>
            <a:r>
              <a:rPr lang="de-DE" b="0" dirty="0"/>
              <a:t>… ein kleines Gedankenspiel für das eigene Unternehmen</a:t>
            </a:r>
          </a:p>
        </p:txBody>
      </p:sp>
      <p:pic>
        <p:nvPicPr>
          <p:cNvPr id="7" name="Bildplatzhalter 5">
            <a:extLst>
              <a:ext uri="{FF2B5EF4-FFF2-40B4-BE49-F238E27FC236}">
                <a16:creationId xmlns:a16="http://schemas.microsoft.com/office/drawing/2014/main" id="{38A0541E-B3C6-4783-B468-91C5AC04C251}"/>
              </a:ext>
            </a:extLst>
          </p:cNvPr>
          <p:cNvPicPr>
            <a:picLocks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734"/>
          <a:stretch/>
        </p:blipFill>
        <p:spPr>
          <a:xfrm>
            <a:off x="638859" y="1442783"/>
            <a:ext cx="4995224" cy="4743541"/>
          </a:xfrm>
          <a:prstGeom prst="rect">
            <a:avLst/>
          </a:prstGeom>
        </p:spPr>
      </p:pic>
      <p:sp>
        <p:nvSpPr>
          <p:cNvPr id="6" name="Rechteck 7">
            <a:extLst>
              <a:ext uri="{FF2B5EF4-FFF2-40B4-BE49-F238E27FC236}">
                <a16:creationId xmlns:a16="http://schemas.microsoft.com/office/drawing/2014/main" id="{62DC85EC-EF58-4BE7-9148-EB8AD60FC480}"/>
              </a:ext>
            </a:extLst>
          </p:cNvPr>
          <p:cNvSpPr/>
          <p:nvPr/>
        </p:nvSpPr>
        <p:spPr>
          <a:xfrm flipH="1">
            <a:off x="1763711" y="1442783"/>
            <a:ext cx="9959334" cy="4743541"/>
          </a:xfrm>
          <a:custGeom>
            <a:avLst/>
            <a:gdLst>
              <a:gd name="connsiteX0" fmla="*/ 0 w 7164288"/>
              <a:gd name="connsiteY0" fmla="*/ 0 h 5143499"/>
              <a:gd name="connsiteX1" fmla="*/ 7164288 w 7164288"/>
              <a:gd name="connsiteY1" fmla="*/ 0 h 5143499"/>
              <a:gd name="connsiteX2" fmla="*/ 7164288 w 7164288"/>
              <a:gd name="connsiteY2" fmla="*/ 5143499 h 5143499"/>
              <a:gd name="connsiteX3" fmla="*/ 0 w 7164288"/>
              <a:gd name="connsiteY3" fmla="*/ 5143499 h 5143499"/>
              <a:gd name="connsiteX4" fmla="*/ 0 w 7164288"/>
              <a:gd name="connsiteY4" fmla="*/ 0 h 5143499"/>
              <a:gd name="connsiteX0" fmla="*/ 0 w 7164288"/>
              <a:gd name="connsiteY0" fmla="*/ 0 h 5143499"/>
              <a:gd name="connsiteX1" fmla="*/ 7164288 w 7164288"/>
              <a:gd name="connsiteY1" fmla="*/ 0 h 5143499"/>
              <a:gd name="connsiteX2" fmla="*/ 3451029 w 7164288"/>
              <a:gd name="connsiteY2" fmla="*/ 5135548 h 5143499"/>
              <a:gd name="connsiteX3" fmla="*/ 0 w 7164288"/>
              <a:gd name="connsiteY3" fmla="*/ 5143499 h 5143499"/>
              <a:gd name="connsiteX4" fmla="*/ 0 w 7164288"/>
              <a:gd name="connsiteY4" fmla="*/ 0 h 5143499"/>
              <a:gd name="connsiteX0" fmla="*/ 0 w 7164288"/>
              <a:gd name="connsiteY0" fmla="*/ 0 h 5159402"/>
              <a:gd name="connsiteX1" fmla="*/ 7164288 w 7164288"/>
              <a:gd name="connsiteY1" fmla="*/ 0 h 5159402"/>
              <a:gd name="connsiteX2" fmla="*/ 4460845 w 7164288"/>
              <a:gd name="connsiteY2" fmla="*/ 5159402 h 5159402"/>
              <a:gd name="connsiteX3" fmla="*/ 0 w 7164288"/>
              <a:gd name="connsiteY3" fmla="*/ 5143499 h 5159402"/>
              <a:gd name="connsiteX4" fmla="*/ 0 w 7164288"/>
              <a:gd name="connsiteY4" fmla="*/ 0 h 5159402"/>
              <a:gd name="connsiteX0" fmla="*/ 0 w 6488427"/>
              <a:gd name="connsiteY0" fmla="*/ 0 h 5159402"/>
              <a:gd name="connsiteX1" fmla="*/ 6488427 w 6488427"/>
              <a:gd name="connsiteY1" fmla="*/ 0 h 5159402"/>
              <a:gd name="connsiteX2" fmla="*/ 4460845 w 6488427"/>
              <a:gd name="connsiteY2" fmla="*/ 5159402 h 5159402"/>
              <a:gd name="connsiteX3" fmla="*/ 0 w 6488427"/>
              <a:gd name="connsiteY3" fmla="*/ 5143499 h 5159402"/>
              <a:gd name="connsiteX4" fmla="*/ 0 w 6488427"/>
              <a:gd name="connsiteY4" fmla="*/ 0 h 5159402"/>
              <a:gd name="connsiteX0" fmla="*/ 0 w 6870090"/>
              <a:gd name="connsiteY0" fmla="*/ 7952 h 5167354"/>
              <a:gd name="connsiteX1" fmla="*/ 6870090 w 6870090"/>
              <a:gd name="connsiteY1" fmla="*/ 0 h 5167354"/>
              <a:gd name="connsiteX2" fmla="*/ 4460845 w 6870090"/>
              <a:gd name="connsiteY2" fmla="*/ 5167354 h 5167354"/>
              <a:gd name="connsiteX3" fmla="*/ 0 w 6870090"/>
              <a:gd name="connsiteY3" fmla="*/ 5151451 h 5167354"/>
              <a:gd name="connsiteX4" fmla="*/ 0 w 6870090"/>
              <a:gd name="connsiteY4" fmla="*/ 7952 h 5167354"/>
              <a:gd name="connsiteX0" fmla="*/ 0 w 6870090"/>
              <a:gd name="connsiteY0" fmla="*/ 7952 h 5151451"/>
              <a:gd name="connsiteX1" fmla="*/ 6870090 w 6870090"/>
              <a:gd name="connsiteY1" fmla="*/ 0 h 5151451"/>
              <a:gd name="connsiteX2" fmla="*/ 4460845 w 6870090"/>
              <a:gd name="connsiteY2" fmla="*/ 4785691 h 5151451"/>
              <a:gd name="connsiteX3" fmla="*/ 0 w 6870090"/>
              <a:gd name="connsiteY3" fmla="*/ 5151451 h 5151451"/>
              <a:gd name="connsiteX4" fmla="*/ 0 w 6870090"/>
              <a:gd name="connsiteY4" fmla="*/ 7952 h 5151451"/>
              <a:gd name="connsiteX0" fmla="*/ 0 w 6870090"/>
              <a:gd name="connsiteY0" fmla="*/ 7952 h 5159403"/>
              <a:gd name="connsiteX1" fmla="*/ 6870090 w 6870090"/>
              <a:gd name="connsiteY1" fmla="*/ 0 h 5159403"/>
              <a:gd name="connsiteX2" fmla="*/ 4460845 w 6870090"/>
              <a:gd name="connsiteY2" fmla="*/ 5159403 h 5159403"/>
              <a:gd name="connsiteX3" fmla="*/ 0 w 6870090"/>
              <a:gd name="connsiteY3" fmla="*/ 5151451 h 5159403"/>
              <a:gd name="connsiteX4" fmla="*/ 0 w 6870090"/>
              <a:gd name="connsiteY4" fmla="*/ 7952 h 5159403"/>
              <a:gd name="connsiteX0" fmla="*/ 7951 w 6878041"/>
              <a:gd name="connsiteY0" fmla="*/ 7952 h 5167354"/>
              <a:gd name="connsiteX1" fmla="*/ 6878041 w 6878041"/>
              <a:gd name="connsiteY1" fmla="*/ 0 h 5167354"/>
              <a:gd name="connsiteX2" fmla="*/ 4468796 w 6878041"/>
              <a:gd name="connsiteY2" fmla="*/ 5159403 h 5167354"/>
              <a:gd name="connsiteX3" fmla="*/ 0 w 6878041"/>
              <a:gd name="connsiteY3" fmla="*/ 5167354 h 5167354"/>
              <a:gd name="connsiteX4" fmla="*/ 7951 w 6878041"/>
              <a:gd name="connsiteY4" fmla="*/ 7952 h 5167354"/>
              <a:gd name="connsiteX0" fmla="*/ 5 w 7784495"/>
              <a:gd name="connsiteY0" fmla="*/ 1 h 5167354"/>
              <a:gd name="connsiteX1" fmla="*/ 7784495 w 7784495"/>
              <a:gd name="connsiteY1" fmla="*/ 0 h 5167354"/>
              <a:gd name="connsiteX2" fmla="*/ 5375250 w 7784495"/>
              <a:gd name="connsiteY2" fmla="*/ 5159403 h 5167354"/>
              <a:gd name="connsiteX3" fmla="*/ 906454 w 7784495"/>
              <a:gd name="connsiteY3" fmla="*/ 5167354 h 5167354"/>
              <a:gd name="connsiteX4" fmla="*/ 5 w 7784495"/>
              <a:gd name="connsiteY4" fmla="*/ 1 h 5167354"/>
              <a:gd name="connsiteX0" fmla="*/ 7951 w 7792441"/>
              <a:gd name="connsiteY0" fmla="*/ 1 h 5167354"/>
              <a:gd name="connsiteX1" fmla="*/ 7792441 w 7792441"/>
              <a:gd name="connsiteY1" fmla="*/ 0 h 5167354"/>
              <a:gd name="connsiteX2" fmla="*/ 5383196 w 7792441"/>
              <a:gd name="connsiteY2" fmla="*/ 5159403 h 5167354"/>
              <a:gd name="connsiteX3" fmla="*/ 0 w 7792441"/>
              <a:gd name="connsiteY3" fmla="*/ 5167354 h 5167354"/>
              <a:gd name="connsiteX4" fmla="*/ 7951 w 7792441"/>
              <a:gd name="connsiteY4" fmla="*/ 1 h 5167354"/>
              <a:gd name="connsiteX0" fmla="*/ 7951 w 7792441"/>
              <a:gd name="connsiteY0" fmla="*/ 1 h 5175379"/>
              <a:gd name="connsiteX1" fmla="*/ 7792441 w 7792441"/>
              <a:gd name="connsiteY1" fmla="*/ 0 h 5175379"/>
              <a:gd name="connsiteX2" fmla="*/ 5391147 w 7792441"/>
              <a:gd name="connsiteY2" fmla="*/ 5175379 h 5175379"/>
              <a:gd name="connsiteX3" fmla="*/ 0 w 7792441"/>
              <a:gd name="connsiteY3" fmla="*/ 5167354 h 5175379"/>
              <a:gd name="connsiteX4" fmla="*/ 7951 w 7792441"/>
              <a:gd name="connsiteY4" fmla="*/ 1 h 5175379"/>
              <a:gd name="connsiteX0" fmla="*/ 7951 w 7792441"/>
              <a:gd name="connsiteY0" fmla="*/ 1 h 5167354"/>
              <a:gd name="connsiteX1" fmla="*/ 7792441 w 7792441"/>
              <a:gd name="connsiteY1" fmla="*/ 0 h 5167354"/>
              <a:gd name="connsiteX2" fmla="*/ 3243260 w 7792441"/>
              <a:gd name="connsiteY2" fmla="*/ 5146671 h 5167354"/>
              <a:gd name="connsiteX3" fmla="*/ 0 w 7792441"/>
              <a:gd name="connsiteY3" fmla="*/ 5167354 h 5167354"/>
              <a:gd name="connsiteX4" fmla="*/ 7951 w 7792441"/>
              <a:gd name="connsiteY4" fmla="*/ 1 h 5167354"/>
              <a:gd name="connsiteX0" fmla="*/ 7951 w 7792441"/>
              <a:gd name="connsiteY0" fmla="*/ 1 h 5167354"/>
              <a:gd name="connsiteX1" fmla="*/ 7792441 w 7792441"/>
              <a:gd name="connsiteY1" fmla="*/ 0 h 5167354"/>
              <a:gd name="connsiteX2" fmla="*/ 3767136 w 7792441"/>
              <a:gd name="connsiteY2" fmla="*/ 5161026 h 5167354"/>
              <a:gd name="connsiteX3" fmla="*/ 0 w 7792441"/>
              <a:gd name="connsiteY3" fmla="*/ 5167354 h 5167354"/>
              <a:gd name="connsiteX4" fmla="*/ 7951 w 7792441"/>
              <a:gd name="connsiteY4" fmla="*/ 1 h 5167354"/>
              <a:gd name="connsiteX0" fmla="*/ 7951 w 7792441"/>
              <a:gd name="connsiteY0" fmla="*/ 1 h 5167354"/>
              <a:gd name="connsiteX1" fmla="*/ 7792441 w 7792441"/>
              <a:gd name="connsiteY1" fmla="*/ 0 h 5167354"/>
              <a:gd name="connsiteX2" fmla="*/ 3743324 w 7792441"/>
              <a:gd name="connsiteY2" fmla="*/ 5161026 h 5167354"/>
              <a:gd name="connsiteX3" fmla="*/ 0 w 7792441"/>
              <a:gd name="connsiteY3" fmla="*/ 5167354 h 5167354"/>
              <a:gd name="connsiteX4" fmla="*/ 7951 w 7792441"/>
              <a:gd name="connsiteY4" fmla="*/ 1 h 5167354"/>
              <a:gd name="connsiteX0" fmla="*/ 7951 w 3743324"/>
              <a:gd name="connsiteY0" fmla="*/ 0 h 5167353"/>
              <a:gd name="connsiteX1" fmla="*/ 3106142 w 3743324"/>
              <a:gd name="connsiteY1" fmla="*/ 90906 h 5167353"/>
              <a:gd name="connsiteX2" fmla="*/ 3743324 w 3743324"/>
              <a:gd name="connsiteY2" fmla="*/ 5161025 h 5167353"/>
              <a:gd name="connsiteX3" fmla="*/ 0 w 3743324"/>
              <a:gd name="connsiteY3" fmla="*/ 5167353 h 5167353"/>
              <a:gd name="connsiteX4" fmla="*/ 7951 w 3743324"/>
              <a:gd name="connsiteY4" fmla="*/ 0 h 5167353"/>
              <a:gd name="connsiteX0" fmla="*/ 7951 w 3743324"/>
              <a:gd name="connsiteY0" fmla="*/ 19140 h 5186493"/>
              <a:gd name="connsiteX1" fmla="*/ 1334492 w 3743324"/>
              <a:gd name="connsiteY1" fmla="*/ 0 h 5186493"/>
              <a:gd name="connsiteX2" fmla="*/ 3743324 w 3743324"/>
              <a:gd name="connsiteY2" fmla="*/ 5180165 h 5186493"/>
              <a:gd name="connsiteX3" fmla="*/ 0 w 3743324"/>
              <a:gd name="connsiteY3" fmla="*/ 5186493 h 5186493"/>
              <a:gd name="connsiteX4" fmla="*/ 7951 w 3743324"/>
              <a:gd name="connsiteY4" fmla="*/ 19140 h 5186493"/>
              <a:gd name="connsiteX0" fmla="*/ 7951 w 3743324"/>
              <a:gd name="connsiteY0" fmla="*/ 19140 h 5186493"/>
              <a:gd name="connsiteX1" fmla="*/ 1353542 w 3743324"/>
              <a:gd name="connsiteY1" fmla="*/ 0 h 5186493"/>
              <a:gd name="connsiteX2" fmla="*/ 3743324 w 3743324"/>
              <a:gd name="connsiteY2" fmla="*/ 5180165 h 5186493"/>
              <a:gd name="connsiteX3" fmla="*/ 0 w 3743324"/>
              <a:gd name="connsiteY3" fmla="*/ 5186493 h 5186493"/>
              <a:gd name="connsiteX4" fmla="*/ 7951 w 3743324"/>
              <a:gd name="connsiteY4" fmla="*/ 19140 h 5186493"/>
              <a:gd name="connsiteX0" fmla="*/ 7951 w 3767137"/>
              <a:gd name="connsiteY0" fmla="*/ 19140 h 5208872"/>
              <a:gd name="connsiteX1" fmla="*/ 1353542 w 3767137"/>
              <a:gd name="connsiteY1" fmla="*/ 0 h 5208872"/>
              <a:gd name="connsiteX2" fmla="*/ 3767137 w 3767137"/>
              <a:gd name="connsiteY2" fmla="*/ 5208872 h 5208872"/>
              <a:gd name="connsiteX3" fmla="*/ 0 w 3767137"/>
              <a:gd name="connsiteY3" fmla="*/ 5186493 h 5208872"/>
              <a:gd name="connsiteX4" fmla="*/ 7951 w 3767137"/>
              <a:gd name="connsiteY4" fmla="*/ 19140 h 5208872"/>
              <a:gd name="connsiteX0" fmla="*/ 10499 w 3769685"/>
              <a:gd name="connsiteY0" fmla="*/ 19140 h 5208872"/>
              <a:gd name="connsiteX1" fmla="*/ 1356090 w 3769685"/>
              <a:gd name="connsiteY1" fmla="*/ 0 h 5208872"/>
              <a:gd name="connsiteX2" fmla="*/ 3769685 w 3769685"/>
              <a:gd name="connsiteY2" fmla="*/ 5208872 h 5208872"/>
              <a:gd name="connsiteX3" fmla="*/ 0 w 3769685"/>
              <a:gd name="connsiteY3" fmla="*/ 5204417 h 5208872"/>
              <a:gd name="connsiteX4" fmla="*/ 10499 w 3769685"/>
              <a:gd name="connsiteY4" fmla="*/ 19140 h 5208872"/>
              <a:gd name="connsiteX0" fmla="*/ 10499 w 3769685"/>
              <a:gd name="connsiteY0" fmla="*/ 19140 h 5208872"/>
              <a:gd name="connsiteX1" fmla="*/ 1356090 w 3769685"/>
              <a:gd name="connsiteY1" fmla="*/ 0 h 5208872"/>
              <a:gd name="connsiteX2" fmla="*/ 3769685 w 3769685"/>
              <a:gd name="connsiteY2" fmla="*/ 5208872 h 5208872"/>
              <a:gd name="connsiteX3" fmla="*/ 0 w 3769685"/>
              <a:gd name="connsiteY3" fmla="*/ 5204417 h 5208872"/>
              <a:gd name="connsiteX4" fmla="*/ 10499 w 3769685"/>
              <a:gd name="connsiteY4" fmla="*/ 19140 h 5208872"/>
              <a:gd name="connsiteX0" fmla="*/ 10499 w 3777330"/>
              <a:gd name="connsiteY0" fmla="*/ 19140 h 5204417"/>
              <a:gd name="connsiteX1" fmla="*/ 1356090 w 3777330"/>
              <a:gd name="connsiteY1" fmla="*/ 0 h 5204417"/>
              <a:gd name="connsiteX2" fmla="*/ 3777330 w 3777330"/>
              <a:gd name="connsiteY2" fmla="*/ 5203750 h 5204417"/>
              <a:gd name="connsiteX3" fmla="*/ 0 w 3777330"/>
              <a:gd name="connsiteY3" fmla="*/ 5204417 h 5204417"/>
              <a:gd name="connsiteX4" fmla="*/ 10499 w 3777330"/>
              <a:gd name="connsiteY4" fmla="*/ 19140 h 5204417"/>
              <a:gd name="connsiteX0" fmla="*/ 10499 w 3777330"/>
              <a:gd name="connsiteY0" fmla="*/ 19140 h 5209538"/>
              <a:gd name="connsiteX1" fmla="*/ 1356090 w 3777330"/>
              <a:gd name="connsiteY1" fmla="*/ 0 h 5209538"/>
              <a:gd name="connsiteX2" fmla="*/ 3777330 w 3777330"/>
              <a:gd name="connsiteY2" fmla="*/ 5203750 h 5209538"/>
              <a:gd name="connsiteX3" fmla="*/ 0 w 3777330"/>
              <a:gd name="connsiteY3" fmla="*/ 5209538 h 5209538"/>
              <a:gd name="connsiteX4" fmla="*/ 10499 w 3777330"/>
              <a:gd name="connsiteY4" fmla="*/ 19140 h 5209538"/>
              <a:gd name="connsiteX0" fmla="*/ 10499 w 3779879"/>
              <a:gd name="connsiteY0" fmla="*/ 19140 h 5209538"/>
              <a:gd name="connsiteX1" fmla="*/ 1356090 w 3779879"/>
              <a:gd name="connsiteY1" fmla="*/ 0 h 5209538"/>
              <a:gd name="connsiteX2" fmla="*/ 3779879 w 3779879"/>
              <a:gd name="connsiteY2" fmla="*/ 5206312 h 5209538"/>
              <a:gd name="connsiteX3" fmla="*/ 0 w 3779879"/>
              <a:gd name="connsiteY3" fmla="*/ 5209538 h 5209538"/>
              <a:gd name="connsiteX4" fmla="*/ 10499 w 3779879"/>
              <a:gd name="connsiteY4" fmla="*/ 19140 h 5209538"/>
              <a:gd name="connsiteX0" fmla="*/ 10499 w 3782427"/>
              <a:gd name="connsiteY0" fmla="*/ 19140 h 5209538"/>
              <a:gd name="connsiteX1" fmla="*/ 1356090 w 3782427"/>
              <a:gd name="connsiteY1" fmla="*/ 0 h 5209538"/>
              <a:gd name="connsiteX2" fmla="*/ 3782427 w 3782427"/>
              <a:gd name="connsiteY2" fmla="*/ 5206312 h 5209538"/>
              <a:gd name="connsiteX3" fmla="*/ 0 w 3782427"/>
              <a:gd name="connsiteY3" fmla="*/ 5209538 h 5209538"/>
              <a:gd name="connsiteX4" fmla="*/ 10499 w 3782427"/>
              <a:gd name="connsiteY4" fmla="*/ 19140 h 5209538"/>
              <a:gd name="connsiteX0" fmla="*/ 10499 w 3791186"/>
              <a:gd name="connsiteY0" fmla="*/ 19140 h 5209538"/>
              <a:gd name="connsiteX1" fmla="*/ 1356090 w 3791186"/>
              <a:gd name="connsiteY1" fmla="*/ 0 h 5209538"/>
              <a:gd name="connsiteX2" fmla="*/ 3791186 w 3791186"/>
              <a:gd name="connsiteY2" fmla="*/ 5208514 h 5209538"/>
              <a:gd name="connsiteX3" fmla="*/ 0 w 3791186"/>
              <a:gd name="connsiteY3" fmla="*/ 5209538 h 5209538"/>
              <a:gd name="connsiteX4" fmla="*/ 10499 w 3791186"/>
              <a:gd name="connsiteY4" fmla="*/ 19140 h 5209538"/>
              <a:gd name="connsiteX0" fmla="*/ 1739 w 3791186"/>
              <a:gd name="connsiteY0" fmla="*/ 36745 h 5209538"/>
              <a:gd name="connsiteX1" fmla="*/ 1356090 w 3791186"/>
              <a:gd name="connsiteY1" fmla="*/ 0 h 5209538"/>
              <a:gd name="connsiteX2" fmla="*/ 3791186 w 3791186"/>
              <a:gd name="connsiteY2" fmla="*/ 5208514 h 5209538"/>
              <a:gd name="connsiteX3" fmla="*/ 0 w 3791186"/>
              <a:gd name="connsiteY3" fmla="*/ 5209538 h 5209538"/>
              <a:gd name="connsiteX4" fmla="*/ 1739 w 3791186"/>
              <a:gd name="connsiteY4" fmla="*/ 36745 h 5209538"/>
              <a:gd name="connsiteX0" fmla="*/ 1739 w 3791186"/>
              <a:gd name="connsiteY0" fmla="*/ 0 h 5172793"/>
              <a:gd name="connsiteX1" fmla="*/ 1362660 w 3791186"/>
              <a:gd name="connsiteY1" fmla="*/ 22674 h 5172793"/>
              <a:gd name="connsiteX2" fmla="*/ 3791186 w 3791186"/>
              <a:gd name="connsiteY2" fmla="*/ 5171769 h 5172793"/>
              <a:gd name="connsiteX3" fmla="*/ 0 w 3791186"/>
              <a:gd name="connsiteY3" fmla="*/ 5172793 h 5172793"/>
              <a:gd name="connsiteX4" fmla="*/ 1739 w 3791186"/>
              <a:gd name="connsiteY4" fmla="*/ 0 h 5172793"/>
              <a:gd name="connsiteX0" fmla="*/ 1739 w 3791186"/>
              <a:gd name="connsiteY0" fmla="*/ 0 h 5172793"/>
              <a:gd name="connsiteX1" fmla="*/ 1350455 w 3791186"/>
              <a:gd name="connsiteY1" fmla="*/ 2667 h 5172793"/>
              <a:gd name="connsiteX2" fmla="*/ 1362660 w 3791186"/>
              <a:gd name="connsiteY2" fmla="*/ 22674 h 5172793"/>
              <a:gd name="connsiteX3" fmla="*/ 3791186 w 3791186"/>
              <a:gd name="connsiteY3" fmla="*/ 5171769 h 5172793"/>
              <a:gd name="connsiteX4" fmla="*/ 0 w 3791186"/>
              <a:gd name="connsiteY4" fmla="*/ 5172793 h 5172793"/>
              <a:gd name="connsiteX5" fmla="*/ 1739 w 3791186"/>
              <a:gd name="connsiteY5" fmla="*/ 0 h 5172793"/>
              <a:gd name="connsiteX0" fmla="*/ 1 w 8081679"/>
              <a:gd name="connsiteY0" fmla="*/ 0 h 5177194"/>
              <a:gd name="connsiteX1" fmla="*/ 5640948 w 8081679"/>
              <a:gd name="connsiteY1" fmla="*/ 7068 h 5177194"/>
              <a:gd name="connsiteX2" fmla="*/ 5653153 w 8081679"/>
              <a:gd name="connsiteY2" fmla="*/ 27075 h 5177194"/>
              <a:gd name="connsiteX3" fmla="*/ 8081679 w 8081679"/>
              <a:gd name="connsiteY3" fmla="*/ 5176170 h 5177194"/>
              <a:gd name="connsiteX4" fmla="*/ 4290493 w 8081679"/>
              <a:gd name="connsiteY4" fmla="*/ 5177194 h 5177194"/>
              <a:gd name="connsiteX5" fmla="*/ 1 w 8081679"/>
              <a:gd name="connsiteY5" fmla="*/ 0 h 5177194"/>
              <a:gd name="connsiteX0" fmla="*/ 1 w 8081679"/>
              <a:gd name="connsiteY0" fmla="*/ 0 h 5177194"/>
              <a:gd name="connsiteX1" fmla="*/ 5634379 w 8081679"/>
              <a:gd name="connsiteY1" fmla="*/ 7068 h 5177194"/>
              <a:gd name="connsiteX2" fmla="*/ 5653153 w 8081679"/>
              <a:gd name="connsiteY2" fmla="*/ 27075 h 5177194"/>
              <a:gd name="connsiteX3" fmla="*/ 8081679 w 8081679"/>
              <a:gd name="connsiteY3" fmla="*/ 5176170 h 5177194"/>
              <a:gd name="connsiteX4" fmla="*/ 4290493 w 8081679"/>
              <a:gd name="connsiteY4" fmla="*/ 5177194 h 5177194"/>
              <a:gd name="connsiteX5" fmla="*/ 1 w 8081679"/>
              <a:gd name="connsiteY5" fmla="*/ 0 h 5177194"/>
              <a:gd name="connsiteX0" fmla="*/ 1 w 8081679"/>
              <a:gd name="connsiteY0" fmla="*/ 0 h 5177194"/>
              <a:gd name="connsiteX1" fmla="*/ 5634379 w 8081679"/>
              <a:gd name="connsiteY1" fmla="*/ 7068 h 5177194"/>
              <a:gd name="connsiteX2" fmla="*/ 5653153 w 8081679"/>
              <a:gd name="connsiteY2" fmla="*/ 27075 h 5177194"/>
              <a:gd name="connsiteX3" fmla="*/ 8081679 w 8081679"/>
              <a:gd name="connsiteY3" fmla="*/ 5176170 h 5177194"/>
              <a:gd name="connsiteX4" fmla="*/ 4290493 w 8081679"/>
              <a:gd name="connsiteY4" fmla="*/ 5177194 h 5177194"/>
              <a:gd name="connsiteX5" fmla="*/ 1 w 8081679"/>
              <a:gd name="connsiteY5" fmla="*/ 0 h 5177194"/>
              <a:gd name="connsiteX0" fmla="*/ 1 w 8081679"/>
              <a:gd name="connsiteY0" fmla="*/ 0 h 5177194"/>
              <a:gd name="connsiteX1" fmla="*/ 5634379 w 8081679"/>
              <a:gd name="connsiteY1" fmla="*/ 7068 h 5177194"/>
              <a:gd name="connsiteX2" fmla="*/ 5653153 w 8081679"/>
              <a:gd name="connsiteY2" fmla="*/ 27075 h 5177194"/>
              <a:gd name="connsiteX3" fmla="*/ 8081679 w 8081679"/>
              <a:gd name="connsiteY3" fmla="*/ 5176170 h 5177194"/>
              <a:gd name="connsiteX4" fmla="*/ 4290493 w 8081679"/>
              <a:gd name="connsiteY4" fmla="*/ 5177194 h 5177194"/>
              <a:gd name="connsiteX5" fmla="*/ 1 w 8081679"/>
              <a:gd name="connsiteY5" fmla="*/ 0 h 5177194"/>
              <a:gd name="connsiteX0" fmla="*/ 1739 w 8083417"/>
              <a:gd name="connsiteY0" fmla="*/ 0 h 5176170"/>
              <a:gd name="connsiteX1" fmla="*/ 5636117 w 8083417"/>
              <a:gd name="connsiteY1" fmla="*/ 7068 h 5176170"/>
              <a:gd name="connsiteX2" fmla="*/ 5654891 w 8083417"/>
              <a:gd name="connsiteY2" fmla="*/ 27075 h 5176170"/>
              <a:gd name="connsiteX3" fmla="*/ 8083417 w 8083417"/>
              <a:gd name="connsiteY3" fmla="*/ 5176170 h 5176170"/>
              <a:gd name="connsiteX4" fmla="*/ 0 w 8083417"/>
              <a:gd name="connsiteY4" fmla="*/ 5170593 h 5176170"/>
              <a:gd name="connsiteX5" fmla="*/ 1739 w 8083417"/>
              <a:gd name="connsiteY5" fmla="*/ 0 h 5176170"/>
              <a:gd name="connsiteX0" fmla="*/ 6119 w 8087797"/>
              <a:gd name="connsiteY0" fmla="*/ 0 h 5177195"/>
              <a:gd name="connsiteX1" fmla="*/ 5640497 w 8087797"/>
              <a:gd name="connsiteY1" fmla="*/ 7068 h 5177195"/>
              <a:gd name="connsiteX2" fmla="*/ 5659271 w 8087797"/>
              <a:gd name="connsiteY2" fmla="*/ 27075 h 5177195"/>
              <a:gd name="connsiteX3" fmla="*/ 8087797 w 8087797"/>
              <a:gd name="connsiteY3" fmla="*/ 5176170 h 5177195"/>
              <a:gd name="connsiteX4" fmla="*/ 0 w 8087797"/>
              <a:gd name="connsiteY4" fmla="*/ 5177195 h 5177195"/>
              <a:gd name="connsiteX5" fmla="*/ 6119 w 8087797"/>
              <a:gd name="connsiteY5" fmla="*/ 0 h 5177195"/>
              <a:gd name="connsiteX0" fmla="*/ 6119 w 8087797"/>
              <a:gd name="connsiteY0" fmla="*/ 0 h 5177195"/>
              <a:gd name="connsiteX1" fmla="*/ 5648908 w 8087797"/>
              <a:gd name="connsiteY1" fmla="*/ 2842 h 5177195"/>
              <a:gd name="connsiteX2" fmla="*/ 5659271 w 8087797"/>
              <a:gd name="connsiteY2" fmla="*/ 27075 h 5177195"/>
              <a:gd name="connsiteX3" fmla="*/ 8087797 w 8087797"/>
              <a:gd name="connsiteY3" fmla="*/ 5176170 h 5177195"/>
              <a:gd name="connsiteX4" fmla="*/ 0 w 8087797"/>
              <a:gd name="connsiteY4" fmla="*/ 5177195 h 5177195"/>
              <a:gd name="connsiteX5" fmla="*/ 6119 w 8087797"/>
              <a:gd name="connsiteY5" fmla="*/ 0 h 51771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087797" h="5177195">
                <a:moveTo>
                  <a:pt x="6119" y="0"/>
                </a:moveTo>
                <a:cubicBezTo>
                  <a:pt x="456421" y="6758"/>
                  <a:pt x="5185467" y="485"/>
                  <a:pt x="5648908" y="2842"/>
                </a:cubicBezTo>
                <a:lnTo>
                  <a:pt x="5659271" y="27075"/>
                </a:lnTo>
                <a:lnTo>
                  <a:pt x="8087797" y="5176170"/>
                </a:lnTo>
                <a:lnTo>
                  <a:pt x="0" y="5177195"/>
                </a:lnTo>
                <a:cubicBezTo>
                  <a:pt x="2650" y="3457394"/>
                  <a:pt x="3469" y="1719801"/>
                  <a:pt x="6119" y="0"/>
                </a:cubicBezTo>
                <a:close/>
              </a:path>
            </a:pathLst>
          </a:custGeom>
          <a:gradFill>
            <a:gsLst>
              <a:gs pos="83000">
                <a:srgbClr val="0099B0"/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63" tIns="60981" rIns="121963" bIns="60981"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7693BA1-A1BA-4A19-ADAB-962E8DCB003F}"/>
              </a:ext>
            </a:extLst>
          </p:cNvPr>
          <p:cNvSpPr txBox="1"/>
          <p:nvPr/>
        </p:nvSpPr>
        <p:spPr>
          <a:xfrm>
            <a:off x="783300" y="5769260"/>
            <a:ext cx="958870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en-US" sz="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bertl</a:t>
            </a:r>
            <a:r>
              <a:rPr lang="en-US" sz="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</a:t>
            </a:r>
            <a:br>
              <a:rPr lang="en-US" sz="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kimedia Commons / </a:t>
            </a:r>
            <a:br>
              <a:rPr lang="en-US" sz="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C BY-SA 4.0</a:t>
            </a:r>
            <a:endParaRPr lang="de-DE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CE57A873-39E5-4608-8FB4-6AA5A2E8D8E4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380" b="88086" l="12239" r="92366">
                        <a14:foregroundMark x1="18570" y1="64459" x2="18570" y2="64459"/>
                        <a14:foregroundMark x1="18570" y1="66276" x2="18570" y2="66276"/>
                        <a14:foregroundMark x1="17480" y1="77706" x2="17480" y2="77706"/>
                        <a14:foregroundMark x1="13996" y1="77342" x2="13996" y2="77342"/>
                        <a14:foregroundMark x1="13602" y1="75040" x2="13602" y2="75040"/>
                        <a14:foregroundMark x1="12663" y1="73263" x2="12663" y2="73263"/>
                        <a14:foregroundMark x1="12784" y1="75565" x2="12784" y2="75565"/>
                        <a14:foregroundMark x1="50924" y1="67690" x2="50924" y2="67690"/>
                        <a14:foregroundMark x1="64223" y1="76090" x2="64223" y2="76090"/>
                        <a14:foregroundMark x1="79128" y1="74838" x2="79128" y2="74838"/>
                        <a14:foregroundMark x1="85550" y1="85057" x2="85550" y2="85057"/>
                        <a14:foregroundMark x1="20994" y1="81300" x2="20994" y2="81300"/>
                        <a14:foregroundMark x1="16965" y1="82553" x2="16965" y2="82553"/>
                        <a14:foregroundMark x1="12390" y1="82391" x2="12269" y2="13086"/>
                        <a14:foregroundMark x1="12269" y1="13086" x2="12269" y2="13086"/>
                        <a14:foregroundMark x1="13602" y1="82714" x2="16025" y2="76817"/>
                        <a14:foregroundMark x1="29294" y1="14903" x2="92396" y2="10420"/>
                        <a14:foregroundMark x1="88640" y1="85258" x2="90397" y2="88086"/>
                        <a14:foregroundMark x1="13057" y1="82916" x2="16419" y2="82714"/>
                        <a14:foregroundMark x1="12511" y1="12399" x2="14147" y2="1256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377" t="4675" r="2361" b="10494"/>
          <a:stretch/>
        </p:blipFill>
        <p:spPr>
          <a:xfrm rot="5400000">
            <a:off x="6844892" y="2236279"/>
            <a:ext cx="4861269" cy="3544391"/>
          </a:xfrm>
          <a:prstGeom prst="trapezoid">
            <a:avLst>
              <a:gd name="adj" fmla="val 0"/>
            </a:avLst>
          </a:prstGeom>
          <a:effectLst>
            <a:outerShdw blurRad="63500" sx="102000" sy="102000" algn="ctr" rotWithShape="0">
              <a:schemeClr val="bg1">
                <a:alpha val="81000"/>
              </a:schemeClr>
            </a:outerShdw>
          </a:effectLst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EBD7283E-CCEB-4A58-8A93-5BEEF4126748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9976" b="89984" l="5604" r="89973">
                        <a14:foregroundMark x1="13238" y1="72415" x2="13238" y2="72415"/>
                        <a14:foregroundMark x1="6089" y1="82189" x2="5423" y2="65145"/>
                        <a14:foregroundMark x1="5423" y1="65145" x2="5847" y2="19063"/>
                        <a14:foregroundMark x1="5847" y1="19063" x2="5695" y2="13934"/>
                        <a14:foregroundMark x1="68494" y1="10582" x2="60588" y2="10582"/>
                        <a14:foregroundMark x1="6241" y1="84370" x2="8543" y2="83724"/>
                        <a14:foregroundMark x1="7149" y1="85218" x2="8270" y2="85339"/>
                        <a14:foregroundMark x1="6422" y1="11026" x2="8725" y2="11511"/>
                        <a14:foregroundMark x1="5604" y1="85703" x2="8816" y2="8437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675090" y="2115865"/>
            <a:ext cx="5502248" cy="4126686"/>
          </a:xfrm>
          <a:prstGeom prst="rect">
            <a:avLst/>
          </a:prstGeom>
          <a:effectLst>
            <a:outerShdw blurRad="63500" sx="102000" sy="102000" algn="ctr" rotWithShape="0">
              <a:schemeClr val="bg1">
                <a:alpha val="81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467088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>
            <a:extLst>
              <a:ext uri="{FF2B5EF4-FFF2-40B4-BE49-F238E27FC236}">
                <a16:creationId xmlns:a16="http://schemas.microsoft.com/office/drawing/2014/main" id="{04311BD0-FAB0-4430-87A2-93B2FBA62F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19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7" name="think-cell Folie" r:id="rId6" imgW="380" imgH="380" progId="TCLayout.ActiveDocument.1">
                  <p:embed/>
                </p:oleObj>
              </mc:Choice>
              <mc:Fallback>
                <p:oleObj name="think-cell Folie" r:id="rId6" imgW="380" imgH="3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>
            <a:extLst>
              <a:ext uri="{FF2B5EF4-FFF2-40B4-BE49-F238E27FC236}">
                <a16:creationId xmlns:a16="http://schemas.microsoft.com/office/drawing/2014/main" id="{009D2D64-B536-4DA5-9280-10836BD4A7E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2200" dirty="0">
              <a:solidFill>
                <a:schemeClr val="tx1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C41D900-E073-495E-AEED-3C4DDCE9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sequenz - Daten als Währung benötigt neues Denken </a:t>
            </a:r>
            <a:br>
              <a:rPr lang="de-DE" dirty="0"/>
            </a:br>
            <a:r>
              <a:rPr lang="de-DE" b="0" dirty="0"/>
              <a:t>… im Tresor einschließen oder an einer „Börse“ handeln?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FC7AD83-0EF8-4C02-B309-B493C98914D6}"/>
              </a:ext>
            </a:extLst>
          </p:cNvPr>
          <p:cNvSpPr/>
          <p:nvPr/>
        </p:nvSpPr>
        <p:spPr>
          <a:xfrm>
            <a:off x="627063" y="3357056"/>
            <a:ext cx="4270773" cy="576000"/>
          </a:xfrm>
          <a:prstGeom prst="rect">
            <a:avLst/>
          </a:prstGeom>
          <a:solidFill>
            <a:schemeClr val="tx1">
              <a:alpha val="5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solidFill>
                  <a:schemeClr val="bg1"/>
                </a:solidFill>
              </a:rPr>
              <a:t>Unsicherheit Datennutzung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F4C19AC-0861-44F4-9C98-7BA69ED6C6D1}"/>
              </a:ext>
            </a:extLst>
          </p:cNvPr>
          <p:cNvSpPr/>
          <p:nvPr/>
        </p:nvSpPr>
        <p:spPr>
          <a:xfrm>
            <a:off x="627063" y="2600972"/>
            <a:ext cx="4270773" cy="576000"/>
          </a:xfrm>
          <a:prstGeom prst="rect">
            <a:avLst/>
          </a:prstGeom>
          <a:solidFill>
            <a:schemeClr val="tx1">
              <a:alpha val="5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solidFill>
                  <a:schemeClr val="bg1"/>
                </a:solidFill>
              </a:rPr>
              <a:t>Zugangsbeschränkung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1DE2A22-2111-4E83-9A0B-A9B223D25326}"/>
              </a:ext>
            </a:extLst>
          </p:cNvPr>
          <p:cNvSpPr/>
          <p:nvPr/>
        </p:nvSpPr>
        <p:spPr>
          <a:xfrm>
            <a:off x="7130084" y="2600972"/>
            <a:ext cx="4585666" cy="576000"/>
          </a:xfrm>
          <a:prstGeom prst="rect">
            <a:avLst/>
          </a:prstGeom>
          <a:solidFill>
            <a:schemeClr val="tx1">
              <a:alpha val="5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solidFill>
                  <a:schemeClr val="bg1"/>
                </a:solidFill>
              </a:rPr>
              <a:t>Kontrollierte Offenheit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A1E9031-9DC8-4A8E-A73E-20750F5573D0}"/>
              </a:ext>
            </a:extLst>
          </p:cNvPr>
          <p:cNvSpPr/>
          <p:nvPr/>
        </p:nvSpPr>
        <p:spPr>
          <a:xfrm>
            <a:off x="7130084" y="3357056"/>
            <a:ext cx="4585666" cy="576000"/>
          </a:xfrm>
          <a:prstGeom prst="rect">
            <a:avLst/>
          </a:prstGeom>
          <a:solidFill>
            <a:schemeClr val="tx1">
              <a:alpha val="5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solidFill>
                  <a:schemeClr val="bg1"/>
                </a:solidFill>
              </a:rPr>
              <a:t>Daten-Souveränität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C110B6B-41DE-41FA-8639-5BBE2848D0F0}"/>
              </a:ext>
            </a:extLst>
          </p:cNvPr>
          <p:cNvSpPr/>
          <p:nvPr/>
        </p:nvSpPr>
        <p:spPr>
          <a:xfrm>
            <a:off x="627063" y="4113140"/>
            <a:ext cx="4270773" cy="576000"/>
          </a:xfrm>
          <a:prstGeom prst="rect">
            <a:avLst/>
          </a:prstGeom>
          <a:solidFill>
            <a:schemeClr val="tx1">
              <a:alpha val="5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solidFill>
                  <a:schemeClr val="bg1"/>
                </a:solidFill>
              </a:rPr>
              <a:t>Daten als techn. Größ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6B55ED2-415A-43AA-9232-3150B4677C8D}"/>
              </a:ext>
            </a:extLst>
          </p:cNvPr>
          <p:cNvSpPr/>
          <p:nvPr/>
        </p:nvSpPr>
        <p:spPr>
          <a:xfrm>
            <a:off x="7130084" y="4113140"/>
            <a:ext cx="4585666" cy="576000"/>
          </a:xfrm>
          <a:prstGeom prst="rect">
            <a:avLst/>
          </a:prstGeom>
          <a:solidFill>
            <a:schemeClr val="tx1">
              <a:alpha val="5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solidFill>
                  <a:schemeClr val="bg1"/>
                </a:solidFill>
              </a:rPr>
              <a:t>Daten als Währung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52907D1-F3BB-43DD-883E-87787DEB7996}"/>
              </a:ext>
            </a:extLst>
          </p:cNvPr>
          <p:cNvSpPr/>
          <p:nvPr/>
        </p:nvSpPr>
        <p:spPr>
          <a:xfrm>
            <a:off x="627063" y="4869224"/>
            <a:ext cx="4270773" cy="576000"/>
          </a:xfrm>
          <a:prstGeom prst="rect">
            <a:avLst/>
          </a:prstGeom>
          <a:solidFill>
            <a:schemeClr val="tx1">
              <a:alpha val="5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solidFill>
                  <a:schemeClr val="bg1"/>
                </a:solidFill>
              </a:rPr>
              <a:t>Lokale Daten-Inseln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94FED77-106C-43DE-BC65-675678D57FEC}"/>
              </a:ext>
            </a:extLst>
          </p:cNvPr>
          <p:cNvSpPr/>
          <p:nvPr/>
        </p:nvSpPr>
        <p:spPr>
          <a:xfrm>
            <a:off x="7130084" y="4869224"/>
            <a:ext cx="4585666" cy="576000"/>
          </a:xfrm>
          <a:prstGeom prst="rect">
            <a:avLst/>
          </a:prstGeom>
          <a:solidFill>
            <a:schemeClr val="tx1">
              <a:alpha val="5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solidFill>
                  <a:schemeClr val="bg1"/>
                </a:solidFill>
              </a:rPr>
              <a:t>Daten-Eco-Systeme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BB652C12-034F-4FC7-8CCE-E5CB1BA76161}"/>
              </a:ext>
            </a:extLst>
          </p:cNvPr>
          <p:cNvSpPr/>
          <p:nvPr/>
        </p:nvSpPr>
        <p:spPr>
          <a:xfrm>
            <a:off x="627063" y="5625308"/>
            <a:ext cx="4270773" cy="576000"/>
          </a:xfrm>
          <a:prstGeom prst="rect">
            <a:avLst/>
          </a:prstGeom>
          <a:solidFill>
            <a:schemeClr val="tx1">
              <a:alpha val="5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solidFill>
                  <a:schemeClr val="bg1"/>
                </a:solidFill>
              </a:rPr>
              <a:t>Daten als Kostenfaktor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C3F3185C-C629-46EE-8E1A-520D66EE1A1F}"/>
              </a:ext>
            </a:extLst>
          </p:cNvPr>
          <p:cNvSpPr/>
          <p:nvPr/>
        </p:nvSpPr>
        <p:spPr>
          <a:xfrm>
            <a:off x="7130084" y="5625308"/>
            <a:ext cx="4585666" cy="576000"/>
          </a:xfrm>
          <a:prstGeom prst="rect">
            <a:avLst/>
          </a:prstGeom>
          <a:solidFill>
            <a:schemeClr val="tx1">
              <a:alpha val="5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solidFill>
                  <a:schemeClr val="bg1"/>
                </a:solidFill>
              </a:rPr>
              <a:t>Daten als Wertfaktor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7B754D6-7BA3-4888-8489-8A98CE35BE25}"/>
              </a:ext>
            </a:extLst>
          </p:cNvPr>
          <p:cNvSpPr txBox="1"/>
          <p:nvPr/>
        </p:nvSpPr>
        <p:spPr>
          <a:xfrm>
            <a:off x="627063" y="1690234"/>
            <a:ext cx="4270773" cy="6870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de-DE" sz="4400" b="1" dirty="0">
                <a:solidFill>
                  <a:schemeClr val="bg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rPr>
              <a:t>Heute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C585AEC7-AD10-4FE3-8FB7-40D7F959B3C8}"/>
              </a:ext>
            </a:extLst>
          </p:cNvPr>
          <p:cNvSpPr txBox="1"/>
          <p:nvPr/>
        </p:nvSpPr>
        <p:spPr>
          <a:xfrm>
            <a:off x="7130084" y="1690234"/>
            <a:ext cx="4585666" cy="6870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de-DE" sz="4400" b="1" dirty="0">
                <a:solidFill>
                  <a:schemeClr val="bg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rPr>
              <a:t>Zukünftig</a:t>
            </a:r>
          </a:p>
        </p:txBody>
      </p:sp>
      <p:sp>
        <p:nvSpPr>
          <p:cNvPr id="3" name="Gleichschenkliges Dreieck 2">
            <a:extLst>
              <a:ext uri="{FF2B5EF4-FFF2-40B4-BE49-F238E27FC236}">
                <a16:creationId xmlns:a16="http://schemas.microsoft.com/office/drawing/2014/main" id="{73DD28EB-4642-49AA-966E-C5A6711910F4}"/>
              </a:ext>
            </a:extLst>
          </p:cNvPr>
          <p:cNvSpPr/>
          <p:nvPr/>
        </p:nvSpPr>
        <p:spPr bwMode="auto">
          <a:xfrm rot="5400000">
            <a:off x="4673141" y="3920786"/>
            <a:ext cx="2938968" cy="937017"/>
          </a:xfrm>
          <a:prstGeom prst="triangle">
            <a:avLst/>
          </a:prstGeom>
          <a:solidFill>
            <a:srgbClr val="9BD7D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05457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7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7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7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7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LANGUAGE" val="1031"/>
  <p:tag name="SELECTEDLANGUAGE" val="German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GSE0aBgw2voiWG85ceU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itle fullscreen (big bar up)"/>
  <p:tag name="CDT_LAYOUT_TYPE" val="1"/>
  <p:tag name="CDT_ORIGINAL_DESIGNS_NAME" val="Siemens 2013 – 16:9"/>
  <p:tag name="CDT_ORIGINAL_MASTERS_NAME" val="Title fullscreen (big bar up)"/>
  <p:tag name="CDT_ORIGINAL_LAYOUT_TYPE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LdLK74Yc172wJ7G5YM0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L2j72rTdOa7oqHEbh.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mGriq0l4yvleHWjZm.7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jYXdTGWDA7YidXYC.cg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YqJyuO6saaOe1W6ubnS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9MEOHGtYHXAKmCslZvX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xJb.jKRUy.L6OncaluC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kCX0T6HnATiVVmG0UWf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PqbEJ4aTp7MAWYTGZU_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V.9lW5ppy8mCPds9h5T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V.9lW5ppy8mCPds9h5T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V.9lW5ppy8mCPds9h5T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sU1z7hRHOM68NW6RpfB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w7BoBzV0EhSxsef3bAB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PpqQb.GPVGwbCm36aRN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ksDgeKTnG6KXbT9kfAI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FCNbSkQZWUg697jXpmC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Y929sqRkG1KPYr7Isa_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heme/theme1.xml><?xml version="1.0" encoding="utf-8"?>
<a:theme xmlns:a="http://schemas.openxmlformats.org/drawingml/2006/main" name="Siemens 2017 – 16:9">
  <a:themeElements>
    <a:clrScheme name="SIEMENS 2019 HELL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 | 255 255 255">
      <a:srgbClr val="FFFFFF"/>
    </a:custClr>
    <a:custClr name="Siemens Accent Yellow dark | 235 120 10">
      <a:srgbClr val="EB780A"/>
    </a:custClr>
    <a:custClr name="Siemens Accent Yellow light | 255 185 0">
      <a:srgbClr val="FFB900"/>
    </a:custClr>
    <a:custClr name="Siemens Stone dark | 60 70 75">
      <a:srgbClr val="3C464B"/>
    </a:custClr>
    <a:custClr name="Siemens Sand dark | 115 100 90">
      <a:srgbClr val="73645A"/>
    </a:custClr>
    <a:custClr name="Siemens Accent Teal dark | 0 100 110">
      <a:srgbClr val="00646E"/>
    </a:custClr>
    <a:custClr name="Siemens Accent Yellow | 125 45 30">
      <a:srgbClr val="7D2D1E"/>
    </a:custClr>
    <a:custClr name="Siemens Accent Red | 65 20 50">
      <a:srgbClr val="411432"/>
    </a:custClr>
    <a:custClr name="Siemens Accent Blue | 0 70 105">
      <a:srgbClr val="004669"/>
    </a:custClr>
    <a:custClr name="Siemens Accent Green | 70 95 25">
      <a:srgbClr val="465F19"/>
    </a:custClr>
    <a:custClr name="Black">
      <a:srgbClr val="000000"/>
    </a:custClr>
    <a:custClr name="Siemens Accent Red dark | 100 25 70">
      <a:srgbClr val="641946"/>
    </a:custClr>
    <a:custClr name="Siemens Accent Red light | 175 35 95">
      <a:srgbClr val="AF235F"/>
    </a:custClr>
    <a:custClr name="Siemens Stone | 120 135 145">
      <a:srgbClr val="788791"/>
    </a:custClr>
    <a:custClr name="Siemens Sand | 155 150 130">
      <a:srgbClr val="9B9682"/>
    </a:custClr>
    <a:custClr name="Siemens Accent Teal | 15 130 135">
      <a:srgbClr val="0F8287"/>
    </a:custClr>
    <a:custClr name="Siemens Accent Yellow | 200 90 30">
      <a:srgbClr val="C85A1E"/>
    </a:custClr>
    <a:custClr name="Siemens Accent Red dark | 100 25 70">
      <a:srgbClr val="641946"/>
    </a:custClr>
    <a:custClr name="Siemens Accent Blue dark | 0 95 135">
      <a:srgbClr val="005F87"/>
    </a:custClr>
    <a:custClr name="Siemens Accent Green dark | 100 125 45">
      <a:srgbClr val="647D2D"/>
    </a:custClr>
    <a:custClr name="Siemens Stone light | 135 155 170">
      <a:srgbClr val="879BAA"/>
    </a:custClr>
    <a:custClr name="Siemens Accent Blue dark | 0 95 135">
      <a:srgbClr val="005F87"/>
    </a:custClr>
    <a:custClr name="Siemens Accent Blue light | 80 190 215">
      <a:srgbClr val="50BED7"/>
    </a:custClr>
    <a:custClr name="Siemens Stone | 155 175 190">
      <a:srgbClr val="9BAFBE"/>
    </a:custClr>
    <a:custClr name="Siemens Sand | 185 185 165">
      <a:srgbClr val="B9B9A5"/>
    </a:custClr>
    <a:custClr name="Siemens Accent Teal | 50 160 160">
      <a:srgbClr val="32A0A0"/>
    </a:custClr>
    <a:custClr name="Siemens Accent Yellow dark | 235 120 10">
      <a:srgbClr val="EB780A"/>
    </a:custClr>
    <a:custClr name="Siemens Accent Red | 135 30 80">
      <a:srgbClr val="871E50"/>
    </a:custClr>
    <a:custClr name="Siemens Accent Blue | 35 135 170">
      <a:srgbClr val="2387AA"/>
    </a:custClr>
    <a:custClr name="Siemens Accent Green | 135 150 40">
      <a:srgbClr val="879628"/>
    </a:custClr>
    <a:custClr name="Siemens Stone light 35% | 190 205 215">
      <a:srgbClr val="BECDD7"/>
    </a:custClr>
    <a:custClr name="Siemens Accent Green dark | 100 125 45">
      <a:srgbClr val="647D2D"/>
    </a:custClr>
    <a:custClr name="Siemens Accent Green light | 170 180 20">
      <a:srgbClr val="AAB414"/>
    </a:custClr>
    <a:custClr name="Siemens Stone light 35% | 190 205 215">
      <a:srgbClr val="BECDD7"/>
    </a:custClr>
    <a:custClr name="Siemens Sand light 35% | 215 215 205">
      <a:srgbClr val="D7D7CD"/>
    </a:custClr>
    <a:custClr name="Siemens Accent Teal | 75 185 185">
      <a:srgbClr val="4BB9B9"/>
    </a:custClr>
    <a:custClr name="Siemens Accent Yellow light | 255 185 0">
      <a:srgbClr val="FFB900"/>
    </a:custClr>
    <a:custClr name="Siemens Accent Red light | 175 35 95">
      <a:srgbClr val="AF235F"/>
    </a:custClr>
    <a:custClr name="Siemens Accent Blue | 65 170 200">
      <a:srgbClr val="41AAC8"/>
    </a:custClr>
    <a:custClr name="Siemens Accent Green light | 170 180 20">
      <a:srgbClr val="AAB414"/>
    </a:custClr>
    <a:custClr name="Siemens Sand light 35% | 215 215 205">
      <a:srgbClr val="D7D7CD"/>
    </a:custClr>
    <a:custClr name="Siemens Accent Teal dark | 0 100 110">
      <a:srgbClr val="00646E"/>
    </a:custClr>
    <a:custClr name="Siemens Accent Teal light | 65 170 170">
      <a:srgbClr val="41AAAA"/>
    </a:custClr>
    <a:custClr name="Siemens Stone | 205 217 225">
      <a:srgbClr val="CDD9E1"/>
    </a:custClr>
    <a:custClr name="Siemens Sand | 225 225 215">
      <a:srgbClr val="E1E1D7"/>
    </a:custClr>
    <a:custClr name="Siemens Accent Teal | 165 225 225">
      <a:srgbClr val="A5E1E1"/>
    </a:custClr>
    <a:custClr name="Siemens Accent Yellow | 255 225 120">
      <a:srgbClr val="FFE178"/>
    </a:custClr>
    <a:custClr name="Siemens Accent Red | 215 105 140">
      <a:srgbClr val="D7698C"/>
    </a:custClr>
    <a:custClr name="Siemens Accent Blue | 125 210 230">
      <a:srgbClr val="7DD2E6"/>
    </a:custClr>
    <a:custClr name="Siemens Accent Green | 210 215 65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One object (small)</Name>
  <PpLayout>16</PpLayout>
  <Index>11</Index>
</p4ppTags>
</file>

<file path=customXml/item10.xml><?xml version="1.0" encoding="utf-8"?>
<p4ppTags>
  <Name>Two rows + Navigation</Name>
  <PpLayout>32</PpLayout>
  <Index>21</Index>
</p4ppTags>
</file>

<file path=customXml/item11.xml><?xml version="1.0" encoding="utf-8"?>
<p4ppTags>
  <Name>Two rows</Name>
  <PpLayout>32</PpLayout>
  <Index>13</Index>
</p4ppTags>
</file>

<file path=customXml/item12.xml><?xml version="1.0" encoding="utf-8"?>
<p4ppTags>
  <Name>Three columns</Name>
  <PpLayout>32</PpLayout>
  <Index>14</Index>
</p4ppTags>
</file>

<file path=customXml/item13.xml><?xml version="1.0" encoding="utf-8"?>
<p4ppTags>
  <Name>Free Content</Name>
  <PpLayout>11</PpLayout>
  <Index>9</Index>
</p4ppTags>
</file>

<file path=customXml/item14.xml><?xml version="1.0" encoding="utf-8"?>
<p4ppTags/>
</file>

<file path=customXml/item15.xml><?xml version="1.0" encoding="utf-8"?>
<p4ppTags>
  <Name>Three columns + Navigation</Name>
  <PpLayout>32</PpLayout>
  <Index>20</Index>
</p4ppTags>
</file>

<file path=customXml/item16.xml><?xml version="1.0" encoding="utf-8"?>
<p4ppTags>
  <Name>Two columns</Name>
  <PpLayout>29</PpLayout>
  <Index>12</Index>
</p4ppTags>
</file>

<file path=customXml/item17.xml><?xml version="1.0" encoding="utf-8"?>
<p4ppTags>
  <Name>Two columns + Navigation</Name>
  <PpLayout>32</PpLayout>
  <Index>19</Index>
</p4ppTags>
</file>

<file path=customXml/item2.xml><?xml version="1.0" encoding="utf-8"?>
<p4ppTags>
  <Name>One object (large) + Navigation</Name>
  <PpLayout>32</PpLayout>
  <Index>17</Index>
</p4ppTags>
</file>

<file path=customXml/item3.xml><?xml version="1.0" encoding="utf-8"?>
<p4ppTags>
  <Name>Free Content</Name>
  <PpLayout>11</PpLayout>
  <Index>9</Index>
</p4ppTags>
</file>

<file path=customXml/item4.xml><?xml version="1.0" encoding="utf-8"?>
<p4ppTags>
  <Name>Free Content</Name>
  <PpLayout>11</PpLayout>
  <Index>9</Index>
</p4ppTags>
</file>

<file path=customXml/item5.xml><?xml version="1.0" encoding="utf-8"?>
<p4ppTags>
  <Name>Four objects + Navigation</Name>
  <PpLayout>32</PpLayout>
  <Index>22</Index>
</p4ppTags>
</file>

<file path=customXml/item6.xml><?xml version="1.0" encoding="utf-8"?>
<p4ppTags>
  <Name>Free Content + Navigation</Name>
  <PpLayout>32</PpLayout>
  <Index>16</Index>
</p4ppTags>
</file>

<file path=customXml/item7.xml><?xml version="1.0" encoding="utf-8"?>
<p4ppTags>
  <Name>Four objects</Name>
  <PpLayout>24</PpLayout>
  <Index>15</Index>
</p4ppTags>
</file>

<file path=customXml/item8.xml><?xml version="1.0" encoding="utf-8"?>
<p4ppTags>
  <Name>One object (small) + Navigation</Name>
  <PpLayout>32</PpLayout>
  <Index>18</Index>
</p4ppTags>
</file>

<file path=customXml/item9.xml><?xml version="1.0" encoding="utf-8"?>
<p4ppTags>
  <Name>One object (large)</Name>
  <PpLayout>16</PpLayout>
  <Index>10</Index>
</p4ppTags>
</file>

<file path=customXml/itemProps1.xml><?xml version="1.0" encoding="utf-8"?>
<ds:datastoreItem xmlns:ds="http://schemas.openxmlformats.org/officeDocument/2006/customXml" ds:itemID="{1618AA06-B22E-4D19-9680-0D7830426729}">
  <ds:schemaRefs/>
</ds:datastoreItem>
</file>

<file path=customXml/itemProps10.xml><?xml version="1.0" encoding="utf-8"?>
<ds:datastoreItem xmlns:ds="http://schemas.openxmlformats.org/officeDocument/2006/customXml" ds:itemID="{6C79E4F8-DCFB-483C-880A-AEEC6AAFC838}">
  <ds:schemaRefs/>
</ds:datastoreItem>
</file>

<file path=customXml/itemProps11.xml><?xml version="1.0" encoding="utf-8"?>
<ds:datastoreItem xmlns:ds="http://schemas.openxmlformats.org/officeDocument/2006/customXml" ds:itemID="{38AB8DE4-FD9B-4166-BEC3-3F1753596133}">
  <ds:schemaRefs/>
</ds:datastoreItem>
</file>

<file path=customXml/itemProps12.xml><?xml version="1.0" encoding="utf-8"?>
<ds:datastoreItem xmlns:ds="http://schemas.openxmlformats.org/officeDocument/2006/customXml" ds:itemID="{15CF3461-70D1-4B54-AFAB-DAFDA0A238CD}">
  <ds:schemaRefs/>
</ds:datastoreItem>
</file>

<file path=customXml/itemProps13.xml><?xml version="1.0" encoding="utf-8"?>
<ds:datastoreItem xmlns:ds="http://schemas.openxmlformats.org/officeDocument/2006/customXml" ds:itemID="{ACEDE178-E209-489C-AC6F-9BFD6282BBC8}">
  <ds:schemaRefs/>
</ds:datastoreItem>
</file>

<file path=customXml/itemProps14.xml><?xml version="1.0" encoding="utf-8"?>
<ds:datastoreItem xmlns:ds="http://schemas.openxmlformats.org/officeDocument/2006/customXml" ds:itemID="{572FBA73-6DBF-45DA-8282-9342320CFAB0}">
  <ds:schemaRefs/>
</ds:datastoreItem>
</file>

<file path=customXml/itemProps15.xml><?xml version="1.0" encoding="utf-8"?>
<ds:datastoreItem xmlns:ds="http://schemas.openxmlformats.org/officeDocument/2006/customXml" ds:itemID="{85D77EE6-52B7-48BE-9EDB-748F1EBB53DE}">
  <ds:schemaRefs/>
</ds:datastoreItem>
</file>

<file path=customXml/itemProps16.xml><?xml version="1.0" encoding="utf-8"?>
<ds:datastoreItem xmlns:ds="http://schemas.openxmlformats.org/officeDocument/2006/customXml" ds:itemID="{1666F4C2-68F5-4840-A44A-1A646C0925A1}">
  <ds:schemaRefs/>
</ds:datastoreItem>
</file>

<file path=customXml/itemProps17.xml><?xml version="1.0" encoding="utf-8"?>
<ds:datastoreItem xmlns:ds="http://schemas.openxmlformats.org/officeDocument/2006/customXml" ds:itemID="{D7BABA95-BFFE-422B-8591-3271669EEA88}">
  <ds:schemaRefs/>
</ds:datastoreItem>
</file>

<file path=customXml/itemProps2.xml><?xml version="1.0" encoding="utf-8"?>
<ds:datastoreItem xmlns:ds="http://schemas.openxmlformats.org/officeDocument/2006/customXml" ds:itemID="{B27F640E-84DF-4F97-BC70-D045F1E6594F}">
  <ds:schemaRefs/>
</ds:datastoreItem>
</file>

<file path=customXml/itemProps3.xml><?xml version="1.0" encoding="utf-8"?>
<ds:datastoreItem xmlns:ds="http://schemas.openxmlformats.org/officeDocument/2006/customXml" ds:itemID="{0D9991B4-CA50-43CE-ACF3-3C4E0D9E372B}">
  <ds:schemaRefs/>
</ds:datastoreItem>
</file>

<file path=customXml/itemProps4.xml><?xml version="1.0" encoding="utf-8"?>
<ds:datastoreItem xmlns:ds="http://schemas.openxmlformats.org/officeDocument/2006/customXml" ds:itemID="{63ECC397-A582-4118-BF1F-1F990C06AA1D}">
  <ds:schemaRefs/>
</ds:datastoreItem>
</file>

<file path=customXml/itemProps5.xml><?xml version="1.0" encoding="utf-8"?>
<ds:datastoreItem xmlns:ds="http://schemas.openxmlformats.org/officeDocument/2006/customXml" ds:itemID="{EAB520BC-C6EC-457E-8AB5-55DB67C86858}">
  <ds:schemaRefs/>
</ds:datastoreItem>
</file>

<file path=customXml/itemProps6.xml><?xml version="1.0" encoding="utf-8"?>
<ds:datastoreItem xmlns:ds="http://schemas.openxmlformats.org/officeDocument/2006/customXml" ds:itemID="{7CC5F709-E74B-4E5F-A728-923D5062EBEF}">
  <ds:schemaRefs/>
</ds:datastoreItem>
</file>

<file path=customXml/itemProps7.xml><?xml version="1.0" encoding="utf-8"?>
<ds:datastoreItem xmlns:ds="http://schemas.openxmlformats.org/officeDocument/2006/customXml" ds:itemID="{1581BFFB-B4CE-47A8-BE77-DC1339B1E5A7}">
  <ds:schemaRefs/>
</ds:datastoreItem>
</file>

<file path=customXml/itemProps8.xml><?xml version="1.0" encoding="utf-8"?>
<ds:datastoreItem xmlns:ds="http://schemas.openxmlformats.org/officeDocument/2006/customXml" ds:itemID="{D9FE249F-833E-4CF0-BECB-552D01D7DC9E}">
  <ds:schemaRefs/>
</ds:datastoreItem>
</file>

<file path=customXml/itemProps9.xml><?xml version="1.0" encoding="utf-8"?>
<ds:datastoreItem xmlns:ds="http://schemas.openxmlformats.org/officeDocument/2006/customXml" ds:itemID="{80661B8B-A327-44F9-823B-4D9EE0B3EC78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e-ppt-2010-16x9-standard-deu-v2-1</Template>
  <TotalTime>0</TotalTime>
  <Words>1605</Words>
  <Application>Microsoft Office PowerPoint</Application>
  <PresentationFormat>Benutzerdefiniert</PresentationFormat>
  <Paragraphs>306</Paragraphs>
  <Slides>27</Slides>
  <Notes>2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7</vt:i4>
      </vt:variant>
    </vt:vector>
  </HeadingPairs>
  <TitlesOfParts>
    <vt:vector size="33" baseType="lpstr">
      <vt:lpstr>Aharoni</vt:lpstr>
      <vt:lpstr>Arial</vt:lpstr>
      <vt:lpstr>Siemens Sans</vt:lpstr>
      <vt:lpstr>Wingdings</vt:lpstr>
      <vt:lpstr>Siemens 2017 – 16:9</vt:lpstr>
      <vt:lpstr>think-cell Folie</vt:lpstr>
      <vt:lpstr>Nutzenbetrachtung zu Industrie 4.0  Blick eines Finanzdienstleisters auf das „Gold der Zukunft“</vt:lpstr>
      <vt:lpstr>Märkte und Wettbewerber sind im Umbruch. Unsere Welt bleibt unberechenbar! </vt:lpstr>
      <vt:lpstr>Waren es Irrtümer der Geschichte … … oder die falsche Perspektive?</vt:lpstr>
      <vt:lpstr>Technologien und Einstellung verändern die Welt – Disruption = Modewort oder etwas ganz normales?</vt:lpstr>
      <vt:lpstr>Feedback aus der Lernreise Dezember 2019 „wo begegnet mir jeden Tag Disruption?“</vt:lpstr>
      <vt:lpstr>Daten als „neues Erdöl“ der Zukunft … man kann mehr mit Daten machen als man denkt!</vt:lpstr>
      <vt:lpstr>Daten sind wie Geld es geht um die richtige Abwägung zwischen Sicherheit und Ertrag</vt:lpstr>
      <vt:lpstr>Marktplatz Daten … ein kleines Gedankenspiel für das eigene Unternehmen</vt:lpstr>
      <vt:lpstr>Konsequenz - Daten als Währung benötigt neues Denken  … im Tresor einschließen oder an einer „Börse“ handeln?</vt:lpstr>
      <vt:lpstr>PowerPoint-Präsentation</vt:lpstr>
      <vt:lpstr>Sind das die Schlagzeilen  der Wirtschaftspresse 2025 - 2030?</vt:lpstr>
      <vt:lpstr>Geschäftsmodelle brauchen Kreativität Sonst geht es uns wie einst LEGO</vt:lpstr>
      <vt:lpstr>Der Zweck der Digitalisierung  "Verbesserung von Geschäftsprozessen und Angebot neuer Lösungen und Dienstleistungen für den Kunden, die vorher nicht verfügbar waren”</vt:lpstr>
      <vt:lpstr>Digitale “Unternehmensreife” so entsteht aus Daten ein Eco-System </vt:lpstr>
      <vt:lpstr>In 5 Schritten vom IoT zum Gestalter der Datenökonomie</vt:lpstr>
      <vt:lpstr>Vom Produkt hin zum Betriebskonzept  Das Beispiel der Bohrmaschine</vt:lpstr>
      <vt:lpstr>Mit Smart Finance die richtigen Lösungen im digitalen Reifeprozess </vt:lpstr>
      <vt:lpstr>Kunden wünschen  statt Bezahlen bei Lieferung den Finanzplan bei Nutzung</vt:lpstr>
      <vt:lpstr>Von der „connecteten“ Maschine zum Eco-System</vt:lpstr>
      <vt:lpstr>Daten als Wertquelle  "Datenanalyse ist eine Kernkompetenz  des CFO und seines Teams"</vt:lpstr>
      <vt:lpstr>Wichtig bei dieser Reise für uns war es "Wir haben es in unseren Werke selbst umgesetzt"</vt:lpstr>
      <vt:lpstr>Und was hat der Kaufmann für Vorteile?</vt:lpstr>
      <vt:lpstr>Die App – Vision:  Sie(C)FO-Dashboard</vt:lpstr>
      <vt:lpstr>Sie(C)FO-Dashboard,  Problemanalyse</vt:lpstr>
      <vt:lpstr>PowerPoint-Präsentation</vt:lpstr>
      <vt:lpstr>Wir begleiten diesen Prozess mit allgemeinen Untersuchungen – Unsere Studien</vt:lpstr>
      <vt:lpstr>Deutschland 4.0 – Sprechen Sie uns an!</vt:lpstr>
    </vt:vector>
  </TitlesOfParts>
  <Manager>Marketing</Manager>
  <Company>Siemens Financial Services GmbH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On-stage PowerPoint-Template</dc:title>
  <dc:subject>German, 16:9</dc:subject>
  <dc:creator>Sascha Wagner</dc:creator>
  <cp:keywords>C_Unrestricted</cp:keywords>
  <dc:description>Copyright Siemens Financial Services GmbH_x000d_
Tel.: +49 (0) 89-636 31560_x000d_
E-Mail: marketing.sfs@siemens.com_x000d_
Web: www.siemens.com/finance</dc:description>
  <cp:lastModifiedBy>Welp, Peter (SFS COF W RU-DE)</cp:lastModifiedBy>
  <cp:revision>156</cp:revision>
  <cp:lastPrinted>2017-05-16T13:10:31Z</cp:lastPrinted>
  <dcterms:created xsi:type="dcterms:W3CDTF">2017-05-16T13:09:01Z</dcterms:created>
  <dcterms:modified xsi:type="dcterms:W3CDTF">2020-06-30T07:09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November 2017</vt:lpwstr>
  </property>
  <property fmtid="{D5CDD505-2E9C-101B-9397-08002B2CF9AE}" pid="4" name="Office version">
    <vt:lpwstr>2007 and higher</vt:lpwstr>
  </property>
  <property fmtid="{D5CDD505-2E9C-101B-9397-08002B2CF9AE}" pid="5" name="Release version">
    <vt:lpwstr>2.1</vt:lpwstr>
  </property>
  <property fmtid="{D5CDD505-2E9C-101B-9397-08002B2CF9AE}" pid="6" name="Document Confidentiality">
    <vt:lpwstr>Unrestricted</vt:lpwstr>
  </property>
  <property fmtid="{D5CDD505-2E9C-101B-9397-08002B2CF9AE}" pid="7" name="sodocoClasLang">
    <vt:lpwstr>Frei verwendbar</vt:lpwstr>
  </property>
  <property fmtid="{D5CDD505-2E9C-101B-9397-08002B2CF9AE}" pid="8" name="sodocoClasLangId">
    <vt:i4>0</vt:i4>
  </property>
  <property fmtid="{D5CDD505-2E9C-101B-9397-08002B2CF9AE}" pid="9" name="sodocoClasId">
    <vt:i4>0</vt:i4>
  </property>
</Properties>
</file>